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sldIdLst>
    <p:sldId id="256" r:id="rId2"/>
    <p:sldId id="295" r:id="rId3"/>
    <p:sldId id="292" r:id="rId4"/>
    <p:sldId id="296" r:id="rId5"/>
    <p:sldId id="298" r:id="rId6"/>
    <p:sldId id="270" r:id="rId7"/>
    <p:sldId id="297" r:id="rId8"/>
    <p:sldId id="299" r:id="rId9"/>
    <p:sldId id="286" r:id="rId10"/>
    <p:sldId id="291" r:id="rId11"/>
  </p:sldIdLst>
  <p:sldSz cx="5765800" cy="8642350"/>
  <p:notesSz cx="5765800" cy="864235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p:cViewPr>
        <p:scale>
          <a:sx n="120" d="100"/>
          <a:sy n="120" d="100"/>
        </p:scale>
        <p:origin x="404" y="12"/>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432435" y="2679128"/>
            <a:ext cx="4900930" cy="1814893"/>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864870" y="4839716"/>
            <a:ext cx="4036060" cy="2160587"/>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500" b="0" i="0">
                <a:solidFill>
                  <a:schemeClr val="bg1"/>
                </a:solidFill>
                <a:latin typeface="Century Gothic"/>
                <a:cs typeface="Century Gothic"/>
              </a:defRPr>
            </a:lvl1pPr>
          </a:lstStyle>
          <a:p>
            <a:pPr marL="12700">
              <a:lnSpc>
                <a:spcPct val="100000"/>
              </a:lnSpc>
              <a:spcBef>
                <a:spcPts val="100"/>
              </a:spcBef>
            </a:pPr>
            <a:r>
              <a:rPr dirty="0"/>
              <a:t>Focus</a:t>
            </a:r>
            <a:r>
              <a:rPr spc="-20" dirty="0"/>
              <a:t> </a:t>
            </a:r>
            <a:r>
              <a:rPr dirty="0"/>
              <a:t>on</a:t>
            </a:r>
            <a:r>
              <a:rPr spc="-15" dirty="0"/>
              <a:t> </a:t>
            </a:r>
            <a:r>
              <a:rPr spc="-5" dirty="0"/>
              <a:t>EPR</a:t>
            </a:r>
            <a:r>
              <a:rPr spc="-20" dirty="0"/>
              <a:t> </a:t>
            </a:r>
            <a:r>
              <a:rPr dirty="0"/>
              <a:t>technology</a:t>
            </a:r>
            <a:r>
              <a:rPr spc="-15" dirty="0"/>
              <a:t> </a:t>
            </a:r>
            <a:r>
              <a:rPr dirty="0"/>
              <a:t>for</a:t>
            </a:r>
            <a:r>
              <a:rPr spc="-20" dirty="0"/>
              <a:t> </a:t>
            </a:r>
            <a:r>
              <a:rPr dirty="0"/>
              <a:t>Poland</a:t>
            </a:r>
          </a:p>
        </p:txBody>
      </p:sp>
      <p:sp>
        <p:nvSpPr>
          <p:cNvPr id="5" name="Holder 5"/>
          <p:cNvSpPr>
            <a:spLocks noGrp="1"/>
          </p:cNvSpPr>
          <p:nvPr>
            <p:ph type="dt" sz="half" idx="6"/>
          </p:nvPr>
        </p:nvSpPr>
        <p:spPr/>
        <p:txBody>
          <a:bodyPr lIns="0" tIns="0" rIns="0" bIns="0"/>
          <a:lstStyle>
            <a:lvl1pPr>
              <a:defRPr sz="600" b="1" i="0">
                <a:solidFill>
                  <a:schemeClr val="bg1"/>
                </a:solidFill>
                <a:latin typeface="Century Gothic"/>
                <a:cs typeface="Century Gothic"/>
              </a:defRPr>
            </a:lvl1pPr>
          </a:lstStyle>
          <a:p>
            <a:pPr marL="12700">
              <a:lnSpc>
                <a:spcPct val="100000"/>
              </a:lnSpc>
              <a:spcBef>
                <a:spcPts val="100"/>
              </a:spcBef>
            </a:pPr>
            <a:r>
              <a:rPr dirty="0"/>
              <a:t>THE</a:t>
            </a:r>
            <a:r>
              <a:rPr spc="-30" dirty="0"/>
              <a:t> </a:t>
            </a:r>
            <a:r>
              <a:rPr dirty="0"/>
              <a:t>FRENCH</a:t>
            </a:r>
            <a:r>
              <a:rPr spc="-25" dirty="0"/>
              <a:t> </a:t>
            </a:r>
            <a:r>
              <a:rPr dirty="0"/>
              <a:t>NUCLEAR</a:t>
            </a:r>
            <a:r>
              <a:rPr spc="-30" dirty="0"/>
              <a:t> </a:t>
            </a:r>
            <a:r>
              <a:rPr dirty="0"/>
              <a:t>INDUSTRY</a:t>
            </a:r>
          </a:p>
        </p:txBody>
      </p:sp>
      <p:sp>
        <p:nvSpPr>
          <p:cNvPr id="6" name="Holder 6"/>
          <p:cNvSpPr>
            <a:spLocks noGrp="1"/>
          </p:cNvSpPr>
          <p:nvPr>
            <p:ph type="sldNum" sz="quarter" idx="7"/>
          </p:nvPr>
        </p:nvSpPr>
        <p:spPr/>
        <p:txBody>
          <a:bodyPr lIns="0" tIns="0" rIns="0" bIns="0"/>
          <a:lstStyle>
            <a:lvl1pPr>
              <a:defRPr sz="800" b="0" i="0">
                <a:solidFill>
                  <a:schemeClr val="bg1"/>
                </a:solidFill>
                <a:latin typeface="Century Gothic"/>
                <a:cs typeface="Century Gothic"/>
              </a:defRPr>
            </a:lvl1pPr>
          </a:lstStyle>
          <a:p>
            <a:pPr marL="12700">
              <a:lnSpc>
                <a:spcPct val="100000"/>
              </a:lnSpc>
              <a:spcBef>
                <a:spcPts val="105"/>
              </a:spcBef>
            </a:pPr>
            <a:r>
              <a:rPr dirty="0">
                <a:latin typeface="Century Gothic"/>
                <a:cs typeface="Century Gothic"/>
              </a:rPr>
              <a:t>I</a:t>
            </a:r>
            <a:r>
              <a:rPr spc="395" dirty="0">
                <a:latin typeface="Century Gothic"/>
                <a:cs typeface="Century Gothic"/>
              </a:rPr>
              <a:t> </a:t>
            </a:r>
            <a:fld id="{81D60167-4931-47E6-BA6A-407CBD079E47}" type="slidenum">
              <a:rPr b="1" dirty="0"/>
              <a:t>‹N°›</a:t>
            </a:fld>
            <a:r>
              <a:rPr b="1" spc="395" dirty="0"/>
              <a:t> </a:t>
            </a:r>
            <a:r>
              <a:rPr dirty="0">
                <a:latin typeface="Century Gothic"/>
                <a:cs typeface="Century Gothic"/>
              </a:rPr>
              <a:t>I</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000" b="1" i="0">
                <a:solidFill>
                  <a:schemeClr val="bg1"/>
                </a:solidFill>
                <a:latin typeface="Century Gothic"/>
                <a:cs typeface="Century Gothic"/>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defRPr sz="500" b="0" i="0">
                <a:solidFill>
                  <a:schemeClr val="bg1"/>
                </a:solidFill>
                <a:latin typeface="Century Gothic"/>
                <a:cs typeface="Century Gothic"/>
              </a:defRPr>
            </a:lvl1pPr>
          </a:lstStyle>
          <a:p>
            <a:pPr marL="12700">
              <a:lnSpc>
                <a:spcPct val="100000"/>
              </a:lnSpc>
              <a:spcBef>
                <a:spcPts val="100"/>
              </a:spcBef>
            </a:pPr>
            <a:r>
              <a:rPr dirty="0"/>
              <a:t>Focus</a:t>
            </a:r>
            <a:r>
              <a:rPr spc="-20" dirty="0"/>
              <a:t> </a:t>
            </a:r>
            <a:r>
              <a:rPr dirty="0"/>
              <a:t>on</a:t>
            </a:r>
            <a:r>
              <a:rPr spc="-15" dirty="0"/>
              <a:t> </a:t>
            </a:r>
            <a:r>
              <a:rPr spc="-5" dirty="0"/>
              <a:t>EPR</a:t>
            </a:r>
            <a:r>
              <a:rPr spc="-20" dirty="0"/>
              <a:t> </a:t>
            </a:r>
            <a:r>
              <a:rPr dirty="0"/>
              <a:t>technology</a:t>
            </a:r>
            <a:r>
              <a:rPr spc="-15" dirty="0"/>
              <a:t> </a:t>
            </a:r>
            <a:r>
              <a:rPr dirty="0"/>
              <a:t>for</a:t>
            </a:r>
            <a:r>
              <a:rPr spc="-20" dirty="0"/>
              <a:t> </a:t>
            </a:r>
            <a:r>
              <a:rPr dirty="0"/>
              <a:t>Poland</a:t>
            </a:r>
          </a:p>
        </p:txBody>
      </p:sp>
      <p:sp>
        <p:nvSpPr>
          <p:cNvPr id="5" name="Holder 5"/>
          <p:cNvSpPr>
            <a:spLocks noGrp="1"/>
          </p:cNvSpPr>
          <p:nvPr>
            <p:ph type="dt" sz="half" idx="6"/>
          </p:nvPr>
        </p:nvSpPr>
        <p:spPr/>
        <p:txBody>
          <a:bodyPr lIns="0" tIns="0" rIns="0" bIns="0"/>
          <a:lstStyle>
            <a:lvl1pPr>
              <a:defRPr sz="600" b="1" i="0">
                <a:solidFill>
                  <a:schemeClr val="bg1"/>
                </a:solidFill>
                <a:latin typeface="Century Gothic"/>
                <a:cs typeface="Century Gothic"/>
              </a:defRPr>
            </a:lvl1pPr>
          </a:lstStyle>
          <a:p>
            <a:pPr marL="12700">
              <a:lnSpc>
                <a:spcPct val="100000"/>
              </a:lnSpc>
              <a:spcBef>
                <a:spcPts val="100"/>
              </a:spcBef>
            </a:pPr>
            <a:r>
              <a:rPr dirty="0"/>
              <a:t>THE</a:t>
            </a:r>
            <a:r>
              <a:rPr spc="-30" dirty="0"/>
              <a:t> </a:t>
            </a:r>
            <a:r>
              <a:rPr dirty="0"/>
              <a:t>FRENCH</a:t>
            </a:r>
            <a:r>
              <a:rPr spc="-25" dirty="0"/>
              <a:t> </a:t>
            </a:r>
            <a:r>
              <a:rPr dirty="0"/>
              <a:t>NUCLEAR</a:t>
            </a:r>
            <a:r>
              <a:rPr spc="-30" dirty="0"/>
              <a:t> </a:t>
            </a:r>
            <a:r>
              <a:rPr dirty="0"/>
              <a:t>INDUSTRY</a:t>
            </a:r>
          </a:p>
        </p:txBody>
      </p:sp>
      <p:sp>
        <p:nvSpPr>
          <p:cNvPr id="6" name="Holder 6"/>
          <p:cNvSpPr>
            <a:spLocks noGrp="1"/>
          </p:cNvSpPr>
          <p:nvPr>
            <p:ph type="sldNum" sz="quarter" idx="7"/>
          </p:nvPr>
        </p:nvSpPr>
        <p:spPr/>
        <p:txBody>
          <a:bodyPr lIns="0" tIns="0" rIns="0" bIns="0"/>
          <a:lstStyle>
            <a:lvl1pPr>
              <a:defRPr sz="800" b="0" i="0">
                <a:solidFill>
                  <a:schemeClr val="bg1"/>
                </a:solidFill>
                <a:latin typeface="Century Gothic"/>
                <a:cs typeface="Century Gothic"/>
              </a:defRPr>
            </a:lvl1pPr>
          </a:lstStyle>
          <a:p>
            <a:pPr marL="12700">
              <a:lnSpc>
                <a:spcPct val="100000"/>
              </a:lnSpc>
              <a:spcBef>
                <a:spcPts val="105"/>
              </a:spcBef>
            </a:pPr>
            <a:r>
              <a:rPr dirty="0">
                <a:latin typeface="Century Gothic"/>
                <a:cs typeface="Century Gothic"/>
              </a:rPr>
              <a:t>I</a:t>
            </a:r>
            <a:r>
              <a:rPr spc="395" dirty="0">
                <a:latin typeface="Century Gothic"/>
                <a:cs typeface="Century Gothic"/>
              </a:rPr>
              <a:t> </a:t>
            </a:r>
            <a:fld id="{81D60167-4931-47E6-BA6A-407CBD079E47}" type="slidenum">
              <a:rPr b="1" dirty="0"/>
              <a:t>‹N°›</a:t>
            </a:fld>
            <a:r>
              <a:rPr b="1" spc="395" dirty="0"/>
              <a:t> </a:t>
            </a:r>
            <a:r>
              <a:rPr dirty="0">
                <a:latin typeface="Century Gothic"/>
                <a:cs typeface="Century Gothic"/>
              </a:rPr>
              <a:t>I</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5760085" cy="8460105"/>
          </a:xfrm>
          <a:custGeom>
            <a:avLst/>
            <a:gdLst/>
            <a:ahLst/>
            <a:cxnLst/>
            <a:rect l="l" t="t" r="r" b="b"/>
            <a:pathLst>
              <a:path w="5760085" h="8460105">
                <a:moveTo>
                  <a:pt x="0" y="8459990"/>
                </a:moveTo>
                <a:lnTo>
                  <a:pt x="5759996" y="8459990"/>
                </a:lnTo>
                <a:lnTo>
                  <a:pt x="5759996" y="0"/>
                </a:lnTo>
                <a:lnTo>
                  <a:pt x="0" y="0"/>
                </a:lnTo>
                <a:lnTo>
                  <a:pt x="0" y="8459990"/>
                </a:lnTo>
                <a:close/>
              </a:path>
            </a:pathLst>
          </a:custGeom>
          <a:solidFill>
            <a:srgbClr val="001D18"/>
          </a:solidFill>
        </p:spPr>
        <p:txBody>
          <a:bodyPr wrap="square" lIns="0" tIns="0" rIns="0" bIns="0" rtlCol="0"/>
          <a:lstStyle/>
          <a:p>
            <a:endParaRPr/>
          </a:p>
        </p:txBody>
      </p:sp>
      <p:pic>
        <p:nvPicPr>
          <p:cNvPr id="17" name="bg object 17"/>
          <p:cNvPicPr/>
          <p:nvPr/>
        </p:nvPicPr>
        <p:blipFill>
          <a:blip r:embed="rId2" cstate="print"/>
          <a:stretch>
            <a:fillRect/>
          </a:stretch>
        </p:blipFill>
        <p:spPr>
          <a:xfrm>
            <a:off x="0" y="8459990"/>
            <a:ext cx="5759996" cy="180009"/>
          </a:xfrm>
          <a:prstGeom prst="rect">
            <a:avLst/>
          </a:prstGeom>
        </p:spPr>
      </p:pic>
      <p:sp>
        <p:nvSpPr>
          <p:cNvPr id="18" name="bg object 18"/>
          <p:cNvSpPr/>
          <p:nvPr/>
        </p:nvSpPr>
        <p:spPr>
          <a:xfrm>
            <a:off x="2692995" y="8184477"/>
            <a:ext cx="53340" cy="40640"/>
          </a:xfrm>
          <a:custGeom>
            <a:avLst/>
            <a:gdLst/>
            <a:ahLst/>
            <a:cxnLst/>
            <a:rect l="l" t="t" r="r" b="b"/>
            <a:pathLst>
              <a:path w="53339" h="40640">
                <a:moveTo>
                  <a:pt x="30657" y="0"/>
                </a:moveTo>
                <a:lnTo>
                  <a:pt x="15506" y="4394"/>
                </a:lnTo>
                <a:lnTo>
                  <a:pt x="6235" y="15265"/>
                </a:lnTo>
                <a:lnTo>
                  <a:pt x="0" y="28956"/>
                </a:lnTo>
                <a:lnTo>
                  <a:pt x="1727" y="40055"/>
                </a:lnTo>
                <a:lnTo>
                  <a:pt x="8521" y="40055"/>
                </a:lnTo>
                <a:lnTo>
                  <a:pt x="10855" y="31179"/>
                </a:lnTo>
                <a:lnTo>
                  <a:pt x="16125" y="23983"/>
                </a:lnTo>
                <a:lnTo>
                  <a:pt x="23648" y="19160"/>
                </a:lnTo>
                <a:lnTo>
                  <a:pt x="32740" y="17399"/>
                </a:lnTo>
                <a:lnTo>
                  <a:pt x="38633" y="17399"/>
                </a:lnTo>
                <a:lnTo>
                  <a:pt x="44030" y="19507"/>
                </a:lnTo>
                <a:lnTo>
                  <a:pt x="48247" y="22987"/>
                </a:lnTo>
                <a:lnTo>
                  <a:pt x="53035" y="18199"/>
                </a:lnTo>
                <a:lnTo>
                  <a:pt x="49225" y="368"/>
                </a:lnTo>
                <a:lnTo>
                  <a:pt x="30657" y="0"/>
                </a:lnTo>
                <a:close/>
              </a:path>
            </a:pathLst>
          </a:custGeom>
          <a:solidFill>
            <a:srgbClr val="EF3A46"/>
          </a:solidFill>
        </p:spPr>
        <p:txBody>
          <a:bodyPr wrap="square" lIns="0" tIns="0" rIns="0" bIns="0" rtlCol="0"/>
          <a:lstStyle/>
          <a:p>
            <a:endParaRPr/>
          </a:p>
        </p:txBody>
      </p:sp>
      <p:sp>
        <p:nvSpPr>
          <p:cNvPr id="19" name="bg object 19"/>
          <p:cNvSpPr/>
          <p:nvPr/>
        </p:nvSpPr>
        <p:spPr>
          <a:xfrm>
            <a:off x="2702356" y="8224696"/>
            <a:ext cx="64135" cy="45085"/>
          </a:xfrm>
          <a:custGeom>
            <a:avLst/>
            <a:gdLst/>
            <a:ahLst/>
            <a:cxnLst/>
            <a:rect l="l" t="t" r="r" b="b"/>
            <a:pathLst>
              <a:path w="64135" h="45084">
                <a:moveTo>
                  <a:pt x="52831" y="0"/>
                </a:moveTo>
                <a:lnTo>
                  <a:pt x="47612" y="0"/>
                </a:lnTo>
                <a:lnTo>
                  <a:pt x="47675" y="1485"/>
                </a:lnTo>
                <a:lnTo>
                  <a:pt x="45767" y="10939"/>
                </a:lnTo>
                <a:lnTo>
                  <a:pt x="40562" y="18662"/>
                </a:lnTo>
                <a:lnTo>
                  <a:pt x="32840" y="23870"/>
                </a:lnTo>
                <a:lnTo>
                  <a:pt x="23380" y="25780"/>
                </a:lnTo>
                <a:lnTo>
                  <a:pt x="15849" y="25780"/>
                </a:lnTo>
                <a:lnTo>
                  <a:pt x="9131" y="22352"/>
                </a:lnTo>
                <a:lnTo>
                  <a:pt x="4673" y="16979"/>
                </a:lnTo>
                <a:lnTo>
                  <a:pt x="0" y="21653"/>
                </a:lnTo>
                <a:lnTo>
                  <a:pt x="2603" y="35763"/>
                </a:lnTo>
                <a:lnTo>
                  <a:pt x="5905" y="39916"/>
                </a:lnTo>
                <a:lnTo>
                  <a:pt x="29476" y="44919"/>
                </a:lnTo>
                <a:lnTo>
                  <a:pt x="56108" y="34531"/>
                </a:lnTo>
                <a:lnTo>
                  <a:pt x="63677" y="13042"/>
                </a:lnTo>
                <a:lnTo>
                  <a:pt x="52831" y="0"/>
                </a:lnTo>
                <a:close/>
              </a:path>
            </a:pathLst>
          </a:custGeom>
          <a:solidFill>
            <a:srgbClr val="234186"/>
          </a:solidFill>
        </p:spPr>
        <p:txBody>
          <a:bodyPr wrap="square" lIns="0" tIns="0" rIns="0" bIns="0" rtlCol="0"/>
          <a:lstStyle/>
          <a:p>
            <a:endParaRPr/>
          </a:p>
        </p:txBody>
      </p:sp>
      <p:sp>
        <p:nvSpPr>
          <p:cNvPr id="20" name="bg object 20"/>
          <p:cNvSpPr/>
          <p:nvPr/>
        </p:nvSpPr>
        <p:spPr>
          <a:xfrm>
            <a:off x="2852229" y="8163242"/>
            <a:ext cx="149225" cy="125730"/>
          </a:xfrm>
          <a:custGeom>
            <a:avLst/>
            <a:gdLst/>
            <a:ahLst/>
            <a:cxnLst/>
            <a:rect l="l" t="t" r="r" b="b"/>
            <a:pathLst>
              <a:path w="149225" h="125729">
                <a:moveTo>
                  <a:pt x="54787" y="2349"/>
                </a:moveTo>
                <a:lnTo>
                  <a:pt x="50266" y="1003"/>
                </a:lnTo>
                <a:lnTo>
                  <a:pt x="45402" y="0"/>
                </a:lnTo>
                <a:lnTo>
                  <a:pt x="38366" y="0"/>
                </a:lnTo>
                <a:lnTo>
                  <a:pt x="26784" y="1803"/>
                </a:lnTo>
                <a:lnTo>
                  <a:pt x="18262" y="7213"/>
                </a:lnTo>
                <a:lnTo>
                  <a:pt x="13017" y="16256"/>
                </a:lnTo>
                <a:lnTo>
                  <a:pt x="11226" y="28981"/>
                </a:lnTo>
                <a:lnTo>
                  <a:pt x="11226" y="35356"/>
                </a:lnTo>
                <a:lnTo>
                  <a:pt x="0" y="35356"/>
                </a:lnTo>
                <a:lnTo>
                  <a:pt x="0" y="52273"/>
                </a:lnTo>
                <a:lnTo>
                  <a:pt x="11226" y="52273"/>
                </a:lnTo>
                <a:lnTo>
                  <a:pt x="11226" y="123329"/>
                </a:lnTo>
                <a:lnTo>
                  <a:pt x="31496" y="123329"/>
                </a:lnTo>
                <a:lnTo>
                  <a:pt x="31496" y="52273"/>
                </a:lnTo>
                <a:lnTo>
                  <a:pt x="54622" y="52273"/>
                </a:lnTo>
                <a:lnTo>
                  <a:pt x="54622" y="35521"/>
                </a:lnTo>
                <a:lnTo>
                  <a:pt x="31165" y="35521"/>
                </a:lnTo>
                <a:lnTo>
                  <a:pt x="31165" y="21450"/>
                </a:lnTo>
                <a:lnTo>
                  <a:pt x="35179" y="17259"/>
                </a:lnTo>
                <a:lnTo>
                  <a:pt x="47244" y="17259"/>
                </a:lnTo>
                <a:lnTo>
                  <a:pt x="50774" y="18097"/>
                </a:lnTo>
                <a:lnTo>
                  <a:pt x="54787" y="19431"/>
                </a:lnTo>
                <a:lnTo>
                  <a:pt x="54787" y="2349"/>
                </a:lnTo>
                <a:close/>
              </a:path>
              <a:path w="149225" h="125729">
                <a:moveTo>
                  <a:pt x="148793" y="80772"/>
                </a:moveTo>
                <a:lnTo>
                  <a:pt x="147650" y="72885"/>
                </a:lnTo>
                <a:lnTo>
                  <a:pt x="146138" y="62496"/>
                </a:lnTo>
                <a:lnTo>
                  <a:pt x="139369" y="49593"/>
                </a:lnTo>
                <a:lnTo>
                  <a:pt x="138163" y="47282"/>
                </a:lnTo>
                <a:lnTo>
                  <a:pt x="128689" y="39852"/>
                </a:lnTo>
                <a:lnTo>
                  <a:pt x="128689" y="72885"/>
                </a:lnTo>
                <a:lnTo>
                  <a:pt x="83273" y="72885"/>
                </a:lnTo>
                <a:lnTo>
                  <a:pt x="85902" y="63449"/>
                </a:lnTo>
                <a:lnTo>
                  <a:pt x="90805" y="56095"/>
                </a:lnTo>
                <a:lnTo>
                  <a:pt x="97688" y="51308"/>
                </a:lnTo>
                <a:lnTo>
                  <a:pt x="106235" y="49593"/>
                </a:lnTo>
                <a:lnTo>
                  <a:pt x="115214" y="51396"/>
                </a:lnTo>
                <a:lnTo>
                  <a:pt x="121983" y="56349"/>
                </a:lnTo>
                <a:lnTo>
                  <a:pt x="126504" y="63741"/>
                </a:lnTo>
                <a:lnTo>
                  <a:pt x="128689" y="72885"/>
                </a:lnTo>
                <a:lnTo>
                  <a:pt x="128689" y="39852"/>
                </a:lnTo>
                <a:lnTo>
                  <a:pt x="124904" y="36868"/>
                </a:lnTo>
                <a:lnTo>
                  <a:pt x="106400" y="33007"/>
                </a:lnTo>
                <a:lnTo>
                  <a:pt x="88976" y="36652"/>
                </a:lnTo>
                <a:lnTo>
                  <a:pt x="75298" y="46583"/>
                </a:lnTo>
                <a:lnTo>
                  <a:pt x="66370" y="61290"/>
                </a:lnTo>
                <a:lnTo>
                  <a:pt x="63169" y="79260"/>
                </a:lnTo>
                <a:lnTo>
                  <a:pt x="66662" y="98056"/>
                </a:lnTo>
                <a:lnTo>
                  <a:pt x="76263" y="112610"/>
                </a:lnTo>
                <a:lnTo>
                  <a:pt x="90678" y="122008"/>
                </a:lnTo>
                <a:lnTo>
                  <a:pt x="108585" y="125336"/>
                </a:lnTo>
                <a:lnTo>
                  <a:pt x="119913" y="124167"/>
                </a:lnTo>
                <a:lnTo>
                  <a:pt x="129641" y="120815"/>
                </a:lnTo>
                <a:lnTo>
                  <a:pt x="137883" y="115595"/>
                </a:lnTo>
                <a:lnTo>
                  <a:pt x="144780" y="108750"/>
                </a:lnTo>
                <a:lnTo>
                  <a:pt x="132880" y="98196"/>
                </a:lnTo>
                <a:lnTo>
                  <a:pt x="127558" y="102743"/>
                </a:lnTo>
                <a:lnTo>
                  <a:pt x="121970" y="106057"/>
                </a:lnTo>
                <a:lnTo>
                  <a:pt x="115849" y="108077"/>
                </a:lnTo>
                <a:lnTo>
                  <a:pt x="108915" y="108750"/>
                </a:lnTo>
                <a:lnTo>
                  <a:pt x="99758" y="107276"/>
                </a:lnTo>
                <a:lnTo>
                  <a:pt x="92163" y="102933"/>
                </a:lnTo>
                <a:lnTo>
                  <a:pt x="86575" y="95885"/>
                </a:lnTo>
                <a:lnTo>
                  <a:pt x="83439" y="86296"/>
                </a:lnTo>
                <a:lnTo>
                  <a:pt x="148463" y="86296"/>
                </a:lnTo>
                <a:lnTo>
                  <a:pt x="148628" y="84289"/>
                </a:lnTo>
                <a:lnTo>
                  <a:pt x="148793" y="82613"/>
                </a:lnTo>
                <a:lnTo>
                  <a:pt x="148793" y="80772"/>
                </a:lnTo>
                <a:close/>
              </a:path>
            </a:pathLst>
          </a:custGeom>
          <a:solidFill>
            <a:srgbClr val="FFFFFF"/>
          </a:solidFill>
        </p:spPr>
        <p:txBody>
          <a:bodyPr wrap="square" lIns="0" tIns="0" rIns="0" bIns="0" rtlCol="0"/>
          <a:lstStyle/>
          <a:p>
            <a:endParaRPr/>
          </a:p>
        </p:txBody>
      </p:sp>
      <p:pic>
        <p:nvPicPr>
          <p:cNvPr id="21" name="bg object 21"/>
          <p:cNvPicPr/>
          <p:nvPr/>
        </p:nvPicPr>
        <p:blipFill>
          <a:blip r:embed="rId3" cstate="print"/>
          <a:stretch>
            <a:fillRect/>
          </a:stretch>
        </p:blipFill>
        <p:spPr>
          <a:xfrm>
            <a:off x="3021484" y="8196247"/>
            <a:ext cx="79425" cy="90322"/>
          </a:xfrm>
          <a:prstGeom prst="rect">
            <a:avLst/>
          </a:prstGeom>
        </p:spPr>
      </p:pic>
      <p:sp>
        <p:nvSpPr>
          <p:cNvPr id="22" name="bg object 22"/>
          <p:cNvSpPr/>
          <p:nvPr/>
        </p:nvSpPr>
        <p:spPr>
          <a:xfrm>
            <a:off x="2659087" y="8159559"/>
            <a:ext cx="174625" cy="133350"/>
          </a:xfrm>
          <a:custGeom>
            <a:avLst/>
            <a:gdLst/>
            <a:ahLst/>
            <a:cxnLst/>
            <a:rect l="l" t="t" r="r" b="b"/>
            <a:pathLst>
              <a:path w="174625" h="133350">
                <a:moveTo>
                  <a:pt x="112026" y="17957"/>
                </a:moveTo>
                <a:lnTo>
                  <a:pt x="102374" y="10464"/>
                </a:lnTo>
                <a:lnTo>
                  <a:pt x="91440" y="4813"/>
                </a:lnTo>
                <a:lnTo>
                  <a:pt x="79425" y="1244"/>
                </a:lnTo>
                <a:lnTo>
                  <a:pt x="66573" y="0"/>
                </a:lnTo>
                <a:lnTo>
                  <a:pt x="41008" y="5092"/>
                </a:lnTo>
                <a:lnTo>
                  <a:pt x="20027" y="18986"/>
                </a:lnTo>
                <a:lnTo>
                  <a:pt x="5676" y="39636"/>
                </a:lnTo>
                <a:lnTo>
                  <a:pt x="0" y="64985"/>
                </a:lnTo>
                <a:lnTo>
                  <a:pt x="35496" y="64985"/>
                </a:lnTo>
                <a:lnTo>
                  <a:pt x="38366" y="53441"/>
                </a:lnTo>
                <a:lnTo>
                  <a:pt x="45110" y="44081"/>
                </a:lnTo>
                <a:lnTo>
                  <a:pt x="54825" y="37795"/>
                </a:lnTo>
                <a:lnTo>
                  <a:pt x="66573" y="35496"/>
                </a:lnTo>
                <a:lnTo>
                  <a:pt x="74358" y="35496"/>
                </a:lnTo>
                <a:lnTo>
                  <a:pt x="81457" y="38354"/>
                </a:lnTo>
                <a:lnTo>
                  <a:pt x="86918" y="43078"/>
                </a:lnTo>
                <a:lnTo>
                  <a:pt x="112026" y="17957"/>
                </a:lnTo>
                <a:close/>
              </a:path>
              <a:path w="174625" h="133350">
                <a:moveTo>
                  <a:pt x="133184" y="66078"/>
                </a:moveTo>
                <a:lnTo>
                  <a:pt x="133146" y="64973"/>
                </a:lnTo>
                <a:lnTo>
                  <a:pt x="65747" y="64973"/>
                </a:lnTo>
                <a:lnTo>
                  <a:pt x="65747" y="78536"/>
                </a:lnTo>
                <a:lnTo>
                  <a:pt x="95338" y="78536"/>
                </a:lnTo>
                <a:lnTo>
                  <a:pt x="90690" y="86296"/>
                </a:lnTo>
                <a:lnTo>
                  <a:pt x="84061" y="92367"/>
                </a:lnTo>
                <a:lnTo>
                  <a:pt x="75882" y="96329"/>
                </a:lnTo>
                <a:lnTo>
                  <a:pt x="66573" y="97751"/>
                </a:lnTo>
                <a:lnTo>
                  <a:pt x="59728" y="96989"/>
                </a:lnTo>
                <a:lnTo>
                  <a:pt x="53416" y="94830"/>
                </a:lnTo>
                <a:lnTo>
                  <a:pt x="47790" y="91440"/>
                </a:lnTo>
                <a:lnTo>
                  <a:pt x="43027" y="86969"/>
                </a:lnTo>
                <a:lnTo>
                  <a:pt x="17894" y="112090"/>
                </a:lnTo>
                <a:lnTo>
                  <a:pt x="27940" y="120878"/>
                </a:lnTo>
                <a:lnTo>
                  <a:pt x="39598" y="127546"/>
                </a:lnTo>
                <a:lnTo>
                  <a:pt x="52578" y="131762"/>
                </a:lnTo>
                <a:lnTo>
                  <a:pt x="66573" y="133248"/>
                </a:lnTo>
                <a:lnTo>
                  <a:pt x="92506" y="128003"/>
                </a:lnTo>
                <a:lnTo>
                  <a:pt x="113677" y="113728"/>
                </a:lnTo>
                <a:lnTo>
                  <a:pt x="127952" y="92544"/>
                </a:lnTo>
                <a:lnTo>
                  <a:pt x="133184" y="66078"/>
                </a:lnTo>
                <a:close/>
              </a:path>
              <a:path w="174625" h="133350">
                <a:moveTo>
                  <a:pt x="171919" y="37871"/>
                </a:moveTo>
                <a:lnTo>
                  <a:pt x="151384" y="37871"/>
                </a:lnTo>
                <a:lnTo>
                  <a:pt x="151384" y="126809"/>
                </a:lnTo>
                <a:lnTo>
                  <a:pt x="171919" y="126809"/>
                </a:lnTo>
                <a:lnTo>
                  <a:pt x="171919" y="37871"/>
                </a:lnTo>
                <a:close/>
              </a:path>
              <a:path w="174625" h="133350">
                <a:moveTo>
                  <a:pt x="174383" y="8928"/>
                </a:moveTo>
                <a:lnTo>
                  <a:pt x="168935" y="3467"/>
                </a:lnTo>
                <a:lnTo>
                  <a:pt x="155486" y="3467"/>
                </a:lnTo>
                <a:lnTo>
                  <a:pt x="150037" y="8928"/>
                </a:lnTo>
                <a:lnTo>
                  <a:pt x="150037" y="22364"/>
                </a:lnTo>
                <a:lnTo>
                  <a:pt x="155486" y="27825"/>
                </a:lnTo>
                <a:lnTo>
                  <a:pt x="168935" y="27825"/>
                </a:lnTo>
                <a:lnTo>
                  <a:pt x="174383" y="22364"/>
                </a:lnTo>
                <a:lnTo>
                  <a:pt x="174383" y="15646"/>
                </a:lnTo>
                <a:lnTo>
                  <a:pt x="174383" y="8928"/>
                </a:lnTo>
                <a:close/>
              </a:path>
            </a:pathLst>
          </a:custGeom>
          <a:solidFill>
            <a:srgbClr val="FFFFFF"/>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000" b="1" i="0">
                <a:solidFill>
                  <a:schemeClr val="bg1"/>
                </a:solidFill>
                <a:latin typeface="Century Gothic"/>
                <a:cs typeface="Century Gothic"/>
              </a:defRPr>
            </a:lvl1pPr>
          </a:lstStyle>
          <a:p>
            <a:endParaRPr/>
          </a:p>
        </p:txBody>
      </p:sp>
      <p:sp>
        <p:nvSpPr>
          <p:cNvPr id="3" name="Holder 3"/>
          <p:cNvSpPr>
            <a:spLocks noGrp="1"/>
          </p:cNvSpPr>
          <p:nvPr>
            <p:ph sz="half" idx="2"/>
          </p:nvPr>
        </p:nvSpPr>
        <p:spPr>
          <a:xfrm>
            <a:off x="503299" y="2182950"/>
            <a:ext cx="2300605" cy="4519930"/>
          </a:xfrm>
          <a:prstGeom prst="rect">
            <a:avLst/>
          </a:prstGeom>
        </p:spPr>
        <p:txBody>
          <a:bodyPr wrap="square" lIns="0" tIns="0" rIns="0" bIns="0">
            <a:spAutoFit/>
          </a:bodyPr>
          <a:lstStyle>
            <a:lvl1pPr>
              <a:defRPr sz="800" b="0" i="0">
                <a:solidFill>
                  <a:schemeClr val="bg1"/>
                </a:solidFill>
                <a:latin typeface="Century Gothic"/>
                <a:cs typeface="Century Gothic"/>
              </a:defRPr>
            </a:lvl1pPr>
          </a:lstStyle>
          <a:p>
            <a:endParaRPr/>
          </a:p>
        </p:txBody>
      </p:sp>
      <p:sp>
        <p:nvSpPr>
          <p:cNvPr id="4" name="Holder 4"/>
          <p:cNvSpPr>
            <a:spLocks noGrp="1"/>
          </p:cNvSpPr>
          <p:nvPr>
            <p:ph sz="half" idx="3"/>
          </p:nvPr>
        </p:nvSpPr>
        <p:spPr>
          <a:xfrm>
            <a:off x="2969387" y="1987740"/>
            <a:ext cx="2508123" cy="5703951"/>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500" b="0" i="0">
                <a:solidFill>
                  <a:schemeClr val="bg1"/>
                </a:solidFill>
                <a:latin typeface="Century Gothic"/>
                <a:cs typeface="Century Gothic"/>
              </a:defRPr>
            </a:lvl1pPr>
          </a:lstStyle>
          <a:p>
            <a:pPr marL="12700">
              <a:lnSpc>
                <a:spcPct val="100000"/>
              </a:lnSpc>
              <a:spcBef>
                <a:spcPts val="100"/>
              </a:spcBef>
            </a:pPr>
            <a:r>
              <a:rPr dirty="0"/>
              <a:t>Focus</a:t>
            </a:r>
            <a:r>
              <a:rPr spc="-20" dirty="0"/>
              <a:t> </a:t>
            </a:r>
            <a:r>
              <a:rPr dirty="0"/>
              <a:t>on</a:t>
            </a:r>
            <a:r>
              <a:rPr spc="-15" dirty="0"/>
              <a:t> </a:t>
            </a:r>
            <a:r>
              <a:rPr spc="-5" dirty="0"/>
              <a:t>EPR</a:t>
            </a:r>
            <a:r>
              <a:rPr spc="-20" dirty="0"/>
              <a:t> </a:t>
            </a:r>
            <a:r>
              <a:rPr dirty="0"/>
              <a:t>technology</a:t>
            </a:r>
            <a:r>
              <a:rPr spc="-15" dirty="0"/>
              <a:t> </a:t>
            </a:r>
            <a:r>
              <a:rPr dirty="0"/>
              <a:t>for</a:t>
            </a:r>
            <a:r>
              <a:rPr spc="-20" dirty="0"/>
              <a:t> </a:t>
            </a:r>
            <a:r>
              <a:rPr dirty="0"/>
              <a:t>Poland</a:t>
            </a:r>
          </a:p>
        </p:txBody>
      </p:sp>
      <p:sp>
        <p:nvSpPr>
          <p:cNvPr id="6" name="Holder 6"/>
          <p:cNvSpPr>
            <a:spLocks noGrp="1"/>
          </p:cNvSpPr>
          <p:nvPr>
            <p:ph type="dt" sz="half" idx="6"/>
          </p:nvPr>
        </p:nvSpPr>
        <p:spPr/>
        <p:txBody>
          <a:bodyPr lIns="0" tIns="0" rIns="0" bIns="0"/>
          <a:lstStyle>
            <a:lvl1pPr>
              <a:defRPr sz="600" b="1" i="0">
                <a:solidFill>
                  <a:schemeClr val="bg1"/>
                </a:solidFill>
                <a:latin typeface="Century Gothic"/>
                <a:cs typeface="Century Gothic"/>
              </a:defRPr>
            </a:lvl1pPr>
          </a:lstStyle>
          <a:p>
            <a:pPr marL="12700">
              <a:lnSpc>
                <a:spcPct val="100000"/>
              </a:lnSpc>
              <a:spcBef>
                <a:spcPts val="100"/>
              </a:spcBef>
            </a:pPr>
            <a:r>
              <a:rPr dirty="0"/>
              <a:t>THE</a:t>
            </a:r>
            <a:r>
              <a:rPr spc="-30" dirty="0"/>
              <a:t> </a:t>
            </a:r>
            <a:r>
              <a:rPr dirty="0"/>
              <a:t>FRENCH</a:t>
            </a:r>
            <a:r>
              <a:rPr spc="-25" dirty="0"/>
              <a:t> </a:t>
            </a:r>
            <a:r>
              <a:rPr dirty="0"/>
              <a:t>NUCLEAR</a:t>
            </a:r>
            <a:r>
              <a:rPr spc="-30" dirty="0"/>
              <a:t> </a:t>
            </a:r>
            <a:r>
              <a:rPr dirty="0"/>
              <a:t>INDUSTRY</a:t>
            </a:r>
          </a:p>
        </p:txBody>
      </p:sp>
      <p:sp>
        <p:nvSpPr>
          <p:cNvPr id="7" name="Holder 7"/>
          <p:cNvSpPr>
            <a:spLocks noGrp="1"/>
          </p:cNvSpPr>
          <p:nvPr>
            <p:ph type="sldNum" sz="quarter" idx="7"/>
          </p:nvPr>
        </p:nvSpPr>
        <p:spPr/>
        <p:txBody>
          <a:bodyPr lIns="0" tIns="0" rIns="0" bIns="0"/>
          <a:lstStyle>
            <a:lvl1pPr>
              <a:defRPr sz="800" b="0" i="0">
                <a:solidFill>
                  <a:schemeClr val="bg1"/>
                </a:solidFill>
                <a:latin typeface="Century Gothic"/>
                <a:cs typeface="Century Gothic"/>
              </a:defRPr>
            </a:lvl1pPr>
          </a:lstStyle>
          <a:p>
            <a:pPr marL="12700">
              <a:lnSpc>
                <a:spcPct val="100000"/>
              </a:lnSpc>
              <a:spcBef>
                <a:spcPts val="105"/>
              </a:spcBef>
            </a:pPr>
            <a:r>
              <a:rPr dirty="0">
                <a:latin typeface="Century Gothic"/>
                <a:cs typeface="Century Gothic"/>
              </a:rPr>
              <a:t>I</a:t>
            </a:r>
            <a:r>
              <a:rPr spc="395" dirty="0">
                <a:latin typeface="Century Gothic"/>
                <a:cs typeface="Century Gothic"/>
              </a:rPr>
              <a:t> </a:t>
            </a:r>
            <a:fld id="{81D60167-4931-47E6-BA6A-407CBD079E47}" type="slidenum">
              <a:rPr b="1" dirty="0"/>
              <a:t>‹N°›</a:t>
            </a:fld>
            <a:r>
              <a:rPr b="1" spc="395" dirty="0"/>
              <a:t> </a:t>
            </a:r>
            <a:r>
              <a:rPr dirty="0">
                <a:latin typeface="Century Gothic"/>
                <a:cs typeface="Century Gothic"/>
              </a:rPr>
              <a:t>I</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000" b="1" i="0">
                <a:solidFill>
                  <a:schemeClr val="bg1"/>
                </a:solidFill>
                <a:latin typeface="Century Gothic"/>
                <a:cs typeface="Century Gothic"/>
              </a:defRPr>
            </a:lvl1pPr>
          </a:lstStyle>
          <a:p>
            <a:endParaRPr/>
          </a:p>
        </p:txBody>
      </p:sp>
      <p:sp>
        <p:nvSpPr>
          <p:cNvPr id="3" name="Holder 3"/>
          <p:cNvSpPr>
            <a:spLocks noGrp="1"/>
          </p:cNvSpPr>
          <p:nvPr>
            <p:ph type="ftr" sz="quarter" idx="5"/>
          </p:nvPr>
        </p:nvSpPr>
        <p:spPr/>
        <p:txBody>
          <a:bodyPr lIns="0" tIns="0" rIns="0" bIns="0"/>
          <a:lstStyle>
            <a:lvl1pPr>
              <a:defRPr sz="500" b="0" i="0">
                <a:solidFill>
                  <a:schemeClr val="bg1"/>
                </a:solidFill>
                <a:latin typeface="Century Gothic"/>
                <a:cs typeface="Century Gothic"/>
              </a:defRPr>
            </a:lvl1pPr>
          </a:lstStyle>
          <a:p>
            <a:pPr marL="12700">
              <a:lnSpc>
                <a:spcPct val="100000"/>
              </a:lnSpc>
              <a:spcBef>
                <a:spcPts val="100"/>
              </a:spcBef>
            </a:pPr>
            <a:r>
              <a:rPr dirty="0"/>
              <a:t>Focus</a:t>
            </a:r>
            <a:r>
              <a:rPr spc="-20" dirty="0"/>
              <a:t> </a:t>
            </a:r>
            <a:r>
              <a:rPr dirty="0"/>
              <a:t>on</a:t>
            </a:r>
            <a:r>
              <a:rPr spc="-15" dirty="0"/>
              <a:t> </a:t>
            </a:r>
            <a:r>
              <a:rPr spc="-5" dirty="0"/>
              <a:t>EPR</a:t>
            </a:r>
            <a:r>
              <a:rPr spc="-20" dirty="0"/>
              <a:t> </a:t>
            </a:r>
            <a:r>
              <a:rPr dirty="0"/>
              <a:t>technology</a:t>
            </a:r>
            <a:r>
              <a:rPr spc="-15" dirty="0"/>
              <a:t> </a:t>
            </a:r>
            <a:r>
              <a:rPr dirty="0"/>
              <a:t>for</a:t>
            </a:r>
            <a:r>
              <a:rPr spc="-20" dirty="0"/>
              <a:t> </a:t>
            </a:r>
            <a:r>
              <a:rPr dirty="0"/>
              <a:t>Poland</a:t>
            </a:r>
          </a:p>
        </p:txBody>
      </p:sp>
      <p:sp>
        <p:nvSpPr>
          <p:cNvPr id="4" name="Holder 4"/>
          <p:cNvSpPr>
            <a:spLocks noGrp="1"/>
          </p:cNvSpPr>
          <p:nvPr>
            <p:ph type="dt" sz="half" idx="6"/>
          </p:nvPr>
        </p:nvSpPr>
        <p:spPr/>
        <p:txBody>
          <a:bodyPr lIns="0" tIns="0" rIns="0" bIns="0"/>
          <a:lstStyle>
            <a:lvl1pPr>
              <a:defRPr sz="600" b="1" i="0">
                <a:solidFill>
                  <a:schemeClr val="bg1"/>
                </a:solidFill>
                <a:latin typeface="Century Gothic"/>
                <a:cs typeface="Century Gothic"/>
              </a:defRPr>
            </a:lvl1pPr>
          </a:lstStyle>
          <a:p>
            <a:pPr marL="12700">
              <a:lnSpc>
                <a:spcPct val="100000"/>
              </a:lnSpc>
              <a:spcBef>
                <a:spcPts val="100"/>
              </a:spcBef>
            </a:pPr>
            <a:r>
              <a:rPr dirty="0"/>
              <a:t>THE</a:t>
            </a:r>
            <a:r>
              <a:rPr spc="-30" dirty="0"/>
              <a:t> </a:t>
            </a:r>
            <a:r>
              <a:rPr dirty="0"/>
              <a:t>FRENCH</a:t>
            </a:r>
            <a:r>
              <a:rPr spc="-25" dirty="0"/>
              <a:t> </a:t>
            </a:r>
            <a:r>
              <a:rPr dirty="0"/>
              <a:t>NUCLEAR</a:t>
            </a:r>
            <a:r>
              <a:rPr spc="-30" dirty="0"/>
              <a:t> </a:t>
            </a:r>
            <a:r>
              <a:rPr dirty="0"/>
              <a:t>INDUSTRY</a:t>
            </a:r>
          </a:p>
        </p:txBody>
      </p:sp>
      <p:sp>
        <p:nvSpPr>
          <p:cNvPr id="5" name="Holder 5"/>
          <p:cNvSpPr>
            <a:spLocks noGrp="1"/>
          </p:cNvSpPr>
          <p:nvPr>
            <p:ph type="sldNum" sz="quarter" idx="7"/>
          </p:nvPr>
        </p:nvSpPr>
        <p:spPr/>
        <p:txBody>
          <a:bodyPr lIns="0" tIns="0" rIns="0" bIns="0"/>
          <a:lstStyle>
            <a:lvl1pPr>
              <a:defRPr sz="800" b="0" i="0">
                <a:solidFill>
                  <a:schemeClr val="bg1"/>
                </a:solidFill>
                <a:latin typeface="Century Gothic"/>
                <a:cs typeface="Century Gothic"/>
              </a:defRPr>
            </a:lvl1pPr>
          </a:lstStyle>
          <a:p>
            <a:pPr marL="12700">
              <a:lnSpc>
                <a:spcPct val="100000"/>
              </a:lnSpc>
              <a:spcBef>
                <a:spcPts val="105"/>
              </a:spcBef>
            </a:pPr>
            <a:r>
              <a:rPr dirty="0">
                <a:latin typeface="Century Gothic"/>
                <a:cs typeface="Century Gothic"/>
              </a:rPr>
              <a:t>I</a:t>
            </a:r>
            <a:r>
              <a:rPr spc="395" dirty="0">
                <a:latin typeface="Century Gothic"/>
                <a:cs typeface="Century Gothic"/>
              </a:rPr>
              <a:t> </a:t>
            </a:r>
            <a:fld id="{81D60167-4931-47E6-BA6A-407CBD079E47}" type="slidenum">
              <a:rPr b="1" dirty="0"/>
              <a:t>‹N°›</a:t>
            </a:fld>
            <a:r>
              <a:rPr b="1" spc="395" dirty="0"/>
              <a:t> </a:t>
            </a:r>
            <a:r>
              <a:rPr dirty="0">
                <a:latin typeface="Century Gothic"/>
                <a:cs typeface="Century Gothic"/>
              </a:rPr>
              <a:t>I</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500" b="0" i="0">
                <a:solidFill>
                  <a:schemeClr val="bg1"/>
                </a:solidFill>
                <a:latin typeface="Century Gothic"/>
                <a:cs typeface="Century Gothic"/>
              </a:defRPr>
            </a:lvl1pPr>
          </a:lstStyle>
          <a:p>
            <a:pPr marL="12700">
              <a:lnSpc>
                <a:spcPct val="100000"/>
              </a:lnSpc>
              <a:spcBef>
                <a:spcPts val="100"/>
              </a:spcBef>
            </a:pPr>
            <a:r>
              <a:rPr dirty="0"/>
              <a:t>Focus</a:t>
            </a:r>
            <a:r>
              <a:rPr spc="-20" dirty="0"/>
              <a:t> </a:t>
            </a:r>
            <a:r>
              <a:rPr dirty="0"/>
              <a:t>on</a:t>
            </a:r>
            <a:r>
              <a:rPr spc="-15" dirty="0"/>
              <a:t> </a:t>
            </a:r>
            <a:r>
              <a:rPr spc="-5" dirty="0"/>
              <a:t>EPR</a:t>
            </a:r>
            <a:r>
              <a:rPr spc="-20" dirty="0"/>
              <a:t> </a:t>
            </a:r>
            <a:r>
              <a:rPr dirty="0"/>
              <a:t>technology</a:t>
            </a:r>
            <a:r>
              <a:rPr spc="-15" dirty="0"/>
              <a:t> </a:t>
            </a:r>
            <a:r>
              <a:rPr dirty="0"/>
              <a:t>for</a:t>
            </a:r>
            <a:r>
              <a:rPr spc="-20" dirty="0"/>
              <a:t> </a:t>
            </a:r>
            <a:r>
              <a:rPr dirty="0"/>
              <a:t>Poland</a:t>
            </a:r>
          </a:p>
        </p:txBody>
      </p:sp>
      <p:sp>
        <p:nvSpPr>
          <p:cNvPr id="3" name="Holder 3"/>
          <p:cNvSpPr>
            <a:spLocks noGrp="1"/>
          </p:cNvSpPr>
          <p:nvPr>
            <p:ph type="dt" sz="half" idx="6"/>
          </p:nvPr>
        </p:nvSpPr>
        <p:spPr/>
        <p:txBody>
          <a:bodyPr lIns="0" tIns="0" rIns="0" bIns="0"/>
          <a:lstStyle>
            <a:lvl1pPr>
              <a:defRPr sz="600" b="1" i="0">
                <a:solidFill>
                  <a:schemeClr val="bg1"/>
                </a:solidFill>
                <a:latin typeface="Century Gothic"/>
                <a:cs typeface="Century Gothic"/>
              </a:defRPr>
            </a:lvl1pPr>
          </a:lstStyle>
          <a:p>
            <a:pPr marL="12700">
              <a:lnSpc>
                <a:spcPct val="100000"/>
              </a:lnSpc>
              <a:spcBef>
                <a:spcPts val="100"/>
              </a:spcBef>
            </a:pPr>
            <a:r>
              <a:rPr dirty="0"/>
              <a:t>THE</a:t>
            </a:r>
            <a:r>
              <a:rPr spc="-30" dirty="0"/>
              <a:t> </a:t>
            </a:r>
            <a:r>
              <a:rPr dirty="0"/>
              <a:t>FRENCH</a:t>
            </a:r>
            <a:r>
              <a:rPr spc="-25" dirty="0"/>
              <a:t> </a:t>
            </a:r>
            <a:r>
              <a:rPr dirty="0"/>
              <a:t>NUCLEAR</a:t>
            </a:r>
            <a:r>
              <a:rPr spc="-30" dirty="0"/>
              <a:t> </a:t>
            </a:r>
            <a:r>
              <a:rPr dirty="0"/>
              <a:t>INDUSTRY</a:t>
            </a:r>
          </a:p>
        </p:txBody>
      </p:sp>
      <p:sp>
        <p:nvSpPr>
          <p:cNvPr id="4" name="Holder 4"/>
          <p:cNvSpPr>
            <a:spLocks noGrp="1"/>
          </p:cNvSpPr>
          <p:nvPr>
            <p:ph type="sldNum" sz="quarter" idx="7"/>
          </p:nvPr>
        </p:nvSpPr>
        <p:spPr/>
        <p:txBody>
          <a:bodyPr lIns="0" tIns="0" rIns="0" bIns="0"/>
          <a:lstStyle>
            <a:lvl1pPr>
              <a:defRPr sz="800" b="0" i="0">
                <a:solidFill>
                  <a:schemeClr val="bg1"/>
                </a:solidFill>
                <a:latin typeface="Century Gothic"/>
                <a:cs typeface="Century Gothic"/>
              </a:defRPr>
            </a:lvl1pPr>
          </a:lstStyle>
          <a:p>
            <a:pPr marL="12700">
              <a:lnSpc>
                <a:spcPct val="100000"/>
              </a:lnSpc>
              <a:spcBef>
                <a:spcPts val="105"/>
              </a:spcBef>
            </a:pPr>
            <a:r>
              <a:rPr dirty="0">
                <a:latin typeface="Century Gothic"/>
                <a:cs typeface="Century Gothic"/>
              </a:rPr>
              <a:t>I</a:t>
            </a:r>
            <a:r>
              <a:rPr spc="395" dirty="0">
                <a:latin typeface="Century Gothic"/>
                <a:cs typeface="Century Gothic"/>
              </a:rPr>
              <a:t> </a:t>
            </a:r>
            <a:fld id="{81D60167-4931-47E6-BA6A-407CBD079E47}" type="slidenum">
              <a:rPr b="1" dirty="0"/>
              <a:t>‹N°›</a:t>
            </a:fld>
            <a:r>
              <a:rPr b="1" spc="395" dirty="0"/>
              <a:t> </a:t>
            </a:r>
            <a:r>
              <a:rPr dirty="0">
                <a:latin typeface="Century Gothic"/>
                <a:cs typeface="Century Gothic"/>
              </a:rPr>
              <a:t>I</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13" Type="http://schemas.openxmlformats.org/officeDocument/2006/relationships/image" Target="../media/image7.png"/><Relationship Id="rId3" Type="http://schemas.openxmlformats.org/officeDocument/2006/relationships/slideLayout" Target="../slideLayouts/slideLayout3.xml"/><Relationship Id="rId7" Type="http://schemas.openxmlformats.org/officeDocument/2006/relationships/image" Target="../media/image1.png"/><Relationship Id="rId12"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5.png"/><Relationship Id="rId5" Type="http://schemas.openxmlformats.org/officeDocument/2006/relationships/slideLayout" Target="../slideLayouts/slideLayout5.xml"/><Relationship Id="rId15" Type="http://schemas.openxmlformats.org/officeDocument/2006/relationships/image" Target="../media/image9.png"/><Relationship Id="rId10"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image" Target="../media/image3.png"/><Relationship Id="rId14"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2148000" y="2071201"/>
            <a:ext cx="0" cy="6389370"/>
          </a:xfrm>
          <a:custGeom>
            <a:avLst/>
            <a:gdLst/>
            <a:ahLst/>
            <a:cxnLst/>
            <a:rect l="l" t="t" r="r" b="b"/>
            <a:pathLst>
              <a:path h="6389370">
                <a:moveTo>
                  <a:pt x="0" y="0"/>
                </a:moveTo>
                <a:lnTo>
                  <a:pt x="0" y="6388789"/>
                </a:lnTo>
              </a:path>
            </a:pathLst>
          </a:custGeom>
          <a:ln w="12700">
            <a:solidFill>
              <a:srgbClr val="EF3A47"/>
            </a:solidFill>
            <a:prstDash val="dot"/>
          </a:ln>
        </p:spPr>
        <p:txBody>
          <a:bodyPr wrap="square" lIns="0" tIns="0" rIns="0" bIns="0" rtlCol="0"/>
          <a:lstStyle/>
          <a:p>
            <a:endParaRPr/>
          </a:p>
        </p:txBody>
      </p:sp>
      <p:sp>
        <p:nvSpPr>
          <p:cNvPr id="17" name="bg object 17"/>
          <p:cNvSpPr/>
          <p:nvPr/>
        </p:nvSpPr>
        <p:spPr>
          <a:xfrm>
            <a:off x="0" y="2034006"/>
            <a:ext cx="1957705" cy="6426200"/>
          </a:xfrm>
          <a:custGeom>
            <a:avLst/>
            <a:gdLst/>
            <a:ahLst/>
            <a:cxnLst/>
            <a:rect l="l" t="t" r="r" b="b"/>
            <a:pathLst>
              <a:path w="1957705" h="6426200">
                <a:moveTo>
                  <a:pt x="0" y="6425984"/>
                </a:moveTo>
                <a:lnTo>
                  <a:pt x="1957501" y="6425984"/>
                </a:lnTo>
                <a:lnTo>
                  <a:pt x="1957501" y="0"/>
                </a:lnTo>
                <a:lnTo>
                  <a:pt x="0" y="0"/>
                </a:lnTo>
                <a:lnTo>
                  <a:pt x="0" y="6425984"/>
                </a:lnTo>
                <a:close/>
              </a:path>
            </a:pathLst>
          </a:custGeom>
          <a:solidFill>
            <a:srgbClr val="CFD1D0"/>
          </a:solidFill>
        </p:spPr>
        <p:txBody>
          <a:bodyPr wrap="square" lIns="0" tIns="0" rIns="0" bIns="0" rtlCol="0"/>
          <a:lstStyle/>
          <a:p>
            <a:endParaRPr/>
          </a:p>
        </p:txBody>
      </p:sp>
      <p:pic>
        <p:nvPicPr>
          <p:cNvPr id="18" name="bg object 18"/>
          <p:cNvPicPr/>
          <p:nvPr/>
        </p:nvPicPr>
        <p:blipFill>
          <a:blip r:embed="rId7" cstate="print"/>
          <a:stretch>
            <a:fillRect/>
          </a:stretch>
        </p:blipFill>
        <p:spPr>
          <a:xfrm>
            <a:off x="0" y="8459990"/>
            <a:ext cx="5759996" cy="180009"/>
          </a:xfrm>
          <a:prstGeom prst="rect">
            <a:avLst/>
          </a:prstGeom>
        </p:spPr>
      </p:pic>
      <p:sp>
        <p:nvSpPr>
          <p:cNvPr id="19" name="bg object 19"/>
          <p:cNvSpPr/>
          <p:nvPr/>
        </p:nvSpPr>
        <p:spPr>
          <a:xfrm>
            <a:off x="3815994" y="0"/>
            <a:ext cx="1944370" cy="1791335"/>
          </a:xfrm>
          <a:custGeom>
            <a:avLst/>
            <a:gdLst/>
            <a:ahLst/>
            <a:cxnLst/>
            <a:rect l="l" t="t" r="r" b="b"/>
            <a:pathLst>
              <a:path w="1944370" h="1791335">
                <a:moveTo>
                  <a:pt x="0" y="1791004"/>
                </a:moveTo>
                <a:lnTo>
                  <a:pt x="1944001" y="1791004"/>
                </a:lnTo>
                <a:lnTo>
                  <a:pt x="1944001" y="0"/>
                </a:lnTo>
                <a:lnTo>
                  <a:pt x="0" y="0"/>
                </a:lnTo>
                <a:lnTo>
                  <a:pt x="0" y="1791004"/>
                </a:lnTo>
                <a:close/>
              </a:path>
            </a:pathLst>
          </a:custGeom>
          <a:solidFill>
            <a:srgbClr val="6C92A8">
              <a:alpha val="84999"/>
            </a:srgbClr>
          </a:solidFill>
        </p:spPr>
        <p:txBody>
          <a:bodyPr wrap="square" lIns="0" tIns="0" rIns="0" bIns="0" rtlCol="0"/>
          <a:lstStyle/>
          <a:p>
            <a:endParaRPr/>
          </a:p>
        </p:txBody>
      </p:sp>
      <p:sp>
        <p:nvSpPr>
          <p:cNvPr id="20" name="bg object 20"/>
          <p:cNvSpPr/>
          <p:nvPr/>
        </p:nvSpPr>
        <p:spPr>
          <a:xfrm>
            <a:off x="1868017" y="2034006"/>
            <a:ext cx="2025650" cy="52705"/>
          </a:xfrm>
          <a:custGeom>
            <a:avLst/>
            <a:gdLst/>
            <a:ahLst/>
            <a:cxnLst/>
            <a:rect l="l" t="t" r="r" b="b"/>
            <a:pathLst>
              <a:path w="2025650" h="52705">
                <a:moveTo>
                  <a:pt x="0" y="52565"/>
                </a:moveTo>
                <a:lnTo>
                  <a:pt x="2025395" y="52565"/>
                </a:lnTo>
                <a:lnTo>
                  <a:pt x="2025395" y="0"/>
                </a:lnTo>
                <a:lnTo>
                  <a:pt x="0" y="0"/>
                </a:lnTo>
                <a:lnTo>
                  <a:pt x="0" y="52565"/>
                </a:lnTo>
                <a:close/>
              </a:path>
            </a:pathLst>
          </a:custGeom>
          <a:solidFill>
            <a:srgbClr val="231F20">
              <a:alpha val="50000"/>
            </a:srgbClr>
          </a:solidFill>
        </p:spPr>
        <p:txBody>
          <a:bodyPr wrap="square" lIns="0" tIns="0" rIns="0" bIns="0" rtlCol="0"/>
          <a:lstStyle/>
          <a:p>
            <a:endParaRPr/>
          </a:p>
        </p:txBody>
      </p:sp>
      <p:sp>
        <p:nvSpPr>
          <p:cNvPr id="21" name="bg object 21"/>
          <p:cNvSpPr/>
          <p:nvPr/>
        </p:nvSpPr>
        <p:spPr>
          <a:xfrm>
            <a:off x="1868017" y="0"/>
            <a:ext cx="2025650" cy="1791335"/>
          </a:xfrm>
          <a:custGeom>
            <a:avLst/>
            <a:gdLst/>
            <a:ahLst/>
            <a:cxnLst/>
            <a:rect l="l" t="t" r="r" b="b"/>
            <a:pathLst>
              <a:path w="2025650" h="1791335">
                <a:moveTo>
                  <a:pt x="0" y="1791004"/>
                </a:moveTo>
                <a:lnTo>
                  <a:pt x="2025395" y="1791004"/>
                </a:lnTo>
                <a:lnTo>
                  <a:pt x="2025395" y="0"/>
                </a:lnTo>
                <a:lnTo>
                  <a:pt x="0" y="0"/>
                </a:lnTo>
                <a:lnTo>
                  <a:pt x="0" y="1791004"/>
                </a:lnTo>
                <a:close/>
              </a:path>
            </a:pathLst>
          </a:custGeom>
          <a:solidFill>
            <a:srgbClr val="231F20">
              <a:alpha val="50000"/>
            </a:srgbClr>
          </a:solidFill>
        </p:spPr>
        <p:txBody>
          <a:bodyPr wrap="square" lIns="0" tIns="0" rIns="0" bIns="0" rtlCol="0"/>
          <a:lstStyle/>
          <a:p>
            <a:endParaRPr/>
          </a:p>
        </p:txBody>
      </p:sp>
      <p:sp>
        <p:nvSpPr>
          <p:cNvPr id="22" name="bg object 22"/>
          <p:cNvSpPr/>
          <p:nvPr/>
        </p:nvSpPr>
        <p:spPr>
          <a:xfrm>
            <a:off x="1944001" y="0"/>
            <a:ext cx="1872614" cy="1791335"/>
          </a:xfrm>
          <a:custGeom>
            <a:avLst/>
            <a:gdLst/>
            <a:ahLst/>
            <a:cxnLst/>
            <a:rect l="l" t="t" r="r" b="b"/>
            <a:pathLst>
              <a:path w="1872614" h="1791335">
                <a:moveTo>
                  <a:pt x="0" y="1791004"/>
                </a:moveTo>
                <a:lnTo>
                  <a:pt x="1872005" y="1791004"/>
                </a:lnTo>
                <a:lnTo>
                  <a:pt x="1872005" y="0"/>
                </a:lnTo>
                <a:lnTo>
                  <a:pt x="0" y="0"/>
                </a:lnTo>
                <a:lnTo>
                  <a:pt x="0" y="1791004"/>
                </a:lnTo>
                <a:close/>
              </a:path>
            </a:pathLst>
          </a:custGeom>
          <a:solidFill>
            <a:srgbClr val="488C81"/>
          </a:solidFill>
        </p:spPr>
        <p:txBody>
          <a:bodyPr wrap="square" lIns="0" tIns="0" rIns="0" bIns="0" rtlCol="0"/>
          <a:lstStyle/>
          <a:p>
            <a:endParaRPr/>
          </a:p>
        </p:txBody>
      </p:sp>
      <p:sp>
        <p:nvSpPr>
          <p:cNvPr id="23" name="bg object 23"/>
          <p:cNvSpPr/>
          <p:nvPr/>
        </p:nvSpPr>
        <p:spPr>
          <a:xfrm>
            <a:off x="2148000" y="483962"/>
            <a:ext cx="0" cy="1307465"/>
          </a:xfrm>
          <a:custGeom>
            <a:avLst/>
            <a:gdLst/>
            <a:ahLst/>
            <a:cxnLst/>
            <a:rect l="l" t="t" r="r" b="b"/>
            <a:pathLst>
              <a:path h="1307464">
                <a:moveTo>
                  <a:pt x="0" y="0"/>
                </a:moveTo>
                <a:lnTo>
                  <a:pt x="0" y="1307042"/>
                </a:lnTo>
              </a:path>
            </a:pathLst>
          </a:custGeom>
          <a:ln w="12700">
            <a:solidFill>
              <a:srgbClr val="FFFFFF"/>
            </a:solidFill>
            <a:prstDash val="dot"/>
          </a:ln>
        </p:spPr>
        <p:txBody>
          <a:bodyPr wrap="square" lIns="0" tIns="0" rIns="0" bIns="0" rtlCol="0"/>
          <a:lstStyle/>
          <a:p>
            <a:endParaRPr/>
          </a:p>
        </p:txBody>
      </p:sp>
      <p:sp>
        <p:nvSpPr>
          <p:cNvPr id="24" name="bg object 24"/>
          <p:cNvSpPr/>
          <p:nvPr/>
        </p:nvSpPr>
        <p:spPr>
          <a:xfrm>
            <a:off x="2141650" y="439200"/>
            <a:ext cx="12700" cy="12700"/>
          </a:xfrm>
          <a:custGeom>
            <a:avLst/>
            <a:gdLst/>
            <a:ahLst/>
            <a:cxnLst/>
            <a:rect l="l" t="t" r="r" b="b"/>
            <a:pathLst>
              <a:path w="12700" h="12700">
                <a:moveTo>
                  <a:pt x="0" y="6350"/>
                </a:moveTo>
                <a:lnTo>
                  <a:pt x="1859" y="1859"/>
                </a:lnTo>
                <a:lnTo>
                  <a:pt x="6350" y="0"/>
                </a:lnTo>
                <a:lnTo>
                  <a:pt x="10840" y="1859"/>
                </a:lnTo>
                <a:lnTo>
                  <a:pt x="12700" y="6350"/>
                </a:lnTo>
                <a:lnTo>
                  <a:pt x="10840" y="10840"/>
                </a:lnTo>
                <a:lnTo>
                  <a:pt x="6350" y="12700"/>
                </a:lnTo>
                <a:lnTo>
                  <a:pt x="1859" y="10840"/>
                </a:lnTo>
                <a:lnTo>
                  <a:pt x="0" y="6350"/>
                </a:lnTo>
                <a:close/>
              </a:path>
            </a:pathLst>
          </a:custGeom>
          <a:solidFill>
            <a:srgbClr val="FFFFFF"/>
          </a:solidFill>
        </p:spPr>
        <p:txBody>
          <a:bodyPr wrap="square" lIns="0" tIns="0" rIns="0" bIns="0" rtlCol="0"/>
          <a:lstStyle/>
          <a:p>
            <a:endParaRPr/>
          </a:p>
        </p:txBody>
      </p:sp>
      <p:sp>
        <p:nvSpPr>
          <p:cNvPr id="25" name="bg object 25"/>
          <p:cNvSpPr/>
          <p:nvPr/>
        </p:nvSpPr>
        <p:spPr>
          <a:xfrm>
            <a:off x="4009549" y="483962"/>
            <a:ext cx="0" cy="1307465"/>
          </a:xfrm>
          <a:custGeom>
            <a:avLst/>
            <a:gdLst/>
            <a:ahLst/>
            <a:cxnLst/>
            <a:rect l="l" t="t" r="r" b="b"/>
            <a:pathLst>
              <a:path h="1307464">
                <a:moveTo>
                  <a:pt x="0" y="0"/>
                </a:moveTo>
                <a:lnTo>
                  <a:pt x="0" y="1307042"/>
                </a:lnTo>
              </a:path>
            </a:pathLst>
          </a:custGeom>
          <a:ln w="12700">
            <a:solidFill>
              <a:srgbClr val="FFFFFF"/>
            </a:solidFill>
            <a:prstDash val="dot"/>
          </a:ln>
        </p:spPr>
        <p:txBody>
          <a:bodyPr wrap="square" lIns="0" tIns="0" rIns="0" bIns="0" rtlCol="0"/>
          <a:lstStyle/>
          <a:p>
            <a:endParaRPr/>
          </a:p>
        </p:txBody>
      </p:sp>
      <p:sp>
        <p:nvSpPr>
          <p:cNvPr id="26" name="bg object 26"/>
          <p:cNvSpPr/>
          <p:nvPr/>
        </p:nvSpPr>
        <p:spPr>
          <a:xfrm>
            <a:off x="4003199" y="439200"/>
            <a:ext cx="12700" cy="12700"/>
          </a:xfrm>
          <a:custGeom>
            <a:avLst/>
            <a:gdLst/>
            <a:ahLst/>
            <a:cxnLst/>
            <a:rect l="l" t="t" r="r" b="b"/>
            <a:pathLst>
              <a:path w="12700" h="12700">
                <a:moveTo>
                  <a:pt x="0" y="6350"/>
                </a:moveTo>
                <a:lnTo>
                  <a:pt x="1859" y="1859"/>
                </a:lnTo>
                <a:lnTo>
                  <a:pt x="6350" y="0"/>
                </a:lnTo>
                <a:lnTo>
                  <a:pt x="10840" y="1859"/>
                </a:lnTo>
                <a:lnTo>
                  <a:pt x="12700" y="6350"/>
                </a:lnTo>
                <a:lnTo>
                  <a:pt x="10840" y="10840"/>
                </a:lnTo>
                <a:lnTo>
                  <a:pt x="6350" y="12700"/>
                </a:lnTo>
                <a:lnTo>
                  <a:pt x="1859" y="10840"/>
                </a:lnTo>
                <a:lnTo>
                  <a:pt x="0" y="6350"/>
                </a:lnTo>
                <a:close/>
              </a:path>
            </a:pathLst>
          </a:custGeom>
          <a:solidFill>
            <a:srgbClr val="FFFFFF"/>
          </a:solidFill>
        </p:spPr>
        <p:txBody>
          <a:bodyPr wrap="square" lIns="0" tIns="0" rIns="0" bIns="0" rtlCol="0"/>
          <a:lstStyle/>
          <a:p>
            <a:endParaRPr/>
          </a:p>
        </p:txBody>
      </p:sp>
      <p:sp>
        <p:nvSpPr>
          <p:cNvPr id="27" name="bg object 27"/>
          <p:cNvSpPr/>
          <p:nvPr/>
        </p:nvSpPr>
        <p:spPr>
          <a:xfrm>
            <a:off x="0" y="2034006"/>
            <a:ext cx="5760085" cy="151130"/>
          </a:xfrm>
          <a:custGeom>
            <a:avLst/>
            <a:gdLst/>
            <a:ahLst/>
            <a:cxnLst/>
            <a:rect l="l" t="t" r="r" b="b"/>
            <a:pathLst>
              <a:path w="5760085" h="151130">
                <a:moveTo>
                  <a:pt x="0" y="150774"/>
                </a:moveTo>
                <a:lnTo>
                  <a:pt x="5759996" y="150774"/>
                </a:lnTo>
                <a:lnTo>
                  <a:pt x="5759996" y="0"/>
                </a:lnTo>
                <a:lnTo>
                  <a:pt x="0" y="0"/>
                </a:lnTo>
                <a:lnTo>
                  <a:pt x="0" y="150774"/>
                </a:lnTo>
                <a:close/>
              </a:path>
            </a:pathLst>
          </a:custGeom>
          <a:solidFill>
            <a:srgbClr val="231F20">
              <a:alpha val="50000"/>
            </a:srgbClr>
          </a:solidFill>
        </p:spPr>
        <p:txBody>
          <a:bodyPr wrap="square" lIns="0" tIns="0" rIns="0" bIns="0" rtlCol="0"/>
          <a:lstStyle/>
          <a:p>
            <a:endParaRPr/>
          </a:p>
        </p:txBody>
      </p:sp>
      <p:sp>
        <p:nvSpPr>
          <p:cNvPr id="28" name="bg object 28"/>
          <p:cNvSpPr/>
          <p:nvPr/>
        </p:nvSpPr>
        <p:spPr>
          <a:xfrm>
            <a:off x="0" y="1787017"/>
            <a:ext cx="5760085" cy="4445"/>
          </a:xfrm>
          <a:custGeom>
            <a:avLst/>
            <a:gdLst/>
            <a:ahLst/>
            <a:cxnLst/>
            <a:rect l="l" t="t" r="r" b="b"/>
            <a:pathLst>
              <a:path w="5760085" h="4444">
                <a:moveTo>
                  <a:pt x="0" y="3987"/>
                </a:moveTo>
                <a:lnTo>
                  <a:pt x="5759996" y="3987"/>
                </a:lnTo>
                <a:lnTo>
                  <a:pt x="5759996" y="0"/>
                </a:lnTo>
                <a:lnTo>
                  <a:pt x="0" y="0"/>
                </a:lnTo>
                <a:lnTo>
                  <a:pt x="0" y="3987"/>
                </a:lnTo>
                <a:close/>
              </a:path>
            </a:pathLst>
          </a:custGeom>
          <a:solidFill>
            <a:srgbClr val="231F20">
              <a:alpha val="50000"/>
            </a:srgbClr>
          </a:solidFill>
        </p:spPr>
        <p:txBody>
          <a:bodyPr wrap="square" lIns="0" tIns="0" rIns="0" bIns="0" rtlCol="0"/>
          <a:lstStyle/>
          <a:p>
            <a:endParaRPr/>
          </a:p>
        </p:txBody>
      </p:sp>
      <p:sp>
        <p:nvSpPr>
          <p:cNvPr id="29" name="bg object 29"/>
          <p:cNvSpPr/>
          <p:nvPr/>
        </p:nvSpPr>
        <p:spPr>
          <a:xfrm>
            <a:off x="0" y="1791004"/>
            <a:ext cx="5760085" cy="243204"/>
          </a:xfrm>
          <a:custGeom>
            <a:avLst/>
            <a:gdLst/>
            <a:ahLst/>
            <a:cxnLst/>
            <a:rect l="l" t="t" r="r" b="b"/>
            <a:pathLst>
              <a:path w="5760085" h="243205">
                <a:moveTo>
                  <a:pt x="0" y="0"/>
                </a:moveTo>
                <a:lnTo>
                  <a:pt x="0" y="243001"/>
                </a:lnTo>
                <a:lnTo>
                  <a:pt x="5759996" y="243001"/>
                </a:lnTo>
                <a:lnTo>
                  <a:pt x="5759996" y="0"/>
                </a:lnTo>
                <a:lnTo>
                  <a:pt x="0" y="0"/>
                </a:lnTo>
                <a:close/>
              </a:path>
            </a:pathLst>
          </a:custGeom>
          <a:solidFill>
            <a:srgbClr val="EF3A47"/>
          </a:solidFill>
        </p:spPr>
        <p:txBody>
          <a:bodyPr wrap="square" lIns="0" tIns="0" rIns="0" bIns="0" rtlCol="0"/>
          <a:lstStyle/>
          <a:p>
            <a:endParaRPr/>
          </a:p>
        </p:txBody>
      </p:sp>
      <p:sp>
        <p:nvSpPr>
          <p:cNvPr id="30" name="bg object 30"/>
          <p:cNvSpPr/>
          <p:nvPr/>
        </p:nvSpPr>
        <p:spPr>
          <a:xfrm>
            <a:off x="0" y="0"/>
            <a:ext cx="2103755" cy="1913255"/>
          </a:xfrm>
          <a:custGeom>
            <a:avLst/>
            <a:gdLst/>
            <a:ahLst/>
            <a:cxnLst/>
            <a:rect l="l" t="t" r="r" b="b"/>
            <a:pathLst>
              <a:path w="2103755" h="1913255">
                <a:moveTo>
                  <a:pt x="0" y="1913191"/>
                </a:moveTo>
                <a:lnTo>
                  <a:pt x="0" y="0"/>
                </a:lnTo>
                <a:lnTo>
                  <a:pt x="2103666" y="0"/>
                </a:lnTo>
                <a:lnTo>
                  <a:pt x="2103666" y="1913191"/>
                </a:lnTo>
                <a:lnTo>
                  <a:pt x="0" y="1913191"/>
                </a:lnTo>
                <a:close/>
              </a:path>
            </a:pathLst>
          </a:custGeom>
          <a:solidFill>
            <a:srgbClr val="231F20">
              <a:alpha val="75000"/>
            </a:srgbClr>
          </a:solidFill>
        </p:spPr>
        <p:txBody>
          <a:bodyPr wrap="square" lIns="0" tIns="0" rIns="0" bIns="0" rtlCol="0"/>
          <a:lstStyle/>
          <a:p>
            <a:endParaRPr/>
          </a:p>
        </p:txBody>
      </p:sp>
      <p:sp>
        <p:nvSpPr>
          <p:cNvPr id="31" name="bg object 31"/>
          <p:cNvSpPr/>
          <p:nvPr/>
        </p:nvSpPr>
        <p:spPr>
          <a:xfrm>
            <a:off x="16294" y="12700"/>
            <a:ext cx="1918970" cy="1767839"/>
          </a:xfrm>
          <a:custGeom>
            <a:avLst/>
            <a:gdLst/>
            <a:ahLst/>
            <a:cxnLst/>
            <a:rect l="l" t="t" r="r" b="b"/>
            <a:pathLst>
              <a:path w="1918970" h="1767839">
                <a:moveTo>
                  <a:pt x="1918601" y="0"/>
                </a:moveTo>
                <a:lnTo>
                  <a:pt x="0" y="0"/>
                </a:lnTo>
                <a:lnTo>
                  <a:pt x="0" y="1767395"/>
                </a:lnTo>
                <a:lnTo>
                  <a:pt x="1918601" y="1767395"/>
                </a:lnTo>
                <a:lnTo>
                  <a:pt x="1918601" y="0"/>
                </a:lnTo>
                <a:close/>
              </a:path>
            </a:pathLst>
          </a:custGeom>
          <a:solidFill>
            <a:srgbClr val="FFFFFF"/>
          </a:solidFill>
        </p:spPr>
        <p:txBody>
          <a:bodyPr wrap="square" lIns="0" tIns="0" rIns="0" bIns="0" rtlCol="0"/>
          <a:lstStyle/>
          <a:p>
            <a:endParaRPr/>
          </a:p>
        </p:txBody>
      </p:sp>
      <p:sp>
        <p:nvSpPr>
          <p:cNvPr id="32" name="bg object 32"/>
          <p:cNvSpPr/>
          <p:nvPr/>
        </p:nvSpPr>
        <p:spPr>
          <a:xfrm>
            <a:off x="16294" y="12700"/>
            <a:ext cx="1918970" cy="1767839"/>
          </a:xfrm>
          <a:custGeom>
            <a:avLst/>
            <a:gdLst/>
            <a:ahLst/>
            <a:cxnLst/>
            <a:rect l="l" t="t" r="r" b="b"/>
            <a:pathLst>
              <a:path w="1918970" h="1767839">
                <a:moveTo>
                  <a:pt x="0" y="1767395"/>
                </a:moveTo>
                <a:lnTo>
                  <a:pt x="1918601" y="1767395"/>
                </a:lnTo>
                <a:lnTo>
                  <a:pt x="1918601" y="0"/>
                </a:lnTo>
                <a:lnTo>
                  <a:pt x="0" y="0"/>
                </a:lnTo>
                <a:lnTo>
                  <a:pt x="0" y="1767395"/>
                </a:lnTo>
                <a:close/>
              </a:path>
            </a:pathLst>
          </a:custGeom>
          <a:ln w="25400">
            <a:solidFill>
              <a:srgbClr val="001D18"/>
            </a:solidFill>
          </a:ln>
        </p:spPr>
        <p:txBody>
          <a:bodyPr wrap="square" lIns="0" tIns="0" rIns="0" bIns="0" rtlCol="0"/>
          <a:lstStyle/>
          <a:p>
            <a:endParaRPr/>
          </a:p>
        </p:txBody>
      </p:sp>
      <p:pic>
        <p:nvPicPr>
          <p:cNvPr id="33" name="bg object 33"/>
          <p:cNvPicPr/>
          <p:nvPr/>
        </p:nvPicPr>
        <p:blipFill>
          <a:blip r:embed="rId8" cstate="print"/>
          <a:stretch>
            <a:fillRect/>
          </a:stretch>
        </p:blipFill>
        <p:spPr>
          <a:xfrm>
            <a:off x="2044799" y="758999"/>
            <a:ext cx="216001" cy="216001"/>
          </a:xfrm>
          <a:prstGeom prst="rect">
            <a:avLst/>
          </a:prstGeom>
        </p:spPr>
      </p:pic>
      <p:pic>
        <p:nvPicPr>
          <p:cNvPr id="34" name="bg object 34"/>
          <p:cNvPicPr/>
          <p:nvPr/>
        </p:nvPicPr>
        <p:blipFill>
          <a:blip r:embed="rId9" cstate="print"/>
          <a:stretch>
            <a:fillRect/>
          </a:stretch>
        </p:blipFill>
        <p:spPr>
          <a:xfrm>
            <a:off x="2044799" y="1475999"/>
            <a:ext cx="216001" cy="216001"/>
          </a:xfrm>
          <a:prstGeom prst="rect">
            <a:avLst/>
          </a:prstGeom>
        </p:spPr>
      </p:pic>
      <p:pic>
        <p:nvPicPr>
          <p:cNvPr id="35" name="bg object 35"/>
          <p:cNvPicPr/>
          <p:nvPr/>
        </p:nvPicPr>
        <p:blipFill>
          <a:blip r:embed="rId10" cstate="print"/>
          <a:stretch>
            <a:fillRect/>
          </a:stretch>
        </p:blipFill>
        <p:spPr>
          <a:xfrm>
            <a:off x="2044799" y="400499"/>
            <a:ext cx="216001" cy="216001"/>
          </a:xfrm>
          <a:prstGeom prst="rect">
            <a:avLst/>
          </a:prstGeom>
        </p:spPr>
      </p:pic>
      <p:pic>
        <p:nvPicPr>
          <p:cNvPr id="36" name="bg object 36"/>
          <p:cNvPicPr/>
          <p:nvPr/>
        </p:nvPicPr>
        <p:blipFill>
          <a:blip r:embed="rId11" cstate="print"/>
          <a:stretch>
            <a:fillRect/>
          </a:stretch>
        </p:blipFill>
        <p:spPr>
          <a:xfrm>
            <a:off x="2044799" y="1117499"/>
            <a:ext cx="216001" cy="216001"/>
          </a:xfrm>
          <a:prstGeom prst="rect">
            <a:avLst/>
          </a:prstGeom>
        </p:spPr>
      </p:pic>
      <p:pic>
        <p:nvPicPr>
          <p:cNvPr id="37" name="bg object 37"/>
          <p:cNvPicPr/>
          <p:nvPr/>
        </p:nvPicPr>
        <p:blipFill>
          <a:blip r:embed="rId12" cstate="print"/>
          <a:stretch>
            <a:fillRect/>
          </a:stretch>
        </p:blipFill>
        <p:spPr>
          <a:xfrm>
            <a:off x="3901499" y="1117499"/>
            <a:ext cx="216001" cy="216001"/>
          </a:xfrm>
          <a:prstGeom prst="rect">
            <a:avLst/>
          </a:prstGeom>
        </p:spPr>
      </p:pic>
      <p:pic>
        <p:nvPicPr>
          <p:cNvPr id="38" name="bg object 38"/>
          <p:cNvPicPr/>
          <p:nvPr/>
        </p:nvPicPr>
        <p:blipFill>
          <a:blip r:embed="rId13" cstate="print"/>
          <a:stretch>
            <a:fillRect/>
          </a:stretch>
        </p:blipFill>
        <p:spPr>
          <a:xfrm>
            <a:off x="3901499" y="400498"/>
            <a:ext cx="216001" cy="216001"/>
          </a:xfrm>
          <a:prstGeom prst="rect">
            <a:avLst/>
          </a:prstGeom>
        </p:spPr>
      </p:pic>
      <p:pic>
        <p:nvPicPr>
          <p:cNvPr id="39" name="bg object 39"/>
          <p:cNvPicPr/>
          <p:nvPr/>
        </p:nvPicPr>
        <p:blipFill>
          <a:blip r:embed="rId14" cstate="print"/>
          <a:stretch>
            <a:fillRect/>
          </a:stretch>
        </p:blipFill>
        <p:spPr>
          <a:xfrm>
            <a:off x="3901499" y="758999"/>
            <a:ext cx="216001" cy="216001"/>
          </a:xfrm>
          <a:prstGeom prst="rect">
            <a:avLst/>
          </a:prstGeom>
        </p:spPr>
      </p:pic>
      <p:pic>
        <p:nvPicPr>
          <p:cNvPr id="40" name="bg object 40"/>
          <p:cNvPicPr/>
          <p:nvPr/>
        </p:nvPicPr>
        <p:blipFill>
          <a:blip r:embed="rId15" cstate="print"/>
          <a:stretch>
            <a:fillRect/>
          </a:stretch>
        </p:blipFill>
        <p:spPr>
          <a:xfrm>
            <a:off x="3901499" y="1475997"/>
            <a:ext cx="216001" cy="216001"/>
          </a:xfrm>
          <a:prstGeom prst="rect">
            <a:avLst/>
          </a:prstGeom>
        </p:spPr>
      </p:pic>
      <p:sp>
        <p:nvSpPr>
          <p:cNvPr id="2" name="Holder 2"/>
          <p:cNvSpPr>
            <a:spLocks noGrp="1"/>
          </p:cNvSpPr>
          <p:nvPr>
            <p:ph type="title"/>
          </p:nvPr>
        </p:nvSpPr>
        <p:spPr>
          <a:xfrm>
            <a:off x="1110950" y="1347162"/>
            <a:ext cx="3543899" cy="863600"/>
          </a:xfrm>
          <a:prstGeom prst="rect">
            <a:avLst/>
          </a:prstGeom>
        </p:spPr>
        <p:txBody>
          <a:bodyPr wrap="square" lIns="0" tIns="0" rIns="0" bIns="0">
            <a:spAutoFit/>
          </a:bodyPr>
          <a:lstStyle>
            <a:lvl1pPr>
              <a:defRPr sz="3000" b="1" i="0">
                <a:solidFill>
                  <a:schemeClr val="bg1"/>
                </a:solidFill>
                <a:latin typeface="Century Gothic"/>
                <a:cs typeface="Century Gothic"/>
              </a:defRPr>
            </a:lvl1pPr>
          </a:lstStyle>
          <a:p>
            <a:endParaRPr/>
          </a:p>
        </p:txBody>
      </p:sp>
      <p:sp>
        <p:nvSpPr>
          <p:cNvPr id="3" name="Holder 3"/>
          <p:cNvSpPr>
            <a:spLocks noGrp="1"/>
          </p:cNvSpPr>
          <p:nvPr>
            <p:ph type="body" idx="1"/>
          </p:nvPr>
        </p:nvSpPr>
        <p:spPr>
          <a:xfrm>
            <a:off x="288290" y="1987740"/>
            <a:ext cx="5189220" cy="5703951"/>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092479" y="8494659"/>
            <a:ext cx="1133475" cy="103504"/>
          </a:xfrm>
          <a:prstGeom prst="rect">
            <a:avLst/>
          </a:prstGeom>
        </p:spPr>
        <p:txBody>
          <a:bodyPr wrap="square" lIns="0" tIns="0" rIns="0" bIns="0">
            <a:spAutoFit/>
          </a:bodyPr>
          <a:lstStyle>
            <a:lvl1pPr>
              <a:defRPr sz="500" b="0" i="0">
                <a:solidFill>
                  <a:schemeClr val="bg1"/>
                </a:solidFill>
                <a:latin typeface="Century Gothic"/>
                <a:cs typeface="Century Gothic"/>
              </a:defRPr>
            </a:lvl1pPr>
          </a:lstStyle>
          <a:p>
            <a:pPr marL="12700">
              <a:lnSpc>
                <a:spcPct val="100000"/>
              </a:lnSpc>
              <a:spcBef>
                <a:spcPts val="100"/>
              </a:spcBef>
            </a:pPr>
            <a:r>
              <a:rPr dirty="0"/>
              <a:t>Focus</a:t>
            </a:r>
            <a:r>
              <a:rPr spc="-20" dirty="0"/>
              <a:t> </a:t>
            </a:r>
            <a:r>
              <a:rPr dirty="0"/>
              <a:t>on</a:t>
            </a:r>
            <a:r>
              <a:rPr spc="-15" dirty="0"/>
              <a:t> </a:t>
            </a:r>
            <a:r>
              <a:rPr spc="-5" dirty="0"/>
              <a:t>EPR</a:t>
            </a:r>
            <a:r>
              <a:rPr spc="-20" dirty="0"/>
              <a:t> </a:t>
            </a:r>
            <a:r>
              <a:rPr dirty="0"/>
              <a:t>technology</a:t>
            </a:r>
            <a:r>
              <a:rPr spc="-15" dirty="0"/>
              <a:t> </a:t>
            </a:r>
            <a:r>
              <a:rPr dirty="0"/>
              <a:t>for</a:t>
            </a:r>
            <a:r>
              <a:rPr spc="-20" dirty="0"/>
              <a:t> </a:t>
            </a:r>
            <a:r>
              <a:rPr dirty="0"/>
              <a:t>Poland</a:t>
            </a:r>
          </a:p>
        </p:txBody>
      </p:sp>
      <p:sp>
        <p:nvSpPr>
          <p:cNvPr id="5" name="Holder 5"/>
          <p:cNvSpPr>
            <a:spLocks noGrp="1"/>
          </p:cNvSpPr>
          <p:nvPr>
            <p:ph type="dt" sz="half" idx="6"/>
          </p:nvPr>
        </p:nvSpPr>
        <p:spPr>
          <a:xfrm>
            <a:off x="1491682" y="8486647"/>
            <a:ext cx="1183005" cy="119379"/>
          </a:xfrm>
          <a:prstGeom prst="rect">
            <a:avLst/>
          </a:prstGeom>
        </p:spPr>
        <p:txBody>
          <a:bodyPr wrap="square" lIns="0" tIns="0" rIns="0" bIns="0">
            <a:spAutoFit/>
          </a:bodyPr>
          <a:lstStyle>
            <a:lvl1pPr>
              <a:defRPr sz="600" b="1" i="0">
                <a:solidFill>
                  <a:schemeClr val="bg1"/>
                </a:solidFill>
                <a:latin typeface="Century Gothic"/>
                <a:cs typeface="Century Gothic"/>
              </a:defRPr>
            </a:lvl1pPr>
          </a:lstStyle>
          <a:p>
            <a:pPr marL="12700">
              <a:lnSpc>
                <a:spcPct val="100000"/>
              </a:lnSpc>
              <a:spcBef>
                <a:spcPts val="100"/>
              </a:spcBef>
            </a:pPr>
            <a:r>
              <a:rPr dirty="0"/>
              <a:t>THE</a:t>
            </a:r>
            <a:r>
              <a:rPr spc="-30" dirty="0"/>
              <a:t> </a:t>
            </a:r>
            <a:r>
              <a:rPr dirty="0"/>
              <a:t>FRENCH</a:t>
            </a:r>
            <a:r>
              <a:rPr spc="-25" dirty="0"/>
              <a:t> </a:t>
            </a:r>
            <a:r>
              <a:rPr dirty="0"/>
              <a:t>NUCLEAR</a:t>
            </a:r>
            <a:r>
              <a:rPr spc="-30" dirty="0"/>
              <a:t> </a:t>
            </a:r>
            <a:r>
              <a:rPr dirty="0"/>
              <a:t>INDUSTRY</a:t>
            </a:r>
          </a:p>
        </p:txBody>
      </p:sp>
      <p:sp>
        <p:nvSpPr>
          <p:cNvPr id="6" name="Holder 6"/>
          <p:cNvSpPr>
            <a:spLocks noGrp="1"/>
          </p:cNvSpPr>
          <p:nvPr>
            <p:ph type="sldNum" sz="quarter" idx="7"/>
          </p:nvPr>
        </p:nvSpPr>
        <p:spPr>
          <a:xfrm>
            <a:off x="2705296" y="8471406"/>
            <a:ext cx="354964" cy="150495"/>
          </a:xfrm>
          <a:prstGeom prst="rect">
            <a:avLst/>
          </a:prstGeom>
        </p:spPr>
        <p:txBody>
          <a:bodyPr wrap="square" lIns="0" tIns="0" rIns="0" bIns="0">
            <a:spAutoFit/>
          </a:bodyPr>
          <a:lstStyle>
            <a:lvl1pPr>
              <a:defRPr sz="800" b="0" i="0">
                <a:solidFill>
                  <a:schemeClr val="bg1"/>
                </a:solidFill>
                <a:latin typeface="Century Gothic"/>
                <a:cs typeface="Century Gothic"/>
              </a:defRPr>
            </a:lvl1pPr>
          </a:lstStyle>
          <a:p>
            <a:pPr marL="12700">
              <a:lnSpc>
                <a:spcPct val="100000"/>
              </a:lnSpc>
              <a:spcBef>
                <a:spcPts val="105"/>
              </a:spcBef>
            </a:pPr>
            <a:r>
              <a:rPr dirty="0">
                <a:latin typeface="Century Gothic"/>
                <a:cs typeface="Century Gothic"/>
              </a:rPr>
              <a:t>I</a:t>
            </a:r>
            <a:r>
              <a:rPr spc="395" dirty="0">
                <a:latin typeface="Century Gothic"/>
                <a:cs typeface="Century Gothic"/>
              </a:rPr>
              <a:t> </a:t>
            </a:r>
            <a:fld id="{81D60167-4931-47E6-BA6A-407CBD079E47}" type="slidenum">
              <a:rPr b="1" dirty="0"/>
              <a:t>‹N°›</a:t>
            </a:fld>
            <a:r>
              <a:rPr b="1" spc="395" dirty="0"/>
              <a:t> </a:t>
            </a:r>
            <a:r>
              <a:rPr dirty="0">
                <a:latin typeface="Century Gothic"/>
                <a:cs typeface="Century Gothic"/>
              </a:rPr>
              <a:t>I</a:t>
            </a: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5" Type="http://schemas.openxmlformats.org/officeDocument/2006/relationships/image" Target="../media/image2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png"/></Relationships>
</file>

<file path=ppt/slides/_rels/slide10.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3" Type="http://schemas.openxmlformats.org/officeDocument/2006/relationships/image" Target="../media/image50.png"/><Relationship Id="rId7" Type="http://schemas.openxmlformats.org/officeDocument/2006/relationships/image" Target="../media/image54.png"/><Relationship Id="rId12" Type="http://schemas.openxmlformats.org/officeDocument/2006/relationships/image" Target="../media/image59.png"/><Relationship Id="rId2" Type="http://schemas.openxmlformats.org/officeDocument/2006/relationships/image" Target="../media/image49.png"/><Relationship Id="rId1" Type="http://schemas.openxmlformats.org/officeDocument/2006/relationships/slideLayout" Target="../slideLayouts/slideLayout5.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52.png"/><Relationship Id="rId15" Type="http://schemas.openxmlformats.org/officeDocument/2006/relationships/image" Target="../media/image24.pn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png"/><Relationship Id="rId14" Type="http://schemas.openxmlformats.org/officeDocument/2006/relationships/image" Target="../media/image23.png"/></Relationships>
</file>

<file path=ppt/slides/_rels/slide2.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3" Type="http://schemas.openxmlformats.org/officeDocument/2006/relationships/oleObject" Target="../embeddings/oleObject1.bin"/><Relationship Id="rId7" Type="http://schemas.openxmlformats.org/officeDocument/2006/relationships/image" Target="../media/image28.png"/><Relationship Id="rId12" Type="http://schemas.openxmlformats.org/officeDocument/2006/relationships/image" Target="../media/image33.png"/><Relationship Id="rId2" Type="http://schemas.openxmlformats.org/officeDocument/2006/relationships/slideLayout" Target="../slideLayouts/slideLayout5.xml"/><Relationship Id="rId1" Type="http://schemas.openxmlformats.org/officeDocument/2006/relationships/tags" Target="../tags/tag1.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5" Type="http://schemas.openxmlformats.org/officeDocument/2006/relationships/image" Target="../media/image36.png"/><Relationship Id="rId10" Type="http://schemas.openxmlformats.org/officeDocument/2006/relationships/image" Target="../media/image31.png"/><Relationship Id="rId4" Type="http://schemas.openxmlformats.org/officeDocument/2006/relationships/image" Target="../media/image25.emf"/><Relationship Id="rId9" Type="http://schemas.openxmlformats.org/officeDocument/2006/relationships/image" Target="../media/image30.png"/><Relationship Id="rId14" Type="http://schemas.openxmlformats.org/officeDocument/2006/relationships/image" Target="../media/image35.png"/></Relationships>
</file>

<file path=ppt/slides/_rels/slide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8.png"/><Relationship Id="rId2" Type="http://schemas.openxmlformats.org/officeDocument/2006/relationships/hyperlink" Target="mailto:Gregory.rey@bureauveritas.com" TargetMode="External"/><Relationship Id="rId1" Type="http://schemas.openxmlformats.org/officeDocument/2006/relationships/slideLayout" Target="../slideLayouts/slideLayout5.xml"/><Relationship Id="rId6" Type="http://schemas.openxmlformats.org/officeDocument/2006/relationships/image" Target="../media/image29.png"/><Relationship Id="rId11" Type="http://schemas.openxmlformats.org/officeDocument/2006/relationships/image" Target="../media/image36.png"/><Relationship Id="rId5" Type="http://schemas.openxmlformats.org/officeDocument/2006/relationships/image" Target="../media/image28.png"/><Relationship Id="rId10" Type="http://schemas.openxmlformats.org/officeDocument/2006/relationships/image" Target="../media/image37.png"/><Relationship Id="rId4" Type="http://schemas.openxmlformats.org/officeDocument/2006/relationships/image" Target="../media/image27.png"/><Relationship Id="rId9" Type="http://schemas.openxmlformats.org/officeDocument/2006/relationships/image" Target="../media/image32.png"/></Relationships>
</file>

<file path=ppt/slides/_rels/slide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hyperlink" Target="http://www.egis/" TargetMode="External"/><Relationship Id="rId7" Type="http://schemas.openxmlformats.org/officeDocument/2006/relationships/image" Target="../media/image42.jpg"/><Relationship Id="rId2" Type="http://schemas.openxmlformats.org/officeDocument/2006/relationships/image" Target="../media/image39.png"/><Relationship Id="rId1" Type="http://schemas.openxmlformats.org/officeDocument/2006/relationships/slideLayout" Target="../slideLayouts/slideLayout5.xml"/><Relationship Id="rId6" Type="http://schemas.openxmlformats.org/officeDocument/2006/relationships/hyperlink" Target="mailto:Francois.martin@egis-group.com" TargetMode="External"/><Relationship Id="rId5" Type="http://schemas.openxmlformats.org/officeDocument/2006/relationships/image" Target="../media/image41.jpg"/><Relationship Id="rId4" Type="http://schemas.openxmlformats.org/officeDocument/2006/relationships/image" Target="../media/image40.png"/></Relationships>
</file>

<file path=ppt/slides/_rels/slide5.xml.rels><?xml version="1.0" encoding="UTF-8" standalone="yes"?>
<Relationships xmlns="http://schemas.openxmlformats.org/package/2006/relationships"><Relationship Id="rId8" Type="http://schemas.openxmlformats.org/officeDocument/2006/relationships/hyperlink" Target="mailto:christophe.zaia@ekium.eu" TargetMode="External"/><Relationship Id="rId3" Type="http://schemas.openxmlformats.org/officeDocument/2006/relationships/image" Target="../media/image39.png"/><Relationship Id="rId7" Type="http://schemas.openxmlformats.org/officeDocument/2006/relationships/image" Target="../media/image45.png"/><Relationship Id="rId2" Type="http://schemas.openxmlformats.org/officeDocument/2006/relationships/image" Target="../media/image43.png"/><Relationship Id="rId1" Type="http://schemas.openxmlformats.org/officeDocument/2006/relationships/slideLayout" Target="../slideLayouts/slideLayout5.xml"/><Relationship Id="rId6" Type="http://schemas.openxmlformats.org/officeDocument/2006/relationships/image" Target="../media/image36.png"/><Relationship Id="rId5" Type="http://schemas.openxmlformats.org/officeDocument/2006/relationships/image" Target="../media/image44.jpg"/><Relationship Id="rId4" Type="http://schemas.openxmlformats.org/officeDocument/2006/relationships/hyperlink" Target="http://www.ekium.eu/en/" TargetMode="External"/><Relationship Id="rId9" Type="http://schemas.openxmlformats.org/officeDocument/2006/relationships/hyperlink" Target="mailto:thomas.eck@ekium.eu"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hyperlink" Target="http://www.engie-solutions.com/" TargetMode="External"/><Relationship Id="rId7" Type="http://schemas.openxmlformats.org/officeDocument/2006/relationships/image" Target="../media/image36.png"/><Relationship Id="rId2" Type="http://schemas.openxmlformats.org/officeDocument/2006/relationships/image" Target="../media/image39.png"/><Relationship Id="rId1" Type="http://schemas.openxmlformats.org/officeDocument/2006/relationships/slideLayout" Target="../slideLayouts/slideLayout5.xml"/><Relationship Id="rId6" Type="http://schemas.openxmlformats.org/officeDocument/2006/relationships/image" Target="../media/image41.jpg"/><Relationship Id="rId5" Type="http://schemas.openxmlformats.org/officeDocument/2006/relationships/image" Target="../media/image46.jpg"/><Relationship Id="rId4" Type="http://schemas.openxmlformats.org/officeDocument/2006/relationships/hyperlink" Target="mailto:amaury.charoy@engie.com"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hyperlink" Target="http://www.equans.com/" TargetMode="External"/><Relationship Id="rId7" Type="http://schemas.openxmlformats.org/officeDocument/2006/relationships/image" Target="../media/image41.jpg"/><Relationship Id="rId2" Type="http://schemas.openxmlformats.org/officeDocument/2006/relationships/image" Target="../media/image39.png"/><Relationship Id="rId1" Type="http://schemas.openxmlformats.org/officeDocument/2006/relationships/slideLayout" Target="../slideLayouts/slideLayout5.xml"/><Relationship Id="rId6" Type="http://schemas.openxmlformats.org/officeDocument/2006/relationships/image" Target="../media/image36.png"/><Relationship Id="rId5" Type="http://schemas.openxmlformats.org/officeDocument/2006/relationships/image" Target="../media/image46.jpg"/><Relationship Id="rId4" Type="http://schemas.openxmlformats.org/officeDocument/2006/relationships/hyperlink" Target="mailto:thierry.robot@equans.com"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41.jpg"/><Relationship Id="rId2" Type="http://schemas.openxmlformats.org/officeDocument/2006/relationships/image" Target="../media/image26.png"/><Relationship Id="rId1" Type="http://schemas.openxmlformats.org/officeDocument/2006/relationships/slideLayout" Target="../slideLayouts/slideLayout5.xml"/><Relationship Id="rId6" Type="http://schemas.openxmlformats.org/officeDocument/2006/relationships/image" Target="../media/image30.png"/><Relationship Id="rId11" Type="http://schemas.openxmlformats.org/officeDocument/2006/relationships/image" Target="../media/image45.png"/><Relationship Id="rId5" Type="http://schemas.openxmlformats.org/officeDocument/2006/relationships/image" Target="../media/image29.png"/><Relationship Id="rId10" Type="http://schemas.openxmlformats.org/officeDocument/2006/relationships/image" Target="../media/image36.png"/><Relationship Id="rId4" Type="http://schemas.openxmlformats.org/officeDocument/2006/relationships/image" Target="../media/image28.png"/><Relationship Id="rId9" Type="http://schemas.openxmlformats.org/officeDocument/2006/relationships/image" Target="../media/image47.png"/></Relationships>
</file>

<file path=ppt/slides/_rels/slide9.xml.rels><?xml version="1.0" encoding="UTF-8" standalone="yes"?>
<Relationships xmlns="http://schemas.openxmlformats.org/package/2006/relationships"><Relationship Id="rId8" Type="http://schemas.openxmlformats.org/officeDocument/2006/relationships/image" Target="../media/image41.jpg"/><Relationship Id="rId3" Type="http://schemas.openxmlformats.org/officeDocument/2006/relationships/hyperlink" Target="http://www.tractebel-engie.com/" TargetMode="External"/><Relationship Id="rId7" Type="http://schemas.openxmlformats.org/officeDocument/2006/relationships/image" Target="../media/image48.png"/><Relationship Id="rId2" Type="http://schemas.openxmlformats.org/officeDocument/2006/relationships/image" Target="../media/image39.png"/><Relationship Id="rId1" Type="http://schemas.openxmlformats.org/officeDocument/2006/relationships/slideLayout" Target="../slideLayouts/slideLayout5.xml"/><Relationship Id="rId6" Type="http://schemas.openxmlformats.org/officeDocument/2006/relationships/hyperlink" Target="mailto:Andrea.carletto@tractebel-engie.com" TargetMode="External"/><Relationship Id="rId5" Type="http://schemas.openxmlformats.org/officeDocument/2006/relationships/hyperlink" Target="mailto:Ronan.moullec@tractebel.engie.com" TargetMode="External"/><Relationship Id="rId4" Type="http://schemas.openxmlformats.org/officeDocument/2006/relationships/image" Target="../media/image36.png"/><Relationship Id="rId9" Type="http://schemas.openxmlformats.org/officeDocument/2006/relationships/image" Target="../media/image45.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7124522"/>
            <a:ext cx="5760085" cy="1515745"/>
          </a:xfrm>
          <a:custGeom>
            <a:avLst/>
            <a:gdLst/>
            <a:ahLst/>
            <a:cxnLst/>
            <a:rect l="l" t="t" r="r" b="b"/>
            <a:pathLst>
              <a:path w="5760085" h="1515745">
                <a:moveTo>
                  <a:pt x="0" y="1515478"/>
                </a:moveTo>
                <a:lnTo>
                  <a:pt x="5759996" y="1515478"/>
                </a:lnTo>
                <a:lnTo>
                  <a:pt x="5759996" y="0"/>
                </a:lnTo>
                <a:lnTo>
                  <a:pt x="0" y="0"/>
                </a:lnTo>
                <a:lnTo>
                  <a:pt x="0" y="1515478"/>
                </a:lnTo>
                <a:close/>
              </a:path>
            </a:pathLst>
          </a:custGeom>
          <a:solidFill>
            <a:srgbClr val="001D18"/>
          </a:solidFill>
        </p:spPr>
        <p:txBody>
          <a:bodyPr wrap="square" lIns="0" tIns="0" rIns="0" bIns="0" rtlCol="0"/>
          <a:lstStyle/>
          <a:p>
            <a:endParaRPr/>
          </a:p>
        </p:txBody>
      </p:sp>
      <p:grpSp>
        <p:nvGrpSpPr>
          <p:cNvPr id="3" name="object 3"/>
          <p:cNvGrpSpPr/>
          <p:nvPr/>
        </p:nvGrpSpPr>
        <p:grpSpPr>
          <a:xfrm>
            <a:off x="5715" y="32525"/>
            <a:ext cx="5760085" cy="7161530"/>
            <a:chOff x="0" y="0"/>
            <a:chExt cx="5760085" cy="7161530"/>
          </a:xfrm>
        </p:grpSpPr>
        <p:sp>
          <p:nvSpPr>
            <p:cNvPr id="4" name="object 4"/>
            <p:cNvSpPr/>
            <p:nvPr/>
          </p:nvSpPr>
          <p:spPr>
            <a:xfrm>
              <a:off x="0" y="0"/>
              <a:ext cx="5760085" cy="1848485"/>
            </a:xfrm>
            <a:custGeom>
              <a:avLst/>
              <a:gdLst/>
              <a:ahLst/>
              <a:cxnLst/>
              <a:rect l="l" t="t" r="r" b="b"/>
              <a:pathLst>
                <a:path w="5760085" h="1848485">
                  <a:moveTo>
                    <a:pt x="0" y="1848358"/>
                  </a:moveTo>
                  <a:lnTo>
                    <a:pt x="5759996" y="1848358"/>
                  </a:lnTo>
                  <a:lnTo>
                    <a:pt x="5759996" y="0"/>
                  </a:lnTo>
                  <a:lnTo>
                    <a:pt x="0" y="0"/>
                  </a:lnTo>
                  <a:lnTo>
                    <a:pt x="0" y="1848358"/>
                  </a:lnTo>
                  <a:close/>
                </a:path>
              </a:pathLst>
            </a:custGeom>
            <a:solidFill>
              <a:srgbClr val="001D18"/>
            </a:solidFill>
          </p:spPr>
          <p:txBody>
            <a:bodyPr wrap="square" lIns="0" tIns="0" rIns="0" bIns="0" rtlCol="0"/>
            <a:lstStyle/>
            <a:p>
              <a:endParaRPr/>
            </a:p>
          </p:txBody>
        </p:sp>
        <p:pic>
          <p:nvPicPr>
            <p:cNvPr id="5" name="object 5"/>
            <p:cNvPicPr/>
            <p:nvPr/>
          </p:nvPicPr>
          <p:blipFill>
            <a:blip r:embed="rId2" cstate="print"/>
            <a:stretch>
              <a:fillRect/>
            </a:stretch>
          </p:blipFill>
          <p:spPr>
            <a:xfrm>
              <a:off x="0" y="1848358"/>
              <a:ext cx="5759996" cy="4427397"/>
            </a:xfrm>
            <a:prstGeom prst="rect">
              <a:avLst/>
            </a:prstGeom>
          </p:spPr>
        </p:pic>
        <p:sp>
          <p:nvSpPr>
            <p:cNvPr id="6" name="object 6"/>
            <p:cNvSpPr/>
            <p:nvPr/>
          </p:nvSpPr>
          <p:spPr>
            <a:xfrm>
              <a:off x="946758" y="5124696"/>
              <a:ext cx="690245" cy="690245"/>
            </a:xfrm>
            <a:custGeom>
              <a:avLst/>
              <a:gdLst/>
              <a:ahLst/>
              <a:cxnLst/>
              <a:rect l="l" t="t" r="r" b="b"/>
              <a:pathLst>
                <a:path w="690244" h="690245">
                  <a:moveTo>
                    <a:pt x="344817" y="0"/>
                  </a:moveTo>
                  <a:lnTo>
                    <a:pt x="298030" y="3147"/>
                  </a:lnTo>
                  <a:lnTo>
                    <a:pt x="253156" y="12316"/>
                  </a:lnTo>
                  <a:lnTo>
                    <a:pt x="210604" y="27095"/>
                  </a:lnTo>
                  <a:lnTo>
                    <a:pt x="170787" y="47075"/>
                  </a:lnTo>
                  <a:lnTo>
                    <a:pt x="134115" y="71843"/>
                  </a:lnTo>
                  <a:lnTo>
                    <a:pt x="100999" y="100990"/>
                  </a:lnTo>
                  <a:lnTo>
                    <a:pt x="71851" y="134104"/>
                  </a:lnTo>
                  <a:lnTo>
                    <a:pt x="47080" y="170776"/>
                  </a:lnTo>
                  <a:lnTo>
                    <a:pt x="27099" y="210594"/>
                  </a:lnTo>
                  <a:lnTo>
                    <a:pt x="12318" y="253147"/>
                  </a:lnTo>
                  <a:lnTo>
                    <a:pt x="3148" y="298025"/>
                  </a:lnTo>
                  <a:lnTo>
                    <a:pt x="0" y="344817"/>
                  </a:lnTo>
                  <a:lnTo>
                    <a:pt x="3148" y="391609"/>
                  </a:lnTo>
                  <a:lnTo>
                    <a:pt x="12318" y="436487"/>
                  </a:lnTo>
                  <a:lnTo>
                    <a:pt x="27099" y="479041"/>
                  </a:lnTo>
                  <a:lnTo>
                    <a:pt x="47080" y="518858"/>
                  </a:lnTo>
                  <a:lnTo>
                    <a:pt x="71851" y="555530"/>
                  </a:lnTo>
                  <a:lnTo>
                    <a:pt x="100999" y="588644"/>
                  </a:lnTo>
                  <a:lnTo>
                    <a:pt x="134115" y="617791"/>
                  </a:lnTo>
                  <a:lnTo>
                    <a:pt x="170787" y="642560"/>
                  </a:lnTo>
                  <a:lnTo>
                    <a:pt x="210604" y="662539"/>
                  </a:lnTo>
                  <a:lnTo>
                    <a:pt x="253156" y="677318"/>
                  </a:lnTo>
                  <a:lnTo>
                    <a:pt x="298030" y="686487"/>
                  </a:lnTo>
                  <a:lnTo>
                    <a:pt x="344817" y="689635"/>
                  </a:lnTo>
                  <a:lnTo>
                    <a:pt x="391610" y="686487"/>
                  </a:lnTo>
                  <a:lnTo>
                    <a:pt x="436489" y="677318"/>
                  </a:lnTo>
                  <a:lnTo>
                    <a:pt x="479045" y="662539"/>
                  </a:lnTo>
                  <a:lnTo>
                    <a:pt x="518865" y="642560"/>
                  </a:lnTo>
                  <a:lnTo>
                    <a:pt x="555540" y="617791"/>
                  </a:lnTo>
                  <a:lnTo>
                    <a:pt x="588657" y="588644"/>
                  </a:lnTo>
                  <a:lnTo>
                    <a:pt x="617807" y="555530"/>
                  </a:lnTo>
                  <a:lnTo>
                    <a:pt x="642579" y="518858"/>
                  </a:lnTo>
                  <a:lnTo>
                    <a:pt x="662560" y="479041"/>
                  </a:lnTo>
                  <a:lnTo>
                    <a:pt x="677342" y="436487"/>
                  </a:lnTo>
                  <a:lnTo>
                    <a:pt x="686512" y="391609"/>
                  </a:lnTo>
                  <a:lnTo>
                    <a:pt x="689660" y="344817"/>
                  </a:lnTo>
                  <a:lnTo>
                    <a:pt x="686512" y="298025"/>
                  </a:lnTo>
                  <a:lnTo>
                    <a:pt x="677342" y="253147"/>
                  </a:lnTo>
                  <a:lnTo>
                    <a:pt x="662560" y="210594"/>
                  </a:lnTo>
                  <a:lnTo>
                    <a:pt x="642579" y="170776"/>
                  </a:lnTo>
                  <a:lnTo>
                    <a:pt x="617807" y="134104"/>
                  </a:lnTo>
                  <a:lnTo>
                    <a:pt x="588657" y="100990"/>
                  </a:lnTo>
                  <a:lnTo>
                    <a:pt x="555540" y="71843"/>
                  </a:lnTo>
                  <a:lnTo>
                    <a:pt x="518865" y="47075"/>
                  </a:lnTo>
                  <a:lnTo>
                    <a:pt x="479045" y="27095"/>
                  </a:lnTo>
                  <a:lnTo>
                    <a:pt x="436489" y="12316"/>
                  </a:lnTo>
                  <a:lnTo>
                    <a:pt x="391610" y="3147"/>
                  </a:lnTo>
                  <a:lnTo>
                    <a:pt x="344817" y="0"/>
                  </a:lnTo>
                  <a:close/>
                </a:path>
              </a:pathLst>
            </a:custGeom>
            <a:solidFill>
              <a:srgbClr val="FFFFFF">
                <a:alpha val="69999"/>
              </a:srgbClr>
            </a:solidFill>
          </p:spPr>
          <p:txBody>
            <a:bodyPr wrap="square" lIns="0" tIns="0" rIns="0" bIns="0" rtlCol="0"/>
            <a:lstStyle/>
            <a:p>
              <a:endParaRPr/>
            </a:p>
          </p:txBody>
        </p:sp>
        <p:sp>
          <p:nvSpPr>
            <p:cNvPr id="7" name="object 7"/>
            <p:cNvSpPr/>
            <p:nvPr/>
          </p:nvSpPr>
          <p:spPr>
            <a:xfrm>
              <a:off x="0" y="6313271"/>
              <a:ext cx="467995" cy="386080"/>
            </a:xfrm>
            <a:custGeom>
              <a:avLst/>
              <a:gdLst/>
              <a:ahLst/>
              <a:cxnLst/>
              <a:rect l="l" t="t" r="r" b="b"/>
              <a:pathLst>
                <a:path w="467995" h="386079">
                  <a:moveTo>
                    <a:pt x="103898" y="25400"/>
                  </a:moveTo>
                  <a:lnTo>
                    <a:pt x="101676" y="25717"/>
                  </a:lnTo>
                  <a:lnTo>
                    <a:pt x="103784" y="25476"/>
                  </a:lnTo>
                  <a:close/>
                </a:path>
                <a:path w="467995" h="386079">
                  <a:moveTo>
                    <a:pt x="143357" y="21158"/>
                  </a:moveTo>
                  <a:lnTo>
                    <a:pt x="143129" y="20320"/>
                  </a:lnTo>
                  <a:lnTo>
                    <a:pt x="111099" y="24676"/>
                  </a:lnTo>
                  <a:lnTo>
                    <a:pt x="143357" y="21158"/>
                  </a:lnTo>
                  <a:close/>
                </a:path>
                <a:path w="467995" h="386079">
                  <a:moveTo>
                    <a:pt x="147154" y="20739"/>
                  </a:moveTo>
                  <a:lnTo>
                    <a:pt x="146926" y="20320"/>
                  </a:lnTo>
                  <a:lnTo>
                    <a:pt x="145554" y="20320"/>
                  </a:lnTo>
                  <a:lnTo>
                    <a:pt x="145719" y="20891"/>
                  </a:lnTo>
                  <a:lnTo>
                    <a:pt x="147154" y="20739"/>
                  </a:lnTo>
                  <a:close/>
                </a:path>
                <a:path w="467995" h="386079">
                  <a:moveTo>
                    <a:pt x="184708" y="16624"/>
                  </a:moveTo>
                  <a:lnTo>
                    <a:pt x="147777" y="20320"/>
                  </a:lnTo>
                  <a:lnTo>
                    <a:pt x="147967" y="20650"/>
                  </a:lnTo>
                  <a:lnTo>
                    <a:pt x="184708" y="16624"/>
                  </a:lnTo>
                  <a:close/>
                </a:path>
                <a:path w="467995" h="386079">
                  <a:moveTo>
                    <a:pt x="248983" y="142240"/>
                  </a:moveTo>
                  <a:lnTo>
                    <a:pt x="247370" y="141605"/>
                  </a:lnTo>
                  <a:lnTo>
                    <a:pt x="248894" y="142240"/>
                  </a:lnTo>
                  <a:close/>
                </a:path>
                <a:path w="467995" h="386079">
                  <a:moveTo>
                    <a:pt x="274027" y="138430"/>
                  </a:moveTo>
                  <a:lnTo>
                    <a:pt x="273824" y="138582"/>
                  </a:lnTo>
                  <a:lnTo>
                    <a:pt x="274002" y="138518"/>
                  </a:lnTo>
                  <a:close/>
                </a:path>
                <a:path w="467995" h="386079">
                  <a:moveTo>
                    <a:pt x="325094" y="88"/>
                  </a:moveTo>
                  <a:lnTo>
                    <a:pt x="321081" y="0"/>
                  </a:lnTo>
                  <a:lnTo>
                    <a:pt x="320941" y="673"/>
                  </a:lnTo>
                  <a:lnTo>
                    <a:pt x="325094" y="88"/>
                  </a:lnTo>
                  <a:close/>
                </a:path>
                <a:path w="467995" h="386079">
                  <a:moveTo>
                    <a:pt x="328917" y="254254"/>
                  </a:moveTo>
                  <a:lnTo>
                    <a:pt x="328803" y="254000"/>
                  </a:lnTo>
                  <a:lnTo>
                    <a:pt x="328574" y="253733"/>
                  </a:lnTo>
                  <a:lnTo>
                    <a:pt x="328688" y="254000"/>
                  </a:lnTo>
                  <a:lnTo>
                    <a:pt x="328917" y="254254"/>
                  </a:lnTo>
                  <a:close/>
                </a:path>
                <a:path w="467995" h="386079">
                  <a:moveTo>
                    <a:pt x="397052" y="172999"/>
                  </a:moveTo>
                  <a:lnTo>
                    <a:pt x="396938" y="172720"/>
                  </a:lnTo>
                  <a:lnTo>
                    <a:pt x="396633" y="172466"/>
                  </a:lnTo>
                  <a:lnTo>
                    <a:pt x="396709" y="172720"/>
                  </a:lnTo>
                  <a:lnTo>
                    <a:pt x="397052" y="172999"/>
                  </a:lnTo>
                  <a:close/>
                </a:path>
                <a:path w="467995" h="386079">
                  <a:moveTo>
                    <a:pt x="397776" y="174625"/>
                  </a:moveTo>
                  <a:lnTo>
                    <a:pt x="397586" y="174193"/>
                  </a:lnTo>
                  <a:lnTo>
                    <a:pt x="397256" y="173990"/>
                  </a:lnTo>
                  <a:lnTo>
                    <a:pt x="397776" y="174625"/>
                  </a:lnTo>
                  <a:close/>
                </a:path>
                <a:path w="467995" h="386079">
                  <a:moveTo>
                    <a:pt x="405257" y="248920"/>
                  </a:moveTo>
                  <a:lnTo>
                    <a:pt x="404926" y="248691"/>
                  </a:lnTo>
                  <a:lnTo>
                    <a:pt x="405218" y="248920"/>
                  </a:lnTo>
                  <a:close/>
                </a:path>
                <a:path w="467995" h="386079">
                  <a:moveTo>
                    <a:pt x="409397" y="275234"/>
                  </a:moveTo>
                  <a:lnTo>
                    <a:pt x="408635" y="274320"/>
                  </a:lnTo>
                  <a:lnTo>
                    <a:pt x="407289" y="273519"/>
                  </a:lnTo>
                  <a:lnTo>
                    <a:pt x="409397" y="275234"/>
                  </a:lnTo>
                  <a:close/>
                </a:path>
                <a:path w="467995" h="386079">
                  <a:moveTo>
                    <a:pt x="411035" y="276860"/>
                  </a:moveTo>
                  <a:lnTo>
                    <a:pt x="409841" y="275590"/>
                  </a:lnTo>
                  <a:lnTo>
                    <a:pt x="409397" y="275234"/>
                  </a:lnTo>
                  <a:lnTo>
                    <a:pt x="409702" y="275590"/>
                  </a:lnTo>
                  <a:lnTo>
                    <a:pt x="410908" y="276860"/>
                  </a:lnTo>
                  <a:lnTo>
                    <a:pt x="411035" y="276860"/>
                  </a:lnTo>
                  <a:close/>
                </a:path>
                <a:path w="467995" h="386079">
                  <a:moveTo>
                    <a:pt x="415251" y="276860"/>
                  </a:moveTo>
                  <a:lnTo>
                    <a:pt x="412292" y="276860"/>
                  </a:lnTo>
                  <a:lnTo>
                    <a:pt x="413677" y="278130"/>
                  </a:lnTo>
                  <a:lnTo>
                    <a:pt x="415251" y="276860"/>
                  </a:lnTo>
                  <a:close/>
                </a:path>
                <a:path w="467995" h="386079">
                  <a:moveTo>
                    <a:pt x="432181" y="234696"/>
                  </a:moveTo>
                  <a:lnTo>
                    <a:pt x="429602" y="231140"/>
                  </a:lnTo>
                  <a:lnTo>
                    <a:pt x="429247" y="231140"/>
                  </a:lnTo>
                  <a:lnTo>
                    <a:pt x="432181" y="234696"/>
                  </a:lnTo>
                  <a:close/>
                </a:path>
                <a:path w="467995" h="386079">
                  <a:moveTo>
                    <a:pt x="433387" y="236220"/>
                  </a:moveTo>
                  <a:lnTo>
                    <a:pt x="432181" y="234696"/>
                  </a:lnTo>
                  <a:lnTo>
                    <a:pt x="433285" y="236220"/>
                  </a:lnTo>
                  <a:close/>
                </a:path>
                <a:path w="467995" h="386079">
                  <a:moveTo>
                    <a:pt x="446519" y="237439"/>
                  </a:moveTo>
                  <a:lnTo>
                    <a:pt x="445338" y="238633"/>
                  </a:lnTo>
                  <a:lnTo>
                    <a:pt x="445427" y="238760"/>
                  </a:lnTo>
                  <a:lnTo>
                    <a:pt x="446519" y="237439"/>
                  </a:lnTo>
                  <a:close/>
                </a:path>
                <a:path w="467995" h="386079">
                  <a:moveTo>
                    <a:pt x="454355" y="254000"/>
                  </a:moveTo>
                  <a:lnTo>
                    <a:pt x="452920" y="251460"/>
                  </a:lnTo>
                  <a:lnTo>
                    <a:pt x="451700" y="247650"/>
                  </a:lnTo>
                  <a:lnTo>
                    <a:pt x="450951" y="245960"/>
                  </a:lnTo>
                  <a:lnTo>
                    <a:pt x="451662" y="247650"/>
                  </a:lnTo>
                  <a:lnTo>
                    <a:pt x="452882" y="251460"/>
                  </a:lnTo>
                  <a:lnTo>
                    <a:pt x="454291" y="254000"/>
                  </a:lnTo>
                  <a:lnTo>
                    <a:pt x="449999" y="256540"/>
                  </a:lnTo>
                  <a:lnTo>
                    <a:pt x="445401" y="257810"/>
                  </a:lnTo>
                  <a:lnTo>
                    <a:pt x="440613" y="259080"/>
                  </a:lnTo>
                  <a:lnTo>
                    <a:pt x="445439" y="259080"/>
                  </a:lnTo>
                  <a:lnTo>
                    <a:pt x="450037" y="256540"/>
                  </a:lnTo>
                  <a:lnTo>
                    <a:pt x="454355" y="254000"/>
                  </a:lnTo>
                  <a:close/>
                </a:path>
                <a:path w="467995" h="386079">
                  <a:moveTo>
                    <a:pt x="455155" y="255270"/>
                  </a:moveTo>
                  <a:lnTo>
                    <a:pt x="454393" y="254000"/>
                  </a:lnTo>
                  <a:lnTo>
                    <a:pt x="455155" y="255270"/>
                  </a:lnTo>
                  <a:close/>
                </a:path>
                <a:path w="467995" h="386079">
                  <a:moveTo>
                    <a:pt x="458863" y="261620"/>
                  </a:moveTo>
                  <a:lnTo>
                    <a:pt x="457936" y="260451"/>
                  </a:lnTo>
                  <a:lnTo>
                    <a:pt x="458368" y="261620"/>
                  </a:lnTo>
                  <a:lnTo>
                    <a:pt x="458863" y="261620"/>
                  </a:lnTo>
                  <a:close/>
                </a:path>
                <a:path w="467995" h="386079">
                  <a:moveTo>
                    <a:pt x="460209" y="262890"/>
                  </a:moveTo>
                  <a:lnTo>
                    <a:pt x="458863" y="261620"/>
                  </a:lnTo>
                  <a:lnTo>
                    <a:pt x="459397" y="262890"/>
                  </a:lnTo>
                  <a:lnTo>
                    <a:pt x="460209" y="262890"/>
                  </a:lnTo>
                  <a:close/>
                </a:path>
                <a:path w="467995" h="386079">
                  <a:moveTo>
                    <a:pt x="461822" y="172720"/>
                  </a:moveTo>
                  <a:lnTo>
                    <a:pt x="461200" y="171450"/>
                  </a:lnTo>
                  <a:lnTo>
                    <a:pt x="460870" y="171450"/>
                  </a:lnTo>
                  <a:lnTo>
                    <a:pt x="461606" y="172720"/>
                  </a:lnTo>
                  <a:lnTo>
                    <a:pt x="461822" y="172720"/>
                  </a:lnTo>
                  <a:close/>
                </a:path>
                <a:path w="467995" h="386079">
                  <a:moveTo>
                    <a:pt x="462114" y="265430"/>
                  </a:moveTo>
                  <a:lnTo>
                    <a:pt x="461137" y="264160"/>
                  </a:lnTo>
                  <a:lnTo>
                    <a:pt x="460222" y="262890"/>
                  </a:lnTo>
                  <a:lnTo>
                    <a:pt x="461149" y="264210"/>
                  </a:lnTo>
                  <a:lnTo>
                    <a:pt x="462114" y="265430"/>
                  </a:lnTo>
                  <a:close/>
                </a:path>
                <a:path w="467995" h="386079">
                  <a:moveTo>
                    <a:pt x="462229" y="270471"/>
                  </a:moveTo>
                  <a:lnTo>
                    <a:pt x="460984" y="292100"/>
                  </a:lnTo>
                  <a:lnTo>
                    <a:pt x="462191" y="271780"/>
                  </a:lnTo>
                  <a:lnTo>
                    <a:pt x="462229" y="270471"/>
                  </a:lnTo>
                  <a:close/>
                </a:path>
                <a:path w="467995" h="386079">
                  <a:moveTo>
                    <a:pt x="462546" y="265430"/>
                  </a:moveTo>
                  <a:lnTo>
                    <a:pt x="462381" y="267970"/>
                  </a:lnTo>
                  <a:lnTo>
                    <a:pt x="462546" y="265430"/>
                  </a:lnTo>
                  <a:close/>
                </a:path>
                <a:path w="467995" h="386079">
                  <a:moveTo>
                    <a:pt x="462749" y="261594"/>
                  </a:moveTo>
                  <a:lnTo>
                    <a:pt x="462597" y="264210"/>
                  </a:lnTo>
                  <a:lnTo>
                    <a:pt x="462699" y="262890"/>
                  </a:lnTo>
                  <a:lnTo>
                    <a:pt x="462749" y="261594"/>
                  </a:lnTo>
                  <a:close/>
                </a:path>
                <a:path w="467995" h="386079">
                  <a:moveTo>
                    <a:pt x="464629" y="229019"/>
                  </a:moveTo>
                  <a:lnTo>
                    <a:pt x="464108" y="237490"/>
                  </a:lnTo>
                  <a:lnTo>
                    <a:pt x="464629" y="229019"/>
                  </a:lnTo>
                  <a:close/>
                </a:path>
                <a:path w="467995" h="386079">
                  <a:moveTo>
                    <a:pt x="465048" y="222250"/>
                  </a:moveTo>
                  <a:lnTo>
                    <a:pt x="464629" y="229019"/>
                  </a:lnTo>
                  <a:lnTo>
                    <a:pt x="465048" y="222250"/>
                  </a:lnTo>
                  <a:close/>
                </a:path>
                <a:path w="467995" h="386079">
                  <a:moveTo>
                    <a:pt x="467918" y="171450"/>
                  </a:moveTo>
                  <a:lnTo>
                    <a:pt x="467766" y="171450"/>
                  </a:lnTo>
                  <a:lnTo>
                    <a:pt x="466166" y="172720"/>
                  </a:lnTo>
                  <a:lnTo>
                    <a:pt x="466496" y="172720"/>
                  </a:lnTo>
                  <a:lnTo>
                    <a:pt x="467918" y="171450"/>
                  </a:lnTo>
                  <a:close/>
                </a:path>
                <a:path w="467995" h="386079">
                  <a:moveTo>
                    <a:pt x="467956" y="171450"/>
                  </a:moveTo>
                  <a:lnTo>
                    <a:pt x="467766" y="173990"/>
                  </a:lnTo>
                  <a:lnTo>
                    <a:pt x="460984" y="180340"/>
                  </a:lnTo>
                  <a:lnTo>
                    <a:pt x="454609" y="171450"/>
                  </a:lnTo>
                  <a:lnTo>
                    <a:pt x="453898" y="171450"/>
                  </a:lnTo>
                  <a:lnTo>
                    <a:pt x="466471" y="187960"/>
                  </a:lnTo>
                  <a:lnTo>
                    <a:pt x="458063" y="215900"/>
                  </a:lnTo>
                  <a:lnTo>
                    <a:pt x="457568" y="216268"/>
                  </a:lnTo>
                  <a:lnTo>
                    <a:pt x="457746" y="215722"/>
                  </a:lnTo>
                  <a:lnTo>
                    <a:pt x="456857" y="216471"/>
                  </a:lnTo>
                  <a:lnTo>
                    <a:pt x="456857" y="219710"/>
                  </a:lnTo>
                  <a:lnTo>
                    <a:pt x="456234" y="220980"/>
                  </a:lnTo>
                  <a:lnTo>
                    <a:pt x="456082" y="220980"/>
                  </a:lnTo>
                  <a:lnTo>
                    <a:pt x="456082" y="222250"/>
                  </a:lnTo>
                  <a:lnTo>
                    <a:pt x="454101" y="228600"/>
                  </a:lnTo>
                  <a:lnTo>
                    <a:pt x="453923" y="228422"/>
                  </a:lnTo>
                  <a:lnTo>
                    <a:pt x="453923" y="228600"/>
                  </a:lnTo>
                  <a:lnTo>
                    <a:pt x="453072" y="229870"/>
                  </a:lnTo>
                  <a:lnTo>
                    <a:pt x="452691" y="229184"/>
                  </a:lnTo>
                  <a:lnTo>
                    <a:pt x="452691" y="229870"/>
                  </a:lnTo>
                  <a:lnTo>
                    <a:pt x="452450" y="230644"/>
                  </a:lnTo>
                  <a:lnTo>
                    <a:pt x="452310" y="230746"/>
                  </a:lnTo>
                  <a:lnTo>
                    <a:pt x="452310" y="231089"/>
                  </a:lnTo>
                  <a:lnTo>
                    <a:pt x="452310" y="230746"/>
                  </a:lnTo>
                  <a:lnTo>
                    <a:pt x="451967" y="231140"/>
                  </a:lnTo>
                  <a:lnTo>
                    <a:pt x="451802" y="231140"/>
                  </a:lnTo>
                  <a:lnTo>
                    <a:pt x="449440" y="233680"/>
                  </a:lnTo>
                  <a:lnTo>
                    <a:pt x="448500" y="231140"/>
                  </a:lnTo>
                  <a:lnTo>
                    <a:pt x="448297" y="231140"/>
                  </a:lnTo>
                  <a:lnTo>
                    <a:pt x="446633" y="226060"/>
                  </a:lnTo>
                  <a:lnTo>
                    <a:pt x="448233" y="224790"/>
                  </a:lnTo>
                  <a:lnTo>
                    <a:pt x="449707" y="224790"/>
                  </a:lnTo>
                  <a:lnTo>
                    <a:pt x="452691" y="229870"/>
                  </a:lnTo>
                  <a:lnTo>
                    <a:pt x="452691" y="229184"/>
                  </a:lnTo>
                  <a:lnTo>
                    <a:pt x="450964" y="226060"/>
                  </a:lnTo>
                  <a:lnTo>
                    <a:pt x="453923" y="228600"/>
                  </a:lnTo>
                  <a:lnTo>
                    <a:pt x="453923" y="228422"/>
                  </a:lnTo>
                  <a:lnTo>
                    <a:pt x="451561" y="226060"/>
                  </a:lnTo>
                  <a:lnTo>
                    <a:pt x="450291" y="224790"/>
                  </a:lnTo>
                  <a:lnTo>
                    <a:pt x="449186" y="223520"/>
                  </a:lnTo>
                  <a:lnTo>
                    <a:pt x="451231" y="222250"/>
                  </a:lnTo>
                  <a:lnTo>
                    <a:pt x="456082" y="222250"/>
                  </a:lnTo>
                  <a:lnTo>
                    <a:pt x="456082" y="220980"/>
                  </a:lnTo>
                  <a:lnTo>
                    <a:pt x="451789" y="220980"/>
                  </a:lnTo>
                  <a:lnTo>
                    <a:pt x="456323" y="217170"/>
                  </a:lnTo>
                  <a:lnTo>
                    <a:pt x="456857" y="219710"/>
                  </a:lnTo>
                  <a:lnTo>
                    <a:pt x="456857" y="216471"/>
                  </a:lnTo>
                  <a:lnTo>
                    <a:pt x="456552" y="216712"/>
                  </a:lnTo>
                  <a:lnTo>
                    <a:pt x="456628" y="216979"/>
                  </a:lnTo>
                  <a:lnTo>
                    <a:pt x="456374" y="217170"/>
                  </a:lnTo>
                  <a:lnTo>
                    <a:pt x="456145" y="216179"/>
                  </a:lnTo>
                  <a:lnTo>
                    <a:pt x="456145" y="217170"/>
                  </a:lnTo>
                  <a:lnTo>
                    <a:pt x="450888" y="220980"/>
                  </a:lnTo>
                  <a:lnTo>
                    <a:pt x="450342" y="220980"/>
                  </a:lnTo>
                  <a:lnTo>
                    <a:pt x="450342" y="222250"/>
                  </a:lnTo>
                  <a:lnTo>
                    <a:pt x="448868" y="223367"/>
                  </a:lnTo>
                  <a:lnTo>
                    <a:pt x="448741" y="223151"/>
                  </a:lnTo>
                  <a:lnTo>
                    <a:pt x="448602" y="223278"/>
                  </a:lnTo>
                  <a:lnTo>
                    <a:pt x="448779" y="223431"/>
                  </a:lnTo>
                  <a:lnTo>
                    <a:pt x="448119" y="223520"/>
                  </a:lnTo>
                  <a:lnTo>
                    <a:pt x="447776" y="223342"/>
                  </a:lnTo>
                  <a:lnTo>
                    <a:pt x="447776" y="223520"/>
                  </a:lnTo>
                  <a:lnTo>
                    <a:pt x="446443" y="224790"/>
                  </a:lnTo>
                  <a:lnTo>
                    <a:pt x="446074" y="223761"/>
                  </a:lnTo>
                  <a:lnTo>
                    <a:pt x="446074" y="224790"/>
                  </a:lnTo>
                  <a:lnTo>
                    <a:pt x="444690" y="226060"/>
                  </a:lnTo>
                  <a:lnTo>
                    <a:pt x="444639" y="225907"/>
                  </a:lnTo>
                  <a:lnTo>
                    <a:pt x="444639" y="226060"/>
                  </a:lnTo>
                  <a:lnTo>
                    <a:pt x="439420" y="231140"/>
                  </a:lnTo>
                  <a:lnTo>
                    <a:pt x="439623" y="243840"/>
                  </a:lnTo>
                  <a:lnTo>
                    <a:pt x="439305" y="243446"/>
                  </a:lnTo>
                  <a:lnTo>
                    <a:pt x="439305" y="243840"/>
                  </a:lnTo>
                  <a:lnTo>
                    <a:pt x="438772" y="243840"/>
                  </a:lnTo>
                  <a:lnTo>
                    <a:pt x="436079" y="246380"/>
                  </a:lnTo>
                  <a:lnTo>
                    <a:pt x="435495" y="243840"/>
                  </a:lnTo>
                  <a:lnTo>
                    <a:pt x="435330" y="243840"/>
                  </a:lnTo>
                  <a:lnTo>
                    <a:pt x="435724" y="246380"/>
                  </a:lnTo>
                  <a:lnTo>
                    <a:pt x="435952" y="246380"/>
                  </a:lnTo>
                  <a:lnTo>
                    <a:pt x="433946" y="248920"/>
                  </a:lnTo>
                  <a:lnTo>
                    <a:pt x="437540" y="252730"/>
                  </a:lnTo>
                  <a:lnTo>
                    <a:pt x="438404" y="255270"/>
                  </a:lnTo>
                  <a:lnTo>
                    <a:pt x="433895" y="259080"/>
                  </a:lnTo>
                  <a:lnTo>
                    <a:pt x="429361" y="255270"/>
                  </a:lnTo>
                  <a:lnTo>
                    <a:pt x="429755" y="253733"/>
                  </a:lnTo>
                  <a:lnTo>
                    <a:pt x="429907" y="252730"/>
                  </a:lnTo>
                  <a:lnTo>
                    <a:pt x="430174" y="252730"/>
                  </a:lnTo>
                  <a:lnTo>
                    <a:pt x="431431" y="251460"/>
                  </a:lnTo>
                  <a:lnTo>
                    <a:pt x="433946" y="248920"/>
                  </a:lnTo>
                  <a:lnTo>
                    <a:pt x="433501" y="248399"/>
                  </a:lnTo>
                  <a:lnTo>
                    <a:pt x="433501" y="248920"/>
                  </a:lnTo>
                  <a:lnTo>
                    <a:pt x="430441" y="251460"/>
                  </a:lnTo>
                  <a:lnTo>
                    <a:pt x="431342" y="248691"/>
                  </a:lnTo>
                  <a:lnTo>
                    <a:pt x="431634" y="247650"/>
                  </a:lnTo>
                  <a:lnTo>
                    <a:pt x="433501" y="248920"/>
                  </a:lnTo>
                  <a:lnTo>
                    <a:pt x="433501" y="248399"/>
                  </a:lnTo>
                  <a:lnTo>
                    <a:pt x="432879" y="247650"/>
                  </a:lnTo>
                  <a:lnTo>
                    <a:pt x="431812" y="246380"/>
                  </a:lnTo>
                  <a:lnTo>
                    <a:pt x="432079" y="245110"/>
                  </a:lnTo>
                  <a:lnTo>
                    <a:pt x="432346" y="243840"/>
                  </a:lnTo>
                  <a:lnTo>
                    <a:pt x="432485" y="243840"/>
                  </a:lnTo>
                  <a:lnTo>
                    <a:pt x="433362" y="240030"/>
                  </a:lnTo>
                  <a:lnTo>
                    <a:pt x="433768" y="238760"/>
                  </a:lnTo>
                  <a:lnTo>
                    <a:pt x="435165" y="243840"/>
                  </a:lnTo>
                  <a:lnTo>
                    <a:pt x="435317" y="243840"/>
                  </a:lnTo>
                  <a:lnTo>
                    <a:pt x="433946" y="238760"/>
                  </a:lnTo>
                  <a:lnTo>
                    <a:pt x="433946" y="237490"/>
                  </a:lnTo>
                  <a:lnTo>
                    <a:pt x="434174" y="237490"/>
                  </a:lnTo>
                  <a:lnTo>
                    <a:pt x="439305" y="243840"/>
                  </a:lnTo>
                  <a:lnTo>
                    <a:pt x="439305" y="243446"/>
                  </a:lnTo>
                  <a:lnTo>
                    <a:pt x="434606" y="237490"/>
                  </a:lnTo>
                  <a:lnTo>
                    <a:pt x="435495" y="236220"/>
                  </a:lnTo>
                  <a:lnTo>
                    <a:pt x="439305" y="231140"/>
                  </a:lnTo>
                  <a:lnTo>
                    <a:pt x="438658" y="231140"/>
                  </a:lnTo>
                  <a:lnTo>
                    <a:pt x="434403" y="236118"/>
                  </a:lnTo>
                  <a:lnTo>
                    <a:pt x="434403" y="234950"/>
                  </a:lnTo>
                  <a:lnTo>
                    <a:pt x="434670" y="234950"/>
                  </a:lnTo>
                  <a:lnTo>
                    <a:pt x="434670" y="233680"/>
                  </a:lnTo>
                  <a:lnTo>
                    <a:pt x="434200" y="233680"/>
                  </a:lnTo>
                  <a:lnTo>
                    <a:pt x="433946" y="232410"/>
                  </a:lnTo>
                  <a:lnTo>
                    <a:pt x="434403" y="232410"/>
                  </a:lnTo>
                  <a:lnTo>
                    <a:pt x="434200" y="231140"/>
                  </a:lnTo>
                  <a:lnTo>
                    <a:pt x="434352" y="231140"/>
                  </a:lnTo>
                  <a:lnTo>
                    <a:pt x="434289" y="229870"/>
                  </a:lnTo>
                  <a:lnTo>
                    <a:pt x="434403" y="227330"/>
                  </a:lnTo>
                  <a:lnTo>
                    <a:pt x="434670" y="227330"/>
                  </a:lnTo>
                  <a:lnTo>
                    <a:pt x="434670" y="224790"/>
                  </a:lnTo>
                  <a:lnTo>
                    <a:pt x="434403" y="224790"/>
                  </a:lnTo>
                  <a:lnTo>
                    <a:pt x="434200" y="223520"/>
                  </a:lnTo>
                  <a:lnTo>
                    <a:pt x="434403" y="223520"/>
                  </a:lnTo>
                  <a:lnTo>
                    <a:pt x="434200" y="222250"/>
                  </a:lnTo>
                  <a:lnTo>
                    <a:pt x="443395" y="222250"/>
                  </a:lnTo>
                  <a:lnTo>
                    <a:pt x="443814" y="223520"/>
                  </a:lnTo>
                  <a:lnTo>
                    <a:pt x="444195" y="224790"/>
                  </a:lnTo>
                  <a:lnTo>
                    <a:pt x="444639" y="226060"/>
                  </a:lnTo>
                  <a:lnTo>
                    <a:pt x="444639" y="225907"/>
                  </a:lnTo>
                  <a:lnTo>
                    <a:pt x="444271" y="224790"/>
                  </a:lnTo>
                  <a:lnTo>
                    <a:pt x="443484" y="222250"/>
                  </a:lnTo>
                  <a:lnTo>
                    <a:pt x="444931" y="222250"/>
                  </a:lnTo>
                  <a:lnTo>
                    <a:pt x="446074" y="224790"/>
                  </a:lnTo>
                  <a:lnTo>
                    <a:pt x="446074" y="223761"/>
                  </a:lnTo>
                  <a:lnTo>
                    <a:pt x="445541" y="222250"/>
                  </a:lnTo>
                  <a:lnTo>
                    <a:pt x="447776" y="223520"/>
                  </a:lnTo>
                  <a:lnTo>
                    <a:pt x="447776" y="223342"/>
                  </a:lnTo>
                  <a:lnTo>
                    <a:pt x="445757" y="222250"/>
                  </a:lnTo>
                  <a:lnTo>
                    <a:pt x="450342" y="222250"/>
                  </a:lnTo>
                  <a:lnTo>
                    <a:pt x="450342" y="220980"/>
                  </a:lnTo>
                  <a:lnTo>
                    <a:pt x="445262" y="220980"/>
                  </a:lnTo>
                  <a:lnTo>
                    <a:pt x="444792" y="219532"/>
                  </a:lnTo>
                  <a:lnTo>
                    <a:pt x="444792" y="220980"/>
                  </a:lnTo>
                  <a:lnTo>
                    <a:pt x="443369" y="220980"/>
                  </a:lnTo>
                  <a:lnTo>
                    <a:pt x="442264" y="217170"/>
                  </a:lnTo>
                  <a:lnTo>
                    <a:pt x="441223" y="212090"/>
                  </a:lnTo>
                  <a:lnTo>
                    <a:pt x="440232" y="208280"/>
                  </a:lnTo>
                  <a:lnTo>
                    <a:pt x="439889" y="207010"/>
                  </a:lnTo>
                  <a:lnTo>
                    <a:pt x="444792" y="220980"/>
                  </a:lnTo>
                  <a:lnTo>
                    <a:pt x="444792" y="219532"/>
                  </a:lnTo>
                  <a:lnTo>
                    <a:pt x="440740" y="207010"/>
                  </a:lnTo>
                  <a:lnTo>
                    <a:pt x="440334" y="205740"/>
                  </a:lnTo>
                  <a:lnTo>
                    <a:pt x="439407" y="205740"/>
                  </a:lnTo>
                  <a:lnTo>
                    <a:pt x="439737" y="208280"/>
                  </a:lnTo>
                  <a:lnTo>
                    <a:pt x="438924" y="209550"/>
                  </a:lnTo>
                  <a:lnTo>
                    <a:pt x="438023" y="210820"/>
                  </a:lnTo>
                  <a:lnTo>
                    <a:pt x="435610" y="213360"/>
                  </a:lnTo>
                  <a:lnTo>
                    <a:pt x="434009" y="214630"/>
                  </a:lnTo>
                  <a:lnTo>
                    <a:pt x="431406" y="215900"/>
                  </a:lnTo>
                  <a:lnTo>
                    <a:pt x="434060" y="214630"/>
                  </a:lnTo>
                  <a:lnTo>
                    <a:pt x="439762" y="208280"/>
                  </a:lnTo>
                  <a:lnTo>
                    <a:pt x="440131" y="208280"/>
                  </a:lnTo>
                  <a:lnTo>
                    <a:pt x="441134" y="213360"/>
                  </a:lnTo>
                  <a:lnTo>
                    <a:pt x="442175" y="217170"/>
                  </a:lnTo>
                  <a:lnTo>
                    <a:pt x="443280" y="220980"/>
                  </a:lnTo>
                  <a:lnTo>
                    <a:pt x="432346" y="220980"/>
                  </a:lnTo>
                  <a:lnTo>
                    <a:pt x="432282" y="222250"/>
                  </a:lnTo>
                  <a:lnTo>
                    <a:pt x="433590" y="222250"/>
                  </a:lnTo>
                  <a:lnTo>
                    <a:pt x="433387" y="223520"/>
                  </a:lnTo>
                  <a:lnTo>
                    <a:pt x="433590" y="223520"/>
                  </a:lnTo>
                  <a:lnTo>
                    <a:pt x="433387" y="224790"/>
                  </a:lnTo>
                  <a:lnTo>
                    <a:pt x="433120" y="224790"/>
                  </a:lnTo>
                  <a:lnTo>
                    <a:pt x="433120" y="227330"/>
                  </a:lnTo>
                  <a:lnTo>
                    <a:pt x="433387" y="227330"/>
                  </a:lnTo>
                  <a:lnTo>
                    <a:pt x="433387" y="229870"/>
                  </a:lnTo>
                  <a:lnTo>
                    <a:pt x="433514" y="229870"/>
                  </a:lnTo>
                  <a:lnTo>
                    <a:pt x="433438" y="231140"/>
                  </a:lnTo>
                  <a:lnTo>
                    <a:pt x="433590" y="231140"/>
                  </a:lnTo>
                  <a:lnTo>
                    <a:pt x="433387" y="232410"/>
                  </a:lnTo>
                  <a:lnTo>
                    <a:pt x="433844" y="232410"/>
                  </a:lnTo>
                  <a:lnTo>
                    <a:pt x="433641" y="233426"/>
                  </a:lnTo>
                  <a:lnTo>
                    <a:pt x="433641" y="238760"/>
                  </a:lnTo>
                  <a:lnTo>
                    <a:pt x="432295" y="243840"/>
                  </a:lnTo>
                  <a:lnTo>
                    <a:pt x="432155" y="243840"/>
                  </a:lnTo>
                  <a:lnTo>
                    <a:pt x="431977" y="245110"/>
                  </a:lnTo>
                  <a:lnTo>
                    <a:pt x="431838" y="245110"/>
                  </a:lnTo>
                  <a:lnTo>
                    <a:pt x="431660" y="246380"/>
                  </a:lnTo>
                  <a:lnTo>
                    <a:pt x="430491" y="245110"/>
                  </a:lnTo>
                  <a:lnTo>
                    <a:pt x="429310" y="243840"/>
                  </a:lnTo>
                  <a:lnTo>
                    <a:pt x="429145" y="243840"/>
                  </a:lnTo>
                  <a:lnTo>
                    <a:pt x="433641" y="238760"/>
                  </a:lnTo>
                  <a:lnTo>
                    <a:pt x="433641" y="233426"/>
                  </a:lnTo>
                  <a:lnTo>
                    <a:pt x="433590" y="233680"/>
                  </a:lnTo>
                  <a:lnTo>
                    <a:pt x="433120" y="233680"/>
                  </a:lnTo>
                  <a:lnTo>
                    <a:pt x="433120" y="234950"/>
                  </a:lnTo>
                  <a:lnTo>
                    <a:pt x="433387" y="234950"/>
                  </a:lnTo>
                  <a:lnTo>
                    <a:pt x="433387" y="236220"/>
                  </a:lnTo>
                  <a:lnTo>
                    <a:pt x="433387" y="237490"/>
                  </a:lnTo>
                  <a:lnTo>
                    <a:pt x="433527" y="237490"/>
                  </a:lnTo>
                  <a:lnTo>
                    <a:pt x="428840" y="243840"/>
                  </a:lnTo>
                  <a:lnTo>
                    <a:pt x="429247" y="231140"/>
                  </a:lnTo>
                  <a:lnTo>
                    <a:pt x="429082" y="231140"/>
                  </a:lnTo>
                  <a:lnTo>
                    <a:pt x="428688" y="230835"/>
                  </a:lnTo>
                  <a:lnTo>
                    <a:pt x="428688" y="231140"/>
                  </a:lnTo>
                  <a:lnTo>
                    <a:pt x="428282" y="243840"/>
                  </a:lnTo>
                  <a:lnTo>
                    <a:pt x="422351" y="238760"/>
                  </a:lnTo>
                  <a:lnTo>
                    <a:pt x="423405" y="237490"/>
                  </a:lnTo>
                  <a:lnTo>
                    <a:pt x="428688" y="231140"/>
                  </a:lnTo>
                  <a:lnTo>
                    <a:pt x="428688" y="230835"/>
                  </a:lnTo>
                  <a:lnTo>
                    <a:pt x="428307" y="230530"/>
                  </a:lnTo>
                  <a:lnTo>
                    <a:pt x="428307" y="231140"/>
                  </a:lnTo>
                  <a:lnTo>
                    <a:pt x="421944" y="237490"/>
                  </a:lnTo>
                  <a:lnTo>
                    <a:pt x="422973" y="236220"/>
                  </a:lnTo>
                  <a:lnTo>
                    <a:pt x="423875" y="233680"/>
                  </a:lnTo>
                  <a:lnTo>
                    <a:pt x="424726" y="231140"/>
                  </a:lnTo>
                  <a:lnTo>
                    <a:pt x="424942" y="231140"/>
                  </a:lnTo>
                  <a:lnTo>
                    <a:pt x="425437" y="229870"/>
                  </a:lnTo>
                  <a:lnTo>
                    <a:pt x="425665" y="228600"/>
                  </a:lnTo>
                  <a:lnTo>
                    <a:pt x="428142" y="231140"/>
                  </a:lnTo>
                  <a:lnTo>
                    <a:pt x="428307" y="231140"/>
                  </a:lnTo>
                  <a:lnTo>
                    <a:pt x="428307" y="230530"/>
                  </a:lnTo>
                  <a:lnTo>
                    <a:pt x="425856" y="228600"/>
                  </a:lnTo>
                  <a:lnTo>
                    <a:pt x="426275" y="227330"/>
                  </a:lnTo>
                  <a:lnTo>
                    <a:pt x="426681" y="226060"/>
                  </a:lnTo>
                  <a:lnTo>
                    <a:pt x="428053" y="220980"/>
                  </a:lnTo>
                  <a:lnTo>
                    <a:pt x="428942" y="218440"/>
                  </a:lnTo>
                  <a:lnTo>
                    <a:pt x="429780" y="215900"/>
                  </a:lnTo>
                  <a:lnTo>
                    <a:pt x="430606" y="215900"/>
                  </a:lnTo>
                  <a:lnTo>
                    <a:pt x="429818" y="214630"/>
                  </a:lnTo>
                  <a:lnTo>
                    <a:pt x="431888" y="207010"/>
                  </a:lnTo>
                  <a:lnTo>
                    <a:pt x="433590" y="199390"/>
                  </a:lnTo>
                  <a:lnTo>
                    <a:pt x="435140" y="191770"/>
                  </a:lnTo>
                  <a:lnTo>
                    <a:pt x="435330" y="191770"/>
                  </a:lnTo>
                  <a:lnTo>
                    <a:pt x="435305" y="190500"/>
                  </a:lnTo>
                  <a:lnTo>
                    <a:pt x="435610" y="190500"/>
                  </a:lnTo>
                  <a:lnTo>
                    <a:pt x="435660" y="189230"/>
                  </a:lnTo>
                  <a:lnTo>
                    <a:pt x="436905" y="182880"/>
                  </a:lnTo>
                  <a:lnTo>
                    <a:pt x="437870" y="176530"/>
                  </a:lnTo>
                  <a:lnTo>
                    <a:pt x="438797" y="171450"/>
                  </a:lnTo>
                  <a:lnTo>
                    <a:pt x="439889" y="165100"/>
                  </a:lnTo>
                  <a:lnTo>
                    <a:pt x="440804" y="158750"/>
                  </a:lnTo>
                  <a:lnTo>
                    <a:pt x="441680" y="152400"/>
                  </a:lnTo>
                  <a:lnTo>
                    <a:pt x="444017" y="165100"/>
                  </a:lnTo>
                  <a:lnTo>
                    <a:pt x="445236" y="171450"/>
                  </a:lnTo>
                  <a:lnTo>
                    <a:pt x="446747" y="179070"/>
                  </a:lnTo>
                  <a:lnTo>
                    <a:pt x="448525" y="186715"/>
                  </a:lnTo>
                  <a:lnTo>
                    <a:pt x="451383" y="199390"/>
                  </a:lnTo>
                  <a:lnTo>
                    <a:pt x="453059" y="205740"/>
                  </a:lnTo>
                  <a:lnTo>
                    <a:pt x="455320" y="214630"/>
                  </a:lnTo>
                  <a:lnTo>
                    <a:pt x="456145" y="217170"/>
                  </a:lnTo>
                  <a:lnTo>
                    <a:pt x="456145" y="216179"/>
                  </a:lnTo>
                  <a:lnTo>
                    <a:pt x="455206" y="212090"/>
                  </a:lnTo>
                  <a:lnTo>
                    <a:pt x="453339" y="205740"/>
                  </a:lnTo>
                  <a:lnTo>
                    <a:pt x="451662" y="199390"/>
                  </a:lnTo>
                  <a:lnTo>
                    <a:pt x="448233" y="184124"/>
                  </a:lnTo>
                  <a:lnTo>
                    <a:pt x="447078" y="179070"/>
                  </a:lnTo>
                  <a:lnTo>
                    <a:pt x="445693" y="171450"/>
                  </a:lnTo>
                  <a:lnTo>
                    <a:pt x="444373" y="165100"/>
                  </a:lnTo>
                  <a:lnTo>
                    <a:pt x="443217" y="158750"/>
                  </a:lnTo>
                  <a:lnTo>
                    <a:pt x="442125" y="152400"/>
                  </a:lnTo>
                  <a:lnTo>
                    <a:pt x="442188" y="151130"/>
                  </a:lnTo>
                  <a:lnTo>
                    <a:pt x="443204" y="151130"/>
                  </a:lnTo>
                  <a:lnTo>
                    <a:pt x="443433" y="149860"/>
                  </a:lnTo>
                  <a:lnTo>
                    <a:pt x="442950" y="149860"/>
                  </a:lnTo>
                  <a:lnTo>
                    <a:pt x="442925" y="148590"/>
                  </a:lnTo>
                  <a:lnTo>
                    <a:pt x="442607" y="147320"/>
                  </a:lnTo>
                  <a:lnTo>
                    <a:pt x="443217" y="147320"/>
                  </a:lnTo>
                  <a:lnTo>
                    <a:pt x="442950" y="146050"/>
                  </a:lnTo>
                  <a:lnTo>
                    <a:pt x="442810" y="146050"/>
                  </a:lnTo>
                  <a:lnTo>
                    <a:pt x="442607" y="144780"/>
                  </a:lnTo>
                  <a:lnTo>
                    <a:pt x="443433" y="144780"/>
                  </a:lnTo>
                  <a:lnTo>
                    <a:pt x="443217" y="143510"/>
                  </a:lnTo>
                  <a:lnTo>
                    <a:pt x="442810" y="143510"/>
                  </a:lnTo>
                  <a:lnTo>
                    <a:pt x="442607" y="142240"/>
                  </a:lnTo>
                  <a:lnTo>
                    <a:pt x="442785" y="142240"/>
                  </a:lnTo>
                  <a:lnTo>
                    <a:pt x="447776" y="154940"/>
                  </a:lnTo>
                  <a:lnTo>
                    <a:pt x="449834" y="158750"/>
                  </a:lnTo>
                  <a:lnTo>
                    <a:pt x="453605" y="165100"/>
                  </a:lnTo>
                  <a:lnTo>
                    <a:pt x="454964" y="166370"/>
                  </a:lnTo>
                  <a:lnTo>
                    <a:pt x="457377" y="168910"/>
                  </a:lnTo>
                  <a:lnTo>
                    <a:pt x="458254" y="170180"/>
                  </a:lnTo>
                  <a:lnTo>
                    <a:pt x="459206" y="171450"/>
                  </a:lnTo>
                  <a:lnTo>
                    <a:pt x="459651" y="171450"/>
                  </a:lnTo>
                  <a:lnTo>
                    <a:pt x="458584" y="170180"/>
                  </a:lnTo>
                  <a:lnTo>
                    <a:pt x="457619" y="168910"/>
                  </a:lnTo>
                  <a:lnTo>
                    <a:pt x="455155" y="166370"/>
                  </a:lnTo>
                  <a:lnTo>
                    <a:pt x="453809" y="165100"/>
                  </a:lnTo>
                  <a:lnTo>
                    <a:pt x="450062" y="158750"/>
                  </a:lnTo>
                  <a:lnTo>
                    <a:pt x="448005" y="154940"/>
                  </a:lnTo>
                  <a:lnTo>
                    <a:pt x="445046" y="147320"/>
                  </a:lnTo>
                  <a:lnTo>
                    <a:pt x="444030" y="144780"/>
                  </a:lnTo>
                  <a:lnTo>
                    <a:pt x="443052" y="142240"/>
                  </a:lnTo>
                  <a:lnTo>
                    <a:pt x="443433" y="142240"/>
                  </a:lnTo>
                  <a:lnTo>
                    <a:pt x="443217" y="140970"/>
                  </a:lnTo>
                  <a:lnTo>
                    <a:pt x="442925" y="140970"/>
                  </a:lnTo>
                  <a:lnTo>
                    <a:pt x="442810" y="139700"/>
                  </a:lnTo>
                  <a:lnTo>
                    <a:pt x="443433" y="139700"/>
                  </a:lnTo>
                  <a:lnTo>
                    <a:pt x="443433" y="138430"/>
                  </a:lnTo>
                  <a:lnTo>
                    <a:pt x="442925" y="138430"/>
                  </a:lnTo>
                  <a:lnTo>
                    <a:pt x="442810" y="137160"/>
                  </a:lnTo>
                  <a:lnTo>
                    <a:pt x="443433" y="137160"/>
                  </a:lnTo>
                  <a:lnTo>
                    <a:pt x="443433" y="135890"/>
                  </a:lnTo>
                  <a:lnTo>
                    <a:pt x="442925" y="135890"/>
                  </a:lnTo>
                  <a:lnTo>
                    <a:pt x="442810" y="134620"/>
                  </a:lnTo>
                  <a:lnTo>
                    <a:pt x="443433" y="134620"/>
                  </a:lnTo>
                  <a:lnTo>
                    <a:pt x="443433" y="133350"/>
                  </a:lnTo>
                  <a:lnTo>
                    <a:pt x="442925" y="133350"/>
                  </a:lnTo>
                  <a:lnTo>
                    <a:pt x="442810" y="132080"/>
                  </a:lnTo>
                  <a:lnTo>
                    <a:pt x="443433" y="132080"/>
                  </a:lnTo>
                  <a:lnTo>
                    <a:pt x="443433" y="130810"/>
                  </a:lnTo>
                  <a:lnTo>
                    <a:pt x="442925" y="130810"/>
                  </a:lnTo>
                  <a:lnTo>
                    <a:pt x="442810" y="129540"/>
                  </a:lnTo>
                  <a:lnTo>
                    <a:pt x="443433" y="129540"/>
                  </a:lnTo>
                  <a:lnTo>
                    <a:pt x="443433" y="128270"/>
                  </a:lnTo>
                  <a:lnTo>
                    <a:pt x="442950" y="128270"/>
                  </a:lnTo>
                  <a:lnTo>
                    <a:pt x="442925" y="127000"/>
                  </a:lnTo>
                  <a:lnTo>
                    <a:pt x="443204" y="127000"/>
                  </a:lnTo>
                  <a:lnTo>
                    <a:pt x="443433" y="125730"/>
                  </a:lnTo>
                  <a:lnTo>
                    <a:pt x="442950" y="125730"/>
                  </a:lnTo>
                  <a:lnTo>
                    <a:pt x="442912" y="124460"/>
                  </a:lnTo>
                  <a:lnTo>
                    <a:pt x="442658" y="123190"/>
                  </a:lnTo>
                  <a:lnTo>
                    <a:pt x="442188" y="123190"/>
                  </a:lnTo>
                  <a:lnTo>
                    <a:pt x="442188" y="121920"/>
                  </a:lnTo>
                  <a:lnTo>
                    <a:pt x="441375" y="121920"/>
                  </a:lnTo>
                  <a:lnTo>
                    <a:pt x="441375" y="151130"/>
                  </a:lnTo>
                  <a:lnTo>
                    <a:pt x="441375" y="152400"/>
                  </a:lnTo>
                  <a:lnTo>
                    <a:pt x="440474" y="158750"/>
                  </a:lnTo>
                  <a:lnTo>
                    <a:pt x="439534" y="165100"/>
                  </a:lnTo>
                  <a:lnTo>
                    <a:pt x="438505" y="171450"/>
                  </a:lnTo>
                  <a:lnTo>
                    <a:pt x="437515" y="176530"/>
                  </a:lnTo>
                  <a:lnTo>
                    <a:pt x="436575" y="181610"/>
                  </a:lnTo>
                  <a:lnTo>
                    <a:pt x="435571" y="187960"/>
                  </a:lnTo>
                  <a:lnTo>
                    <a:pt x="435368" y="187960"/>
                  </a:lnTo>
                  <a:lnTo>
                    <a:pt x="435444" y="187591"/>
                  </a:lnTo>
                  <a:lnTo>
                    <a:pt x="435495" y="187337"/>
                  </a:lnTo>
                  <a:lnTo>
                    <a:pt x="435330" y="187337"/>
                  </a:lnTo>
                  <a:lnTo>
                    <a:pt x="435330" y="186690"/>
                  </a:lnTo>
                  <a:lnTo>
                    <a:pt x="435089" y="186690"/>
                  </a:lnTo>
                  <a:lnTo>
                    <a:pt x="434771" y="185420"/>
                  </a:lnTo>
                  <a:lnTo>
                    <a:pt x="435330" y="185420"/>
                  </a:lnTo>
                  <a:lnTo>
                    <a:pt x="435089" y="184150"/>
                  </a:lnTo>
                  <a:lnTo>
                    <a:pt x="435330" y="184150"/>
                  </a:lnTo>
                  <a:lnTo>
                    <a:pt x="435330" y="182880"/>
                  </a:lnTo>
                  <a:lnTo>
                    <a:pt x="435089" y="181610"/>
                  </a:lnTo>
                  <a:lnTo>
                    <a:pt x="435330" y="181610"/>
                  </a:lnTo>
                  <a:lnTo>
                    <a:pt x="435330" y="179070"/>
                  </a:lnTo>
                  <a:lnTo>
                    <a:pt x="435089" y="177800"/>
                  </a:lnTo>
                  <a:lnTo>
                    <a:pt x="435330" y="177800"/>
                  </a:lnTo>
                  <a:lnTo>
                    <a:pt x="435216" y="174625"/>
                  </a:lnTo>
                  <a:lnTo>
                    <a:pt x="435089" y="173990"/>
                  </a:lnTo>
                  <a:lnTo>
                    <a:pt x="435330" y="173990"/>
                  </a:lnTo>
                  <a:lnTo>
                    <a:pt x="435330" y="172720"/>
                  </a:lnTo>
                  <a:lnTo>
                    <a:pt x="434771" y="172720"/>
                  </a:lnTo>
                  <a:lnTo>
                    <a:pt x="434771" y="171450"/>
                  </a:lnTo>
                  <a:lnTo>
                    <a:pt x="434632" y="171450"/>
                  </a:lnTo>
                  <a:lnTo>
                    <a:pt x="434632" y="172720"/>
                  </a:lnTo>
                  <a:lnTo>
                    <a:pt x="434073" y="172720"/>
                  </a:lnTo>
                  <a:lnTo>
                    <a:pt x="434073" y="173990"/>
                  </a:lnTo>
                  <a:lnTo>
                    <a:pt x="434314" y="173990"/>
                  </a:lnTo>
                  <a:lnTo>
                    <a:pt x="434200" y="174625"/>
                  </a:lnTo>
                  <a:lnTo>
                    <a:pt x="434073" y="177800"/>
                  </a:lnTo>
                  <a:lnTo>
                    <a:pt x="434314" y="177800"/>
                  </a:lnTo>
                  <a:lnTo>
                    <a:pt x="434073" y="179070"/>
                  </a:lnTo>
                  <a:lnTo>
                    <a:pt x="434073" y="181610"/>
                  </a:lnTo>
                  <a:lnTo>
                    <a:pt x="434314" y="181610"/>
                  </a:lnTo>
                  <a:lnTo>
                    <a:pt x="434073" y="182880"/>
                  </a:lnTo>
                  <a:lnTo>
                    <a:pt x="434073" y="184150"/>
                  </a:lnTo>
                  <a:lnTo>
                    <a:pt x="434314" y="184150"/>
                  </a:lnTo>
                  <a:lnTo>
                    <a:pt x="434073" y="185420"/>
                  </a:lnTo>
                  <a:lnTo>
                    <a:pt x="434632" y="185420"/>
                  </a:lnTo>
                  <a:lnTo>
                    <a:pt x="434314" y="186690"/>
                  </a:lnTo>
                  <a:lnTo>
                    <a:pt x="434073" y="186690"/>
                  </a:lnTo>
                  <a:lnTo>
                    <a:pt x="434073" y="187960"/>
                  </a:lnTo>
                  <a:lnTo>
                    <a:pt x="434314" y="187960"/>
                  </a:lnTo>
                  <a:lnTo>
                    <a:pt x="434073" y="189230"/>
                  </a:lnTo>
                  <a:lnTo>
                    <a:pt x="433743" y="189230"/>
                  </a:lnTo>
                  <a:lnTo>
                    <a:pt x="433793" y="190500"/>
                  </a:lnTo>
                  <a:lnTo>
                    <a:pt x="434073" y="190500"/>
                  </a:lnTo>
                  <a:lnTo>
                    <a:pt x="434073" y="191770"/>
                  </a:lnTo>
                  <a:lnTo>
                    <a:pt x="434632" y="191770"/>
                  </a:lnTo>
                  <a:lnTo>
                    <a:pt x="433095" y="199390"/>
                  </a:lnTo>
                  <a:lnTo>
                    <a:pt x="431431" y="207010"/>
                  </a:lnTo>
                  <a:lnTo>
                    <a:pt x="429374" y="214630"/>
                  </a:lnTo>
                  <a:lnTo>
                    <a:pt x="428447" y="214630"/>
                  </a:lnTo>
                  <a:lnTo>
                    <a:pt x="429348" y="215900"/>
                  </a:lnTo>
                  <a:lnTo>
                    <a:pt x="428510" y="218440"/>
                  </a:lnTo>
                  <a:lnTo>
                    <a:pt x="427609" y="220980"/>
                  </a:lnTo>
                  <a:lnTo>
                    <a:pt x="426262" y="226060"/>
                  </a:lnTo>
                  <a:lnTo>
                    <a:pt x="425488" y="227330"/>
                  </a:lnTo>
                  <a:lnTo>
                    <a:pt x="425284" y="227177"/>
                  </a:lnTo>
                  <a:lnTo>
                    <a:pt x="425284" y="228600"/>
                  </a:lnTo>
                  <a:lnTo>
                    <a:pt x="425030" y="228600"/>
                  </a:lnTo>
                  <a:lnTo>
                    <a:pt x="424459" y="231140"/>
                  </a:lnTo>
                  <a:lnTo>
                    <a:pt x="424230" y="231140"/>
                  </a:lnTo>
                  <a:lnTo>
                    <a:pt x="423418" y="233680"/>
                  </a:lnTo>
                  <a:lnTo>
                    <a:pt x="422554" y="234950"/>
                  </a:lnTo>
                  <a:lnTo>
                    <a:pt x="421551" y="237490"/>
                  </a:lnTo>
                  <a:lnTo>
                    <a:pt x="414464" y="231140"/>
                  </a:lnTo>
                  <a:lnTo>
                    <a:pt x="414235" y="231140"/>
                  </a:lnTo>
                  <a:lnTo>
                    <a:pt x="415036" y="229870"/>
                  </a:lnTo>
                  <a:lnTo>
                    <a:pt x="419023" y="223520"/>
                  </a:lnTo>
                  <a:lnTo>
                    <a:pt x="425284" y="228600"/>
                  </a:lnTo>
                  <a:lnTo>
                    <a:pt x="425284" y="227177"/>
                  </a:lnTo>
                  <a:lnTo>
                    <a:pt x="420535" y="223520"/>
                  </a:lnTo>
                  <a:lnTo>
                    <a:pt x="418579" y="222021"/>
                  </a:lnTo>
                  <a:lnTo>
                    <a:pt x="418579" y="223520"/>
                  </a:lnTo>
                  <a:lnTo>
                    <a:pt x="413778" y="229870"/>
                  </a:lnTo>
                  <a:lnTo>
                    <a:pt x="409270" y="215900"/>
                  </a:lnTo>
                  <a:lnTo>
                    <a:pt x="418579" y="223520"/>
                  </a:lnTo>
                  <a:lnTo>
                    <a:pt x="418579" y="222021"/>
                  </a:lnTo>
                  <a:lnTo>
                    <a:pt x="410629" y="215900"/>
                  </a:lnTo>
                  <a:lnTo>
                    <a:pt x="408978" y="214630"/>
                  </a:lnTo>
                  <a:lnTo>
                    <a:pt x="400519" y="187960"/>
                  </a:lnTo>
                  <a:lnTo>
                    <a:pt x="403021" y="185420"/>
                  </a:lnTo>
                  <a:lnTo>
                    <a:pt x="404672" y="187960"/>
                  </a:lnTo>
                  <a:lnTo>
                    <a:pt x="406361" y="190500"/>
                  </a:lnTo>
                  <a:lnTo>
                    <a:pt x="410121" y="196850"/>
                  </a:lnTo>
                  <a:lnTo>
                    <a:pt x="412178" y="200660"/>
                  </a:lnTo>
                  <a:lnTo>
                    <a:pt x="416699" y="205740"/>
                  </a:lnTo>
                  <a:lnTo>
                    <a:pt x="419138" y="209550"/>
                  </a:lnTo>
                  <a:lnTo>
                    <a:pt x="423430" y="212090"/>
                  </a:lnTo>
                  <a:lnTo>
                    <a:pt x="424980" y="213360"/>
                  </a:lnTo>
                  <a:lnTo>
                    <a:pt x="427545" y="214630"/>
                  </a:lnTo>
                  <a:lnTo>
                    <a:pt x="425043" y="213360"/>
                  </a:lnTo>
                  <a:lnTo>
                    <a:pt x="423506" y="212090"/>
                  </a:lnTo>
                  <a:lnTo>
                    <a:pt x="419239" y="209550"/>
                  </a:lnTo>
                  <a:lnTo>
                    <a:pt x="416801" y="205740"/>
                  </a:lnTo>
                  <a:lnTo>
                    <a:pt x="412292" y="200660"/>
                  </a:lnTo>
                  <a:lnTo>
                    <a:pt x="410235" y="196850"/>
                  </a:lnTo>
                  <a:lnTo>
                    <a:pt x="406488" y="190500"/>
                  </a:lnTo>
                  <a:lnTo>
                    <a:pt x="404787" y="187960"/>
                  </a:lnTo>
                  <a:lnTo>
                    <a:pt x="403136" y="185420"/>
                  </a:lnTo>
                  <a:lnTo>
                    <a:pt x="407022" y="180340"/>
                  </a:lnTo>
                  <a:lnTo>
                    <a:pt x="413816" y="171450"/>
                  </a:lnTo>
                  <a:lnTo>
                    <a:pt x="413092" y="171450"/>
                  </a:lnTo>
                  <a:lnTo>
                    <a:pt x="406349" y="180340"/>
                  </a:lnTo>
                  <a:lnTo>
                    <a:pt x="405993" y="179971"/>
                  </a:lnTo>
                  <a:lnTo>
                    <a:pt x="405993" y="180340"/>
                  </a:lnTo>
                  <a:lnTo>
                    <a:pt x="402831" y="184150"/>
                  </a:lnTo>
                  <a:lnTo>
                    <a:pt x="402717" y="183857"/>
                  </a:lnTo>
                  <a:lnTo>
                    <a:pt x="402717" y="184150"/>
                  </a:lnTo>
                  <a:lnTo>
                    <a:pt x="400304" y="187960"/>
                  </a:lnTo>
                  <a:lnTo>
                    <a:pt x="399935" y="186690"/>
                  </a:lnTo>
                  <a:lnTo>
                    <a:pt x="400278" y="185420"/>
                  </a:lnTo>
                  <a:lnTo>
                    <a:pt x="400977" y="182880"/>
                  </a:lnTo>
                  <a:lnTo>
                    <a:pt x="401320" y="181610"/>
                  </a:lnTo>
                  <a:lnTo>
                    <a:pt x="401777" y="182880"/>
                  </a:lnTo>
                  <a:lnTo>
                    <a:pt x="402234" y="184150"/>
                  </a:lnTo>
                  <a:lnTo>
                    <a:pt x="402717" y="184150"/>
                  </a:lnTo>
                  <a:lnTo>
                    <a:pt x="402717" y="183857"/>
                  </a:lnTo>
                  <a:lnTo>
                    <a:pt x="402336" y="182880"/>
                  </a:lnTo>
                  <a:lnTo>
                    <a:pt x="401878" y="182880"/>
                  </a:lnTo>
                  <a:lnTo>
                    <a:pt x="401383" y="181610"/>
                  </a:lnTo>
                  <a:lnTo>
                    <a:pt x="402577" y="177800"/>
                  </a:lnTo>
                  <a:lnTo>
                    <a:pt x="405993" y="180340"/>
                  </a:lnTo>
                  <a:lnTo>
                    <a:pt x="405993" y="179971"/>
                  </a:lnTo>
                  <a:lnTo>
                    <a:pt x="403961" y="177800"/>
                  </a:lnTo>
                  <a:lnTo>
                    <a:pt x="402767" y="176530"/>
                  </a:lnTo>
                  <a:lnTo>
                    <a:pt x="404495" y="171450"/>
                  </a:lnTo>
                  <a:lnTo>
                    <a:pt x="404672" y="171450"/>
                  </a:lnTo>
                  <a:lnTo>
                    <a:pt x="413245" y="143510"/>
                  </a:lnTo>
                  <a:lnTo>
                    <a:pt x="419087" y="124460"/>
                  </a:lnTo>
                  <a:lnTo>
                    <a:pt x="419481" y="123190"/>
                  </a:lnTo>
                  <a:lnTo>
                    <a:pt x="436118" y="123190"/>
                  </a:lnTo>
                  <a:lnTo>
                    <a:pt x="437603" y="128270"/>
                  </a:lnTo>
                  <a:lnTo>
                    <a:pt x="438975" y="132080"/>
                  </a:lnTo>
                  <a:lnTo>
                    <a:pt x="440410" y="135890"/>
                  </a:lnTo>
                  <a:lnTo>
                    <a:pt x="440143" y="135890"/>
                  </a:lnTo>
                  <a:lnTo>
                    <a:pt x="440143" y="137160"/>
                  </a:lnTo>
                  <a:lnTo>
                    <a:pt x="440880" y="137160"/>
                  </a:lnTo>
                  <a:lnTo>
                    <a:pt x="440740" y="138430"/>
                  </a:lnTo>
                  <a:lnTo>
                    <a:pt x="440143" y="138430"/>
                  </a:lnTo>
                  <a:lnTo>
                    <a:pt x="440143" y="139700"/>
                  </a:lnTo>
                  <a:lnTo>
                    <a:pt x="440753" y="139700"/>
                  </a:lnTo>
                  <a:lnTo>
                    <a:pt x="440639" y="140970"/>
                  </a:lnTo>
                  <a:lnTo>
                    <a:pt x="440347" y="140970"/>
                  </a:lnTo>
                  <a:lnTo>
                    <a:pt x="440143" y="142240"/>
                  </a:lnTo>
                  <a:lnTo>
                    <a:pt x="440969" y="142240"/>
                  </a:lnTo>
                  <a:lnTo>
                    <a:pt x="440753" y="143510"/>
                  </a:lnTo>
                  <a:lnTo>
                    <a:pt x="440347" y="143510"/>
                  </a:lnTo>
                  <a:lnTo>
                    <a:pt x="440143" y="144780"/>
                  </a:lnTo>
                  <a:lnTo>
                    <a:pt x="440969" y="144780"/>
                  </a:lnTo>
                  <a:lnTo>
                    <a:pt x="440753" y="146050"/>
                  </a:lnTo>
                  <a:lnTo>
                    <a:pt x="440613" y="146050"/>
                  </a:lnTo>
                  <a:lnTo>
                    <a:pt x="440347" y="147320"/>
                  </a:lnTo>
                  <a:lnTo>
                    <a:pt x="440969" y="147320"/>
                  </a:lnTo>
                  <a:lnTo>
                    <a:pt x="440753" y="148590"/>
                  </a:lnTo>
                  <a:lnTo>
                    <a:pt x="440613" y="149860"/>
                  </a:lnTo>
                  <a:lnTo>
                    <a:pt x="440143" y="149860"/>
                  </a:lnTo>
                  <a:lnTo>
                    <a:pt x="440347" y="151130"/>
                  </a:lnTo>
                  <a:lnTo>
                    <a:pt x="441375" y="151130"/>
                  </a:lnTo>
                  <a:lnTo>
                    <a:pt x="441375" y="121920"/>
                  </a:lnTo>
                  <a:lnTo>
                    <a:pt x="440918" y="121920"/>
                  </a:lnTo>
                  <a:lnTo>
                    <a:pt x="440918" y="123190"/>
                  </a:lnTo>
                  <a:lnTo>
                    <a:pt x="440778" y="123888"/>
                  </a:lnTo>
                  <a:lnTo>
                    <a:pt x="440778" y="134620"/>
                  </a:lnTo>
                  <a:lnTo>
                    <a:pt x="440677" y="135890"/>
                  </a:lnTo>
                  <a:lnTo>
                    <a:pt x="440156" y="134620"/>
                  </a:lnTo>
                  <a:lnTo>
                    <a:pt x="440778" y="134620"/>
                  </a:lnTo>
                  <a:lnTo>
                    <a:pt x="440778" y="123888"/>
                  </a:lnTo>
                  <a:lnTo>
                    <a:pt x="440664" y="124460"/>
                  </a:lnTo>
                  <a:lnTo>
                    <a:pt x="440613" y="125730"/>
                  </a:lnTo>
                  <a:lnTo>
                    <a:pt x="440143" y="125730"/>
                  </a:lnTo>
                  <a:lnTo>
                    <a:pt x="440347" y="127000"/>
                  </a:lnTo>
                  <a:lnTo>
                    <a:pt x="440639" y="127000"/>
                  </a:lnTo>
                  <a:lnTo>
                    <a:pt x="440613" y="128270"/>
                  </a:lnTo>
                  <a:lnTo>
                    <a:pt x="440143" y="128270"/>
                  </a:lnTo>
                  <a:lnTo>
                    <a:pt x="440143" y="129540"/>
                  </a:lnTo>
                  <a:lnTo>
                    <a:pt x="440753" y="129540"/>
                  </a:lnTo>
                  <a:lnTo>
                    <a:pt x="440639" y="130810"/>
                  </a:lnTo>
                  <a:lnTo>
                    <a:pt x="440143" y="130810"/>
                  </a:lnTo>
                  <a:lnTo>
                    <a:pt x="440143" y="132080"/>
                  </a:lnTo>
                  <a:lnTo>
                    <a:pt x="440753" y="132080"/>
                  </a:lnTo>
                  <a:lnTo>
                    <a:pt x="440639" y="133350"/>
                  </a:lnTo>
                  <a:lnTo>
                    <a:pt x="440143" y="133350"/>
                  </a:lnTo>
                  <a:lnTo>
                    <a:pt x="440143" y="134581"/>
                  </a:lnTo>
                  <a:lnTo>
                    <a:pt x="439204" y="132080"/>
                  </a:lnTo>
                  <a:lnTo>
                    <a:pt x="437870" y="128270"/>
                  </a:lnTo>
                  <a:lnTo>
                    <a:pt x="436422" y="123190"/>
                  </a:lnTo>
                  <a:lnTo>
                    <a:pt x="440918" y="123190"/>
                  </a:lnTo>
                  <a:lnTo>
                    <a:pt x="440918" y="121920"/>
                  </a:lnTo>
                  <a:lnTo>
                    <a:pt x="436003" y="121920"/>
                  </a:lnTo>
                  <a:lnTo>
                    <a:pt x="435686" y="120891"/>
                  </a:lnTo>
                  <a:lnTo>
                    <a:pt x="435686" y="121920"/>
                  </a:lnTo>
                  <a:lnTo>
                    <a:pt x="419925" y="121920"/>
                  </a:lnTo>
                  <a:lnTo>
                    <a:pt x="421551" y="116840"/>
                  </a:lnTo>
                  <a:lnTo>
                    <a:pt x="423125" y="113030"/>
                  </a:lnTo>
                  <a:lnTo>
                    <a:pt x="424180" y="110490"/>
                  </a:lnTo>
                  <a:lnTo>
                    <a:pt x="426364" y="104140"/>
                  </a:lnTo>
                  <a:lnTo>
                    <a:pt x="428396" y="97790"/>
                  </a:lnTo>
                  <a:lnTo>
                    <a:pt x="429107" y="97790"/>
                  </a:lnTo>
                  <a:lnTo>
                    <a:pt x="431152" y="106680"/>
                  </a:lnTo>
                  <a:lnTo>
                    <a:pt x="433324" y="114300"/>
                  </a:lnTo>
                  <a:lnTo>
                    <a:pt x="435686" y="121920"/>
                  </a:lnTo>
                  <a:lnTo>
                    <a:pt x="435686" y="120891"/>
                  </a:lnTo>
                  <a:lnTo>
                    <a:pt x="433666" y="114300"/>
                  </a:lnTo>
                  <a:lnTo>
                    <a:pt x="431507" y="106680"/>
                  </a:lnTo>
                  <a:lnTo>
                    <a:pt x="429488" y="97790"/>
                  </a:lnTo>
                  <a:lnTo>
                    <a:pt x="430314" y="93980"/>
                  </a:lnTo>
                  <a:lnTo>
                    <a:pt x="430136" y="93980"/>
                  </a:lnTo>
                  <a:lnTo>
                    <a:pt x="428790" y="93205"/>
                  </a:lnTo>
                  <a:lnTo>
                    <a:pt x="428790" y="95250"/>
                  </a:lnTo>
                  <a:lnTo>
                    <a:pt x="428282" y="97790"/>
                  </a:lnTo>
                  <a:lnTo>
                    <a:pt x="426593" y="102870"/>
                  </a:lnTo>
                  <a:lnTo>
                    <a:pt x="424764" y="107950"/>
                  </a:lnTo>
                  <a:lnTo>
                    <a:pt x="422694" y="113030"/>
                  </a:lnTo>
                  <a:lnTo>
                    <a:pt x="428307" y="93980"/>
                  </a:lnTo>
                  <a:lnTo>
                    <a:pt x="428790" y="95250"/>
                  </a:lnTo>
                  <a:lnTo>
                    <a:pt x="428790" y="93205"/>
                  </a:lnTo>
                  <a:lnTo>
                    <a:pt x="427951" y="92710"/>
                  </a:lnTo>
                  <a:lnTo>
                    <a:pt x="427278" y="92710"/>
                  </a:lnTo>
                  <a:lnTo>
                    <a:pt x="418465" y="121920"/>
                  </a:lnTo>
                  <a:lnTo>
                    <a:pt x="417626" y="121920"/>
                  </a:lnTo>
                  <a:lnTo>
                    <a:pt x="417626" y="124460"/>
                  </a:lnTo>
                  <a:lnTo>
                    <a:pt x="411543" y="143510"/>
                  </a:lnTo>
                  <a:lnTo>
                    <a:pt x="411035" y="142963"/>
                  </a:lnTo>
                  <a:lnTo>
                    <a:pt x="411035" y="146050"/>
                  </a:lnTo>
                  <a:lnTo>
                    <a:pt x="403225" y="171450"/>
                  </a:lnTo>
                  <a:lnTo>
                    <a:pt x="403047" y="171450"/>
                  </a:lnTo>
                  <a:lnTo>
                    <a:pt x="401599" y="176530"/>
                  </a:lnTo>
                  <a:lnTo>
                    <a:pt x="397052" y="172999"/>
                  </a:lnTo>
                  <a:lnTo>
                    <a:pt x="397586" y="174193"/>
                  </a:lnTo>
                  <a:lnTo>
                    <a:pt x="401434" y="176530"/>
                  </a:lnTo>
                  <a:lnTo>
                    <a:pt x="400481" y="180340"/>
                  </a:lnTo>
                  <a:lnTo>
                    <a:pt x="398297" y="175260"/>
                  </a:lnTo>
                  <a:lnTo>
                    <a:pt x="397776" y="174625"/>
                  </a:lnTo>
                  <a:lnTo>
                    <a:pt x="400405" y="180340"/>
                  </a:lnTo>
                  <a:lnTo>
                    <a:pt x="399542" y="182880"/>
                  </a:lnTo>
                  <a:lnTo>
                    <a:pt x="398983" y="182880"/>
                  </a:lnTo>
                  <a:lnTo>
                    <a:pt x="398792" y="182270"/>
                  </a:lnTo>
                  <a:lnTo>
                    <a:pt x="398792" y="185420"/>
                  </a:lnTo>
                  <a:lnTo>
                    <a:pt x="393369" y="203200"/>
                  </a:lnTo>
                  <a:lnTo>
                    <a:pt x="392315" y="201447"/>
                  </a:lnTo>
                  <a:lnTo>
                    <a:pt x="392315" y="203200"/>
                  </a:lnTo>
                  <a:lnTo>
                    <a:pt x="391782" y="203200"/>
                  </a:lnTo>
                  <a:lnTo>
                    <a:pt x="391782" y="205740"/>
                  </a:lnTo>
                  <a:lnTo>
                    <a:pt x="385089" y="212090"/>
                  </a:lnTo>
                  <a:lnTo>
                    <a:pt x="384822" y="210921"/>
                  </a:lnTo>
                  <a:lnTo>
                    <a:pt x="384822" y="212090"/>
                  </a:lnTo>
                  <a:lnTo>
                    <a:pt x="384416" y="212090"/>
                  </a:lnTo>
                  <a:lnTo>
                    <a:pt x="384213" y="211518"/>
                  </a:lnTo>
                  <a:lnTo>
                    <a:pt x="384213" y="212090"/>
                  </a:lnTo>
                  <a:lnTo>
                    <a:pt x="383882" y="212090"/>
                  </a:lnTo>
                  <a:lnTo>
                    <a:pt x="383463" y="211543"/>
                  </a:lnTo>
                  <a:lnTo>
                    <a:pt x="383463" y="213360"/>
                  </a:lnTo>
                  <a:lnTo>
                    <a:pt x="382498" y="213360"/>
                  </a:lnTo>
                  <a:lnTo>
                    <a:pt x="381482" y="212090"/>
                  </a:lnTo>
                  <a:lnTo>
                    <a:pt x="381482" y="214630"/>
                  </a:lnTo>
                  <a:lnTo>
                    <a:pt x="375539" y="220980"/>
                  </a:lnTo>
                  <a:lnTo>
                    <a:pt x="375513" y="219710"/>
                  </a:lnTo>
                  <a:lnTo>
                    <a:pt x="375373" y="214630"/>
                  </a:lnTo>
                  <a:lnTo>
                    <a:pt x="375627" y="213360"/>
                  </a:lnTo>
                  <a:lnTo>
                    <a:pt x="375881" y="212090"/>
                  </a:lnTo>
                  <a:lnTo>
                    <a:pt x="376923" y="209550"/>
                  </a:lnTo>
                  <a:lnTo>
                    <a:pt x="381482" y="214630"/>
                  </a:lnTo>
                  <a:lnTo>
                    <a:pt x="381482" y="212090"/>
                  </a:lnTo>
                  <a:lnTo>
                    <a:pt x="379450" y="209550"/>
                  </a:lnTo>
                  <a:lnTo>
                    <a:pt x="377405" y="207010"/>
                  </a:lnTo>
                  <a:lnTo>
                    <a:pt x="377964" y="205740"/>
                  </a:lnTo>
                  <a:lnTo>
                    <a:pt x="380466" y="205740"/>
                  </a:lnTo>
                  <a:lnTo>
                    <a:pt x="381431" y="208280"/>
                  </a:lnTo>
                  <a:lnTo>
                    <a:pt x="383463" y="213360"/>
                  </a:lnTo>
                  <a:lnTo>
                    <a:pt x="383463" y="211543"/>
                  </a:lnTo>
                  <a:lnTo>
                    <a:pt x="382917" y="210820"/>
                  </a:lnTo>
                  <a:lnTo>
                    <a:pt x="381063" y="205740"/>
                  </a:lnTo>
                  <a:lnTo>
                    <a:pt x="381533" y="205740"/>
                  </a:lnTo>
                  <a:lnTo>
                    <a:pt x="382384" y="207010"/>
                  </a:lnTo>
                  <a:lnTo>
                    <a:pt x="383273" y="209550"/>
                  </a:lnTo>
                  <a:lnTo>
                    <a:pt x="384213" y="212090"/>
                  </a:lnTo>
                  <a:lnTo>
                    <a:pt x="384213" y="211518"/>
                  </a:lnTo>
                  <a:lnTo>
                    <a:pt x="383514" y="209550"/>
                  </a:lnTo>
                  <a:lnTo>
                    <a:pt x="382651" y="207010"/>
                  </a:lnTo>
                  <a:lnTo>
                    <a:pt x="381825" y="205740"/>
                  </a:lnTo>
                  <a:lnTo>
                    <a:pt x="383311" y="205740"/>
                  </a:lnTo>
                  <a:lnTo>
                    <a:pt x="384302" y="209550"/>
                  </a:lnTo>
                  <a:lnTo>
                    <a:pt x="384822" y="212090"/>
                  </a:lnTo>
                  <a:lnTo>
                    <a:pt x="384822" y="210921"/>
                  </a:lnTo>
                  <a:lnTo>
                    <a:pt x="383654" y="205740"/>
                  </a:lnTo>
                  <a:lnTo>
                    <a:pt x="391782" y="205740"/>
                  </a:lnTo>
                  <a:lnTo>
                    <a:pt x="391782" y="203200"/>
                  </a:lnTo>
                  <a:lnTo>
                    <a:pt x="383324" y="203200"/>
                  </a:lnTo>
                  <a:lnTo>
                    <a:pt x="382981" y="201980"/>
                  </a:lnTo>
                  <a:lnTo>
                    <a:pt x="382981" y="203200"/>
                  </a:lnTo>
                  <a:lnTo>
                    <a:pt x="381317" y="203200"/>
                  </a:lnTo>
                  <a:lnTo>
                    <a:pt x="380593" y="201980"/>
                  </a:lnTo>
                  <a:lnTo>
                    <a:pt x="380504" y="201739"/>
                  </a:lnTo>
                  <a:lnTo>
                    <a:pt x="380225" y="200660"/>
                  </a:lnTo>
                  <a:lnTo>
                    <a:pt x="381952" y="199390"/>
                  </a:lnTo>
                  <a:lnTo>
                    <a:pt x="382981" y="203200"/>
                  </a:lnTo>
                  <a:lnTo>
                    <a:pt x="382981" y="201980"/>
                  </a:lnTo>
                  <a:lnTo>
                    <a:pt x="382257" y="199390"/>
                  </a:lnTo>
                  <a:lnTo>
                    <a:pt x="385381" y="196850"/>
                  </a:lnTo>
                  <a:lnTo>
                    <a:pt x="386943" y="195580"/>
                  </a:lnTo>
                  <a:lnTo>
                    <a:pt x="392315" y="203200"/>
                  </a:lnTo>
                  <a:lnTo>
                    <a:pt x="392315" y="201447"/>
                  </a:lnTo>
                  <a:lnTo>
                    <a:pt x="388797" y="195580"/>
                  </a:lnTo>
                  <a:lnTo>
                    <a:pt x="388035" y="194310"/>
                  </a:lnTo>
                  <a:lnTo>
                    <a:pt x="398792" y="185420"/>
                  </a:lnTo>
                  <a:lnTo>
                    <a:pt x="398792" y="182270"/>
                  </a:lnTo>
                  <a:lnTo>
                    <a:pt x="395439" y="171450"/>
                  </a:lnTo>
                  <a:lnTo>
                    <a:pt x="395097" y="171450"/>
                  </a:lnTo>
                  <a:lnTo>
                    <a:pt x="393585" y="166370"/>
                  </a:lnTo>
                  <a:lnTo>
                    <a:pt x="395871" y="171450"/>
                  </a:lnTo>
                  <a:lnTo>
                    <a:pt x="395439" y="171450"/>
                  </a:lnTo>
                  <a:lnTo>
                    <a:pt x="396633" y="172466"/>
                  </a:lnTo>
                  <a:lnTo>
                    <a:pt x="396341" y="171450"/>
                  </a:lnTo>
                  <a:lnTo>
                    <a:pt x="396062" y="171450"/>
                  </a:lnTo>
                  <a:lnTo>
                    <a:pt x="395909" y="171069"/>
                  </a:lnTo>
                  <a:lnTo>
                    <a:pt x="396405" y="171450"/>
                  </a:lnTo>
                  <a:lnTo>
                    <a:pt x="396316" y="171272"/>
                  </a:lnTo>
                  <a:lnTo>
                    <a:pt x="396240" y="171094"/>
                  </a:lnTo>
                  <a:lnTo>
                    <a:pt x="396151" y="170916"/>
                  </a:lnTo>
                  <a:lnTo>
                    <a:pt x="395846" y="170916"/>
                  </a:lnTo>
                  <a:lnTo>
                    <a:pt x="394106" y="166370"/>
                  </a:lnTo>
                  <a:lnTo>
                    <a:pt x="393153" y="165100"/>
                  </a:lnTo>
                  <a:lnTo>
                    <a:pt x="391629" y="160020"/>
                  </a:lnTo>
                  <a:lnTo>
                    <a:pt x="391198" y="158584"/>
                  </a:lnTo>
                  <a:lnTo>
                    <a:pt x="391198" y="160020"/>
                  </a:lnTo>
                  <a:lnTo>
                    <a:pt x="389470" y="156210"/>
                  </a:lnTo>
                  <a:lnTo>
                    <a:pt x="388632" y="154940"/>
                  </a:lnTo>
                  <a:lnTo>
                    <a:pt x="388886" y="154940"/>
                  </a:lnTo>
                  <a:lnTo>
                    <a:pt x="388658" y="153670"/>
                  </a:lnTo>
                  <a:lnTo>
                    <a:pt x="388416" y="152400"/>
                  </a:lnTo>
                  <a:lnTo>
                    <a:pt x="391198" y="160020"/>
                  </a:lnTo>
                  <a:lnTo>
                    <a:pt x="391198" y="158584"/>
                  </a:lnTo>
                  <a:lnTo>
                    <a:pt x="389343" y="152400"/>
                  </a:lnTo>
                  <a:lnTo>
                    <a:pt x="388962" y="151130"/>
                  </a:lnTo>
                  <a:lnTo>
                    <a:pt x="387807" y="151130"/>
                  </a:lnTo>
                  <a:lnTo>
                    <a:pt x="388175" y="153670"/>
                  </a:lnTo>
                  <a:lnTo>
                    <a:pt x="386588" y="158750"/>
                  </a:lnTo>
                  <a:lnTo>
                    <a:pt x="384517" y="163830"/>
                  </a:lnTo>
                  <a:lnTo>
                    <a:pt x="380860" y="168910"/>
                  </a:lnTo>
                  <a:lnTo>
                    <a:pt x="379031" y="170180"/>
                  </a:lnTo>
                  <a:lnTo>
                    <a:pt x="376770" y="172720"/>
                  </a:lnTo>
                  <a:lnTo>
                    <a:pt x="373659" y="173990"/>
                  </a:lnTo>
                  <a:lnTo>
                    <a:pt x="388226" y="153670"/>
                  </a:lnTo>
                  <a:lnTo>
                    <a:pt x="388340" y="154940"/>
                  </a:lnTo>
                  <a:lnTo>
                    <a:pt x="389496" y="157480"/>
                  </a:lnTo>
                  <a:lnTo>
                    <a:pt x="391718" y="162560"/>
                  </a:lnTo>
                  <a:lnTo>
                    <a:pt x="394512" y="171450"/>
                  </a:lnTo>
                  <a:lnTo>
                    <a:pt x="394703" y="171450"/>
                  </a:lnTo>
                  <a:lnTo>
                    <a:pt x="398526" y="184150"/>
                  </a:lnTo>
                  <a:lnTo>
                    <a:pt x="386740" y="193040"/>
                  </a:lnTo>
                  <a:lnTo>
                    <a:pt x="386410" y="193040"/>
                  </a:lnTo>
                  <a:lnTo>
                    <a:pt x="386181" y="194310"/>
                  </a:lnTo>
                  <a:lnTo>
                    <a:pt x="381927" y="196850"/>
                  </a:lnTo>
                  <a:lnTo>
                    <a:pt x="381622" y="195618"/>
                  </a:lnTo>
                  <a:lnTo>
                    <a:pt x="381622" y="198120"/>
                  </a:lnTo>
                  <a:lnTo>
                    <a:pt x="379945" y="199263"/>
                  </a:lnTo>
                  <a:lnTo>
                    <a:pt x="379945" y="203200"/>
                  </a:lnTo>
                  <a:lnTo>
                    <a:pt x="378345" y="203200"/>
                  </a:lnTo>
                  <a:lnTo>
                    <a:pt x="378866" y="201930"/>
                  </a:lnTo>
                  <a:lnTo>
                    <a:pt x="379120" y="201930"/>
                  </a:lnTo>
                  <a:lnTo>
                    <a:pt x="379945" y="203200"/>
                  </a:lnTo>
                  <a:lnTo>
                    <a:pt x="379945" y="199263"/>
                  </a:lnTo>
                  <a:lnTo>
                    <a:pt x="379755" y="199390"/>
                  </a:lnTo>
                  <a:lnTo>
                    <a:pt x="379628" y="199390"/>
                  </a:lnTo>
                  <a:lnTo>
                    <a:pt x="380860" y="194310"/>
                  </a:lnTo>
                  <a:lnTo>
                    <a:pt x="381622" y="198120"/>
                  </a:lnTo>
                  <a:lnTo>
                    <a:pt x="381622" y="195618"/>
                  </a:lnTo>
                  <a:lnTo>
                    <a:pt x="381304" y="194310"/>
                  </a:lnTo>
                  <a:lnTo>
                    <a:pt x="381000" y="193040"/>
                  </a:lnTo>
                  <a:lnTo>
                    <a:pt x="381000" y="191770"/>
                  </a:lnTo>
                  <a:lnTo>
                    <a:pt x="381558" y="191770"/>
                  </a:lnTo>
                  <a:lnTo>
                    <a:pt x="381558" y="190500"/>
                  </a:lnTo>
                  <a:lnTo>
                    <a:pt x="381838" y="190500"/>
                  </a:lnTo>
                  <a:lnTo>
                    <a:pt x="381901" y="189230"/>
                  </a:lnTo>
                  <a:lnTo>
                    <a:pt x="381558" y="189230"/>
                  </a:lnTo>
                  <a:lnTo>
                    <a:pt x="381317" y="187960"/>
                  </a:lnTo>
                  <a:lnTo>
                    <a:pt x="381558" y="187960"/>
                  </a:lnTo>
                  <a:lnTo>
                    <a:pt x="381558" y="186690"/>
                  </a:lnTo>
                  <a:lnTo>
                    <a:pt x="381317" y="186690"/>
                  </a:lnTo>
                  <a:lnTo>
                    <a:pt x="381000" y="185420"/>
                  </a:lnTo>
                  <a:lnTo>
                    <a:pt x="381558" y="185420"/>
                  </a:lnTo>
                  <a:lnTo>
                    <a:pt x="381317" y="184150"/>
                  </a:lnTo>
                  <a:lnTo>
                    <a:pt x="381558" y="184150"/>
                  </a:lnTo>
                  <a:lnTo>
                    <a:pt x="381558" y="182880"/>
                  </a:lnTo>
                  <a:lnTo>
                    <a:pt x="381317" y="181610"/>
                  </a:lnTo>
                  <a:lnTo>
                    <a:pt x="381558" y="181610"/>
                  </a:lnTo>
                  <a:lnTo>
                    <a:pt x="381558" y="179070"/>
                  </a:lnTo>
                  <a:lnTo>
                    <a:pt x="381317" y="177800"/>
                  </a:lnTo>
                  <a:lnTo>
                    <a:pt x="381558" y="177800"/>
                  </a:lnTo>
                  <a:lnTo>
                    <a:pt x="381444" y="174625"/>
                  </a:lnTo>
                  <a:lnTo>
                    <a:pt x="381317" y="173990"/>
                  </a:lnTo>
                  <a:lnTo>
                    <a:pt x="381558" y="173990"/>
                  </a:lnTo>
                  <a:lnTo>
                    <a:pt x="381558" y="172720"/>
                  </a:lnTo>
                  <a:lnTo>
                    <a:pt x="381000" y="172720"/>
                  </a:lnTo>
                  <a:lnTo>
                    <a:pt x="381000" y="171450"/>
                  </a:lnTo>
                  <a:lnTo>
                    <a:pt x="380860" y="171450"/>
                  </a:lnTo>
                  <a:lnTo>
                    <a:pt x="380860" y="172720"/>
                  </a:lnTo>
                  <a:lnTo>
                    <a:pt x="380301" y="172720"/>
                  </a:lnTo>
                  <a:lnTo>
                    <a:pt x="380301" y="173990"/>
                  </a:lnTo>
                  <a:lnTo>
                    <a:pt x="380555" y="173990"/>
                  </a:lnTo>
                  <a:lnTo>
                    <a:pt x="380428" y="174625"/>
                  </a:lnTo>
                  <a:lnTo>
                    <a:pt x="380301" y="177800"/>
                  </a:lnTo>
                  <a:lnTo>
                    <a:pt x="380555" y="177800"/>
                  </a:lnTo>
                  <a:lnTo>
                    <a:pt x="380301" y="179070"/>
                  </a:lnTo>
                  <a:lnTo>
                    <a:pt x="380301" y="181610"/>
                  </a:lnTo>
                  <a:lnTo>
                    <a:pt x="380555" y="181610"/>
                  </a:lnTo>
                  <a:lnTo>
                    <a:pt x="380301" y="182880"/>
                  </a:lnTo>
                  <a:lnTo>
                    <a:pt x="380301" y="184150"/>
                  </a:lnTo>
                  <a:lnTo>
                    <a:pt x="380555" y="184150"/>
                  </a:lnTo>
                  <a:lnTo>
                    <a:pt x="380301" y="185420"/>
                  </a:lnTo>
                  <a:lnTo>
                    <a:pt x="380860" y="185420"/>
                  </a:lnTo>
                  <a:lnTo>
                    <a:pt x="380555" y="186690"/>
                  </a:lnTo>
                  <a:lnTo>
                    <a:pt x="380301" y="186690"/>
                  </a:lnTo>
                  <a:lnTo>
                    <a:pt x="380301" y="187960"/>
                  </a:lnTo>
                  <a:lnTo>
                    <a:pt x="380555" y="187960"/>
                  </a:lnTo>
                  <a:lnTo>
                    <a:pt x="380301" y="189230"/>
                  </a:lnTo>
                  <a:lnTo>
                    <a:pt x="379971" y="189230"/>
                  </a:lnTo>
                  <a:lnTo>
                    <a:pt x="380022" y="190500"/>
                  </a:lnTo>
                  <a:lnTo>
                    <a:pt x="380301" y="190500"/>
                  </a:lnTo>
                  <a:lnTo>
                    <a:pt x="380301" y="191770"/>
                  </a:lnTo>
                  <a:lnTo>
                    <a:pt x="380860" y="191770"/>
                  </a:lnTo>
                  <a:lnTo>
                    <a:pt x="380860" y="193040"/>
                  </a:lnTo>
                  <a:lnTo>
                    <a:pt x="380288" y="195580"/>
                  </a:lnTo>
                  <a:lnTo>
                    <a:pt x="379425" y="198120"/>
                  </a:lnTo>
                  <a:lnTo>
                    <a:pt x="379298" y="197726"/>
                  </a:lnTo>
                  <a:lnTo>
                    <a:pt x="379298" y="198120"/>
                  </a:lnTo>
                  <a:lnTo>
                    <a:pt x="379031" y="199390"/>
                  </a:lnTo>
                  <a:lnTo>
                    <a:pt x="378599" y="198132"/>
                  </a:lnTo>
                  <a:lnTo>
                    <a:pt x="378599" y="200660"/>
                  </a:lnTo>
                  <a:lnTo>
                    <a:pt x="378396" y="200787"/>
                  </a:lnTo>
                  <a:lnTo>
                    <a:pt x="378396" y="201930"/>
                  </a:lnTo>
                  <a:lnTo>
                    <a:pt x="378244" y="203200"/>
                  </a:lnTo>
                  <a:lnTo>
                    <a:pt x="377596" y="203200"/>
                  </a:lnTo>
                  <a:lnTo>
                    <a:pt x="377596" y="205740"/>
                  </a:lnTo>
                  <a:lnTo>
                    <a:pt x="377126" y="207010"/>
                  </a:lnTo>
                  <a:lnTo>
                    <a:pt x="376643" y="206540"/>
                  </a:lnTo>
                  <a:lnTo>
                    <a:pt x="376643" y="208280"/>
                  </a:lnTo>
                  <a:lnTo>
                    <a:pt x="376224" y="209550"/>
                  </a:lnTo>
                  <a:lnTo>
                    <a:pt x="375348" y="213258"/>
                  </a:lnTo>
                  <a:lnTo>
                    <a:pt x="375348" y="265430"/>
                  </a:lnTo>
                  <a:lnTo>
                    <a:pt x="374967" y="265074"/>
                  </a:lnTo>
                  <a:lnTo>
                    <a:pt x="374967" y="266700"/>
                  </a:lnTo>
                  <a:lnTo>
                    <a:pt x="367118" y="273050"/>
                  </a:lnTo>
                  <a:lnTo>
                    <a:pt x="365963" y="272084"/>
                  </a:lnTo>
                  <a:lnTo>
                    <a:pt x="365963" y="273050"/>
                  </a:lnTo>
                  <a:lnTo>
                    <a:pt x="357771" y="279400"/>
                  </a:lnTo>
                  <a:lnTo>
                    <a:pt x="358228" y="267970"/>
                  </a:lnTo>
                  <a:lnTo>
                    <a:pt x="365963" y="273050"/>
                  </a:lnTo>
                  <a:lnTo>
                    <a:pt x="365963" y="272084"/>
                  </a:lnTo>
                  <a:lnTo>
                    <a:pt x="361099" y="267970"/>
                  </a:lnTo>
                  <a:lnTo>
                    <a:pt x="359587" y="266700"/>
                  </a:lnTo>
                  <a:lnTo>
                    <a:pt x="361188" y="265430"/>
                  </a:lnTo>
                  <a:lnTo>
                    <a:pt x="367563" y="260350"/>
                  </a:lnTo>
                  <a:lnTo>
                    <a:pt x="374967" y="266700"/>
                  </a:lnTo>
                  <a:lnTo>
                    <a:pt x="374967" y="265074"/>
                  </a:lnTo>
                  <a:lnTo>
                    <a:pt x="370014" y="260350"/>
                  </a:lnTo>
                  <a:lnTo>
                    <a:pt x="368808" y="259207"/>
                  </a:lnTo>
                  <a:lnTo>
                    <a:pt x="368795" y="258991"/>
                  </a:lnTo>
                  <a:lnTo>
                    <a:pt x="370281" y="257810"/>
                  </a:lnTo>
                  <a:lnTo>
                    <a:pt x="375069" y="254000"/>
                  </a:lnTo>
                  <a:lnTo>
                    <a:pt x="375348" y="265430"/>
                  </a:lnTo>
                  <a:lnTo>
                    <a:pt x="375348" y="213258"/>
                  </a:lnTo>
                  <a:lnTo>
                    <a:pt x="375158" y="207010"/>
                  </a:lnTo>
                  <a:lnTo>
                    <a:pt x="376643" y="208280"/>
                  </a:lnTo>
                  <a:lnTo>
                    <a:pt x="376643" y="206540"/>
                  </a:lnTo>
                  <a:lnTo>
                    <a:pt x="375831" y="205740"/>
                  </a:lnTo>
                  <a:lnTo>
                    <a:pt x="377596" y="205740"/>
                  </a:lnTo>
                  <a:lnTo>
                    <a:pt x="377596" y="203200"/>
                  </a:lnTo>
                  <a:lnTo>
                    <a:pt x="376389" y="203200"/>
                  </a:lnTo>
                  <a:lnTo>
                    <a:pt x="378396" y="201930"/>
                  </a:lnTo>
                  <a:lnTo>
                    <a:pt x="378396" y="200787"/>
                  </a:lnTo>
                  <a:lnTo>
                    <a:pt x="374967" y="202730"/>
                  </a:lnTo>
                  <a:lnTo>
                    <a:pt x="374967" y="251460"/>
                  </a:lnTo>
                  <a:lnTo>
                    <a:pt x="374967" y="252730"/>
                  </a:lnTo>
                  <a:lnTo>
                    <a:pt x="367588" y="257810"/>
                  </a:lnTo>
                  <a:lnTo>
                    <a:pt x="366458" y="256997"/>
                  </a:lnTo>
                  <a:lnTo>
                    <a:pt x="366458" y="259080"/>
                  </a:lnTo>
                  <a:lnTo>
                    <a:pt x="358292" y="265430"/>
                  </a:lnTo>
                  <a:lnTo>
                    <a:pt x="358584" y="257810"/>
                  </a:lnTo>
                  <a:lnTo>
                    <a:pt x="358673" y="255270"/>
                  </a:lnTo>
                  <a:lnTo>
                    <a:pt x="359905" y="254000"/>
                  </a:lnTo>
                  <a:lnTo>
                    <a:pt x="366458" y="259080"/>
                  </a:lnTo>
                  <a:lnTo>
                    <a:pt x="366458" y="256997"/>
                  </a:lnTo>
                  <a:lnTo>
                    <a:pt x="362369" y="254000"/>
                  </a:lnTo>
                  <a:lnTo>
                    <a:pt x="360629" y="252730"/>
                  </a:lnTo>
                  <a:lnTo>
                    <a:pt x="361696" y="250190"/>
                  </a:lnTo>
                  <a:lnTo>
                    <a:pt x="362686" y="248920"/>
                  </a:lnTo>
                  <a:lnTo>
                    <a:pt x="363156" y="247650"/>
                  </a:lnTo>
                  <a:lnTo>
                    <a:pt x="362851" y="247662"/>
                  </a:lnTo>
                  <a:lnTo>
                    <a:pt x="362051" y="248920"/>
                  </a:lnTo>
                  <a:lnTo>
                    <a:pt x="361188" y="250190"/>
                  </a:lnTo>
                  <a:lnTo>
                    <a:pt x="360286" y="252730"/>
                  </a:lnTo>
                  <a:lnTo>
                    <a:pt x="359676" y="251460"/>
                  </a:lnTo>
                  <a:lnTo>
                    <a:pt x="359765" y="250190"/>
                  </a:lnTo>
                  <a:lnTo>
                    <a:pt x="361315" y="248920"/>
                  </a:lnTo>
                  <a:lnTo>
                    <a:pt x="362851" y="247650"/>
                  </a:lnTo>
                  <a:lnTo>
                    <a:pt x="363156" y="247650"/>
                  </a:lnTo>
                  <a:lnTo>
                    <a:pt x="363613" y="246380"/>
                  </a:lnTo>
                  <a:lnTo>
                    <a:pt x="366623" y="243840"/>
                  </a:lnTo>
                  <a:lnTo>
                    <a:pt x="374967" y="251460"/>
                  </a:lnTo>
                  <a:lnTo>
                    <a:pt x="374967" y="202730"/>
                  </a:lnTo>
                  <a:lnTo>
                    <a:pt x="374929" y="250190"/>
                  </a:lnTo>
                  <a:lnTo>
                    <a:pt x="367728" y="243840"/>
                  </a:lnTo>
                  <a:lnTo>
                    <a:pt x="369112" y="242570"/>
                  </a:lnTo>
                  <a:lnTo>
                    <a:pt x="374624" y="237490"/>
                  </a:lnTo>
                  <a:lnTo>
                    <a:pt x="374929" y="250190"/>
                  </a:lnTo>
                  <a:lnTo>
                    <a:pt x="374929" y="202755"/>
                  </a:lnTo>
                  <a:lnTo>
                    <a:pt x="374535" y="202984"/>
                  </a:lnTo>
                  <a:lnTo>
                    <a:pt x="374535" y="234950"/>
                  </a:lnTo>
                  <a:lnTo>
                    <a:pt x="374167" y="234645"/>
                  </a:lnTo>
                  <a:lnTo>
                    <a:pt x="374167" y="236220"/>
                  </a:lnTo>
                  <a:lnTo>
                    <a:pt x="366623" y="242570"/>
                  </a:lnTo>
                  <a:lnTo>
                    <a:pt x="365823" y="241300"/>
                  </a:lnTo>
                  <a:lnTo>
                    <a:pt x="367207" y="238633"/>
                  </a:lnTo>
                  <a:lnTo>
                    <a:pt x="368401" y="236220"/>
                  </a:lnTo>
                  <a:lnTo>
                    <a:pt x="369544" y="232410"/>
                  </a:lnTo>
                  <a:lnTo>
                    <a:pt x="374167" y="236220"/>
                  </a:lnTo>
                  <a:lnTo>
                    <a:pt x="374167" y="234645"/>
                  </a:lnTo>
                  <a:lnTo>
                    <a:pt x="371551" y="232410"/>
                  </a:lnTo>
                  <a:lnTo>
                    <a:pt x="370052" y="231140"/>
                  </a:lnTo>
                  <a:lnTo>
                    <a:pt x="370713" y="228600"/>
                  </a:lnTo>
                  <a:lnTo>
                    <a:pt x="371957" y="226060"/>
                  </a:lnTo>
                  <a:lnTo>
                    <a:pt x="374230" y="223520"/>
                  </a:lnTo>
                  <a:lnTo>
                    <a:pt x="374535" y="234950"/>
                  </a:lnTo>
                  <a:lnTo>
                    <a:pt x="374535" y="202984"/>
                  </a:lnTo>
                  <a:lnTo>
                    <a:pt x="374142" y="203200"/>
                  </a:lnTo>
                  <a:lnTo>
                    <a:pt x="374065" y="217170"/>
                  </a:lnTo>
                  <a:lnTo>
                    <a:pt x="373583" y="219710"/>
                  </a:lnTo>
                  <a:lnTo>
                    <a:pt x="373418" y="219710"/>
                  </a:lnTo>
                  <a:lnTo>
                    <a:pt x="372910" y="219125"/>
                  </a:lnTo>
                  <a:lnTo>
                    <a:pt x="372910" y="220980"/>
                  </a:lnTo>
                  <a:lnTo>
                    <a:pt x="372732" y="222250"/>
                  </a:lnTo>
                  <a:lnTo>
                    <a:pt x="372198" y="222250"/>
                  </a:lnTo>
                  <a:lnTo>
                    <a:pt x="372198" y="223520"/>
                  </a:lnTo>
                  <a:lnTo>
                    <a:pt x="371373" y="224282"/>
                  </a:lnTo>
                  <a:lnTo>
                    <a:pt x="371373" y="226060"/>
                  </a:lnTo>
                  <a:lnTo>
                    <a:pt x="370852" y="227330"/>
                  </a:lnTo>
                  <a:lnTo>
                    <a:pt x="369735" y="231140"/>
                  </a:lnTo>
                  <a:lnTo>
                    <a:pt x="369227" y="230492"/>
                  </a:lnTo>
                  <a:lnTo>
                    <a:pt x="369227" y="232410"/>
                  </a:lnTo>
                  <a:lnTo>
                    <a:pt x="368071" y="234950"/>
                  </a:lnTo>
                  <a:lnTo>
                    <a:pt x="366814" y="238760"/>
                  </a:lnTo>
                  <a:lnTo>
                    <a:pt x="365480" y="241300"/>
                  </a:lnTo>
                  <a:lnTo>
                    <a:pt x="364909" y="240893"/>
                  </a:lnTo>
                  <a:lnTo>
                    <a:pt x="364909" y="242570"/>
                  </a:lnTo>
                  <a:lnTo>
                    <a:pt x="364236" y="245110"/>
                  </a:lnTo>
                  <a:lnTo>
                    <a:pt x="358940" y="248920"/>
                  </a:lnTo>
                  <a:lnTo>
                    <a:pt x="359333" y="238760"/>
                  </a:lnTo>
                  <a:lnTo>
                    <a:pt x="364909" y="242570"/>
                  </a:lnTo>
                  <a:lnTo>
                    <a:pt x="364909" y="240893"/>
                  </a:lnTo>
                  <a:lnTo>
                    <a:pt x="362013" y="238760"/>
                  </a:lnTo>
                  <a:lnTo>
                    <a:pt x="360286" y="237490"/>
                  </a:lnTo>
                  <a:lnTo>
                    <a:pt x="360375" y="234950"/>
                  </a:lnTo>
                  <a:lnTo>
                    <a:pt x="361950" y="233680"/>
                  </a:lnTo>
                  <a:lnTo>
                    <a:pt x="366674" y="229870"/>
                  </a:lnTo>
                  <a:lnTo>
                    <a:pt x="369227" y="232410"/>
                  </a:lnTo>
                  <a:lnTo>
                    <a:pt x="369227" y="230492"/>
                  </a:lnTo>
                  <a:lnTo>
                    <a:pt x="368757" y="229870"/>
                  </a:lnTo>
                  <a:lnTo>
                    <a:pt x="367766" y="228600"/>
                  </a:lnTo>
                  <a:lnTo>
                    <a:pt x="371373" y="226060"/>
                  </a:lnTo>
                  <a:lnTo>
                    <a:pt x="371373" y="224282"/>
                  </a:lnTo>
                  <a:lnTo>
                    <a:pt x="366687" y="228600"/>
                  </a:lnTo>
                  <a:lnTo>
                    <a:pt x="365594" y="227609"/>
                  </a:lnTo>
                  <a:lnTo>
                    <a:pt x="365594" y="228600"/>
                  </a:lnTo>
                  <a:lnTo>
                    <a:pt x="359486" y="233680"/>
                  </a:lnTo>
                  <a:lnTo>
                    <a:pt x="359879" y="223520"/>
                  </a:lnTo>
                  <a:lnTo>
                    <a:pt x="365594" y="228600"/>
                  </a:lnTo>
                  <a:lnTo>
                    <a:pt x="365594" y="227609"/>
                  </a:lnTo>
                  <a:lnTo>
                    <a:pt x="361137" y="223520"/>
                  </a:lnTo>
                  <a:lnTo>
                    <a:pt x="372198" y="223520"/>
                  </a:lnTo>
                  <a:lnTo>
                    <a:pt x="372198" y="222250"/>
                  </a:lnTo>
                  <a:lnTo>
                    <a:pt x="360743" y="222250"/>
                  </a:lnTo>
                  <a:lnTo>
                    <a:pt x="361784" y="220980"/>
                  </a:lnTo>
                  <a:lnTo>
                    <a:pt x="367004" y="214630"/>
                  </a:lnTo>
                  <a:lnTo>
                    <a:pt x="372910" y="220980"/>
                  </a:lnTo>
                  <a:lnTo>
                    <a:pt x="372910" y="219125"/>
                  </a:lnTo>
                  <a:lnTo>
                    <a:pt x="369011" y="214630"/>
                  </a:lnTo>
                  <a:lnTo>
                    <a:pt x="367906" y="213360"/>
                  </a:lnTo>
                  <a:lnTo>
                    <a:pt x="368884" y="212090"/>
                  </a:lnTo>
                  <a:lnTo>
                    <a:pt x="373761" y="205740"/>
                  </a:lnTo>
                  <a:lnTo>
                    <a:pt x="374065" y="217170"/>
                  </a:lnTo>
                  <a:lnTo>
                    <a:pt x="374065" y="203200"/>
                  </a:lnTo>
                  <a:lnTo>
                    <a:pt x="372503" y="203200"/>
                  </a:lnTo>
                  <a:lnTo>
                    <a:pt x="372503" y="205740"/>
                  </a:lnTo>
                  <a:lnTo>
                    <a:pt x="366991" y="212090"/>
                  </a:lnTo>
                  <a:lnTo>
                    <a:pt x="366090" y="211074"/>
                  </a:lnTo>
                  <a:lnTo>
                    <a:pt x="366090" y="213360"/>
                  </a:lnTo>
                  <a:lnTo>
                    <a:pt x="360006" y="220980"/>
                  </a:lnTo>
                  <a:lnTo>
                    <a:pt x="360502" y="205740"/>
                  </a:lnTo>
                  <a:lnTo>
                    <a:pt x="366090" y="213360"/>
                  </a:lnTo>
                  <a:lnTo>
                    <a:pt x="366090" y="211074"/>
                  </a:lnTo>
                  <a:lnTo>
                    <a:pt x="361378" y="205740"/>
                  </a:lnTo>
                  <a:lnTo>
                    <a:pt x="372503" y="205740"/>
                  </a:lnTo>
                  <a:lnTo>
                    <a:pt x="372503" y="203200"/>
                  </a:lnTo>
                  <a:lnTo>
                    <a:pt x="360108" y="203200"/>
                  </a:lnTo>
                  <a:lnTo>
                    <a:pt x="359117" y="202679"/>
                  </a:lnTo>
                  <a:lnTo>
                    <a:pt x="359117" y="205740"/>
                  </a:lnTo>
                  <a:lnTo>
                    <a:pt x="358609" y="220980"/>
                  </a:lnTo>
                  <a:lnTo>
                    <a:pt x="356044" y="218440"/>
                  </a:lnTo>
                  <a:lnTo>
                    <a:pt x="353479" y="215900"/>
                  </a:lnTo>
                  <a:lnTo>
                    <a:pt x="354164" y="214630"/>
                  </a:lnTo>
                  <a:lnTo>
                    <a:pt x="355104" y="210820"/>
                  </a:lnTo>
                  <a:lnTo>
                    <a:pt x="355422" y="209550"/>
                  </a:lnTo>
                  <a:lnTo>
                    <a:pt x="357886" y="207010"/>
                  </a:lnTo>
                  <a:lnTo>
                    <a:pt x="359117" y="205740"/>
                  </a:lnTo>
                  <a:lnTo>
                    <a:pt x="359117" y="202679"/>
                  </a:lnTo>
                  <a:lnTo>
                    <a:pt x="358203" y="202196"/>
                  </a:lnTo>
                  <a:lnTo>
                    <a:pt x="358203" y="205740"/>
                  </a:lnTo>
                  <a:lnTo>
                    <a:pt x="356260" y="207010"/>
                  </a:lnTo>
                  <a:lnTo>
                    <a:pt x="356806" y="205740"/>
                  </a:lnTo>
                  <a:lnTo>
                    <a:pt x="358203" y="205740"/>
                  </a:lnTo>
                  <a:lnTo>
                    <a:pt x="358203" y="202196"/>
                  </a:lnTo>
                  <a:lnTo>
                    <a:pt x="357708" y="201930"/>
                  </a:lnTo>
                  <a:lnTo>
                    <a:pt x="358559" y="198120"/>
                  </a:lnTo>
                  <a:lnTo>
                    <a:pt x="360133" y="191770"/>
                  </a:lnTo>
                  <a:lnTo>
                    <a:pt x="361569" y="186690"/>
                  </a:lnTo>
                  <a:lnTo>
                    <a:pt x="362851" y="180340"/>
                  </a:lnTo>
                  <a:lnTo>
                    <a:pt x="364070" y="173990"/>
                  </a:lnTo>
                  <a:lnTo>
                    <a:pt x="364845" y="170180"/>
                  </a:lnTo>
                  <a:lnTo>
                    <a:pt x="366217" y="162560"/>
                  </a:lnTo>
                  <a:lnTo>
                    <a:pt x="367423" y="166370"/>
                  </a:lnTo>
                  <a:lnTo>
                    <a:pt x="369938" y="173990"/>
                  </a:lnTo>
                  <a:lnTo>
                    <a:pt x="370763" y="176530"/>
                  </a:lnTo>
                  <a:lnTo>
                    <a:pt x="371487" y="179070"/>
                  </a:lnTo>
                  <a:lnTo>
                    <a:pt x="374294" y="187960"/>
                  </a:lnTo>
                  <a:lnTo>
                    <a:pt x="376402" y="194310"/>
                  </a:lnTo>
                  <a:lnTo>
                    <a:pt x="378599" y="200660"/>
                  </a:lnTo>
                  <a:lnTo>
                    <a:pt x="378599" y="198132"/>
                  </a:lnTo>
                  <a:lnTo>
                    <a:pt x="376859" y="193040"/>
                  </a:lnTo>
                  <a:lnTo>
                    <a:pt x="374802" y="187960"/>
                  </a:lnTo>
                  <a:lnTo>
                    <a:pt x="372059" y="179070"/>
                  </a:lnTo>
                  <a:lnTo>
                    <a:pt x="370611" y="173990"/>
                  </a:lnTo>
                  <a:lnTo>
                    <a:pt x="367779" y="165100"/>
                  </a:lnTo>
                  <a:lnTo>
                    <a:pt x="366890" y="162560"/>
                  </a:lnTo>
                  <a:lnTo>
                    <a:pt x="366445" y="161290"/>
                  </a:lnTo>
                  <a:lnTo>
                    <a:pt x="366674" y="160020"/>
                  </a:lnTo>
                  <a:lnTo>
                    <a:pt x="367817" y="153670"/>
                  </a:lnTo>
                  <a:lnTo>
                    <a:pt x="369201" y="160020"/>
                  </a:lnTo>
                  <a:lnTo>
                    <a:pt x="370662" y="167640"/>
                  </a:lnTo>
                  <a:lnTo>
                    <a:pt x="372325" y="173990"/>
                  </a:lnTo>
                  <a:lnTo>
                    <a:pt x="374230" y="181610"/>
                  </a:lnTo>
                  <a:lnTo>
                    <a:pt x="376288" y="189230"/>
                  </a:lnTo>
                  <a:lnTo>
                    <a:pt x="379082" y="198120"/>
                  </a:lnTo>
                  <a:lnTo>
                    <a:pt x="379298" y="198120"/>
                  </a:lnTo>
                  <a:lnTo>
                    <a:pt x="379298" y="197726"/>
                  </a:lnTo>
                  <a:lnTo>
                    <a:pt x="376567" y="189230"/>
                  </a:lnTo>
                  <a:lnTo>
                    <a:pt x="374510" y="181610"/>
                  </a:lnTo>
                  <a:lnTo>
                    <a:pt x="372681" y="173990"/>
                  </a:lnTo>
                  <a:lnTo>
                    <a:pt x="370967" y="166370"/>
                  </a:lnTo>
                  <a:lnTo>
                    <a:pt x="369481" y="160020"/>
                  </a:lnTo>
                  <a:lnTo>
                    <a:pt x="368122" y="152400"/>
                  </a:lnTo>
                  <a:lnTo>
                    <a:pt x="368122" y="151130"/>
                  </a:lnTo>
                  <a:lnTo>
                    <a:pt x="369366" y="151130"/>
                  </a:lnTo>
                  <a:lnTo>
                    <a:pt x="369366" y="149860"/>
                  </a:lnTo>
                  <a:lnTo>
                    <a:pt x="368858" y="149860"/>
                  </a:lnTo>
                  <a:lnTo>
                    <a:pt x="368744" y="148590"/>
                  </a:lnTo>
                  <a:lnTo>
                    <a:pt x="369366" y="148590"/>
                  </a:lnTo>
                  <a:lnTo>
                    <a:pt x="369366" y="147320"/>
                  </a:lnTo>
                  <a:lnTo>
                    <a:pt x="368896" y="147320"/>
                  </a:lnTo>
                  <a:lnTo>
                    <a:pt x="368858" y="146050"/>
                  </a:lnTo>
                  <a:lnTo>
                    <a:pt x="369366" y="146050"/>
                  </a:lnTo>
                  <a:lnTo>
                    <a:pt x="369366" y="144780"/>
                  </a:lnTo>
                  <a:lnTo>
                    <a:pt x="368896" y="144780"/>
                  </a:lnTo>
                  <a:lnTo>
                    <a:pt x="368858" y="143510"/>
                  </a:lnTo>
                  <a:lnTo>
                    <a:pt x="369150" y="143510"/>
                  </a:lnTo>
                  <a:lnTo>
                    <a:pt x="369366" y="142240"/>
                  </a:lnTo>
                  <a:lnTo>
                    <a:pt x="368896" y="142240"/>
                  </a:lnTo>
                  <a:lnTo>
                    <a:pt x="368858" y="140970"/>
                  </a:lnTo>
                  <a:lnTo>
                    <a:pt x="369150" y="140970"/>
                  </a:lnTo>
                  <a:lnTo>
                    <a:pt x="369366" y="139700"/>
                  </a:lnTo>
                  <a:lnTo>
                    <a:pt x="368896" y="139700"/>
                  </a:lnTo>
                  <a:lnTo>
                    <a:pt x="368858" y="138430"/>
                  </a:lnTo>
                  <a:lnTo>
                    <a:pt x="368541" y="137160"/>
                  </a:lnTo>
                  <a:lnTo>
                    <a:pt x="369163" y="137160"/>
                  </a:lnTo>
                  <a:lnTo>
                    <a:pt x="368896" y="135890"/>
                  </a:lnTo>
                  <a:lnTo>
                    <a:pt x="368744" y="135890"/>
                  </a:lnTo>
                  <a:lnTo>
                    <a:pt x="368541" y="134620"/>
                  </a:lnTo>
                  <a:lnTo>
                    <a:pt x="369366" y="134620"/>
                  </a:lnTo>
                  <a:lnTo>
                    <a:pt x="369163" y="133350"/>
                  </a:lnTo>
                  <a:lnTo>
                    <a:pt x="368744" y="133350"/>
                  </a:lnTo>
                  <a:lnTo>
                    <a:pt x="368541" y="132080"/>
                  </a:lnTo>
                  <a:lnTo>
                    <a:pt x="369366" y="132080"/>
                  </a:lnTo>
                  <a:lnTo>
                    <a:pt x="369163" y="130810"/>
                  </a:lnTo>
                  <a:lnTo>
                    <a:pt x="368858" y="130810"/>
                  </a:lnTo>
                  <a:lnTo>
                    <a:pt x="368744" y="129540"/>
                  </a:lnTo>
                  <a:lnTo>
                    <a:pt x="369366" y="129540"/>
                  </a:lnTo>
                  <a:lnTo>
                    <a:pt x="369366" y="128270"/>
                  </a:lnTo>
                  <a:lnTo>
                    <a:pt x="368858" y="128270"/>
                  </a:lnTo>
                  <a:lnTo>
                    <a:pt x="368744" y="127000"/>
                  </a:lnTo>
                  <a:lnTo>
                    <a:pt x="369366" y="127000"/>
                  </a:lnTo>
                  <a:lnTo>
                    <a:pt x="369366" y="125730"/>
                  </a:lnTo>
                  <a:lnTo>
                    <a:pt x="368896" y="125730"/>
                  </a:lnTo>
                  <a:lnTo>
                    <a:pt x="368846" y="124460"/>
                  </a:lnTo>
                  <a:lnTo>
                    <a:pt x="368122" y="124460"/>
                  </a:lnTo>
                  <a:lnTo>
                    <a:pt x="368122" y="123190"/>
                  </a:lnTo>
                  <a:lnTo>
                    <a:pt x="376059" y="123190"/>
                  </a:lnTo>
                  <a:lnTo>
                    <a:pt x="376364" y="124460"/>
                  </a:lnTo>
                  <a:lnTo>
                    <a:pt x="379425" y="128270"/>
                  </a:lnTo>
                  <a:lnTo>
                    <a:pt x="382333" y="132080"/>
                  </a:lnTo>
                  <a:lnTo>
                    <a:pt x="385876" y="135890"/>
                  </a:lnTo>
                  <a:lnTo>
                    <a:pt x="389331" y="138430"/>
                  </a:lnTo>
                  <a:lnTo>
                    <a:pt x="393687" y="140970"/>
                  </a:lnTo>
                  <a:lnTo>
                    <a:pt x="393852" y="140970"/>
                  </a:lnTo>
                  <a:lnTo>
                    <a:pt x="389585" y="138430"/>
                  </a:lnTo>
                  <a:lnTo>
                    <a:pt x="382676" y="132080"/>
                  </a:lnTo>
                  <a:lnTo>
                    <a:pt x="379780" y="128270"/>
                  </a:lnTo>
                  <a:lnTo>
                    <a:pt x="376796" y="124460"/>
                  </a:lnTo>
                  <a:lnTo>
                    <a:pt x="376555" y="123190"/>
                  </a:lnTo>
                  <a:lnTo>
                    <a:pt x="393954" y="123190"/>
                  </a:lnTo>
                  <a:lnTo>
                    <a:pt x="405498" y="138430"/>
                  </a:lnTo>
                  <a:lnTo>
                    <a:pt x="403402" y="139700"/>
                  </a:lnTo>
                  <a:lnTo>
                    <a:pt x="401078" y="140970"/>
                  </a:lnTo>
                  <a:lnTo>
                    <a:pt x="401205" y="140970"/>
                  </a:lnTo>
                  <a:lnTo>
                    <a:pt x="403606" y="139700"/>
                  </a:lnTo>
                  <a:lnTo>
                    <a:pt x="405752" y="138430"/>
                  </a:lnTo>
                  <a:lnTo>
                    <a:pt x="411035" y="146050"/>
                  </a:lnTo>
                  <a:lnTo>
                    <a:pt x="411035" y="142963"/>
                  </a:lnTo>
                  <a:lnTo>
                    <a:pt x="406920" y="138430"/>
                  </a:lnTo>
                  <a:lnTo>
                    <a:pt x="408317" y="137160"/>
                  </a:lnTo>
                  <a:lnTo>
                    <a:pt x="409600" y="135890"/>
                  </a:lnTo>
                  <a:lnTo>
                    <a:pt x="410781" y="134581"/>
                  </a:lnTo>
                  <a:lnTo>
                    <a:pt x="413435" y="130810"/>
                  </a:lnTo>
                  <a:lnTo>
                    <a:pt x="415658" y="128270"/>
                  </a:lnTo>
                  <a:lnTo>
                    <a:pt x="417626" y="124460"/>
                  </a:lnTo>
                  <a:lnTo>
                    <a:pt x="417626" y="121920"/>
                  </a:lnTo>
                  <a:lnTo>
                    <a:pt x="416979" y="121920"/>
                  </a:lnTo>
                  <a:lnTo>
                    <a:pt x="416979" y="123190"/>
                  </a:lnTo>
                  <a:lnTo>
                    <a:pt x="416801" y="123329"/>
                  </a:lnTo>
                  <a:lnTo>
                    <a:pt x="416801" y="124460"/>
                  </a:lnTo>
                  <a:lnTo>
                    <a:pt x="414972" y="128270"/>
                  </a:lnTo>
                  <a:lnTo>
                    <a:pt x="412902" y="130810"/>
                  </a:lnTo>
                  <a:lnTo>
                    <a:pt x="409308" y="135890"/>
                  </a:lnTo>
                  <a:lnTo>
                    <a:pt x="408051" y="137160"/>
                  </a:lnTo>
                  <a:lnTo>
                    <a:pt x="406666" y="137160"/>
                  </a:lnTo>
                  <a:lnTo>
                    <a:pt x="404749" y="134620"/>
                  </a:lnTo>
                  <a:lnTo>
                    <a:pt x="406260" y="133350"/>
                  </a:lnTo>
                  <a:lnTo>
                    <a:pt x="416801" y="124460"/>
                  </a:lnTo>
                  <a:lnTo>
                    <a:pt x="416801" y="123329"/>
                  </a:lnTo>
                  <a:lnTo>
                    <a:pt x="403898" y="133350"/>
                  </a:lnTo>
                  <a:lnTo>
                    <a:pt x="395719" y="123190"/>
                  </a:lnTo>
                  <a:lnTo>
                    <a:pt x="416979" y="123190"/>
                  </a:lnTo>
                  <a:lnTo>
                    <a:pt x="416979" y="121920"/>
                  </a:lnTo>
                  <a:lnTo>
                    <a:pt x="375361" y="121920"/>
                  </a:lnTo>
                  <a:lnTo>
                    <a:pt x="374802" y="120980"/>
                  </a:lnTo>
                  <a:lnTo>
                    <a:pt x="374802" y="121920"/>
                  </a:lnTo>
                  <a:lnTo>
                    <a:pt x="367461" y="121920"/>
                  </a:lnTo>
                  <a:lnTo>
                    <a:pt x="367461" y="153670"/>
                  </a:lnTo>
                  <a:lnTo>
                    <a:pt x="366204" y="160020"/>
                  </a:lnTo>
                  <a:lnTo>
                    <a:pt x="365975" y="159346"/>
                  </a:lnTo>
                  <a:lnTo>
                    <a:pt x="365975" y="161290"/>
                  </a:lnTo>
                  <a:lnTo>
                    <a:pt x="365277" y="165100"/>
                  </a:lnTo>
                  <a:lnTo>
                    <a:pt x="363766" y="173990"/>
                  </a:lnTo>
                  <a:lnTo>
                    <a:pt x="361823" y="172720"/>
                  </a:lnTo>
                  <a:lnTo>
                    <a:pt x="363715" y="173990"/>
                  </a:lnTo>
                  <a:lnTo>
                    <a:pt x="362483" y="180340"/>
                  </a:lnTo>
                  <a:lnTo>
                    <a:pt x="361188" y="185420"/>
                  </a:lnTo>
                  <a:lnTo>
                    <a:pt x="358978" y="195580"/>
                  </a:lnTo>
                  <a:lnTo>
                    <a:pt x="358178" y="198120"/>
                  </a:lnTo>
                  <a:lnTo>
                    <a:pt x="357352" y="201930"/>
                  </a:lnTo>
                  <a:lnTo>
                    <a:pt x="356946" y="201625"/>
                  </a:lnTo>
                  <a:lnTo>
                    <a:pt x="356946" y="203200"/>
                  </a:lnTo>
                  <a:lnTo>
                    <a:pt x="356374" y="203200"/>
                  </a:lnTo>
                  <a:lnTo>
                    <a:pt x="356374" y="205740"/>
                  </a:lnTo>
                  <a:lnTo>
                    <a:pt x="355638" y="208280"/>
                  </a:lnTo>
                  <a:lnTo>
                    <a:pt x="354799" y="209067"/>
                  </a:lnTo>
                  <a:lnTo>
                    <a:pt x="354799" y="210820"/>
                  </a:lnTo>
                  <a:lnTo>
                    <a:pt x="353707" y="214630"/>
                  </a:lnTo>
                  <a:lnTo>
                    <a:pt x="353123" y="215900"/>
                  </a:lnTo>
                  <a:lnTo>
                    <a:pt x="351205" y="214630"/>
                  </a:lnTo>
                  <a:lnTo>
                    <a:pt x="352399" y="213360"/>
                  </a:lnTo>
                  <a:lnTo>
                    <a:pt x="354799" y="210820"/>
                  </a:lnTo>
                  <a:lnTo>
                    <a:pt x="354799" y="209067"/>
                  </a:lnTo>
                  <a:lnTo>
                    <a:pt x="350151" y="213360"/>
                  </a:lnTo>
                  <a:lnTo>
                    <a:pt x="340728" y="205740"/>
                  </a:lnTo>
                  <a:lnTo>
                    <a:pt x="356374" y="205740"/>
                  </a:lnTo>
                  <a:lnTo>
                    <a:pt x="356374" y="203200"/>
                  </a:lnTo>
                  <a:lnTo>
                    <a:pt x="340169" y="203200"/>
                  </a:lnTo>
                  <a:lnTo>
                    <a:pt x="346240" y="194310"/>
                  </a:lnTo>
                  <a:lnTo>
                    <a:pt x="356946" y="203200"/>
                  </a:lnTo>
                  <a:lnTo>
                    <a:pt x="356946" y="201625"/>
                  </a:lnTo>
                  <a:lnTo>
                    <a:pt x="347459" y="194310"/>
                  </a:lnTo>
                  <a:lnTo>
                    <a:pt x="345135" y="192519"/>
                  </a:lnTo>
                  <a:lnTo>
                    <a:pt x="345135" y="194310"/>
                  </a:lnTo>
                  <a:lnTo>
                    <a:pt x="339077" y="203200"/>
                  </a:lnTo>
                  <a:lnTo>
                    <a:pt x="333362" y="185420"/>
                  </a:lnTo>
                  <a:lnTo>
                    <a:pt x="345135" y="194310"/>
                  </a:lnTo>
                  <a:lnTo>
                    <a:pt x="345135" y="192519"/>
                  </a:lnTo>
                  <a:lnTo>
                    <a:pt x="335927" y="185420"/>
                  </a:lnTo>
                  <a:lnTo>
                    <a:pt x="332625" y="182880"/>
                  </a:lnTo>
                  <a:lnTo>
                    <a:pt x="321081" y="146050"/>
                  </a:lnTo>
                  <a:lnTo>
                    <a:pt x="323202" y="143510"/>
                  </a:lnTo>
                  <a:lnTo>
                    <a:pt x="326390" y="139700"/>
                  </a:lnTo>
                  <a:lnTo>
                    <a:pt x="330276" y="144780"/>
                  </a:lnTo>
                  <a:lnTo>
                    <a:pt x="334391" y="149860"/>
                  </a:lnTo>
                  <a:lnTo>
                    <a:pt x="338937" y="154940"/>
                  </a:lnTo>
                  <a:lnTo>
                    <a:pt x="342646" y="160020"/>
                  </a:lnTo>
                  <a:lnTo>
                    <a:pt x="346621" y="163830"/>
                  </a:lnTo>
                  <a:lnTo>
                    <a:pt x="353250" y="168910"/>
                  </a:lnTo>
                  <a:lnTo>
                    <a:pt x="355587" y="170180"/>
                  </a:lnTo>
                  <a:lnTo>
                    <a:pt x="359867" y="172720"/>
                  </a:lnTo>
                  <a:lnTo>
                    <a:pt x="355727" y="170180"/>
                  </a:lnTo>
                  <a:lnTo>
                    <a:pt x="353415" y="168910"/>
                  </a:lnTo>
                  <a:lnTo>
                    <a:pt x="346811" y="163830"/>
                  </a:lnTo>
                  <a:lnTo>
                    <a:pt x="342849" y="158750"/>
                  </a:lnTo>
                  <a:lnTo>
                    <a:pt x="334619" y="149860"/>
                  </a:lnTo>
                  <a:lnTo>
                    <a:pt x="330492" y="144780"/>
                  </a:lnTo>
                  <a:lnTo>
                    <a:pt x="327393" y="139700"/>
                  </a:lnTo>
                  <a:lnTo>
                    <a:pt x="326618" y="138430"/>
                  </a:lnTo>
                  <a:lnTo>
                    <a:pt x="327660" y="137160"/>
                  </a:lnTo>
                  <a:lnTo>
                    <a:pt x="330796" y="133350"/>
                  </a:lnTo>
                  <a:lnTo>
                    <a:pt x="339166" y="123190"/>
                  </a:lnTo>
                  <a:lnTo>
                    <a:pt x="354266" y="123190"/>
                  </a:lnTo>
                  <a:lnTo>
                    <a:pt x="361099" y="146050"/>
                  </a:lnTo>
                  <a:lnTo>
                    <a:pt x="365975" y="161290"/>
                  </a:lnTo>
                  <a:lnTo>
                    <a:pt x="365975" y="159346"/>
                  </a:lnTo>
                  <a:lnTo>
                    <a:pt x="363194" y="151130"/>
                  </a:lnTo>
                  <a:lnTo>
                    <a:pt x="354952" y="123190"/>
                  </a:lnTo>
                  <a:lnTo>
                    <a:pt x="367322" y="123190"/>
                  </a:lnTo>
                  <a:lnTo>
                    <a:pt x="367322" y="124460"/>
                  </a:lnTo>
                  <a:lnTo>
                    <a:pt x="366610" y="124460"/>
                  </a:lnTo>
                  <a:lnTo>
                    <a:pt x="366560" y="125730"/>
                  </a:lnTo>
                  <a:lnTo>
                    <a:pt x="366090" y="125730"/>
                  </a:lnTo>
                  <a:lnTo>
                    <a:pt x="366090" y="127000"/>
                  </a:lnTo>
                  <a:lnTo>
                    <a:pt x="366699" y="127000"/>
                  </a:lnTo>
                  <a:lnTo>
                    <a:pt x="366585" y="128270"/>
                  </a:lnTo>
                  <a:lnTo>
                    <a:pt x="366090" y="128270"/>
                  </a:lnTo>
                  <a:lnTo>
                    <a:pt x="366090" y="129540"/>
                  </a:lnTo>
                  <a:lnTo>
                    <a:pt x="366699" y="129540"/>
                  </a:lnTo>
                  <a:lnTo>
                    <a:pt x="366585" y="130810"/>
                  </a:lnTo>
                  <a:lnTo>
                    <a:pt x="366280" y="130810"/>
                  </a:lnTo>
                  <a:lnTo>
                    <a:pt x="366090" y="132080"/>
                  </a:lnTo>
                  <a:lnTo>
                    <a:pt x="366915" y="132080"/>
                  </a:lnTo>
                  <a:lnTo>
                    <a:pt x="366699" y="133350"/>
                  </a:lnTo>
                  <a:lnTo>
                    <a:pt x="366280" y="133350"/>
                  </a:lnTo>
                  <a:lnTo>
                    <a:pt x="366090" y="134620"/>
                  </a:lnTo>
                  <a:lnTo>
                    <a:pt x="366915" y="134620"/>
                  </a:lnTo>
                  <a:lnTo>
                    <a:pt x="366699" y="135890"/>
                  </a:lnTo>
                  <a:lnTo>
                    <a:pt x="366560" y="135890"/>
                  </a:lnTo>
                  <a:lnTo>
                    <a:pt x="366280" y="137160"/>
                  </a:lnTo>
                  <a:lnTo>
                    <a:pt x="366915" y="137160"/>
                  </a:lnTo>
                  <a:lnTo>
                    <a:pt x="366699" y="138430"/>
                  </a:lnTo>
                  <a:lnTo>
                    <a:pt x="366560" y="139700"/>
                  </a:lnTo>
                  <a:lnTo>
                    <a:pt x="366090" y="139700"/>
                  </a:lnTo>
                  <a:lnTo>
                    <a:pt x="366293" y="140970"/>
                  </a:lnTo>
                  <a:lnTo>
                    <a:pt x="366585" y="140970"/>
                  </a:lnTo>
                  <a:lnTo>
                    <a:pt x="366560" y="142240"/>
                  </a:lnTo>
                  <a:lnTo>
                    <a:pt x="366090" y="142240"/>
                  </a:lnTo>
                  <a:lnTo>
                    <a:pt x="366293" y="143510"/>
                  </a:lnTo>
                  <a:lnTo>
                    <a:pt x="366585" y="143510"/>
                  </a:lnTo>
                  <a:lnTo>
                    <a:pt x="366560" y="144780"/>
                  </a:lnTo>
                  <a:lnTo>
                    <a:pt x="366090" y="144780"/>
                  </a:lnTo>
                  <a:lnTo>
                    <a:pt x="366090" y="146050"/>
                  </a:lnTo>
                  <a:lnTo>
                    <a:pt x="366585" y="146050"/>
                  </a:lnTo>
                  <a:lnTo>
                    <a:pt x="366560" y="147320"/>
                  </a:lnTo>
                  <a:lnTo>
                    <a:pt x="366090" y="147320"/>
                  </a:lnTo>
                  <a:lnTo>
                    <a:pt x="366090" y="148590"/>
                  </a:lnTo>
                  <a:lnTo>
                    <a:pt x="366699" y="148590"/>
                  </a:lnTo>
                  <a:lnTo>
                    <a:pt x="366585" y="149860"/>
                  </a:lnTo>
                  <a:lnTo>
                    <a:pt x="366090" y="149860"/>
                  </a:lnTo>
                  <a:lnTo>
                    <a:pt x="366090" y="151130"/>
                  </a:lnTo>
                  <a:lnTo>
                    <a:pt x="367322" y="151130"/>
                  </a:lnTo>
                  <a:lnTo>
                    <a:pt x="367322" y="153670"/>
                  </a:lnTo>
                  <a:lnTo>
                    <a:pt x="367461" y="153670"/>
                  </a:lnTo>
                  <a:lnTo>
                    <a:pt x="367461" y="121920"/>
                  </a:lnTo>
                  <a:lnTo>
                    <a:pt x="354507" y="121920"/>
                  </a:lnTo>
                  <a:lnTo>
                    <a:pt x="353822" y="119659"/>
                  </a:lnTo>
                  <a:lnTo>
                    <a:pt x="353822" y="121920"/>
                  </a:lnTo>
                  <a:lnTo>
                    <a:pt x="337375" y="121920"/>
                  </a:lnTo>
                  <a:lnTo>
                    <a:pt x="337375" y="123190"/>
                  </a:lnTo>
                  <a:lnTo>
                    <a:pt x="328701" y="133350"/>
                  </a:lnTo>
                  <a:lnTo>
                    <a:pt x="327825" y="132778"/>
                  </a:lnTo>
                  <a:lnTo>
                    <a:pt x="327825" y="134620"/>
                  </a:lnTo>
                  <a:lnTo>
                    <a:pt x="325793" y="137160"/>
                  </a:lnTo>
                  <a:lnTo>
                    <a:pt x="325577" y="136969"/>
                  </a:lnTo>
                  <a:lnTo>
                    <a:pt x="325577" y="138430"/>
                  </a:lnTo>
                  <a:lnTo>
                    <a:pt x="320776" y="143510"/>
                  </a:lnTo>
                  <a:lnTo>
                    <a:pt x="322681" y="138430"/>
                  </a:lnTo>
                  <a:lnTo>
                    <a:pt x="323596" y="134620"/>
                  </a:lnTo>
                  <a:lnTo>
                    <a:pt x="325577" y="138430"/>
                  </a:lnTo>
                  <a:lnTo>
                    <a:pt x="325577" y="136969"/>
                  </a:lnTo>
                  <a:lnTo>
                    <a:pt x="324408" y="135890"/>
                  </a:lnTo>
                  <a:lnTo>
                    <a:pt x="323735" y="134620"/>
                  </a:lnTo>
                  <a:lnTo>
                    <a:pt x="324065" y="133350"/>
                  </a:lnTo>
                  <a:lnTo>
                    <a:pt x="324396" y="132080"/>
                  </a:lnTo>
                  <a:lnTo>
                    <a:pt x="327825" y="134620"/>
                  </a:lnTo>
                  <a:lnTo>
                    <a:pt x="327825" y="132778"/>
                  </a:lnTo>
                  <a:lnTo>
                    <a:pt x="326771" y="132080"/>
                  </a:lnTo>
                  <a:lnTo>
                    <a:pt x="324827" y="130810"/>
                  </a:lnTo>
                  <a:lnTo>
                    <a:pt x="327113" y="123190"/>
                  </a:lnTo>
                  <a:lnTo>
                    <a:pt x="337375" y="123190"/>
                  </a:lnTo>
                  <a:lnTo>
                    <a:pt x="337375" y="121920"/>
                  </a:lnTo>
                  <a:lnTo>
                    <a:pt x="327533" y="121920"/>
                  </a:lnTo>
                  <a:lnTo>
                    <a:pt x="330606" y="110490"/>
                  </a:lnTo>
                  <a:lnTo>
                    <a:pt x="333514" y="99060"/>
                  </a:lnTo>
                  <a:lnTo>
                    <a:pt x="336270" y="88900"/>
                  </a:lnTo>
                  <a:lnTo>
                    <a:pt x="338912" y="77470"/>
                  </a:lnTo>
                  <a:lnTo>
                    <a:pt x="339864" y="77470"/>
                  </a:lnTo>
                  <a:lnTo>
                    <a:pt x="343484" y="88900"/>
                  </a:lnTo>
                  <a:lnTo>
                    <a:pt x="347014" y="99123"/>
                  </a:lnTo>
                  <a:lnTo>
                    <a:pt x="350431" y="110490"/>
                  </a:lnTo>
                  <a:lnTo>
                    <a:pt x="353822" y="121920"/>
                  </a:lnTo>
                  <a:lnTo>
                    <a:pt x="353822" y="119659"/>
                  </a:lnTo>
                  <a:lnTo>
                    <a:pt x="340639" y="77470"/>
                  </a:lnTo>
                  <a:lnTo>
                    <a:pt x="340220" y="76200"/>
                  </a:lnTo>
                  <a:lnTo>
                    <a:pt x="340220" y="73660"/>
                  </a:lnTo>
                  <a:lnTo>
                    <a:pt x="342087" y="73660"/>
                  </a:lnTo>
                  <a:lnTo>
                    <a:pt x="342087" y="72390"/>
                  </a:lnTo>
                  <a:lnTo>
                    <a:pt x="341363" y="72390"/>
                  </a:lnTo>
                  <a:lnTo>
                    <a:pt x="341312" y="71120"/>
                  </a:lnTo>
                  <a:lnTo>
                    <a:pt x="341172" y="71120"/>
                  </a:lnTo>
                  <a:lnTo>
                    <a:pt x="340944" y="69850"/>
                  </a:lnTo>
                  <a:lnTo>
                    <a:pt x="342087" y="69850"/>
                  </a:lnTo>
                  <a:lnTo>
                    <a:pt x="342087" y="68580"/>
                  </a:lnTo>
                  <a:lnTo>
                    <a:pt x="341782" y="68580"/>
                  </a:lnTo>
                  <a:lnTo>
                    <a:pt x="341363" y="67310"/>
                  </a:lnTo>
                  <a:lnTo>
                    <a:pt x="341172" y="66040"/>
                  </a:lnTo>
                  <a:lnTo>
                    <a:pt x="342087" y="66040"/>
                  </a:lnTo>
                  <a:lnTo>
                    <a:pt x="342087" y="64770"/>
                  </a:lnTo>
                  <a:lnTo>
                    <a:pt x="341782" y="63500"/>
                  </a:lnTo>
                  <a:lnTo>
                    <a:pt x="341312" y="63500"/>
                  </a:lnTo>
                  <a:lnTo>
                    <a:pt x="341172" y="62230"/>
                  </a:lnTo>
                  <a:lnTo>
                    <a:pt x="341706" y="62230"/>
                  </a:lnTo>
                  <a:lnTo>
                    <a:pt x="342087" y="60960"/>
                  </a:lnTo>
                  <a:lnTo>
                    <a:pt x="341782" y="59690"/>
                  </a:lnTo>
                  <a:lnTo>
                    <a:pt x="341312" y="59690"/>
                  </a:lnTo>
                  <a:lnTo>
                    <a:pt x="341172" y="58420"/>
                  </a:lnTo>
                  <a:lnTo>
                    <a:pt x="341706" y="58420"/>
                  </a:lnTo>
                  <a:lnTo>
                    <a:pt x="342087" y="57150"/>
                  </a:lnTo>
                  <a:lnTo>
                    <a:pt x="342087" y="55880"/>
                  </a:lnTo>
                  <a:lnTo>
                    <a:pt x="341363" y="55880"/>
                  </a:lnTo>
                  <a:lnTo>
                    <a:pt x="341312" y="54610"/>
                  </a:lnTo>
                  <a:lnTo>
                    <a:pt x="341172" y="54610"/>
                  </a:lnTo>
                  <a:lnTo>
                    <a:pt x="340944" y="53340"/>
                  </a:lnTo>
                  <a:lnTo>
                    <a:pt x="342087" y="53340"/>
                  </a:lnTo>
                  <a:lnTo>
                    <a:pt x="342087" y="52070"/>
                  </a:lnTo>
                  <a:lnTo>
                    <a:pt x="341363" y="52070"/>
                  </a:lnTo>
                  <a:lnTo>
                    <a:pt x="341312" y="50800"/>
                  </a:lnTo>
                  <a:lnTo>
                    <a:pt x="341172" y="50800"/>
                  </a:lnTo>
                  <a:lnTo>
                    <a:pt x="340944" y="49530"/>
                  </a:lnTo>
                  <a:lnTo>
                    <a:pt x="342049" y="49530"/>
                  </a:lnTo>
                  <a:lnTo>
                    <a:pt x="346875" y="62230"/>
                  </a:lnTo>
                  <a:lnTo>
                    <a:pt x="351904" y="74930"/>
                  </a:lnTo>
                  <a:lnTo>
                    <a:pt x="357225" y="87630"/>
                  </a:lnTo>
                  <a:lnTo>
                    <a:pt x="362915" y="100330"/>
                  </a:lnTo>
                  <a:lnTo>
                    <a:pt x="366471" y="107950"/>
                  </a:lnTo>
                  <a:lnTo>
                    <a:pt x="370332" y="114300"/>
                  </a:lnTo>
                  <a:lnTo>
                    <a:pt x="374802" y="121920"/>
                  </a:lnTo>
                  <a:lnTo>
                    <a:pt x="374802" y="120980"/>
                  </a:lnTo>
                  <a:lnTo>
                    <a:pt x="370840" y="114300"/>
                  </a:lnTo>
                  <a:lnTo>
                    <a:pt x="366953" y="106680"/>
                  </a:lnTo>
                  <a:lnTo>
                    <a:pt x="363359" y="100330"/>
                  </a:lnTo>
                  <a:lnTo>
                    <a:pt x="357555" y="86360"/>
                  </a:lnTo>
                  <a:lnTo>
                    <a:pt x="352132" y="73660"/>
                  </a:lnTo>
                  <a:lnTo>
                    <a:pt x="347027" y="60960"/>
                  </a:lnTo>
                  <a:lnTo>
                    <a:pt x="341718" y="46990"/>
                  </a:lnTo>
                  <a:lnTo>
                    <a:pt x="341528" y="45720"/>
                  </a:lnTo>
                  <a:lnTo>
                    <a:pt x="342087" y="45720"/>
                  </a:lnTo>
                  <a:lnTo>
                    <a:pt x="342087" y="44450"/>
                  </a:lnTo>
                  <a:lnTo>
                    <a:pt x="341782" y="44450"/>
                  </a:lnTo>
                  <a:lnTo>
                    <a:pt x="341363" y="43180"/>
                  </a:lnTo>
                  <a:lnTo>
                    <a:pt x="341172" y="41910"/>
                  </a:lnTo>
                  <a:lnTo>
                    <a:pt x="342087" y="41910"/>
                  </a:lnTo>
                  <a:lnTo>
                    <a:pt x="342087" y="40640"/>
                  </a:lnTo>
                  <a:lnTo>
                    <a:pt x="341782" y="39370"/>
                  </a:lnTo>
                  <a:lnTo>
                    <a:pt x="341312" y="39370"/>
                  </a:lnTo>
                  <a:lnTo>
                    <a:pt x="341172" y="38100"/>
                  </a:lnTo>
                  <a:lnTo>
                    <a:pt x="341706" y="38100"/>
                  </a:lnTo>
                  <a:lnTo>
                    <a:pt x="342087" y="36830"/>
                  </a:lnTo>
                  <a:lnTo>
                    <a:pt x="341782" y="35560"/>
                  </a:lnTo>
                  <a:lnTo>
                    <a:pt x="341312" y="35560"/>
                  </a:lnTo>
                  <a:lnTo>
                    <a:pt x="341109" y="34290"/>
                  </a:lnTo>
                  <a:lnTo>
                    <a:pt x="340779" y="33020"/>
                  </a:lnTo>
                  <a:lnTo>
                    <a:pt x="343242" y="33020"/>
                  </a:lnTo>
                  <a:lnTo>
                    <a:pt x="343242" y="31750"/>
                  </a:lnTo>
                  <a:lnTo>
                    <a:pt x="340220" y="31750"/>
                  </a:lnTo>
                  <a:lnTo>
                    <a:pt x="340220" y="30480"/>
                  </a:lnTo>
                  <a:lnTo>
                    <a:pt x="338683" y="30480"/>
                  </a:lnTo>
                  <a:lnTo>
                    <a:pt x="338683" y="31750"/>
                  </a:lnTo>
                  <a:lnTo>
                    <a:pt x="338683" y="73660"/>
                  </a:lnTo>
                  <a:lnTo>
                    <a:pt x="338683" y="74930"/>
                  </a:lnTo>
                  <a:lnTo>
                    <a:pt x="335915" y="86360"/>
                  </a:lnTo>
                  <a:lnTo>
                    <a:pt x="332994" y="99123"/>
                  </a:lnTo>
                  <a:lnTo>
                    <a:pt x="329958" y="110490"/>
                  </a:lnTo>
                  <a:lnTo>
                    <a:pt x="326720" y="121920"/>
                  </a:lnTo>
                  <a:lnTo>
                    <a:pt x="326301" y="121920"/>
                  </a:lnTo>
                  <a:lnTo>
                    <a:pt x="326301" y="123190"/>
                  </a:lnTo>
                  <a:lnTo>
                    <a:pt x="324167" y="130810"/>
                  </a:lnTo>
                  <a:lnTo>
                    <a:pt x="323723" y="130429"/>
                  </a:lnTo>
                  <a:lnTo>
                    <a:pt x="323723" y="132080"/>
                  </a:lnTo>
                  <a:lnTo>
                    <a:pt x="323189" y="133350"/>
                  </a:lnTo>
                  <a:lnTo>
                    <a:pt x="323049" y="133172"/>
                  </a:lnTo>
                  <a:lnTo>
                    <a:pt x="323049" y="134620"/>
                  </a:lnTo>
                  <a:lnTo>
                    <a:pt x="322135" y="137160"/>
                  </a:lnTo>
                  <a:lnTo>
                    <a:pt x="320217" y="143510"/>
                  </a:lnTo>
                  <a:lnTo>
                    <a:pt x="319481" y="141109"/>
                  </a:lnTo>
                  <a:lnTo>
                    <a:pt x="319481" y="144780"/>
                  </a:lnTo>
                  <a:lnTo>
                    <a:pt x="316915" y="152400"/>
                  </a:lnTo>
                  <a:lnTo>
                    <a:pt x="314185" y="161290"/>
                  </a:lnTo>
                  <a:lnTo>
                    <a:pt x="311238" y="168910"/>
                  </a:lnTo>
                  <a:lnTo>
                    <a:pt x="308787" y="173990"/>
                  </a:lnTo>
                  <a:lnTo>
                    <a:pt x="306209" y="180340"/>
                  </a:lnTo>
                  <a:lnTo>
                    <a:pt x="303403" y="186690"/>
                  </a:lnTo>
                  <a:lnTo>
                    <a:pt x="303022" y="185280"/>
                  </a:lnTo>
                  <a:lnTo>
                    <a:pt x="303022" y="187960"/>
                  </a:lnTo>
                  <a:lnTo>
                    <a:pt x="299986" y="194310"/>
                  </a:lnTo>
                  <a:lnTo>
                    <a:pt x="296773" y="200660"/>
                  </a:lnTo>
                  <a:lnTo>
                    <a:pt x="293357" y="205740"/>
                  </a:lnTo>
                  <a:lnTo>
                    <a:pt x="289712" y="212090"/>
                  </a:lnTo>
                  <a:lnTo>
                    <a:pt x="288378" y="214630"/>
                  </a:lnTo>
                  <a:lnTo>
                    <a:pt x="286969" y="215900"/>
                  </a:lnTo>
                  <a:lnTo>
                    <a:pt x="285521" y="218440"/>
                  </a:lnTo>
                  <a:lnTo>
                    <a:pt x="285140" y="217728"/>
                  </a:lnTo>
                  <a:lnTo>
                    <a:pt x="285140" y="218440"/>
                  </a:lnTo>
                  <a:lnTo>
                    <a:pt x="281940" y="223520"/>
                  </a:lnTo>
                  <a:lnTo>
                    <a:pt x="278485" y="227330"/>
                  </a:lnTo>
                  <a:lnTo>
                    <a:pt x="274624" y="231140"/>
                  </a:lnTo>
                  <a:lnTo>
                    <a:pt x="268846" y="237490"/>
                  </a:lnTo>
                  <a:lnTo>
                    <a:pt x="262153" y="242570"/>
                  </a:lnTo>
                  <a:lnTo>
                    <a:pt x="253060" y="245110"/>
                  </a:lnTo>
                  <a:lnTo>
                    <a:pt x="252006" y="245110"/>
                  </a:lnTo>
                  <a:lnTo>
                    <a:pt x="255727" y="242570"/>
                  </a:lnTo>
                  <a:lnTo>
                    <a:pt x="260248" y="236118"/>
                  </a:lnTo>
                  <a:lnTo>
                    <a:pt x="277596" y="204470"/>
                  </a:lnTo>
                  <a:lnTo>
                    <a:pt x="279984" y="209550"/>
                  </a:lnTo>
                  <a:lnTo>
                    <a:pt x="282498" y="214630"/>
                  </a:lnTo>
                  <a:lnTo>
                    <a:pt x="285140" y="218440"/>
                  </a:lnTo>
                  <a:lnTo>
                    <a:pt x="285140" y="217728"/>
                  </a:lnTo>
                  <a:lnTo>
                    <a:pt x="282841" y="213360"/>
                  </a:lnTo>
                  <a:lnTo>
                    <a:pt x="280314" y="208280"/>
                  </a:lnTo>
                  <a:lnTo>
                    <a:pt x="278511" y="204470"/>
                  </a:lnTo>
                  <a:lnTo>
                    <a:pt x="277901" y="203200"/>
                  </a:lnTo>
                  <a:lnTo>
                    <a:pt x="279387" y="199390"/>
                  </a:lnTo>
                  <a:lnTo>
                    <a:pt x="280784" y="195580"/>
                  </a:lnTo>
                  <a:lnTo>
                    <a:pt x="282105" y="193040"/>
                  </a:lnTo>
                  <a:lnTo>
                    <a:pt x="285356" y="182880"/>
                  </a:lnTo>
                  <a:lnTo>
                    <a:pt x="288404" y="172466"/>
                  </a:lnTo>
                  <a:lnTo>
                    <a:pt x="291084" y="162560"/>
                  </a:lnTo>
                  <a:lnTo>
                    <a:pt x="293649" y="153670"/>
                  </a:lnTo>
                  <a:lnTo>
                    <a:pt x="293827" y="153670"/>
                  </a:lnTo>
                  <a:lnTo>
                    <a:pt x="296037" y="161290"/>
                  </a:lnTo>
                  <a:lnTo>
                    <a:pt x="298297" y="170180"/>
                  </a:lnTo>
                  <a:lnTo>
                    <a:pt x="300621" y="179070"/>
                  </a:lnTo>
                  <a:lnTo>
                    <a:pt x="303022" y="187960"/>
                  </a:lnTo>
                  <a:lnTo>
                    <a:pt x="303022" y="185280"/>
                  </a:lnTo>
                  <a:lnTo>
                    <a:pt x="301002" y="177800"/>
                  </a:lnTo>
                  <a:lnTo>
                    <a:pt x="298691" y="168910"/>
                  </a:lnTo>
                  <a:lnTo>
                    <a:pt x="296430" y="161290"/>
                  </a:lnTo>
                  <a:lnTo>
                    <a:pt x="294551" y="153670"/>
                  </a:lnTo>
                  <a:lnTo>
                    <a:pt x="294233" y="152400"/>
                  </a:lnTo>
                  <a:lnTo>
                    <a:pt x="294233" y="151130"/>
                  </a:lnTo>
                  <a:lnTo>
                    <a:pt x="295478" y="151130"/>
                  </a:lnTo>
                  <a:lnTo>
                    <a:pt x="295478" y="149860"/>
                  </a:lnTo>
                  <a:lnTo>
                    <a:pt x="294957" y="149860"/>
                  </a:lnTo>
                  <a:lnTo>
                    <a:pt x="294855" y="148590"/>
                  </a:lnTo>
                  <a:lnTo>
                    <a:pt x="295478" y="148590"/>
                  </a:lnTo>
                  <a:lnTo>
                    <a:pt x="295478" y="147320"/>
                  </a:lnTo>
                  <a:lnTo>
                    <a:pt x="295008" y="147320"/>
                  </a:lnTo>
                  <a:lnTo>
                    <a:pt x="294957" y="146050"/>
                  </a:lnTo>
                  <a:lnTo>
                    <a:pt x="295478" y="146050"/>
                  </a:lnTo>
                  <a:lnTo>
                    <a:pt x="295478" y="144780"/>
                  </a:lnTo>
                  <a:lnTo>
                    <a:pt x="295008" y="144780"/>
                  </a:lnTo>
                  <a:lnTo>
                    <a:pt x="294957" y="143510"/>
                  </a:lnTo>
                  <a:lnTo>
                    <a:pt x="295249" y="143510"/>
                  </a:lnTo>
                  <a:lnTo>
                    <a:pt x="295478" y="142240"/>
                  </a:lnTo>
                  <a:lnTo>
                    <a:pt x="295008" y="142240"/>
                  </a:lnTo>
                  <a:lnTo>
                    <a:pt x="294957" y="140970"/>
                  </a:lnTo>
                  <a:lnTo>
                    <a:pt x="295249" y="140970"/>
                  </a:lnTo>
                  <a:lnTo>
                    <a:pt x="295478" y="139700"/>
                  </a:lnTo>
                  <a:lnTo>
                    <a:pt x="295008" y="139700"/>
                  </a:lnTo>
                  <a:lnTo>
                    <a:pt x="294957" y="138430"/>
                  </a:lnTo>
                  <a:lnTo>
                    <a:pt x="294652" y="137160"/>
                  </a:lnTo>
                  <a:lnTo>
                    <a:pt x="295262" y="137160"/>
                  </a:lnTo>
                  <a:lnTo>
                    <a:pt x="295008" y="135890"/>
                  </a:lnTo>
                  <a:lnTo>
                    <a:pt x="294855" y="135890"/>
                  </a:lnTo>
                  <a:lnTo>
                    <a:pt x="294652" y="134620"/>
                  </a:lnTo>
                  <a:lnTo>
                    <a:pt x="295478" y="134620"/>
                  </a:lnTo>
                  <a:lnTo>
                    <a:pt x="295262" y="133350"/>
                  </a:lnTo>
                  <a:lnTo>
                    <a:pt x="294855" y="133350"/>
                  </a:lnTo>
                  <a:lnTo>
                    <a:pt x="294652" y="132080"/>
                  </a:lnTo>
                  <a:lnTo>
                    <a:pt x="295478" y="132080"/>
                  </a:lnTo>
                  <a:lnTo>
                    <a:pt x="295262" y="130810"/>
                  </a:lnTo>
                  <a:lnTo>
                    <a:pt x="294957" y="130810"/>
                  </a:lnTo>
                  <a:lnTo>
                    <a:pt x="294855" y="129540"/>
                  </a:lnTo>
                  <a:lnTo>
                    <a:pt x="295478" y="129540"/>
                  </a:lnTo>
                  <a:lnTo>
                    <a:pt x="295478" y="128270"/>
                  </a:lnTo>
                  <a:lnTo>
                    <a:pt x="294957" y="128270"/>
                  </a:lnTo>
                  <a:lnTo>
                    <a:pt x="294855" y="127000"/>
                  </a:lnTo>
                  <a:lnTo>
                    <a:pt x="295478" y="127000"/>
                  </a:lnTo>
                  <a:lnTo>
                    <a:pt x="295478" y="125730"/>
                  </a:lnTo>
                  <a:lnTo>
                    <a:pt x="295008" y="125730"/>
                  </a:lnTo>
                  <a:lnTo>
                    <a:pt x="294957" y="124460"/>
                  </a:lnTo>
                  <a:lnTo>
                    <a:pt x="294233" y="124460"/>
                  </a:lnTo>
                  <a:lnTo>
                    <a:pt x="294233" y="123190"/>
                  </a:lnTo>
                  <a:lnTo>
                    <a:pt x="312521" y="123190"/>
                  </a:lnTo>
                  <a:lnTo>
                    <a:pt x="319481" y="144780"/>
                  </a:lnTo>
                  <a:lnTo>
                    <a:pt x="319481" y="141109"/>
                  </a:lnTo>
                  <a:lnTo>
                    <a:pt x="314375" y="124460"/>
                  </a:lnTo>
                  <a:lnTo>
                    <a:pt x="319544" y="128270"/>
                  </a:lnTo>
                  <a:lnTo>
                    <a:pt x="320687" y="130810"/>
                  </a:lnTo>
                  <a:lnTo>
                    <a:pt x="323049" y="134620"/>
                  </a:lnTo>
                  <a:lnTo>
                    <a:pt x="323049" y="133172"/>
                  </a:lnTo>
                  <a:lnTo>
                    <a:pt x="321297" y="130810"/>
                  </a:lnTo>
                  <a:lnTo>
                    <a:pt x="320382" y="129540"/>
                  </a:lnTo>
                  <a:lnTo>
                    <a:pt x="323723" y="132080"/>
                  </a:lnTo>
                  <a:lnTo>
                    <a:pt x="323723" y="130429"/>
                  </a:lnTo>
                  <a:lnTo>
                    <a:pt x="322707" y="129540"/>
                  </a:lnTo>
                  <a:lnTo>
                    <a:pt x="318338" y="125730"/>
                  </a:lnTo>
                  <a:lnTo>
                    <a:pt x="317550" y="124421"/>
                  </a:lnTo>
                  <a:lnTo>
                    <a:pt x="317550" y="125730"/>
                  </a:lnTo>
                  <a:lnTo>
                    <a:pt x="316306" y="124460"/>
                  </a:lnTo>
                  <a:lnTo>
                    <a:pt x="315061" y="123190"/>
                  </a:lnTo>
                  <a:lnTo>
                    <a:pt x="316395" y="123190"/>
                  </a:lnTo>
                  <a:lnTo>
                    <a:pt x="317550" y="125730"/>
                  </a:lnTo>
                  <a:lnTo>
                    <a:pt x="317550" y="124421"/>
                  </a:lnTo>
                  <a:lnTo>
                    <a:pt x="316814" y="123190"/>
                  </a:lnTo>
                  <a:lnTo>
                    <a:pt x="326301" y="123190"/>
                  </a:lnTo>
                  <a:lnTo>
                    <a:pt x="326301" y="121920"/>
                  </a:lnTo>
                  <a:lnTo>
                    <a:pt x="315976" y="121920"/>
                  </a:lnTo>
                  <a:lnTo>
                    <a:pt x="315556" y="121132"/>
                  </a:lnTo>
                  <a:lnTo>
                    <a:pt x="315556" y="121920"/>
                  </a:lnTo>
                  <a:lnTo>
                    <a:pt x="313537" y="121920"/>
                  </a:lnTo>
                  <a:lnTo>
                    <a:pt x="312077" y="117144"/>
                  </a:lnTo>
                  <a:lnTo>
                    <a:pt x="312077" y="121920"/>
                  </a:lnTo>
                  <a:lnTo>
                    <a:pt x="291363" y="121920"/>
                  </a:lnTo>
                  <a:lnTo>
                    <a:pt x="296227" y="114300"/>
                  </a:lnTo>
                  <a:lnTo>
                    <a:pt x="300177" y="106680"/>
                  </a:lnTo>
                  <a:lnTo>
                    <a:pt x="303707" y="99060"/>
                  </a:lnTo>
                  <a:lnTo>
                    <a:pt x="303758" y="100330"/>
                  </a:lnTo>
                  <a:lnTo>
                    <a:pt x="304165" y="100330"/>
                  </a:lnTo>
                  <a:lnTo>
                    <a:pt x="306095" y="104140"/>
                  </a:lnTo>
                  <a:lnTo>
                    <a:pt x="307073" y="105410"/>
                  </a:lnTo>
                  <a:lnTo>
                    <a:pt x="312077" y="121920"/>
                  </a:lnTo>
                  <a:lnTo>
                    <a:pt x="312077" y="117144"/>
                  </a:lnTo>
                  <a:lnTo>
                    <a:pt x="310819" y="113030"/>
                  </a:lnTo>
                  <a:lnTo>
                    <a:pt x="312343" y="115570"/>
                  </a:lnTo>
                  <a:lnTo>
                    <a:pt x="313931" y="119380"/>
                  </a:lnTo>
                  <a:lnTo>
                    <a:pt x="315556" y="121920"/>
                  </a:lnTo>
                  <a:lnTo>
                    <a:pt x="315556" y="121132"/>
                  </a:lnTo>
                  <a:lnTo>
                    <a:pt x="313956" y="118110"/>
                  </a:lnTo>
                  <a:lnTo>
                    <a:pt x="311404" y="113030"/>
                  </a:lnTo>
                  <a:lnTo>
                    <a:pt x="310146" y="110490"/>
                  </a:lnTo>
                  <a:lnTo>
                    <a:pt x="307670" y="102870"/>
                  </a:lnTo>
                  <a:lnTo>
                    <a:pt x="306438" y="99060"/>
                  </a:lnTo>
                  <a:lnTo>
                    <a:pt x="306285" y="98602"/>
                  </a:lnTo>
                  <a:lnTo>
                    <a:pt x="306285" y="102870"/>
                  </a:lnTo>
                  <a:lnTo>
                    <a:pt x="305130" y="100330"/>
                  </a:lnTo>
                  <a:lnTo>
                    <a:pt x="304571" y="100330"/>
                  </a:lnTo>
                  <a:lnTo>
                    <a:pt x="305092" y="99123"/>
                  </a:lnTo>
                  <a:lnTo>
                    <a:pt x="306285" y="102870"/>
                  </a:lnTo>
                  <a:lnTo>
                    <a:pt x="306285" y="98602"/>
                  </a:lnTo>
                  <a:lnTo>
                    <a:pt x="305193" y="95250"/>
                  </a:lnTo>
                  <a:lnTo>
                    <a:pt x="302945" y="95250"/>
                  </a:lnTo>
                  <a:lnTo>
                    <a:pt x="303580" y="99060"/>
                  </a:lnTo>
                  <a:lnTo>
                    <a:pt x="299999" y="106680"/>
                  </a:lnTo>
                  <a:lnTo>
                    <a:pt x="296062" y="113030"/>
                  </a:lnTo>
                  <a:lnTo>
                    <a:pt x="291655" y="120650"/>
                  </a:lnTo>
                  <a:lnTo>
                    <a:pt x="286689" y="127000"/>
                  </a:lnTo>
                  <a:lnTo>
                    <a:pt x="283933" y="130810"/>
                  </a:lnTo>
                  <a:lnTo>
                    <a:pt x="280847" y="133350"/>
                  </a:lnTo>
                  <a:lnTo>
                    <a:pt x="284137" y="130810"/>
                  </a:lnTo>
                  <a:lnTo>
                    <a:pt x="288391" y="125730"/>
                  </a:lnTo>
                  <a:lnTo>
                    <a:pt x="289636" y="124460"/>
                  </a:lnTo>
                  <a:lnTo>
                    <a:pt x="290855" y="121920"/>
                  </a:lnTo>
                  <a:lnTo>
                    <a:pt x="290677" y="123190"/>
                  </a:lnTo>
                  <a:lnTo>
                    <a:pt x="293420" y="123190"/>
                  </a:lnTo>
                  <a:lnTo>
                    <a:pt x="293420" y="124460"/>
                  </a:lnTo>
                  <a:lnTo>
                    <a:pt x="292709" y="124460"/>
                  </a:lnTo>
                  <a:lnTo>
                    <a:pt x="292658" y="125730"/>
                  </a:lnTo>
                  <a:lnTo>
                    <a:pt x="292188" y="125730"/>
                  </a:lnTo>
                  <a:lnTo>
                    <a:pt x="292188" y="127000"/>
                  </a:lnTo>
                  <a:lnTo>
                    <a:pt x="292811" y="127000"/>
                  </a:lnTo>
                  <a:lnTo>
                    <a:pt x="292696" y="128270"/>
                  </a:lnTo>
                  <a:lnTo>
                    <a:pt x="292188" y="128270"/>
                  </a:lnTo>
                  <a:lnTo>
                    <a:pt x="292188" y="129540"/>
                  </a:lnTo>
                  <a:lnTo>
                    <a:pt x="292811" y="129540"/>
                  </a:lnTo>
                  <a:lnTo>
                    <a:pt x="292696" y="130810"/>
                  </a:lnTo>
                  <a:lnTo>
                    <a:pt x="292392" y="130810"/>
                  </a:lnTo>
                  <a:lnTo>
                    <a:pt x="292188" y="132080"/>
                  </a:lnTo>
                  <a:lnTo>
                    <a:pt x="293014" y="132080"/>
                  </a:lnTo>
                  <a:lnTo>
                    <a:pt x="292811" y="133350"/>
                  </a:lnTo>
                  <a:lnTo>
                    <a:pt x="292392" y="133350"/>
                  </a:lnTo>
                  <a:lnTo>
                    <a:pt x="292188" y="134620"/>
                  </a:lnTo>
                  <a:lnTo>
                    <a:pt x="293014" y="134620"/>
                  </a:lnTo>
                  <a:lnTo>
                    <a:pt x="292811" y="135890"/>
                  </a:lnTo>
                  <a:lnTo>
                    <a:pt x="292658" y="135890"/>
                  </a:lnTo>
                  <a:lnTo>
                    <a:pt x="292392" y="137160"/>
                  </a:lnTo>
                  <a:lnTo>
                    <a:pt x="293014" y="137160"/>
                  </a:lnTo>
                  <a:lnTo>
                    <a:pt x="292811" y="138430"/>
                  </a:lnTo>
                  <a:lnTo>
                    <a:pt x="292658" y="139700"/>
                  </a:lnTo>
                  <a:lnTo>
                    <a:pt x="292188" y="139700"/>
                  </a:lnTo>
                  <a:lnTo>
                    <a:pt x="292404" y="140970"/>
                  </a:lnTo>
                  <a:lnTo>
                    <a:pt x="292696" y="140970"/>
                  </a:lnTo>
                  <a:lnTo>
                    <a:pt x="292658" y="142240"/>
                  </a:lnTo>
                  <a:lnTo>
                    <a:pt x="292188" y="142240"/>
                  </a:lnTo>
                  <a:lnTo>
                    <a:pt x="292404" y="143510"/>
                  </a:lnTo>
                  <a:lnTo>
                    <a:pt x="292696" y="143510"/>
                  </a:lnTo>
                  <a:lnTo>
                    <a:pt x="292658" y="144780"/>
                  </a:lnTo>
                  <a:lnTo>
                    <a:pt x="292188" y="144780"/>
                  </a:lnTo>
                  <a:lnTo>
                    <a:pt x="292188" y="146050"/>
                  </a:lnTo>
                  <a:lnTo>
                    <a:pt x="292696" y="146050"/>
                  </a:lnTo>
                  <a:lnTo>
                    <a:pt x="292658" y="147320"/>
                  </a:lnTo>
                  <a:lnTo>
                    <a:pt x="292188" y="147320"/>
                  </a:lnTo>
                  <a:lnTo>
                    <a:pt x="292188" y="148590"/>
                  </a:lnTo>
                  <a:lnTo>
                    <a:pt x="292811" y="148590"/>
                  </a:lnTo>
                  <a:lnTo>
                    <a:pt x="292696" y="149860"/>
                  </a:lnTo>
                  <a:lnTo>
                    <a:pt x="292188" y="149860"/>
                  </a:lnTo>
                  <a:lnTo>
                    <a:pt x="292188" y="151130"/>
                  </a:lnTo>
                  <a:lnTo>
                    <a:pt x="293420" y="151130"/>
                  </a:lnTo>
                  <a:lnTo>
                    <a:pt x="290779" y="161290"/>
                  </a:lnTo>
                  <a:lnTo>
                    <a:pt x="287921" y="171450"/>
                  </a:lnTo>
                  <a:lnTo>
                    <a:pt x="284835" y="181610"/>
                  </a:lnTo>
                  <a:lnTo>
                    <a:pt x="281457" y="191770"/>
                  </a:lnTo>
                  <a:lnTo>
                    <a:pt x="280212" y="195580"/>
                  </a:lnTo>
                  <a:lnTo>
                    <a:pt x="278879" y="199390"/>
                  </a:lnTo>
                  <a:lnTo>
                    <a:pt x="277482" y="203200"/>
                  </a:lnTo>
                  <a:lnTo>
                    <a:pt x="277177" y="202552"/>
                  </a:lnTo>
                  <a:lnTo>
                    <a:pt x="277177" y="203200"/>
                  </a:lnTo>
                  <a:lnTo>
                    <a:pt x="276021" y="205740"/>
                  </a:lnTo>
                  <a:lnTo>
                    <a:pt x="274840" y="209550"/>
                  </a:lnTo>
                  <a:lnTo>
                    <a:pt x="270611" y="218440"/>
                  </a:lnTo>
                  <a:lnTo>
                    <a:pt x="267309" y="224790"/>
                  </a:lnTo>
                  <a:lnTo>
                    <a:pt x="263385" y="229870"/>
                  </a:lnTo>
                  <a:lnTo>
                    <a:pt x="259435" y="236220"/>
                  </a:lnTo>
                  <a:lnTo>
                    <a:pt x="254850" y="241300"/>
                  </a:lnTo>
                  <a:lnTo>
                    <a:pt x="248831" y="246380"/>
                  </a:lnTo>
                  <a:lnTo>
                    <a:pt x="244436" y="246380"/>
                  </a:lnTo>
                  <a:lnTo>
                    <a:pt x="244436" y="335280"/>
                  </a:lnTo>
                  <a:lnTo>
                    <a:pt x="243497" y="334645"/>
                  </a:lnTo>
                  <a:lnTo>
                    <a:pt x="243497" y="337820"/>
                  </a:lnTo>
                  <a:lnTo>
                    <a:pt x="229069" y="346710"/>
                  </a:lnTo>
                  <a:lnTo>
                    <a:pt x="226733" y="345262"/>
                  </a:lnTo>
                  <a:lnTo>
                    <a:pt x="226733" y="347980"/>
                  </a:lnTo>
                  <a:lnTo>
                    <a:pt x="212509" y="356870"/>
                  </a:lnTo>
                  <a:lnTo>
                    <a:pt x="213156" y="340360"/>
                  </a:lnTo>
                  <a:lnTo>
                    <a:pt x="226733" y="347980"/>
                  </a:lnTo>
                  <a:lnTo>
                    <a:pt x="226733" y="345262"/>
                  </a:lnTo>
                  <a:lnTo>
                    <a:pt x="218897" y="340360"/>
                  </a:lnTo>
                  <a:lnTo>
                    <a:pt x="214833" y="337820"/>
                  </a:lnTo>
                  <a:lnTo>
                    <a:pt x="216903" y="336550"/>
                  </a:lnTo>
                  <a:lnTo>
                    <a:pt x="229349" y="328930"/>
                  </a:lnTo>
                  <a:lnTo>
                    <a:pt x="243497" y="337820"/>
                  </a:lnTo>
                  <a:lnTo>
                    <a:pt x="243497" y="334645"/>
                  </a:lnTo>
                  <a:lnTo>
                    <a:pt x="235204" y="328930"/>
                  </a:lnTo>
                  <a:lnTo>
                    <a:pt x="231508" y="326390"/>
                  </a:lnTo>
                  <a:lnTo>
                    <a:pt x="233591" y="325120"/>
                  </a:lnTo>
                  <a:lnTo>
                    <a:pt x="243979" y="318770"/>
                  </a:lnTo>
                  <a:lnTo>
                    <a:pt x="244436" y="335280"/>
                  </a:lnTo>
                  <a:lnTo>
                    <a:pt x="244436" y="246380"/>
                  </a:lnTo>
                  <a:lnTo>
                    <a:pt x="244055" y="232410"/>
                  </a:lnTo>
                  <a:lnTo>
                    <a:pt x="243852" y="225247"/>
                  </a:lnTo>
                  <a:lnTo>
                    <a:pt x="243852" y="313690"/>
                  </a:lnTo>
                  <a:lnTo>
                    <a:pt x="241211" y="311785"/>
                  </a:lnTo>
                  <a:lnTo>
                    <a:pt x="241211" y="314960"/>
                  </a:lnTo>
                  <a:lnTo>
                    <a:pt x="241134" y="317500"/>
                  </a:lnTo>
                  <a:lnTo>
                    <a:pt x="229349" y="325120"/>
                  </a:lnTo>
                  <a:lnTo>
                    <a:pt x="227177" y="323723"/>
                  </a:lnTo>
                  <a:lnTo>
                    <a:pt x="227177" y="326390"/>
                  </a:lnTo>
                  <a:lnTo>
                    <a:pt x="213296" y="336550"/>
                  </a:lnTo>
                  <a:lnTo>
                    <a:pt x="213995" y="317500"/>
                  </a:lnTo>
                  <a:lnTo>
                    <a:pt x="227177" y="326390"/>
                  </a:lnTo>
                  <a:lnTo>
                    <a:pt x="227177" y="323723"/>
                  </a:lnTo>
                  <a:lnTo>
                    <a:pt x="217538" y="317500"/>
                  </a:lnTo>
                  <a:lnTo>
                    <a:pt x="241134" y="317500"/>
                  </a:lnTo>
                  <a:lnTo>
                    <a:pt x="241134" y="314960"/>
                  </a:lnTo>
                  <a:lnTo>
                    <a:pt x="217512" y="314960"/>
                  </a:lnTo>
                  <a:lnTo>
                    <a:pt x="219214" y="313690"/>
                  </a:lnTo>
                  <a:lnTo>
                    <a:pt x="229425" y="306070"/>
                  </a:lnTo>
                  <a:lnTo>
                    <a:pt x="241211" y="314960"/>
                  </a:lnTo>
                  <a:lnTo>
                    <a:pt x="241211" y="311785"/>
                  </a:lnTo>
                  <a:lnTo>
                    <a:pt x="233324" y="306070"/>
                  </a:lnTo>
                  <a:lnTo>
                    <a:pt x="231571" y="304800"/>
                  </a:lnTo>
                  <a:lnTo>
                    <a:pt x="233540" y="303530"/>
                  </a:lnTo>
                  <a:lnTo>
                    <a:pt x="243395" y="297180"/>
                  </a:lnTo>
                  <a:lnTo>
                    <a:pt x="243852" y="313690"/>
                  </a:lnTo>
                  <a:lnTo>
                    <a:pt x="243852" y="225247"/>
                  </a:lnTo>
                  <a:lnTo>
                    <a:pt x="243840" y="224790"/>
                  </a:lnTo>
                  <a:lnTo>
                    <a:pt x="243357" y="207010"/>
                  </a:lnTo>
                  <a:lnTo>
                    <a:pt x="243255" y="203327"/>
                  </a:lnTo>
                  <a:lnTo>
                    <a:pt x="243255" y="292100"/>
                  </a:lnTo>
                  <a:lnTo>
                    <a:pt x="242506" y="291528"/>
                  </a:lnTo>
                  <a:lnTo>
                    <a:pt x="242506" y="294640"/>
                  </a:lnTo>
                  <a:lnTo>
                    <a:pt x="229438" y="303530"/>
                  </a:lnTo>
                  <a:lnTo>
                    <a:pt x="227291" y="302056"/>
                  </a:lnTo>
                  <a:lnTo>
                    <a:pt x="227291" y="304800"/>
                  </a:lnTo>
                  <a:lnTo>
                    <a:pt x="214147" y="313690"/>
                  </a:lnTo>
                  <a:lnTo>
                    <a:pt x="214807" y="295910"/>
                  </a:lnTo>
                  <a:lnTo>
                    <a:pt x="227291" y="304800"/>
                  </a:lnTo>
                  <a:lnTo>
                    <a:pt x="227291" y="302056"/>
                  </a:lnTo>
                  <a:lnTo>
                    <a:pt x="218414" y="295910"/>
                  </a:lnTo>
                  <a:lnTo>
                    <a:pt x="216573" y="294640"/>
                  </a:lnTo>
                  <a:lnTo>
                    <a:pt x="218211" y="293370"/>
                  </a:lnTo>
                  <a:lnTo>
                    <a:pt x="229641" y="284480"/>
                  </a:lnTo>
                  <a:lnTo>
                    <a:pt x="242506" y="294640"/>
                  </a:lnTo>
                  <a:lnTo>
                    <a:pt x="242506" y="291528"/>
                  </a:lnTo>
                  <a:lnTo>
                    <a:pt x="233286" y="284480"/>
                  </a:lnTo>
                  <a:lnTo>
                    <a:pt x="231622" y="283210"/>
                  </a:lnTo>
                  <a:lnTo>
                    <a:pt x="233222" y="281940"/>
                  </a:lnTo>
                  <a:lnTo>
                    <a:pt x="242773" y="274320"/>
                  </a:lnTo>
                  <a:lnTo>
                    <a:pt x="243255" y="292100"/>
                  </a:lnTo>
                  <a:lnTo>
                    <a:pt x="243255" y="203327"/>
                  </a:lnTo>
                  <a:lnTo>
                    <a:pt x="243217" y="201930"/>
                  </a:lnTo>
                  <a:lnTo>
                    <a:pt x="242760" y="185420"/>
                  </a:lnTo>
                  <a:lnTo>
                    <a:pt x="242760" y="184124"/>
                  </a:lnTo>
                  <a:lnTo>
                    <a:pt x="244030" y="182880"/>
                  </a:lnTo>
                  <a:lnTo>
                    <a:pt x="246659" y="180340"/>
                  </a:lnTo>
                  <a:lnTo>
                    <a:pt x="257162" y="170180"/>
                  </a:lnTo>
                  <a:lnTo>
                    <a:pt x="261099" y="166370"/>
                  </a:lnTo>
                  <a:lnTo>
                    <a:pt x="263842" y="172720"/>
                  </a:lnTo>
                  <a:lnTo>
                    <a:pt x="266649" y="180340"/>
                  </a:lnTo>
                  <a:lnTo>
                    <a:pt x="269544" y="186715"/>
                  </a:lnTo>
                  <a:lnTo>
                    <a:pt x="272503" y="193040"/>
                  </a:lnTo>
                  <a:lnTo>
                    <a:pt x="274015" y="196850"/>
                  </a:lnTo>
                  <a:lnTo>
                    <a:pt x="277177" y="203200"/>
                  </a:lnTo>
                  <a:lnTo>
                    <a:pt x="277177" y="202552"/>
                  </a:lnTo>
                  <a:lnTo>
                    <a:pt x="274497" y="196850"/>
                  </a:lnTo>
                  <a:lnTo>
                    <a:pt x="270078" y="186690"/>
                  </a:lnTo>
                  <a:lnTo>
                    <a:pt x="267182" y="179070"/>
                  </a:lnTo>
                  <a:lnTo>
                    <a:pt x="264261" y="172466"/>
                  </a:lnTo>
                  <a:lnTo>
                    <a:pt x="261620" y="166370"/>
                  </a:lnTo>
                  <a:lnTo>
                    <a:pt x="264223" y="163830"/>
                  </a:lnTo>
                  <a:lnTo>
                    <a:pt x="270725" y="157480"/>
                  </a:lnTo>
                  <a:lnTo>
                    <a:pt x="271589" y="154940"/>
                  </a:lnTo>
                  <a:lnTo>
                    <a:pt x="271983" y="153670"/>
                  </a:lnTo>
                  <a:lnTo>
                    <a:pt x="277152" y="137160"/>
                  </a:lnTo>
                  <a:lnTo>
                    <a:pt x="278384" y="135890"/>
                  </a:lnTo>
                  <a:lnTo>
                    <a:pt x="280847" y="133350"/>
                  </a:lnTo>
                  <a:lnTo>
                    <a:pt x="277380" y="135890"/>
                  </a:lnTo>
                  <a:lnTo>
                    <a:pt x="279755" y="128270"/>
                  </a:lnTo>
                  <a:lnTo>
                    <a:pt x="299491" y="64770"/>
                  </a:lnTo>
                  <a:lnTo>
                    <a:pt x="306603" y="41910"/>
                  </a:lnTo>
                  <a:lnTo>
                    <a:pt x="308305" y="35560"/>
                  </a:lnTo>
                  <a:lnTo>
                    <a:pt x="308991" y="33020"/>
                  </a:lnTo>
                  <a:lnTo>
                    <a:pt x="336511" y="33020"/>
                  </a:lnTo>
                  <a:lnTo>
                    <a:pt x="337337" y="35560"/>
                  </a:lnTo>
                  <a:lnTo>
                    <a:pt x="337045" y="35560"/>
                  </a:lnTo>
                  <a:lnTo>
                    <a:pt x="336829" y="36830"/>
                  </a:lnTo>
                  <a:lnTo>
                    <a:pt x="337210" y="38100"/>
                  </a:lnTo>
                  <a:lnTo>
                    <a:pt x="337731" y="38100"/>
                  </a:lnTo>
                  <a:lnTo>
                    <a:pt x="337591" y="39370"/>
                  </a:lnTo>
                  <a:lnTo>
                    <a:pt x="337121" y="39370"/>
                  </a:lnTo>
                  <a:lnTo>
                    <a:pt x="336829" y="40640"/>
                  </a:lnTo>
                  <a:lnTo>
                    <a:pt x="336829" y="41910"/>
                  </a:lnTo>
                  <a:lnTo>
                    <a:pt x="337731" y="41910"/>
                  </a:lnTo>
                  <a:lnTo>
                    <a:pt x="337591" y="43180"/>
                  </a:lnTo>
                  <a:lnTo>
                    <a:pt x="337121" y="44450"/>
                  </a:lnTo>
                  <a:lnTo>
                    <a:pt x="336829" y="44450"/>
                  </a:lnTo>
                  <a:lnTo>
                    <a:pt x="336829" y="45720"/>
                  </a:lnTo>
                  <a:lnTo>
                    <a:pt x="337972" y="45720"/>
                  </a:lnTo>
                  <a:lnTo>
                    <a:pt x="337731" y="46990"/>
                  </a:lnTo>
                  <a:lnTo>
                    <a:pt x="337591" y="46990"/>
                  </a:lnTo>
                  <a:lnTo>
                    <a:pt x="337540" y="48260"/>
                  </a:lnTo>
                  <a:lnTo>
                    <a:pt x="336829" y="48260"/>
                  </a:lnTo>
                  <a:lnTo>
                    <a:pt x="336829" y="49530"/>
                  </a:lnTo>
                  <a:lnTo>
                    <a:pt x="337972" y="49530"/>
                  </a:lnTo>
                  <a:lnTo>
                    <a:pt x="337731" y="50800"/>
                  </a:lnTo>
                  <a:lnTo>
                    <a:pt x="337591" y="50800"/>
                  </a:lnTo>
                  <a:lnTo>
                    <a:pt x="337540" y="52070"/>
                  </a:lnTo>
                  <a:lnTo>
                    <a:pt x="336829" y="52070"/>
                  </a:lnTo>
                  <a:lnTo>
                    <a:pt x="336829" y="53340"/>
                  </a:lnTo>
                  <a:lnTo>
                    <a:pt x="337972" y="53340"/>
                  </a:lnTo>
                  <a:lnTo>
                    <a:pt x="337731" y="54610"/>
                  </a:lnTo>
                  <a:lnTo>
                    <a:pt x="337591" y="54610"/>
                  </a:lnTo>
                  <a:lnTo>
                    <a:pt x="337540" y="55880"/>
                  </a:lnTo>
                  <a:lnTo>
                    <a:pt x="336829" y="55880"/>
                  </a:lnTo>
                  <a:lnTo>
                    <a:pt x="336829" y="57150"/>
                  </a:lnTo>
                  <a:lnTo>
                    <a:pt x="337210" y="58420"/>
                  </a:lnTo>
                  <a:lnTo>
                    <a:pt x="337731" y="58420"/>
                  </a:lnTo>
                  <a:lnTo>
                    <a:pt x="337591" y="59690"/>
                  </a:lnTo>
                  <a:lnTo>
                    <a:pt x="337121" y="59690"/>
                  </a:lnTo>
                  <a:lnTo>
                    <a:pt x="336829" y="60960"/>
                  </a:lnTo>
                  <a:lnTo>
                    <a:pt x="337210" y="62230"/>
                  </a:lnTo>
                  <a:lnTo>
                    <a:pt x="337731" y="62230"/>
                  </a:lnTo>
                  <a:lnTo>
                    <a:pt x="337591" y="63500"/>
                  </a:lnTo>
                  <a:lnTo>
                    <a:pt x="337121" y="63500"/>
                  </a:lnTo>
                  <a:lnTo>
                    <a:pt x="336829" y="64770"/>
                  </a:lnTo>
                  <a:lnTo>
                    <a:pt x="336829" y="66040"/>
                  </a:lnTo>
                  <a:lnTo>
                    <a:pt x="337731" y="66040"/>
                  </a:lnTo>
                  <a:lnTo>
                    <a:pt x="337591" y="67310"/>
                  </a:lnTo>
                  <a:lnTo>
                    <a:pt x="337121" y="68580"/>
                  </a:lnTo>
                  <a:lnTo>
                    <a:pt x="336829" y="68580"/>
                  </a:lnTo>
                  <a:lnTo>
                    <a:pt x="336829" y="69850"/>
                  </a:lnTo>
                  <a:lnTo>
                    <a:pt x="337972" y="69850"/>
                  </a:lnTo>
                  <a:lnTo>
                    <a:pt x="337731" y="71120"/>
                  </a:lnTo>
                  <a:lnTo>
                    <a:pt x="337591" y="71120"/>
                  </a:lnTo>
                  <a:lnTo>
                    <a:pt x="337540" y="72390"/>
                  </a:lnTo>
                  <a:lnTo>
                    <a:pt x="336829" y="72390"/>
                  </a:lnTo>
                  <a:lnTo>
                    <a:pt x="336829" y="73660"/>
                  </a:lnTo>
                  <a:lnTo>
                    <a:pt x="338683" y="73660"/>
                  </a:lnTo>
                  <a:lnTo>
                    <a:pt x="338683" y="31750"/>
                  </a:lnTo>
                  <a:lnTo>
                    <a:pt x="336296" y="31750"/>
                  </a:lnTo>
                  <a:lnTo>
                    <a:pt x="330212" y="13970"/>
                  </a:lnTo>
                  <a:lnTo>
                    <a:pt x="325729" y="0"/>
                  </a:lnTo>
                  <a:lnTo>
                    <a:pt x="325094" y="88"/>
                  </a:lnTo>
                  <a:lnTo>
                    <a:pt x="329628" y="13970"/>
                  </a:lnTo>
                  <a:lnTo>
                    <a:pt x="335648" y="31750"/>
                  </a:lnTo>
                  <a:lnTo>
                    <a:pt x="309765" y="31750"/>
                  </a:lnTo>
                  <a:lnTo>
                    <a:pt x="312826" y="21590"/>
                  </a:lnTo>
                  <a:lnTo>
                    <a:pt x="315874" y="11430"/>
                  </a:lnTo>
                  <a:lnTo>
                    <a:pt x="317804" y="7620"/>
                  </a:lnTo>
                  <a:lnTo>
                    <a:pt x="318452" y="6350"/>
                  </a:lnTo>
                  <a:lnTo>
                    <a:pt x="320814" y="1270"/>
                  </a:lnTo>
                  <a:lnTo>
                    <a:pt x="320941" y="673"/>
                  </a:lnTo>
                  <a:lnTo>
                    <a:pt x="320306" y="762"/>
                  </a:lnTo>
                  <a:lnTo>
                    <a:pt x="320306" y="1270"/>
                  </a:lnTo>
                  <a:lnTo>
                    <a:pt x="318960" y="3810"/>
                  </a:lnTo>
                  <a:lnTo>
                    <a:pt x="317093" y="7620"/>
                  </a:lnTo>
                  <a:lnTo>
                    <a:pt x="319138" y="1270"/>
                  </a:lnTo>
                  <a:lnTo>
                    <a:pt x="320306" y="1270"/>
                  </a:lnTo>
                  <a:lnTo>
                    <a:pt x="320306" y="762"/>
                  </a:lnTo>
                  <a:lnTo>
                    <a:pt x="316534" y="1270"/>
                  </a:lnTo>
                  <a:lnTo>
                    <a:pt x="311073" y="19050"/>
                  </a:lnTo>
                  <a:lnTo>
                    <a:pt x="310197" y="20421"/>
                  </a:lnTo>
                  <a:lnTo>
                    <a:pt x="310197" y="21590"/>
                  </a:lnTo>
                  <a:lnTo>
                    <a:pt x="307251" y="31750"/>
                  </a:lnTo>
                  <a:lnTo>
                    <a:pt x="305790" y="31750"/>
                  </a:lnTo>
                  <a:lnTo>
                    <a:pt x="305790" y="35560"/>
                  </a:lnTo>
                  <a:lnTo>
                    <a:pt x="304101" y="41910"/>
                  </a:lnTo>
                  <a:lnTo>
                    <a:pt x="296824" y="64770"/>
                  </a:lnTo>
                  <a:lnTo>
                    <a:pt x="295935" y="63639"/>
                  </a:lnTo>
                  <a:lnTo>
                    <a:pt x="295935" y="67310"/>
                  </a:lnTo>
                  <a:lnTo>
                    <a:pt x="278638" y="123190"/>
                  </a:lnTo>
                  <a:lnTo>
                    <a:pt x="277317" y="124320"/>
                  </a:lnTo>
                  <a:lnTo>
                    <a:pt x="277317" y="128270"/>
                  </a:lnTo>
                  <a:lnTo>
                    <a:pt x="274243" y="138430"/>
                  </a:lnTo>
                  <a:lnTo>
                    <a:pt x="274002" y="138518"/>
                  </a:lnTo>
                  <a:lnTo>
                    <a:pt x="269379" y="153670"/>
                  </a:lnTo>
                  <a:lnTo>
                    <a:pt x="267576" y="150914"/>
                  </a:lnTo>
                  <a:lnTo>
                    <a:pt x="267576" y="154940"/>
                  </a:lnTo>
                  <a:lnTo>
                    <a:pt x="266661" y="154940"/>
                  </a:lnTo>
                  <a:lnTo>
                    <a:pt x="266661" y="157480"/>
                  </a:lnTo>
                  <a:lnTo>
                    <a:pt x="260667" y="163830"/>
                  </a:lnTo>
                  <a:lnTo>
                    <a:pt x="260159" y="162509"/>
                  </a:lnTo>
                  <a:lnTo>
                    <a:pt x="260159" y="163830"/>
                  </a:lnTo>
                  <a:lnTo>
                    <a:pt x="253034" y="170180"/>
                  </a:lnTo>
                  <a:lnTo>
                    <a:pt x="251256" y="167881"/>
                  </a:lnTo>
                  <a:lnTo>
                    <a:pt x="251256" y="172720"/>
                  </a:lnTo>
                  <a:lnTo>
                    <a:pt x="242646" y="180327"/>
                  </a:lnTo>
                  <a:lnTo>
                    <a:pt x="242646" y="269240"/>
                  </a:lnTo>
                  <a:lnTo>
                    <a:pt x="240347" y="267373"/>
                  </a:lnTo>
                  <a:lnTo>
                    <a:pt x="240347" y="270510"/>
                  </a:lnTo>
                  <a:lnTo>
                    <a:pt x="240334" y="273050"/>
                  </a:lnTo>
                  <a:lnTo>
                    <a:pt x="229641" y="281940"/>
                  </a:lnTo>
                  <a:lnTo>
                    <a:pt x="227672" y="280289"/>
                  </a:lnTo>
                  <a:lnTo>
                    <a:pt x="227672" y="283210"/>
                  </a:lnTo>
                  <a:lnTo>
                    <a:pt x="214947" y="293370"/>
                  </a:lnTo>
                  <a:lnTo>
                    <a:pt x="215684" y="273050"/>
                  </a:lnTo>
                  <a:lnTo>
                    <a:pt x="227672" y="283210"/>
                  </a:lnTo>
                  <a:lnTo>
                    <a:pt x="227672" y="280289"/>
                  </a:lnTo>
                  <a:lnTo>
                    <a:pt x="219062" y="273050"/>
                  </a:lnTo>
                  <a:lnTo>
                    <a:pt x="240334" y="273050"/>
                  </a:lnTo>
                  <a:lnTo>
                    <a:pt x="240334" y="270510"/>
                  </a:lnTo>
                  <a:lnTo>
                    <a:pt x="219113" y="270510"/>
                  </a:lnTo>
                  <a:lnTo>
                    <a:pt x="229768" y="261620"/>
                  </a:lnTo>
                  <a:lnTo>
                    <a:pt x="240347" y="270510"/>
                  </a:lnTo>
                  <a:lnTo>
                    <a:pt x="240347" y="267373"/>
                  </a:lnTo>
                  <a:lnTo>
                    <a:pt x="233311" y="261620"/>
                  </a:lnTo>
                  <a:lnTo>
                    <a:pt x="231749" y="260350"/>
                  </a:lnTo>
                  <a:lnTo>
                    <a:pt x="233489" y="259080"/>
                  </a:lnTo>
                  <a:lnTo>
                    <a:pt x="242189" y="252730"/>
                  </a:lnTo>
                  <a:lnTo>
                    <a:pt x="242646" y="269240"/>
                  </a:lnTo>
                  <a:lnTo>
                    <a:pt x="242646" y="180327"/>
                  </a:lnTo>
                  <a:lnTo>
                    <a:pt x="242087" y="160020"/>
                  </a:lnTo>
                  <a:lnTo>
                    <a:pt x="251256" y="172720"/>
                  </a:lnTo>
                  <a:lnTo>
                    <a:pt x="251256" y="167881"/>
                  </a:lnTo>
                  <a:lnTo>
                    <a:pt x="245211" y="160020"/>
                  </a:lnTo>
                  <a:lnTo>
                    <a:pt x="244233" y="158750"/>
                  </a:lnTo>
                  <a:lnTo>
                    <a:pt x="243255" y="157480"/>
                  </a:lnTo>
                  <a:lnTo>
                    <a:pt x="257771" y="157480"/>
                  </a:lnTo>
                  <a:lnTo>
                    <a:pt x="260159" y="163830"/>
                  </a:lnTo>
                  <a:lnTo>
                    <a:pt x="260159" y="162509"/>
                  </a:lnTo>
                  <a:lnTo>
                    <a:pt x="259207" y="160020"/>
                  </a:lnTo>
                  <a:lnTo>
                    <a:pt x="258495" y="157480"/>
                  </a:lnTo>
                  <a:lnTo>
                    <a:pt x="266661" y="157480"/>
                  </a:lnTo>
                  <a:lnTo>
                    <a:pt x="266661" y="154940"/>
                  </a:lnTo>
                  <a:lnTo>
                    <a:pt x="257530" y="154940"/>
                  </a:lnTo>
                  <a:lnTo>
                    <a:pt x="256819" y="153238"/>
                  </a:lnTo>
                  <a:lnTo>
                    <a:pt x="256819" y="154940"/>
                  </a:lnTo>
                  <a:lnTo>
                    <a:pt x="244195" y="154940"/>
                  </a:lnTo>
                  <a:lnTo>
                    <a:pt x="253860" y="147320"/>
                  </a:lnTo>
                  <a:lnTo>
                    <a:pt x="255816" y="152400"/>
                  </a:lnTo>
                  <a:lnTo>
                    <a:pt x="256819" y="154940"/>
                  </a:lnTo>
                  <a:lnTo>
                    <a:pt x="256819" y="153238"/>
                  </a:lnTo>
                  <a:lnTo>
                    <a:pt x="256476" y="152400"/>
                  </a:lnTo>
                  <a:lnTo>
                    <a:pt x="254419" y="147320"/>
                  </a:lnTo>
                  <a:lnTo>
                    <a:pt x="257263" y="144780"/>
                  </a:lnTo>
                  <a:lnTo>
                    <a:pt x="258686" y="143510"/>
                  </a:lnTo>
                  <a:lnTo>
                    <a:pt x="260134" y="143510"/>
                  </a:lnTo>
                  <a:lnTo>
                    <a:pt x="267576" y="154940"/>
                  </a:lnTo>
                  <a:lnTo>
                    <a:pt x="267576" y="150914"/>
                  </a:lnTo>
                  <a:lnTo>
                    <a:pt x="262750" y="143510"/>
                  </a:lnTo>
                  <a:lnTo>
                    <a:pt x="266725" y="142240"/>
                  </a:lnTo>
                  <a:lnTo>
                    <a:pt x="270560" y="140970"/>
                  </a:lnTo>
                  <a:lnTo>
                    <a:pt x="273824" y="138582"/>
                  </a:lnTo>
                  <a:lnTo>
                    <a:pt x="270637" y="139700"/>
                  </a:lnTo>
                  <a:lnTo>
                    <a:pt x="266611" y="142240"/>
                  </a:lnTo>
                  <a:lnTo>
                    <a:pt x="262445" y="142240"/>
                  </a:lnTo>
                  <a:lnTo>
                    <a:pt x="261569" y="140970"/>
                  </a:lnTo>
                  <a:lnTo>
                    <a:pt x="277317" y="128270"/>
                  </a:lnTo>
                  <a:lnTo>
                    <a:pt x="277317" y="124320"/>
                  </a:lnTo>
                  <a:lnTo>
                    <a:pt x="259321" y="139700"/>
                  </a:lnTo>
                  <a:lnTo>
                    <a:pt x="258381" y="140970"/>
                  </a:lnTo>
                  <a:lnTo>
                    <a:pt x="255562" y="142240"/>
                  </a:lnTo>
                  <a:lnTo>
                    <a:pt x="254952" y="142240"/>
                  </a:lnTo>
                  <a:lnTo>
                    <a:pt x="254952" y="143510"/>
                  </a:lnTo>
                  <a:lnTo>
                    <a:pt x="253530" y="144780"/>
                  </a:lnTo>
                  <a:lnTo>
                    <a:pt x="253161" y="143510"/>
                  </a:lnTo>
                  <a:lnTo>
                    <a:pt x="254952" y="143510"/>
                  </a:lnTo>
                  <a:lnTo>
                    <a:pt x="254952" y="142240"/>
                  </a:lnTo>
                  <a:lnTo>
                    <a:pt x="252958" y="142240"/>
                  </a:lnTo>
                  <a:lnTo>
                    <a:pt x="252958" y="144780"/>
                  </a:lnTo>
                  <a:lnTo>
                    <a:pt x="242036" y="153581"/>
                  </a:lnTo>
                  <a:lnTo>
                    <a:pt x="242036" y="246380"/>
                  </a:lnTo>
                  <a:lnTo>
                    <a:pt x="241477" y="246380"/>
                  </a:lnTo>
                  <a:lnTo>
                    <a:pt x="241147" y="246113"/>
                  </a:lnTo>
                  <a:lnTo>
                    <a:pt x="241147" y="250190"/>
                  </a:lnTo>
                  <a:lnTo>
                    <a:pt x="237324" y="251460"/>
                  </a:lnTo>
                  <a:lnTo>
                    <a:pt x="240182" y="251460"/>
                  </a:lnTo>
                  <a:lnTo>
                    <a:pt x="229755" y="259080"/>
                  </a:lnTo>
                  <a:lnTo>
                    <a:pt x="227761" y="257619"/>
                  </a:lnTo>
                  <a:lnTo>
                    <a:pt x="227761" y="260350"/>
                  </a:lnTo>
                  <a:lnTo>
                    <a:pt x="215811" y="270510"/>
                  </a:lnTo>
                  <a:lnTo>
                    <a:pt x="216484" y="252730"/>
                  </a:lnTo>
                  <a:lnTo>
                    <a:pt x="219684" y="255270"/>
                  </a:lnTo>
                  <a:lnTo>
                    <a:pt x="227761" y="260350"/>
                  </a:lnTo>
                  <a:lnTo>
                    <a:pt x="227761" y="257619"/>
                  </a:lnTo>
                  <a:lnTo>
                    <a:pt x="221107" y="252730"/>
                  </a:lnTo>
                  <a:lnTo>
                    <a:pt x="217639" y="250190"/>
                  </a:lnTo>
                  <a:lnTo>
                    <a:pt x="219837" y="248920"/>
                  </a:lnTo>
                  <a:lnTo>
                    <a:pt x="222783" y="250190"/>
                  </a:lnTo>
                  <a:lnTo>
                    <a:pt x="225882" y="251460"/>
                  </a:lnTo>
                  <a:lnTo>
                    <a:pt x="229146" y="251460"/>
                  </a:lnTo>
                  <a:lnTo>
                    <a:pt x="232841" y="252730"/>
                  </a:lnTo>
                  <a:lnTo>
                    <a:pt x="236601" y="251460"/>
                  </a:lnTo>
                  <a:lnTo>
                    <a:pt x="229273" y="251460"/>
                  </a:lnTo>
                  <a:lnTo>
                    <a:pt x="226250" y="250190"/>
                  </a:lnTo>
                  <a:lnTo>
                    <a:pt x="223354" y="248920"/>
                  </a:lnTo>
                  <a:lnTo>
                    <a:pt x="220586" y="247650"/>
                  </a:lnTo>
                  <a:lnTo>
                    <a:pt x="222923" y="246380"/>
                  </a:lnTo>
                  <a:lnTo>
                    <a:pt x="225247" y="245110"/>
                  </a:lnTo>
                  <a:lnTo>
                    <a:pt x="226910" y="245110"/>
                  </a:lnTo>
                  <a:lnTo>
                    <a:pt x="228600" y="246380"/>
                  </a:lnTo>
                  <a:lnTo>
                    <a:pt x="233070" y="247650"/>
                  </a:lnTo>
                  <a:lnTo>
                    <a:pt x="238721" y="247650"/>
                  </a:lnTo>
                  <a:lnTo>
                    <a:pt x="241147" y="250190"/>
                  </a:lnTo>
                  <a:lnTo>
                    <a:pt x="241147" y="246113"/>
                  </a:lnTo>
                  <a:lnTo>
                    <a:pt x="237401" y="242963"/>
                  </a:lnTo>
                  <a:lnTo>
                    <a:pt x="237401" y="246380"/>
                  </a:lnTo>
                  <a:lnTo>
                    <a:pt x="232816" y="246380"/>
                  </a:lnTo>
                  <a:lnTo>
                    <a:pt x="229108" y="245110"/>
                  </a:lnTo>
                  <a:lnTo>
                    <a:pt x="227647" y="245110"/>
                  </a:lnTo>
                  <a:lnTo>
                    <a:pt x="226212" y="243840"/>
                  </a:lnTo>
                  <a:lnTo>
                    <a:pt x="228333" y="242570"/>
                  </a:lnTo>
                  <a:lnTo>
                    <a:pt x="230441" y="241300"/>
                  </a:lnTo>
                  <a:lnTo>
                    <a:pt x="237401" y="246380"/>
                  </a:lnTo>
                  <a:lnTo>
                    <a:pt x="237401" y="242963"/>
                  </a:lnTo>
                  <a:lnTo>
                    <a:pt x="235419" y="241300"/>
                  </a:lnTo>
                  <a:lnTo>
                    <a:pt x="232384" y="238760"/>
                  </a:lnTo>
                  <a:lnTo>
                    <a:pt x="234238" y="237490"/>
                  </a:lnTo>
                  <a:lnTo>
                    <a:pt x="241642" y="232410"/>
                  </a:lnTo>
                  <a:lnTo>
                    <a:pt x="242036" y="246380"/>
                  </a:lnTo>
                  <a:lnTo>
                    <a:pt x="242036" y="153581"/>
                  </a:lnTo>
                  <a:lnTo>
                    <a:pt x="241503" y="154012"/>
                  </a:lnTo>
                  <a:lnTo>
                    <a:pt x="241503" y="227330"/>
                  </a:lnTo>
                  <a:lnTo>
                    <a:pt x="241503" y="228600"/>
                  </a:lnTo>
                  <a:lnTo>
                    <a:pt x="230454" y="237490"/>
                  </a:lnTo>
                  <a:lnTo>
                    <a:pt x="228473" y="236143"/>
                  </a:lnTo>
                  <a:lnTo>
                    <a:pt x="228473" y="238760"/>
                  </a:lnTo>
                  <a:lnTo>
                    <a:pt x="223583" y="242570"/>
                  </a:lnTo>
                  <a:lnTo>
                    <a:pt x="222656" y="242570"/>
                  </a:lnTo>
                  <a:lnTo>
                    <a:pt x="222656" y="243840"/>
                  </a:lnTo>
                  <a:lnTo>
                    <a:pt x="218211" y="246380"/>
                  </a:lnTo>
                  <a:lnTo>
                    <a:pt x="216725" y="246380"/>
                  </a:lnTo>
                  <a:lnTo>
                    <a:pt x="216916" y="241300"/>
                  </a:lnTo>
                  <a:lnTo>
                    <a:pt x="218782" y="241300"/>
                  </a:lnTo>
                  <a:lnTo>
                    <a:pt x="222656" y="243840"/>
                  </a:lnTo>
                  <a:lnTo>
                    <a:pt x="222656" y="242570"/>
                  </a:lnTo>
                  <a:lnTo>
                    <a:pt x="221310" y="242570"/>
                  </a:lnTo>
                  <a:lnTo>
                    <a:pt x="219138" y="241300"/>
                  </a:lnTo>
                  <a:lnTo>
                    <a:pt x="216954" y="240030"/>
                  </a:lnTo>
                  <a:lnTo>
                    <a:pt x="217271" y="231140"/>
                  </a:lnTo>
                  <a:lnTo>
                    <a:pt x="220205" y="233680"/>
                  </a:lnTo>
                  <a:lnTo>
                    <a:pt x="228473" y="238760"/>
                  </a:lnTo>
                  <a:lnTo>
                    <a:pt x="228473" y="236143"/>
                  </a:lnTo>
                  <a:lnTo>
                    <a:pt x="221119" y="231140"/>
                  </a:lnTo>
                  <a:lnTo>
                    <a:pt x="217385" y="228600"/>
                  </a:lnTo>
                  <a:lnTo>
                    <a:pt x="217449" y="227330"/>
                  </a:lnTo>
                  <a:lnTo>
                    <a:pt x="221792" y="223520"/>
                  </a:lnTo>
                  <a:lnTo>
                    <a:pt x="229019" y="217170"/>
                  </a:lnTo>
                  <a:lnTo>
                    <a:pt x="241503" y="227330"/>
                  </a:lnTo>
                  <a:lnTo>
                    <a:pt x="241503" y="154012"/>
                  </a:lnTo>
                  <a:lnTo>
                    <a:pt x="241414" y="224790"/>
                  </a:lnTo>
                  <a:lnTo>
                    <a:pt x="232448" y="217170"/>
                  </a:lnTo>
                  <a:lnTo>
                    <a:pt x="230949" y="215900"/>
                  </a:lnTo>
                  <a:lnTo>
                    <a:pt x="233807" y="213360"/>
                  </a:lnTo>
                  <a:lnTo>
                    <a:pt x="240957" y="207010"/>
                  </a:lnTo>
                  <a:lnTo>
                    <a:pt x="241414" y="224790"/>
                  </a:lnTo>
                  <a:lnTo>
                    <a:pt x="241414" y="154089"/>
                  </a:lnTo>
                  <a:lnTo>
                    <a:pt x="240830" y="154559"/>
                  </a:lnTo>
                  <a:lnTo>
                    <a:pt x="240830" y="201930"/>
                  </a:lnTo>
                  <a:lnTo>
                    <a:pt x="240207" y="201371"/>
                  </a:lnTo>
                  <a:lnTo>
                    <a:pt x="240207" y="204470"/>
                  </a:lnTo>
                  <a:lnTo>
                    <a:pt x="229044" y="213360"/>
                  </a:lnTo>
                  <a:lnTo>
                    <a:pt x="227126" y="211785"/>
                  </a:lnTo>
                  <a:lnTo>
                    <a:pt x="227126" y="215900"/>
                  </a:lnTo>
                  <a:lnTo>
                    <a:pt x="217563" y="223520"/>
                  </a:lnTo>
                  <a:lnTo>
                    <a:pt x="218160" y="208280"/>
                  </a:lnTo>
                  <a:lnTo>
                    <a:pt x="227126" y="215900"/>
                  </a:lnTo>
                  <a:lnTo>
                    <a:pt x="227126" y="211785"/>
                  </a:lnTo>
                  <a:lnTo>
                    <a:pt x="222897" y="208280"/>
                  </a:lnTo>
                  <a:lnTo>
                    <a:pt x="218274" y="204470"/>
                  </a:lnTo>
                  <a:lnTo>
                    <a:pt x="222935" y="200660"/>
                  </a:lnTo>
                  <a:lnTo>
                    <a:pt x="229108" y="195580"/>
                  </a:lnTo>
                  <a:lnTo>
                    <a:pt x="240207" y="204470"/>
                  </a:lnTo>
                  <a:lnTo>
                    <a:pt x="240207" y="201371"/>
                  </a:lnTo>
                  <a:lnTo>
                    <a:pt x="233807" y="195580"/>
                  </a:lnTo>
                  <a:lnTo>
                    <a:pt x="230987" y="193040"/>
                  </a:lnTo>
                  <a:lnTo>
                    <a:pt x="232549" y="191770"/>
                  </a:lnTo>
                  <a:lnTo>
                    <a:pt x="240385" y="185420"/>
                  </a:lnTo>
                  <a:lnTo>
                    <a:pt x="240830" y="201930"/>
                  </a:lnTo>
                  <a:lnTo>
                    <a:pt x="240830" y="154559"/>
                  </a:lnTo>
                  <a:lnTo>
                    <a:pt x="240347" y="154940"/>
                  </a:lnTo>
                  <a:lnTo>
                    <a:pt x="240233" y="180340"/>
                  </a:lnTo>
                  <a:lnTo>
                    <a:pt x="238912" y="178676"/>
                  </a:lnTo>
                  <a:lnTo>
                    <a:pt x="238912" y="182880"/>
                  </a:lnTo>
                  <a:lnTo>
                    <a:pt x="237413" y="182880"/>
                  </a:lnTo>
                  <a:lnTo>
                    <a:pt x="237413" y="185420"/>
                  </a:lnTo>
                  <a:lnTo>
                    <a:pt x="229120" y="191770"/>
                  </a:lnTo>
                  <a:lnTo>
                    <a:pt x="227241" y="190284"/>
                  </a:lnTo>
                  <a:lnTo>
                    <a:pt x="227241" y="193040"/>
                  </a:lnTo>
                  <a:lnTo>
                    <a:pt x="218427" y="200660"/>
                  </a:lnTo>
                  <a:lnTo>
                    <a:pt x="219024" y="186690"/>
                  </a:lnTo>
                  <a:lnTo>
                    <a:pt x="227241" y="193040"/>
                  </a:lnTo>
                  <a:lnTo>
                    <a:pt x="227241" y="190284"/>
                  </a:lnTo>
                  <a:lnTo>
                    <a:pt x="222745" y="186690"/>
                  </a:lnTo>
                  <a:lnTo>
                    <a:pt x="221145" y="185420"/>
                  </a:lnTo>
                  <a:lnTo>
                    <a:pt x="237413" y="185420"/>
                  </a:lnTo>
                  <a:lnTo>
                    <a:pt x="237413" y="182880"/>
                  </a:lnTo>
                  <a:lnTo>
                    <a:pt x="220459" y="182880"/>
                  </a:lnTo>
                  <a:lnTo>
                    <a:pt x="221475" y="181610"/>
                  </a:lnTo>
                  <a:lnTo>
                    <a:pt x="222491" y="180340"/>
                  </a:lnTo>
                  <a:lnTo>
                    <a:pt x="229603" y="171450"/>
                  </a:lnTo>
                  <a:lnTo>
                    <a:pt x="238912" y="182880"/>
                  </a:lnTo>
                  <a:lnTo>
                    <a:pt x="238912" y="178676"/>
                  </a:lnTo>
                  <a:lnTo>
                    <a:pt x="233184" y="171450"/>
                  </a:lnTo>
                  <a:lnTo>
                    <a:pt x="231165" y="168910"/>
                  </a:lnTo>
                  <a:lnTo>
                    <a:pt x="232232" y="167640"/>
                  </a:lnTo>
                  <a:lnTo>
                    <a:pt x="239661" y="158750"/>
                  </a:lnTo>
                  <a:lnTo>
                    <a:pt x="240233" y="180340"/>
                  </a:lnTo>
                  <a:lnTo>
                    <a:pt x="240233" y="154940"/>
                  </a:lnTo>
                  <a:lnTo>
                    <a:pt x="237591" y="154940"/>
                  </a:lnTo>
                  <a:lnTo>
                    <a:pt x="237591" y="157480"/>
                  </a:lnTo>
                  <a:lnTo>
                    <a:pt x="229577" y="167640"/>
                  </a:lnTo>
                  <a:lnTo>
                    <a:pt x="228028" y="165709"/>
                  </a:lnTo>
                  <a:lnTo>
                    <a:pt x="228028" y="168910"/>
                  </a:lnTo>
                  <a:lnTo>
                    <a:pt x="219202" y="180340"/>
                  </a:lnTo>
                  <a:lnTo>
                    <a:pt x="219925" y="160020"/>
                  </a:lnTo>
                  <a:lnTo>
                    <a:pt x="228028" y="168910"/>
                  </a:lnTo>
                  <a:lnTo>
                    <a:pt x="228028" y="165709"/>
                  </a:lnTo>
                  <a:lnTo>
                    <a:pt x="223469" y="160020"/>
                  </a:lnTo>
                  <a:lnTo>
                    <a:pt x="221437" y="157480"/>
                  </a:lnTo>
                  <a:lnTo>
                    <a:pt x="237591" y="157480"/>
                  </a:lnTo>
                  <a:lnTo>
                    <a:pt x="237591" y="154940"/>
                  </a:lnTo>
                  <a:lnTo>
                    <a:pt x="219240" y="154940"/>
                  </a:lnTo>
                  <a:lnTo>
                    <a:pt x="217525" y="153593"/>
                  </a:lnTo>
                  <a:lnTo>
                    <a:pt x="217525" y="160020"/>
                  </a:lnTo>
                  <a:lnTo>
                    <a:pt x="216776" y="181610"/>
                  </a:lnTo>
                  <a:lnTo>
                    <a:pt x="205968" y="171450"/>
                  </a:lnTo>
                  <a:lnTo>
                    <a:pt x="207251" y="170180"/>
                  </a:lnTo>
                  <a:lnTo>
                    <a:pt x="217525" y="160020"/>
                  </a:lnTo>
                  <a:lnTo>
                    <a:pt x="217525" y="153593"/>
                  </a:lnTo>
                  <a:lnTo>
                    <a:pt x="215950" y="152361"/>
                  </a:lnTo>
                  <a:lnTo>
                    <a:pt x="215950" y="157480"/>
                  </a:lnTo>
                  <a:lnTo>
                    <a:pt x="204139" y="170180"/>
                  </a:lnTo>
                  <a:lnTo>
                    <a:pt x="200202" y="166370"/>
                  </a:lnTo>
                  <a:lnTo>
                    <a:pt x="197573" y="163830"/>
                  </a:lnTo>
                  <a:lnTo>
                    <a:pt x="199656" y="160020"/>
                  </a:lnTo>
                  <a:lnTo>
                    <a:pt x="200660" y="157480"/>
                  </a:lnTo>
                  <a:lnTo>
                    <a:pt x="215950" y="157480"/>
                  </a:lnTo>
                  <a:lnTo>
                    <a:pt x="215950" y="152361"/>
                  </a:lnTo>
                  <a:lnTo>
                    <a:pt x="215265" y="151815"/>
                  </a:lnTo>
                  <a:lnTo>
                    <a:pt x="215265" y="154940"/>
                  </a:lnTo>
                  <a:lnTo>
                    <a:pt x="201841" y="154940"/>
                  </a:lnTo>
                  <a:lnTo>
                    <a:pt x="203022" y="152400"/>
                  </a:lnTo>
                  <a:lnTo>
                    <a:pt x="205295" y="147320"/>
                  </a:lnTo>
                  <a:lnTo>
                    <a:pt x="215265" y="154940"/>
                  </a:lnTo>
                  <a:lnTo>
                    <a:pt x="215265" y="151815"/>
                  </a:lnTo>
                  <a:lnTo>
                    <a:pt x="209550" y="147320"/>
                  </a:lnTo>
                  <a:lnTo>
                    <a:pt x="206311" y="144780"/>
                  </a:lnTo>
                  <a:lnTo>
                    <a:pt x="208432" y="140970"/>
                  </a:lnTo>
                  <a:lnTo>
                    <a:pt x="210502" y="135890"/>
                  </a:lnTo>
                  <a:lnTo>
                    <a:pt x="213715" y="127000"/>
                  </a:lnTo>
                  <a:lnTo>
                    <a:pt x="216065" y="120650"/>
                  </a:lnTo>
                  <a:lnTo>
                    <a:pt x="219938" y="124460"/>
                  </a:lnTo>
                  <a:lnTo>
                    <a:pt x="224028" y="128270"/>
                  </a:lnTo>
                  <a:lnTo>
                    <a:pt x="232841" y="134620"/>
                  </a:lnTo>
                  <a:lnTo>
                    <a:pt x="237578" y="138430"/>
                  </a:lnTo>
                  <a:lnTo>
                    <a:pt x="245757" y="140970"/>
                  </a:lnTo>
                  <a:lnTo>
                    <a:pt x="247370" y="141605"/>
                  </a:lnTo>
                  <a:lnTo>
                    <a:pt x="245846" y="140970"/>
                  </a:lnTo>
                  <a:lnTo>
                    <a:pt x="216293" y="120650"/>
                  </a:lnTo>
                  <a:lnTo>
                    <a:pt x="216763" y="119380"/>
                  </a:lnTo>
                  <a:lnTo>
                    <a:pt x="220078" y="110490"/>
                  </a:lnTo>
                  <a:lnTo>
                    <a:pt x="223697" y="100330"/>
                  </a:lnTo>
                  <a:lnTo>
                    <a:pt x="227190" y="90170"/>
                  </a:lnTo>
                  <a:lnTo>
                    <a:pt x="230555" y="80010"/>
                  </a:lnTo>
                  <a:lnTo>
                    <a:pt x="235686" y="95250"/>
                  </a:lnTo>
                  <a:lnTo>
                    <a:pt x="240957" y="111760"/>
                  </a:lnTo>
                  <a:lnTo>
                    <a:pt x="246392" y="127000"/>
                  </a:lnTo>
                  <a:lnTo>
                    <a:pt x="252006" y="142240"/>
                  </a:lnTo>
                  <a:lnTo>
                    <a:pt x="248983" y="142240"/>
                  </a:lnTo>
                  <a:lnTo>
                    <a:pt x="252209" y="143510"/>
                  </a:lnTo>
                  <a:lnTo>
                    <a:pt x="252958" y="144780"/>
                  </a:lnTo>
                  <a:lnTo>
                    <a:pt x="252958" y="142240"/>
                  </a:lnTo>
                  <a:lnTo>
                    <a:pt x="252780" y="142240"/>
                  </a:lnTo>
                  <a:lnTo>
                    <a:pt x="247116" y="127000"/>
                  </a:lnTo>
                  <a:lnTo>
                    <a:pt x="241655" y="110490"/>
                  </a:lnTo>
                  <a:lnTo>
                    <a:pt x="236347" y="95250"/>
                  </a:lnTo>
                  <a:lnTo>
                    <a:pt x="231571" y="80010"/>
                  </a:lnTo>
                  <a:lnTo>
                    <a:pt x="231178" y="78740"/>
                  </a:lnTo>
                  <a:lnTo>
                    <a:pt x="231457" y="78740"/>
                  </a:lnTo>
                  <a:lnTo>
                    <a:pt x="231457" y="76200"/>
                  </a:lnTo>
                  <a:lnTo>
                    <a:pt x="232943" y="76200"/>
                  </a:lnTo>
                  <a:lnTo>
                    <a:pt x="233324" y="74930"/>
                  </a:lnTo>
                  <a:lnTo>
                    <a:pt x="233019" y="73660"/>
                  </a:lnTo>
                  <a:lnTo>
                    <a:pt x="232549" y="73660"/>
                  </a:lnTo>
                  <a:lnTo>
                    <a:pt x="232410" y="72390"/>
                  </a:lnTo>
                  <a:lnTo>
                    <a:pt x="232943" y="72390"/>
                  </a:lnTo>
                  <a:lnTo>
                    <a:pt x="233324" y="71120"/>
                  </a:lnTo>
                  <a:lnTo>
                    <a:pt x="233324" y="69850"/>
                  </a:lnTo>
                  <a:lnTo>
                    <a:pt x="232613" y="69850"/>
                  </a:lnTo>
                  <a:lnTo>
                    <a:pt x="232549" y="68580"/>
                  </a:lnTo>
                  <a:lnTo>
                    <a:pt x="232410" y="68580"/>
                  </a:lnTo>
                  <a:lnTo>
                    <a:pt x="232181" y="67310"/>
                  </a:lnTo>
                  <a:lnTo>
                    <a:pt x="233324" y="67310"/>
                  </a:lnTo>
                  <a:lnTo>
                    <a:pt x="233324" y="66040"/>
                  </a:lnTo>
                  <a:lnTo>
                    <a:pt x="232613" y="66040"/>
                  </a:lnTo>
                  <a:lnTo>
                    <a:pt x="232549" y="64770"/>
                  </a:lnTo>
                  <a:lnTo>
                    <a:pt x="232410" y="64770"/>
                  </a:lnTo>
                  <a:lnTo>
                    <a:pt x="232181" y="63500"/>
                  </a:lnTo>
                  <a:lnTo>
                    <a:pt x="233324" y="63500"/>
                  </a:lnTo>
                  <a:lnTo>
                    <a:pt x="233324" y="62230"/>
                  </a:lnTo>
                  <a:lnTo>
                    <a:pt x="232613" y="62230"/>
                  </a:lnTo>
                  <a:lnTo>
                    <a:pt x="232549" y="60960"/>
                  </a:lnTo>
                  <a:lnTo>
                    <a:pt x="232410" y="60960"/>
                  </a:lnTo>
                  <a:lnTo>
                    <a:pt x="232181" y="59690"/>
                  </a:lnTo>
                  <a:lnTo>
                    <a:pt x="233324" y="59690"/>
                  </a:lnTo>
                  <a:lnTo>
                    <a:pt x="233324" y="58420"/>
                  </a:lnTo>
                  <a:lnTo>
                    <a:pt x="233019" y="58420"/>
                  </a:lnTo>
                  <a:lnTo>
                    <a:pt x="232613" y="57150"/>
                  </a:lnTo>
                  <a:lnTo>
                    <a:pt x="232410" y="55880"/>
                  </a:lnTo>
                  <a:lnTo>
                    <a:pt x="233324" y="55880"/>
                  </a:lnTo>
                  <a:lnTo>
                    <a:pt x="233248" y="54610"/>
                  </a:lnTo>
                  <a:lnTo>
                    <a:pt x="237896" y="57150"/>
                  </a:lnTo>
                  <a:lnTo>
                    <a:pt x="242722" y="58420"/>
                  </a:lnTo>
                  <a:lnTo>
                    <a:pt x="254850" y="60960"/>
                  </a:lnTo>
                  <a:lnTo>
                    <a:pt x="262318" y="60960"/>
                  </a:lnTo>
                  <a:lnTo>
                    <a:pt x="265823" y="59690"/>
                  </a:lnTo>
                  <a:lnTo>
                    <a:pt x="269316" y="58420"/>
                  </a:lnTo>
                  <a:lnTo>
                    <a:pt x="274497" y="57150"/>
                  </a:lnTo>
                  <a:lnTo>
                    <a:pt x="279349" y="54610"/>
                  </a:lnTo>
                  <a:lnTo>
                    <a:pt x="283781" y="52070"/>
                  </a:lnTo>
                  <a:lnTo>
                    <a:pt x="295935" y="67310"/>
                  </a:lnTo>
                  <a:lnTo>
                    <a:pt x="295935" y="63639"/>
                  </a:lnTo>
                  <a:lnTo>
                    <a:pt x="286842" y="52070"/>
                  </a:lnTo>
                  <a:lnTo>
                    <a:pt x="289941" y="49530"/>
                  </a:lnTo>
                  <a:lnTo>
                    <a:pt x="299224" y="41910"/>
                  </a:lnTo>
                  <a:lnTo>
                    <a:pt x="300545" y="40640"/>
                  </a:lnTo>
                  <a:lnTo>
                    <a:pt x="305790" y="35560"/>
                  </a:lnTo>
                  <a:lnTo>
                    <a:pt x="305790" y="31750"/>
                  </a:lnTo>
                  <a:lnTo>
                    <a:pt x="304673" y="31750"/>
                  </a:lnTo>
                  <a:lnTo>
                    <a:pt x="304673" y="34290"/>
                  </a:lnTo>
                  <a:lnTo>
                    <a:pt x="296443" y="40640"/>
                  </a:lnTo>
                  <a:lnTo>
                    <a:pt x="298450" y="38100"/>
                  </a:lnTo>
                  <a:lnTo>
                    <a:pt x="300316" y="35560"/>
                  </a:lnTo>
                  <a:lnTo>
                    <a:pt x="302107" y="34290"/>
                  </a:lnTo>
                  <a:lnTo>
                    <a:pt x="304673" y="34290"/>
                  </a:lnTo>
                  <a:lnTo>
                    <a:pt x="304673" y="31750"/>
                  </a:lnTo>
                  <a:lnTo>
                    <a:pt x="303936" y="31750"/>
                  </a:lnTo>
                  <a:lnTo>
                    <a:pt x="306158" y="27940"/>
                  </a:lnTo>
                  <a:lnTo>
                    <a:pt x="308241" y="25400"/>
                  </a:lnTo>
                  <a:lnTo>
                    <a:pt x="310197" y="21590"/>
                  </a:lnTo>
                  <a:lnTo>
                    <a:pt x="310197" y="20421"/>
                  </a:lnTo>
                  <a:lnTo>
                    <a:pt x="308622" y="22860"/>
                  </a:lnTo>
                  <a:lnTo>
                    <a:pt x="305943" y="26670"/>
                  </a:lnTo>
                  <a:lnTo>
                    <a:pt x="303060" y="31750"/>
                  </a:lnTo>
                  <a:lnTo>
                    <a:pt x="301193" y="31750"/>
                  </a:lnTo>
                  <a:lnTo>
                    <a:pt x="301193" y="34290"/>
                  </a:lnTo>
                  <a:lnTo>
                    <a:pt x="297307" y="38100"/>
                  </a:lnTo>
                  <a:lnTo>
                    <a:pt x="294881" y="41910"/>
                  </a:lnTo>
                  <a:lnTo>
                    <a:pt x="293014" y="43180"/>
                  </a:lnTo>
                  <a:lnTo>
                    <a:pt x="286905" y="48260"/>
                  </a:lnTo>
                  <a:lnTo>
                    <a:pt x="285305" y="49530"/>
                  </a:lnTo>
                  <a:lnTo>
                    <a:pt x="283324" y="47117"/>
                  </a:lnTo>
                  <a:lnTo>
                    <a:pt x="283324" y="50800"/>
                  </a:lnTo>
                  <a:lnTo>
                    <a:pt x="278955" y="53340"/>
                  </a:lnTo>
                  <a:lnTo>
                    <a:pt x="274180" y="55880"/>
                  </a:lnTo>
                  <a:lnTo>
                    <a:pt x="269113" y="57150"/>
                  </a:lnTo>
                  <a:lnTo>
                    <a:pt x="262216" y="59690"/>
                  </a:lnTo>
                  <a:lnTo>
                    <a:pt x="254901" y="59690"/>
                  </a:lnTo>
                  <a:lnTo>
                    <a:pt x="242582" y="57150"/>
                  </a:lnTo>
                  <a:lnTo>
                    <a:pt x="237464" y="55880"/>
                  </a:lnTo>
                  <a:lnTo>
                    <a:pt x="235013" y="54610"/>
                  </a:lnTo>
                  <a:lnTo>
                    <a:pt x="232549" y="53340"/>
                  </a:lnTo>
                  <a:lnTo>
                    <a:pt x="232371" y="52070"/>
                  </a:lnTo>
                  <a:lnTo>
                    <a:pt x="232943" y="52070"/>
                  </a:lnTo>
                  <a:lnTo>
                    <a:pt x="233324" y="50800"/>
                  </a:lnTo>
                  <a:lnTo>
                    <a:pt x="233019" y="49530"/>
                  </a:lnTo>
                  <a:lnTo>
                    <a:pt x="232549" y="49530"/>
                  </a:lnTo>
                  <a:lnTo>
                    <a:pt x="232410" y="48260"/>
                  </a:lnTo>
                  <a:lnTo>
                    <a:pt x="232943" y="48260"/>
                  </a:lnTo>
                  <a:lnTo>
                    <a:pt x="233324" y="46990"/>
                  </a:lnTo>
                  <a:lnTo>
                    <a:pt x="233324" y="45720"/>
                  </a:lnTo>
                  <a:lnTo>
                    <a:pt x="232613" y="45720"/>
                  </a:lnTo>
                  <a:lnTo>
                    <a:pt x="232549" y="44450"/>
                  </a:lnTo>
                  <a:lnTo>
                    <a:pt x="232410" y="44450"/>
                  </a:lnTo>
                  <a:lnTo>
                    <a:pt x="232181" y="43180"/>
                  </a:lnTo>
                  <a:lnTo>
                    <a:pt x="233324" y="43180"/>
                  </a:lnTo>
                  <a:lnTo>
                    <a:pt x="233324" y="41910"/>
                  </a:lnTo>
                  <a:lnTo>
                    <a:pt x="232587" y="41910"/>
                  </a:lnTo>
                  <a:lnTo>
                    <a:pt x="232549" y="40640"/>
                  </a:lnTo>
                  <a:lnTo>
                    <a:pt x="232410" y="40640"/>
                  </a:lnTo>
                  <a:lnTo>
                    <a:pt x="232181" y="39370"/>
                  </a:lnTo>
                  <a:lnTo>
                    <a:pt x="233324" y="39370"/>
                  </a:lnTo>
                  <a:lnTo>
                    <a:pt x="233324" y="38100"/>
                  </a:lnTo>
                  <a:lnTo>
                    <a:pt x="232613" y="38100"/>
                  </a:lnTo>
                  <a:lnTo>
                    <a:pt x="232511" y="36830"/>
                  </a:lnTo>
                  <a:lnTo>
                    <a:pt x="232156" y="35560"/>
                  </a:lnTo>
                  <a:lnTo>
                    <a:pt x="231457" y="34290"/>
                  </a:lnTo>
                  <a:lnTo>
                    <a:pt x="270256" y="34290"/>
                  </a:lnTo>
                  <a:lnTo>
                    <a:pt x="276047" y="41910"/>
                  </a:lnTo>
                  <a:lnTo>
                    <a:pt x="283324" y="50800"/>
                  </a:lnTo>
                  <a:lnTo>
                    <a:pt x="283324" y="47117"/>
                  </a:lnTo>
                  <a:lnTo>
                    <a:pt x="279069" y="41910"/>
                  </a:lnTo>
                  <a:lnTo>
                    <a:pt x="273278" y="34290"/>
                  </a:lnTo>
                  <a:lnTo>
                    <a:pt x="301193" y="34290"/>
                  </a:lnTo>
                  <a:lnTo>
                    <a:pt x="301193" y="31750"/>
                  </a:lnTo>
                  <a:lnTo>
                    <a:pt x="229946" y="31750"/>
                  </a:lnTo>
                  <a:lnTo>
                    <a:pt x="229946" y="78740"/>
                  </a:lnTo>
                  <a:lnTo>
                    <a:pt x="226568" y="88900"/>
                  </a:lnTo>
                  <a:lnTo>
                    <a:pt x="223062" y="99123"/>
                  </a:lnTo>
                  <a:lnTo>
                    <a:pt x="219443" y="109220"/>
                  </a:lnTo>
                  <a:lnTo>
                    <a:pt x="215658" y="119380"/>
                  </a:lnTo>
                  <a:lnTo>
                    <a:pt x="215417" y="119214"/>
                  </a:lnTo>
                  <a:lnTo>
                    <a:pt x="215417" y="120650"/>
                  </a:lnTo>
                  <a:lnTo>
                    <a:pt x="212979" y="127000"/>
                  </a:lnTo>
                  <a:lnTo>
                    <a:pt x="211696" y="129540"/>
                  </a:lnTo>
                  <a:lnTo>
                    <a:pt x="209753" y="134620"/>
                  </a:lnTo>
                  <a:lnTo>
                    <a:pt x="207695" y="139700"/>
                  </a:lnTo>
                  <a:lnTo>
                    <a:pt x="205587" y="144780"/>
                  </a:lnTo>
                  <a:lnTo>
                    <a:pt x="204571" y="143992"/>
                  </a:lnTo>
                  <a:lnTo>
                    <a:pt x="204571" y="147320"/>
                  </a:lnTo>
                  <a:lnTo>
                    <a:pt x="202145" y="152400"/>
                  </a:lnTo>
                  <a:lnTo>
                    <a:pt x="200863" y="154940"/>
                  </a:lnTo>
                  <a:lnTo>
                    <a:pt x="199682" y="154940"/>
                  </a:lnTo>
                  <a:lnTo>
                    <a:pt x="199682" y="157480"/>
                  </a:lnTo>
                  <a:lnTo>
                    <a:pt x="198767" y="160020"/>
                  </a:lnTo>
                  <a:lnTo>
                    <a:pt x="196888" y="163830"/>
                  </a:lnTo>
                  <a:lnTo>
                    <a:pt x="195834" y="162814"/>
                  </a:lnTo>
                  <a:lnTo>
                    <a:pt x="195834" y="166370"/>
                  </a:lnTo>
                  <a:lnTo>
                    <a:pt x="193471" y="170180"/>
                  </a:lnTo>
                  <a:lnTo>
                    <a:pt x="191046" y="175260"/>
                  </a:lnTo>
                  <a:lnTo>
                    <a:pt x="184708" y="186715"/>
                  </a:lnTo>
                  <a:lnTo>
                    <a:pt x="180682" y="193040"/>
                  </a:lnTo>
                  <a:lnTo>
                    <a:pt x="176364" y="200660"/>
                  </a:lnTo>
                  <a:lnTo>
                    <a:pt x="175628" y="198996"/>
                  </a:lnTo>
                  <a:lnTo>
                    <a:pt x="175628" y="200660"/>
                  </a:lnTo>
                  <a:lnTo>
                    <a:pt x="171361" y="207010"/>
                  </a:lnTo>
                  <a:lnTo>
                    <a:pt x="166878" y="213360"/>
                  </a:lnTo>
                  <a:lnTo>
                    <a:pt x="162179" y="219710"/>
                  </a:lnTo>
                  <a:lnTo>
                    <a:pt x="157226" y="224790"/>
                  </a:lnTo>
                  <a:lnTo>
                    <a:pt x="152463" y="229870"/>
                  </a:lnTo>
                  <a:lnTo>
                    <a:pt x="118541" y="252730"/>
                  </a:lnTo>
                  <a:lnTo>
                    <a:pt x="98577" y="256540"/>
                  </a:lnTo>
                  <a:lnTo>
                    <a:pt x="84950" y="256540"/>
                  </a:lnTo>
                  <a:lnTo>
                    <a:pt x="78232" y="255270"/>
                  </a:lnTo>
                  <a:lnTo>
                    <a:pt x="71615" y="252730"/>
                  </a:lnTo>
                  <a:lnTo>
                    <a:pt x="65151" y="251460"/>
                  </a:lnTo>
                  <a:lnTo>
                    <a:pt x="31013" y="231140"/>
                  </a:lnTo>
                  <a:lnTo>
                    <a:pt x="22504" y="224790"/>
                  </a:lnTo>
                  <a:lnTo>
                    <a:pt x="23825" y="223520"/>
                  </a:lnTo>
                  <a:lnTo>
                    <a:pt x="33096" y="214630"/>
                  </a:lnTo>
                  <a:lnTo>
                    <a:pt x="42989" y="204470"/>
                  </a:lnTo>
                  <a:lnTo>
                    <a:pt x="69519" y="170180"/>
                  </a:lnTo>
                  <a:lnTo>
                    <a:pt x="92379" y="132080"/>
                  </a:lnTo>
                  <a:lnTo>
                    <a:pt x="107327" y="100330"/>
                  </a:lnTo>
                  <a:lnTo>
                    <a:pt x="111925" y="90170"/>
                  </a:lnTo>
                  <a:lnTo>
                    <a:pt x="117944" y="102870"/>
                  </a:lnTo>
                  <a:lnTo>
                    <a:pt x="121005" y="109220"/>
                  </a:lnTo>
                  <a:lnTo>
                    <a:pt x="124117" y="115570"/>
                  </a:lnTo>
                  <a:lnTo>
                    <a:pt x="129705" y="125730"/>
                  </a:lnTo>
                  <a:lnTo>
                    <a:pt x="135445" y="137160"/>
                  </a:lnTo>
                  <a:lnTo>
                    <a:pt x="141363" y="147320"/>
                  </a:lnTo>
                  <a:lnTo>
                    <a:pt x="147459" y="158750"/>
                  </a:lnTo>
                  <a:lnTo>
                    <a:pt x="153797" y="168910"/>
                  </a:lnTo>
                  <a:lnTo>
                    <a:pt x="160375" y="179070"/>
                  </a:lnTo>
                  <a:lnTo>
                    <a:pt x="167246" y="189230"/>
                  </a:lnTo>
                  <a:lnTo>
                    <a:pt x="174447" y="199390"/>
                  </a:lnTo>
                  <a:lnTo>
                    <a:pt x="175628" y="200660"/>
                  </a:lnTo>
                  <a:lnTo>
                    <a:pt x="175628" y="198996"/>
                  </a:lnTo>
                  <a:lnTo>
                    <a:pt x="174688" y="196850"/>
                  </a:lnTo>
                  <a:lnTo>
                    <a:pt x="172250" y="193040"/>
                  </a:lnTo>
                  <a:lnTo>
                    <a:pt x="171437" y="191770"/>
                  </a:lnTo>
                  <a:lnTo>
                    <a:pt x="169354" y="188252"/>
                  </a:lnTo>
                  <a:lnTo>
                    <a:pt x="169354" y="190284"/>
                  </a:lnTo>
                  <a:lnTo>
                    <a:pt x="165188" y="184124"/>
                  </a:lnTo>
                  <a:lnTo>
                    <a:pt x="159423" y="176530"/>
                  </a:lnTo>
                  <a:lnTo>
                    <a:pt x="153847" y="167640"/>
                  </a:lnTo>
                  <a:lnTo>
                    <a:pt x="148450" y="157480"/>
                  </a:lnTo>
                  <a:lnTo>
                    <a:pt x="142367" y="147320"/>
                  </a:lnTo>
                  <a:lnTo>
                    <a:pt x="136474" y="137160"/>
                  </a:lnTo>
                  <a:lnTo>
                    <a:pt x="130746" y="125730"/>
                  </a:lnTo>
                  <a:lnTo>
                    <a:pt x="125183" y="114300"/>
                  </a:lnTo>
                  <a:lnTo>
                    <a:pt x="121970" y="107950"/>
                  </a:lnTo>
                  <a:lnTo>
                    <a:pt x="115671" y="95250"/>
                  </a:lnTo>
                  <a:lnTo>
                    <a:pt x="113195" y="90170"/>
                  </a:lnTo>
                  <a:lnTo>
                    <a:pt x="112572" y="88900"/>
                  </a:lnTo>
                  <a:lnTo>
                    <a:pt x="113068" y="87630"/>
                  </a:lnTo>
                  <a:lnTo>
                    <a:pt x="115506" y="81280"/>
                  </a:lnTo>
                  <a:lnTo>
                    <a:pt x="116941" y="78740"/>
                  </a:lnTo>
                  <a:lnTo>
                    <a:pt x="124904" y="97790"/>
                  </a:lnTo>
                  <a:lnTo>
                    <a:pt x="133121" y="116840"/>
                  </a:lnTo>
                  <a:lnTo>
                    <a:pt x="141681" y="135890"/>
                  </a:lnTo>
                  <a:lnTo>
                    <a:pt x="150660" y="154940"/>
                  </a:lnTo>
                  <a:lnTo>
                    <a:pt x="155409" y="163830"/>
                  </a:lnTo>
                  <a:lnTo>
                    <a:pt x="160299" y="173990"/>
                  </a:lnTo>
                  <a:lnTo>
                    <a:pt x="165379" y="182880"/>
                  </a:lnTo>
                  <a:lnTo>
                    <a:pt x="169354" y="190284"/>
                  </a:lnTo>
                  <a:lnTo>
                    <a:pt x="169354" y="188252"/>
                  </a:lnTo>
                  <a:lnTo>
                    <a:pt x="166179" y="182880"/>
                  </a:lnTo>
                  <a:lnTo>
                    <a:pt x="161124" y="173990"/>
                  </a:lnTo>
                  <a:lnTo>
                    <a:pt x="156248" y="163830"/>
                  </a:lnTo>
                  <a:lnTo>
                    <a:pt x="151511" y="154940"/>
                  </a:lnTo>
                  <a:lnTo>
                    <a:pt x="142544" y="135890"/>
                  </a:lnTo>
                  <a:lnTo>
                    <a:pt x="133985" y="116840"/>
                  </a:lnTo>
                  <a:lnTo>
                    <a:pt x="125768" y="96520"/>
                  </a:lnTo>
                  <a:lnTo>
                    <a:pt x="118351" y="78740"/>
                  </a:lnTo>
                  <a:lnTo>
                    <a:pt x="117817" y="77470"/>
                  </a:lnTo>
                  <a:lnTo>
                    <a:pt x="117817" y="74930"/>
                  </a:lnTo>
                  <a:lnTo>
                    <a:pt x="119684" y="74930"/>
                  </a:lnTo>
                  <a:lnTo>
                    <a:pt x="119684" y="73660"/>
                  </a:lnTo>
                  <a:lnTo>
                    <a:pt x="119392" y="72390"/>
                  </a:lnTo>
                  <a:lnTo>
                    <a:pt x="118922" y="72390"/>
                  </a:lnTo>
                  <a:lnTo>
                    <a:pt x="118770" y="71120"/>
                  </a:lnTo>
                  <a:lnTo>
                    <a:pt x="119303" y="71120"/>
                  </a:lnTo>
                  <a:lnTo>
                    <a:pt x="119684" y="69850"/>
                  </a:lnTo>
                  <a:lnTo>
                    <a:pt x="119392" y="68580"/>
                  </a:lnTo>
                  <a:lnTo>
                    <a:pt x="118922" y="68580"/>
                  </a:lnTo>
                  <a:lnTo>
                    <a:pt x="118770" y="67310"/>
                  </a:lnTo>
                  <a:lnTo>
                    <a:pt x="119303" y="67310"/>
                  </a:lnTo>
                  <a:lnTo>
                    <a:pt x="119684" y="66040"/>
                  </a:lnTo>
                  <a:lnTo>
                    <a:pt x="119684" y="64770"/>
                  </a:lnTo>
                  <a:lnTo>
                    <a:pt x="118973" y="64770"/>
                  </a:lnTo>
                  <a:lnTo>
                    <a:pt x="118922" y="63500"/>
                  </a:lnTo>
                  <a:lnTo>
                    <a:pt x="119303" y="63500"/>
                  </a:lnTo>
                  <a:lnTo>
                    <a:pt x="119684" y="62230"/>
                  </a:lnTo>
                  <a:lnTo>
                    <a:pt x="119684" y="60960"/>
                  </a:lnTo>
                  <a:lnTo>
                    <a:pt x="118973" y="60960"/>
                  </a:lnTo>
                  <a:lnTo>
                    <a:pt x="118922" y="59690"/>
                  </a:lnTo>
                  <a:lnTo>
                    <a:pt x="118770" y="59690"/>
                  </a:lnTo>
                  <a:lnTo>
                    <a:pt x="118541" y="58420"/>
                  </a:lnTo>
                  <a:lnTo>
                    <a:pt x="119684" y="58420"/>
                  </a:lnTo>
                  <a:lnTo>
                    <a:pt x="119684" y="57150"/>
                  </a:lnTo>
                  <a:lnTo>
                    <a:pt x="118973" y="57150"/>
                  </a:lnTo>
                  <a:lnTo>
                    <a:pt x="118922" y="55880"/>
                  </a:lnTo>
                  <a:lnTo>
                    <a:pt x="118770" y="55880"/>
                  </a:lnTo>
                  <a:lnTo>
                    <a:pt x="118541" y="54610"/>
                  </a:lnTo>
                  <a:lnTo>
                    <a:pt x="119684" y="54610"/>
                  </a:lnTo>
                  <a:lnTo>
                    <a:pt x="119684" y="53340"/>
                  </a:lnTo>
                  <a:lnTo>
                    <a:pt x="118973" y="53340"/>
                  </a:lnTo>
                  <a:lnTo>
                    <a:pt x="118922" y="52070"/>
                  </a:lnTo>
                  <a:lnTo>
                    <a:pt x="118770" y="50800"/>
                  </a:lnTo>
                  <a:lnTo>
                    <a:pt x="119684" y="50800"/>
                  </a:lnTo>
                  <a:lnTo>
                    <a:pt x="119684" y="49530"/>
                  </a:lnTo>
                  <a:lnTo>
                    <a:pt x="119392" y="48260"/>
                  </a:lnTo>
                  <a:lnTo>
                    <a:pt x="118922" y="48260"/>
                  </a:lnTo>
                  <a:lnTo>
                    <a:pt x="118770" y="46990"/>
                  </a:lnTo>
                  <a:lnTo>
                    <a:pt x="119684" y="46990"/>
                  </a:lnTo>
                  <a:lnTo>
                    <a:pt x="119684" y="45720"/>
                  </a:lnTo>
                  <a:lnTo>
                    <a:pt x="119392" y="44450"/>
                  </a:lnTo>
                  <a:lnTo>
                    <a:pt x="118922" y="44450"/>
                  </a:lnTo>
                  <a:lnTo>
                    <a:pt x="118770" y="43180"/>
                  </a:lnTo>
                  <a:lnTo>
                    <a:pt x="119303" y="43180"/>
                  </a:lnTo>
                  <a:lnTo>
                    <a:pt x="119684" y="41910"/>
                  </a:lnTo>
                  <a:lnTo>
                    <a:pt x="119684" y="40640"/>
                  </a:lnTo>
                  <a:lnTo>
                    <a:pt x="118973" y="40640"/>
                  </a:lnTo>
                  <a:lnTo>
                    <a:pt x="118922" y="39370"/>
                  </a:lnTo>
                  <a:lnTo>
                    <a:pt x="119303" y="39370"/>
                  </a:lnTo>
                  <a:lnTo>
                    <a:pt x="119684" y="38100"/>
                  </a:lnTo>
                  <a:lnTo>
                    <a:pt x="119684" y="36830"/>
                  </a:lnTo>
                  <a:lnTo>
                    <a:pt x="118973" y="36830"/>
                  </a:lnTo>
                  <a:lnTo>
                    <a:pt x="118884" y="35560"/>
                  </a:lnTo>
                  <a:lnTo>
                    <a:pt x="118516" y="34290"/>
                  </a:lnTo>
                  <a:lnTo>
                    <a:pt x="117817" y="34290"/>
                  </a:lnTo>
                  <a:lnTo>
                    <a:pt x="117817" y="33020"/>
                  </a:lnTo>
                  <a:lnTo>
                    <a:pt x="134010" y="34290"/>
                  </a:lnTo>
                  <a:lnTo>
                    <a:pt x="147193" y="34290"/>
                  </a:lnTo>
                  <a:lnTo>
                    <a:pt x="185928" y="157480"/>
                  </a:lnTo>
                  <a:lnTo>
                    <a:pt x="195834" y="166370"/>
                  </a:lnTo>
                  <a:lnTo>
                    <a:pt x="195834" y="162814"/>
                  </a:lnTo>
                  <a:lnTo>
                    <a:pt x="190309" y="157480"/>
                  </a:lnTo>
                  <a:lnTo>
                    <a:pt x="199682" y="157480"/>
                  </a:lnTo>
                  <a:lnTo>
                    <a:pt x="199682" y="154940"/>
                  </a:lnTo>
                  <a:lnTo>
                    <a:pt x="189357" y="154940"/>
                  </a:lnTo>
                  <a:lnTo>
                    <a:pt x="190246" y="153670"/>
                  </a:lnTo>
                  <a:lnTo>
                    <a:pt x="198272" y="142240"/>
                  </a:lnTo>
                  <a:lnTo>
                    <a:pt x="204571" y="147320"/>
                  </a:lnTo>
                  <a:lnTo>
                    <a:pt x="204571" y="143992"/>
                  </a:lnTo>
                  <a:lnTo>
                    <a:pt x="202323" y="142240"/>
                  </a:lnTo>
                  <a:lnTo>
                    <a:pt x="196380" y="137629"/>
                  </a:lnTo>
                  <a:lnTo>
                    <a:pt x="196380" y="140970"/>
                  </a:lnTo>
                  <a:lnTo>
                    <a:pt x="187464" y="153670"/>
                  </a:lnTo>
                  <a:lnTo>
                    <a:pt x="179082" y="127000"/>
                  </a:lnTo>
                  <a:lnTo>
                    <a:pt x="196380" y="140970"/>
                  </a:lnTo>
                  <a:lnTo>
                    <a:pt x="196380" y="137629"/>
                  </a:lnTo>
                  <a:lnTo>
                    <a:pt x="182702" y="127000"/>
                  </a:lnTo>
                  <a:lnTo>
                    <a:pt x="177800" y="123190"/>
                  </a:lnTo>
                  <a:lnTo>
                    <a:pt x="160401" y="67310"/>
                  </a:lnTo>
                  <a:lnTo>
                    <a:pt x="162445" y="64770"/>
                  </a:lnTo>
                  <a:lnTo>
                    <a:pt x="168554" y="57150"/>
                  </a:lnTo>
                  <a:lnTo>
                    <a:pt x="194843" y="96520"/>
                  </a:lnTo>
                  <a:lnTo>
                    <a:pt x="215417" y="120650"/>
                  </a:lnTo>
                  <a:lnTo>
                    <a:pt x="215417" y="119214"/>
                  </a:lnTo>
                  <a:lnTo>
                    <a:pt x="211988" y="116840"/>
                  </a:lnTo>
                  <a:lnTo>
                    <a:pt x="208495" y="113030"/>
                  </a:lnTo>
                  <a:lnTo>
                    <a:pt x="205117" y="107950"/>
                  </a:lnTo>
                  <a:lnTo>
                    <a:pt x="195326" y="96520"/>
                  </a:lnTo>
                  <a:lnTo>
                    <a:pt x="186131" y="83820"/>
                  </a:lnTo>
                  <a:lnTo>
                    <a:pt x="177406" y="69850"/>
                  </a:lnTo>
                  <a:lnTo>
                    <a:pt x="169049" y="57150"/>
                  </a:lnTo>
                  <a:lnTo>
                    <a:pt x="171132" y="54610"/>
                  </a:lnTo>
                  <a:lnTo>
                    <a:pt x="175298" y="49530"/>
                  </a:lnTo>
                  <a:lnTo>
                    <a:pt x="181546" y="41910"/>
                  </a:lnTo>
                  <a:lnTo>
                    <a:pt x="187629" y="34290"/>
                  </a:lnTo>
                  <a:lnTo>
                    <a:pt x="202526" y="34290"/>
                  </a:lnTo>
                  <a:lnTo>
                    <a:pt x="208394" y="39370"/>
                  </a:lnTo>
                  <a:lnTo>
                    <a:pt x="211810" y="41910"/>
                  </a:lnTo>
                  <a:lnTo>
                    <a:pt x="214477" y="43180"/>
                  </a:lnTo>
                  <a:lnTo>
                    <a:pt x="220814" y="48260"/>
                  </a:lnTo>
                  <a:lnTo>
                    <a:pt x="227431" y="52070"/>
                  </a:lnTo>
                  <a:lnTo>
                    <a:pt x="229006" y="52070"/>
                  </a:lnTo>
                  <a:lnTo>
                    <a:pt x="228892" y="53340"/>
                  </a:lnTo>
                  <a:lnTo>
                    <a:pt x="228371" y="53340"/>
                  </a:lnTo>
                  <a:lnTo>
                    <a:pt x="228066" y="54610"/>
                  </a:lnTo>
                  <a:lnTo>
                    <a:pt x="228066" y="55880"/>
                  </a:lnTo>
                  <a:lnTo>
                    <a:pt x="228968" y="55880"/>
                  </a:lnTo>
                  <a:lnTo>
                    <a:pt x="228841" y="57150"/>
                  </a:lnTo>
                  <a:lnTo>
                    <a:pt x="228371" y="58420"/>
                  </a:lnTo>
                  <a:lnTo>
                    <a:pt x="228066" y="58420"/>
                  </a:lnTo>
                  <a:lnTo>
                    <a:pt x="228066" y="59690"/>
                  </a:lnTo>
                  <a:lnTo>
                    <a:pt x="229209" y="59690"/>
                  </a:lnTo>
                  <a:lnTo>
                    <a:pt x="228968" y="60960"/>
                  </a:lnTo>
                  <a:lnTo>
                    <a:pt x="228841" y="60960"/>
                  </a:lnTo>
                  <a:lnTo>
                    <a:pt x="228777" y="62230"/>
                  </a:lnTo>
                  <a:lnTo>
                    <a:pt x="228066" y="62230"/>
                  </a:lnTo>
                  <a:lnTo>
                    <a:pt x="228066" y="63500"/>
                  </a:lnTo>
                  <a:lnTo>
                    <a:pt x="229209" y="63500"/>
                  </a:lnTo>
                  <a:lnTo>
                    <a:pt x="228968" y="64770"/>
                  </a:lnTo>
                  <a:lnTo>
                    <a:pt x="228841" y="64770"/>
                  </a:lnTo>
                  <a:lnTo>
                    <a:pt x="228777" y="66040"/>
                  </a:lnTo>
                  <a:lnTo>
                    <a:pt x="228066" y="66040"/>
                  </a:lnTo>
                  <a:lnTo>
                    <a:pt x="228066" y="67310"/>
                  </a:lnTo>
                  <a:lnTo>
                    <a:pt x="229209" y="67310"/>
                  </a:lnTo>
                  <a:lnTo>
                    <a:pt x="228968" y="68580"/>
                  </a:lnTo>
                  <a:lnTo>
                    <a:pt x="228841" y="68580"/>
                  </a:lnTo>
                  <a:lnTo>
                    <a:pt x="228777" y="69850"/>
                  </a:lnTo>
                  <a:lnTo>
                    <a:pt x="228066" y="69850"/>
                  </a:lnTo>
                  <a:lnTo>
                    <a:pt x="228066" y="71120"/>
                  </a:lnTo>
                  <a:lnTo>
                    <a:pt x="228447" y="72390"/>
                  </a:lnTo>
                  <a:lnTo>
                    <a:pt x="228968" y="72390"/>
                  </a:lnTo>
                  <a:lnTo>
                    <a:pt x="228841" y="73660"/>
                  </a:lnTo>
                  <a:lnTo>
                    <a:pt x="228371" y="73660"/>
                  </a:lnTo>
                  <a:lnTo>
                    <a:pt x="228066" y="74930"/>
                  </a:lnTo>
                  <a:lnTo>
                    <a:pt x="228447" y="76200"/>
                  </a:lnTo>
                  <a:lnTo>
                    <a:pt x="229933" y="76200"/>
                  </a:lnTo>
                  <a:lnTo>
                    <a:pt x="229933" y="78740"/>
                  </a:lnTo>
                  <a:lnTo>
                    <a:pt x="229946" y="31750"/>
                  </a:lnTo>
                  <a:lnTo>
                    <a:pt x="229933" y="34290"/>
                  </a:lnTo>
                  <a:lnTo>
                    <a:pt x="229235" y="35560"/>
                  </a:lnTo>
                  <a:lnTo>
                    <a:pt x="228879" y="36830"/>
                  </a:lnTo>
                  <a:lnTo>
                    <a:pt x="228777" y="38100"/>
                  </a:lnTo>
                  <a:lnTo>
                    <a:pt x="228066" y="38100"/>
                  </a:lnTo>
                  <a:lnTo>
                    <a:pt x="228066" y="39370"/>
                  </a:lnTo>
                  <a:lnTo>
                    <a:pt x="229209" y="39370"/>
                  </a:lnTo>
                  <a:lnTo>
                    <a:pt x="228968" y="40640"/>
                  </a:lnTo>
                  <a:lnTo>
                    <a:pt x="228841" y="40640"/>
                  </a:lnTo>
                  <a:lnTo>
                    <a:pt x="228803" y="41910"/>
                  </a:lnTo>
                  <a:lnTo>
                    <a:pt x="228066" y="41910"/>
                  </a:lnTo>
                  <a:lnTo>
                    <a:pt x="228066" y="43180"/>
                  </a:lnTo>
                  <a:lnTo>
                    <a:pt x="229209" y="43180"/>
                  </a:lnTo>
                  <a:lnTo>
                    <a:pt x="228968" y="44450"/>
                  </a:lnTo>
                  <a:lnTo>
                    <a:pt x="228841" y="44450"/>
                  </a:lnTo>
                  <a:lnTo>
                    <a:pt x="228777" y="45720"/>
                  </a:lnTo>
                  <a:lnTo>
                    <a:pt x="228066" y="45720"/>
                  </a:lnTo>
                  <a:lnTo>
                    <a:pt x="228066" y="46990"/>
                  </a:lnTo>
                  <a:lnTo>
                    <a:pt x="228447" y="48260"/>
                  </a:lnTo>
                  <a:lnTo>
                    <a:pt x="228968" y="48260"/>
                  </a:lnTo>
                  <a:lnTo>
                    <a:pt x="228841" y="49530"/>
                  </a:lnTo>
                  <a:lnTo>
                    <a:pt x="228371" y="49530"/>
                  </a:lnTo>
                  <a:lnTo>
                    <a:pt x="228066" y="50800"/>
                  </a:lnTo>
                  <a:lnTo>
                    <a:pt x="227838" y="50800"/>
                  </a:lnTo>
                  <a:lnTo>
                    <a:pt x="221488" y="46990"/>
                  </a:lnTo>
                  <a:lnTo>
                    <a:pt x="215392" y="43180"/>
                  </a:lnTo>
                  <a:lnTo>
                    <a:pt x="213245" y="41910"/>
                  </a:lnTo>
                  <a:lnTo>
                    <a:pt x="209537" y="38100"/>
                  </a:lnTo>
                  <a:lnTo>
                    <a:pt x="203873" y="34290"/>
                  </a:lnTo>
                  <a:lnTo>
                    <a:pt x="229933" y="34290"/>
                  </a:lnTo>
                  <a:lnTo>
                    <a:pt x="229933" y="31750"/>
                  </a:lnTo>
                  <a:lnTo>
                    <a:pt x="201104" y="31750"/>
                  </a:lnTo>
                  <a:lnTo>
                    <a:pt x="198666" y="29210"/>
                  </a:lnTo>
                  <a:lnTo>
                    <a:pt x="196278" y="26670"/>
                  </a:lnTo>
                  <a:lnTo>
                    <a:pt x="193954" y="24130"/>
                  </a:lnTo>
                  <a:lnTo>
                    <a:pt x="186461" y="16510"/>
                  </a:lnTo>
                  <a:lnTo>
                    <a:pt x="185737" y="16510"/>
                  </a:lnTo>
                  <a:lnTo>
                    <a:pt x="184708" y="16624"/>
                  </a:lnTo>
                  <a:lnTo>
                    <a:pt x="185775" y="17780"/>
                  </a:lnTo>
                  <a:lnTo>
                    <a:pt x="193306" y="25400"/>
                  </a:lnTo>
                  <a:lnTo>
                    <a:pt x="195427" y="26670"/>
                  </a:lnTo>
                  <a:lnTo>
                    <a:pt x="197586" y="29210"/>
                  </a:lnTo>
                  <a:lnTo>
                    <a:pt x="199783" y="31750"/>
                  </a:lnTo>
                  <a:lnTo>
                    <a:pt x="184531" y="31750"/>
                  </a:lnTo>
                  <a:lnTo>
                    <a:pt x="184531" y="34290"/>
                  </a:lnTo>
                  <a:lnTo>
                    <a:pt x="178447" y="41910"/>
                  </a:lnTo>
                  <a:lnTo>
                    <a:pt x="171716" y="49530"/>
                  </a:lnTo>
                  <a:lnTo>
                    <a:pt x="170192" y="48437"/>
                  </a:lnTo>
                  <a:lnTo>
                    <a:pt x="170192" y="52070"/>
                  </a:lnTo>
                  <a:lnTo>
                    <a:pt x="167690" y="54610"/>
                  </a:lnTo>
                  <a:lnTo>
                    <a:pt x="167208" y="53771"/>
                  </a:lnTo>
                  <a:lnTo>
                    <a:pt x="167208" y="55880"/>
                  </a:lnTo>
                  <a:lnTo>
                    <a:pt x="159524" y="64770"/>
                  </a:lnTo>
                  <a:lnTo>
                    <a:pt x="152095" y="41910"/>
                  </a:lnTo>
                  <a:lnTo>
                    <a:pt x="150393" y="35560"/>
                  </a:lnTo>
                  <a:lnTo>
                    <a:pt x="157213" y="41910"/>
                  </a:lnTo>
                  <a:lnTo>
                    <a:pt x="160312" y="44450"/>
                  </a:lnTo>
                  <a:lnTo>
                    <a:pt x="164541" y="50800"/>
                  </a:lnTo>
                  <a:lnTo>
                    <a:pt x="167208" y="55880"/>
                  </a:lnTo>
                  <a:lnTo>
                    <a:pt x="167208" y="53771"/>
                  </a:lnTo>
                  <a:lnTo>
                    <a:pt x="165519" y="50800"/>
                  </a:lnTo>
                  <a:lnTo>
                    <a:pt x="161988" y="45720"/>
                  </a:lnTo>
                  <a:lnTo>
                    <a:pt x="170192" y="52070"/>
                  </a:lnTo>
                  <a:lnTo>
                    <a:pt x="170192" y="48437"/>
                  </a:lnTo>
                  <a:lnTo>
                    <a:pt x="166433" y="45720"/>
                  </a:lnTo>
                  <a:lnTo>
                    <a:pt x="161150" y="41910"/>
                  </a:lnTo>
                  <a:lnTo>
                    <a:pt x="158546" y="39370"/>
                  </a:lnTo>
                  <a:lnTo>
                    <a:pt x="157759" y="38100"/>
                  </a:lnTo>
                  <a:lnTo>
                    <a:pt x="156921" y="36753"/>
                  </a:lnTo>
                  <a:lnTo>
                    <a:pt x="156921" y="38100"/>
                  </a:lnTo>
                  <a:lnTo>
                    <a:pt x="153352" y="35560"/>
                  </a:lnTo>
                  <a:lnTo>
                    <a:pt x="151574" y="34290"/>
                  </a:lnTo>
                  <a:lnTo>
                    <a:pt x="154495" y="34290"/>
                  </a:lnTo>
                  <a:lnTo>
                    <a:pt x="156921" y="38100"/>
                  </a:lnTo>
                  <a:lnTo>
                    <a:pt x="156921" y="36753"/>
                  </a:lnTo>
                  <a:lnTo>
                    <a:pt x="155397" y="34290"/>
                  </a:lnTo>
                  <a:lnTo>
                    <a:pt x="184531" y="34290"/>
                  </a:lnTo>
                  <a:lnTo>
                    <a:pt x="184531" y="31750"/>
                  </a:lnTo>
                  <a:lnTo>
                    <a:pt x="153987" y="31750"/>
                  </a:lnTo>
                  <a:lnTo>
                    <a:pt x="150025" y="24130"/>
                  </a:lnTo>
                  <a:lnTo>
                    <a:pt x="147967" y="20650"/>
                  </a:lnTo>
                  <a:lnTo>
                    <a:pt x="147154" y="20739"/>
                  </a:lnTo>
                  <a:lnTo>
                    <a:pt x="149910" y="25476"/>
                  </a:lnTo>
                  <a:lnTo>
                    <a:pt x="153085" y="31750"/>
                  </a:lnTo>
                  <a:lnTo>
                    <a:pt x="148945" y="31750"/>
                  </a:lnTo>
                  <a:lnTo>
                    <a:pt x="145719" y="20891"/>
                  </a:lnTo>
                  <a:lnTo>
                    <a:pt x="143357" y="21158"/>
                  </a:lnTo>
                  <a:lnTo>
                    <a:pt x="146431" y="31750"/>
                  </a:lnTo>
                  <a:lnTo>
                    <a:pt x="115227" y="31750"/>
                  </a:lnTo>
                  <a:lnTo>
                    <a:pt x="114668" y="30480"/>
                  </a:lnTo>
                  <a:lnTo>
                    <a:pt x="114134" y="33020"/>
                  </a:lnTo>
                  <a:lnTo>
                    <a:pt x="116306" y="33020"/>
                  </a:lnTo>
                  <a:lnTo>
                    <a:pt x="116306" y="34290"/>
                  </a:lnTo>
                  <a:lnTo>
                    <a:pt x="115608" y="34290"/>
                  </a:lnTo>
                  <a:lnTo>
                    <a:pt x="115239" y="35560"/>
                  </a:lnTo>
                  <a:lnTo>
                    <a:pt x="115150" y="36830"/>
                  </a:lnTo>
                  <a:lnTo>
                    <a:pt x="114427" y="36830"/>
                  </a:lnTo>
                  <a:lnTo>
                    <a:pt x="114427" y="38100"/>
                  </a:lnTo>
                  <a:lnTo>
                    <a:pt x="114820" y="39370"/>
                  </a:lnTo>
                  <a:lnTo>
                    <a:pt x="115201" y="39370"/>
                  </a:lnTo>
                  <a:lnTo>
                    <a:pt x="115150" y="40640"/>
                  </a:lnTo>
                  <a:lnTo>
                    <a:pt x="114427" y="40640"/>
                  </a:lnTo>
                  <a:lnTo>
                    <a:pt x="114427" y="41910"/>
                  </a:lnTo>
                  <a:lnTo>
                    <a:pt x="114820" y="43180"/>
                  </a:lnTo>
                  <a:lnTo>
                    <a:pt x="115341" y="43180"/>
                  </a:lnTo>
                  <a:lnTo>
                    <a:pt x="115201" y="44450"/>
                  </a:lnTo>
                  <a:lnTo>
                    <a:pt x="114731" y="44450"/>
                  </a:lnTo>
                  <a:lnTo>
                    <a:pt x="114427" y="45720"/>
                  </a:lnTo>
                  <a:lnTo>
                    <a:pt x="114427" y="46990"/>
                  </a:lnTo>
                  <a:lnTo>
                    <a:pt x="115341" y="46990"/>
                  </a:lnTo>
                  <a:lnTo>
                    <a:pt x="115201" y="48260"/>
                  </a:lnTo>
                  <a:lnTo>
                    <a:pt x="114731" y="48260"/>
                  </a:lnTo>
                  <a:lnTo>
                    <a:pt x="114427" y="49530"/>
                  </a:lnTo>
                  <a:lnTo>
                    <a:pt x="114427" y="50800"/>
                  </a:lnTo>
                  <a:lnTo>
                    <a:pt x="115341" y="50800"/>
                  </a:lnTo>
                  <a:lnTo>
                    <a:pt x="115201" y="52070"/>
                  </a:lnTo>
                  <a:lnTo>
                    <a:pt x="115150" y="53340"/>
                  </a:lnTo>
                  <a:lnTo>
                    <a:pt x="114427" y="53340"/>
                  </a:lnTo>
                  <a:lnTo>
                    <a:pt x="114427" y="54610"/>
                  </a:lnTo>
                  <a:lnTo>
                    <a:pt x="115570" y="54610"/>
                  </a:lnTo>
                  <a:lnTo>
                    <a:pt x="115341" y="55880"/>
                  </a:lnTo>
                  <a:lnTo>
                    <a:pt x="115201" y="55880"/>
                  </a:lnTo>
                  <a:lnTo>
                    <a:pt x="115150" y="57150"/>
                  </a:lnTo>
                  <a:lnTo>
                    <a:pt x="114427" y="57150"/>
                  </a:lnTo>
                  <a:lnTo>
                    <a:pt x="114427" y="58420"/>
                  </a:lnTo>
                  <a:lnTo>
                    <a:pt x="115570" y="58420"/>
                  </a:lnTo>
                  <a:lnTo>
                    <a:pt x="115341" y="59690"/>
                  </a:lnTo>
                  <a:lnTo>
                    <a:pt x="115201" y="59690"/>
                  </a:lnTo>
                  <a:lnTo>
                    <a:pt x="115150" y="60960"/>
                  </a:lnTo>
                  <a:lnTo>
                    <a:pt x="114427" y="60960"/>
                  </a:lnTo>
                  <a:lnTo>
                    <a:pt x="114427" y="62230"/>
                  </a:lnTo>
                  <a:lnTo>
                    <a:pt x="114820" y="63500"/>
                  </a:lnTo>
                  <a:lnTo>
                    <a:pt x="115201" y="63500"/>
                  </a:lnTo>
                  <a:lnTo>
                    <a:pt x="115150" y="64770"/>
                  </a:lnTo>
                  <a:lnTo>
                    <a:pt x="114427" y="64770"/>
                  </a:lnTo>
                  <a:lnTo>
                    <a:pt x="114427" y="66040"/>
                  </a:lnTo>
                  <a:lnTo>
                    <a:pt x="114820" y="67310"/>
                  </a:lnTo>
                  <a:lnTo>
                    <a:pt x="115341" y="67310"/>
                  </a:lnTo>
                  <a:lnTo>
                    <a:pt x="115201" y="68580"/>
                  </a:lnTo>
                  <a:lnTo>
                    <a:pt x="114731" y="68580"/>
                  </a:lnTo>
                  <a:lnTo>
                    <a:pt x="114427" y="69850"/>
                  </a:lnTo>
                  <a:lnTo>
                    <a:pt x="114820" y="71120"/>
                  </a:lnTo>
                  <a:lnTo>
                    <a:pt x="115341" y="71120"/>
                  </a:lnTo>
                  <a:lnTo>
                    <a:pt x="115201" y="72390"/>
                  </a:lnTo>
                  <a:lnTo>
                    <a:pt x="114731" y="72390"/>
                  </a:lnTo>
                  <a:lnTo>
                    <a:pt x="114427" y="73660"/>
                  </a:lnTo>
                  <a:lnTo>
                    <a:pt x="114427" y="74930"/>
                  </a:lnTo>
                  <a:lnTo>
                    <a:pt x="116306" y="74930"/>
                  </a:lnTo>
                  <a:lnTo>
                    <a:pt x="116306" y="77470"/>
                  </a:lnTo>
                  <a:lnTo>
                    <a:pt x="114884" y="80010"/>
                  </a:lnTo>
                  <a:lnTo>
                    <a:pt x="111950" y="87630"/>
                  </a:lnTo>
                  <a:lnTo>
                    <a:pt x="106083" y="74930"/>
                  </a:lnTo>
                  <a:lnTo>
                    <a:pt x="100355" y="62230"/>
                  </a:lnTo>
                  <a:lnTo>
                    <a:pt x="94729" y="49530"/>
                  </a:lnTo>
                  <a:lnTo>
                    <a:pt x="91490" y="41910"/>
                  </a:lnTo>
                  <a:lnTo>
                    <a:pt x="89674" y="36830"/>
                  </a:lnTo>
                  <a:lnTo>
                    <a:pt x="89217" y="35560"/>
                  </a:lnTo>
                  <a:lnTo>
                    <a:pt x="94246" y="33020"/>
                  </a:lnTo>
                  <a:lnTo>
                    <a:pt x="96685" y="31750"/>
                  </a:lnTo>
                  <a:lnTo>
                    <a:pt x="105765" y="25400"/>
                  </a:lnTo>
                  <a:lnTo>
                    <a:pt x="111099" y="24676"/>
                  </a:lnTo>
                  <a:lnTo>
                    <a:pt x="103784" y="25476"/>
                  </a:lnTo>
                  <a:lnTo>
                    <a:pt x="96177" y="30480"/>
                  </a:lnTo>
                  <a:lnTo>
                    <a:pt x="93789" y="31750"/>
                  </a:lnTo>
                  <a:lnTo>
                    <a:pt x="91338" y="34290"/>
                  </a:lnTo>
                  <a:lnTo>
                    <a:pt x="88836" y="35560"/>
                  </a:lnTo>
                  <a:lnTo>
                    <a:pt x="87452" y="31750"/>
                  </a:lnTo>
                  <a:lnTo>
                    <a:pt x="86017" y="29210"/>
                  </a:lnTo>
                  <a:lnTo>
                    <a:pt x="85483" y="27940"/>
                  </a:lnTo>
                  <a:lnTo>
                    <a:pt x="101676" y="25717"/>
                  </a:lnTo>
                  <a:lnTo>
                    <a:pt x="0" y="36830"/>
                  </a:lnTo>
                  <a:lnTo>
                    <a:pt x="84137" y="27940"/>
                  </a:lnTo>
                  <a:lnTo>
                    <a:pt x="84836" y="29210"/>
                  </a:lnTo>
                  <a:lnTo>
                    <a:pt x="86283" y="33020"/>
                  </a:lnTo>
                  <a:lnTo>
                    <a:pt x="87693" y="35560"/>
                  </a:lnTo>
                  <a:lnTo>
                    <a:pt x="78409" y="40640"/>
                  </a:lnTo>
                  <a:lnTo>
                    <a:pt x="76136" y="41910"/>
                  </a:lnTo>
                  <a:lnTo>
                    <a:pt x="68783" y="44450"/>
                  </a:lnTo>
                  <a:lnTo>
                    <a:pt x="48704" y="49530"/>
                  </a:lnTo>
                  <a:lnTo>
                    <a:pt x="35941" y="50800"/>
                  </a:lnTo>
                  <a:lnTo>
                    <a:pt x="23088" y="50800"/>
                  </a:lnTo>
                  <a:lnTo>
                    <a:pt x="10299" y="49530"/>
                  </a:lnTo>
                  <a:lnTo>
                    <a:pt x="0" y="48260"/>
                  </a:lnTo>
                  <a:lnTo>
                    <a:pt x="10147" y="50800"/>
                  </a:lnTo>
                  <a:lnTo>
                    <a:pt x="23050" y="52070"/>
                  </a:lnTo>
                  <a:lnTo>
                    <a:pt x="35991" y="52070"/>
                  </a:lnTo>
                  <a:lnTo>
                    <a:pt x="48869" y="50800"/>
                  </a:lnTo>
                  <a:lnTo>
                    <a:pt x="69062" y="45720"/>
                  </a:lnTo>
                  <a:lnTo>
                    <a:pt x="78765" y="41910"/>
                  </a:lnTo>
                  <a:lnTo>
                    <a:pt x="88074" y="36830"/>
                  </a:lnTo>
                  <a:lnTo>
                    <a:pt x="90081" y="41910"/>
                  </a:lnTo>
                  <a:lnTo>
                    <a:pt x="93713" y="49530"/>
                  </a:lnTo>
                  <a:lnTo>
                    <a:pt x="99441" y="63500"/>
                  </a:lnTo>
                  <a:lnTo>
                    <a:pt x="105308" y="76200"/>
                  </a:lnTo>
                  <a:lnTo>
                    <a:pt x="111302" y="88900"/>
                  </a:lnTo>
                  <a:lnTo>
                    <a:pt x="106591" y="99123"/>
                  </a:lnTo>
                  <a:lnTo>
                    <a:pt x="101739" y="110490"/>
                  </a:lnTo>
                  <a:lnTo>
                    <a:pt x="96672" y="120650"/>
                  </a:lnTo>
                  <a:lnTo>
                    <a:pt x="91376" y="130810"/>
                  </a:lnTo>
                  <a:lnTo>
                    <a:pt x="84201" y="144780"/>
                  </a:lnTo>
                  <a:lnTo>
                    <a:pt x="76606" y="157480"/>
                  </a:lnTo>
                  <a:lnTo>
                    <a:pt x="68516" y="170180"/>
                  </a:lnTo>
                  <a:lnTo>
                    <a:pt x="59905" y="182880"/>
                  </a:lnTo>
                  <a:lnTo>
                    <a:pt x="51244" y="193040"/>
                  </a:lnTo>
                  <a:lnTo>
                    <a:pt x="41973" y="204470"/>
                  </a:lnTo>
                  <a:lnTo>
                    <a:pt x="32080" y="214630"/>
                  </a:lnTo>
                  <a:lnTo>
                    <a:pt x="21501" y="223520"/>
                  </a:lnTo>
                  <a:lnTo>
                    <a:pt x="18961" y="220980"/>
                  </a:lnTo>
                  <a:lnTo>
                    <a:pt x="16446" y="219710"/>
                  </a:lnTo>
                  <a:lnTo>
                    <a:pt x="14008" y="217170"/>
                  </a:lnTo>
                  <a:lnTo>
                    <a:pt x="4102" y="207010"/>
                  </a:lnTo>
                  <a:lnTo>
                    <a:pt x="0" y="203200"/>
                  </a:lnTo>
                  <a:lnTo>
                    <a:pt x="0" y="205740"/>
                  </a:lnTo>
                  <a:lnTo>
                    <a:pt x="3225" y="208280"/>
                  </a:lnTo>
                  <a:lnTo>
                    <a:pt x="13169" y="218440"/>
                  </a:lnTo>
                  <a:lnTo>
                    <a:pt x="15595" y="219710"/>
                  </a:lnTo>
                  <a:lnTo>
                    <a:pt x="20548" y="224790"/>
                  </a:lnTo>
                  <a:lnTo>
                    <a:pt x="19951" y="224790"/>
                  </a:lnTo>
                  <a:lnTo>
                    <a:pt x="19367" y="226060"/>
                  </a:lnTo>
                  <a:lnTo>
                    <a:pt x="18757" y="226060"/>
                  </a:lnTo>
                  <a:lnTo>
                    <a:pt x="6515" y="234950"/>
                  </a:lnTo>
                  <a:lnTo>
                    <a:pt x="25" y="238747"/>
                  </a:lnTo>
                  <a:lnTo>
                    <a:pt x="0" y="240030"/>
                  </a:lnTo>
                  <a:lnTo>
                    <a:pt x="7239" y="236220"/>
                  </a:lnTo>
                  <a:lnTo>
                    <a:pt x="19558" y="227330"/>
                  </a:lnTo>
                  <a:lnTo>
                    <a:pt x="20243" y="226060"/>
                  </a:lnTo>
                  <a:lnTo>
                    <a:pt x="21551" y="224790"/>
                  </a:lnTo>
                  <a:lnTo>
                    <a:pt x="58356" y="248920"/>
                  </a:lnTo>
                  <a:lnTo>
                    <a:pt x="84823" y="257810"/>
                  </a:lnTo>
                  <a:lnTo>
                    <a:pt x="98640" y="257810"/>
                  </a:lnTo>
                  <a:lnTo>
                    <a:pt x="105473" y="256540"/>
                  </a:lnTo>
                  <a:lnTo>
                    <a:pt x="118910" y="254000"/>
                  </a:lnTo>
                  <a:lnTo>
                    <a:pt x="125285" y="250190"/>
                  </a:lnTo>
                  <a:lnTo>
                    <a:pt x="131419" y="247650"/>
                  </a:lnTo>
                  <a:lnTo>
                    <a:pt x="137261" y="243840"/>
                  </a:lnTo>
                  <a:lnTo>
                    <a:pt x="142836" y="240030"/>
                  </a:lnTo>
                  <a:lnTo>
                    <a:pt x="148132" y="234950"/>
                  </a:lnTo>
                  <a:lnTo>
                    <a:pt x="153174" y="231140"/>
                  </a:lnTo>
                  <a:lnTo>
                    <a:pt x="157962" y="226060"/>
                  </a:lnTo>
                  <a:lnTo>
                    <a:pt x="162877" y="219710"/>
                  </a:lnTo>
                  <a:lnTo>
                    <a:pt x="167551" y="214630"/>
                  </a:lnTo>
                  <a:lnTo>
                    <a:pt x="172008" y="208280"/>
                  </a:lnTo>
                  <a:lnTo>
                    <a:pt x="176250" y="201930"/>
                  </a:lnTo>
                  <a:lnTo>
                    <a:pt x="177761" y="204470"/>
                  </a:lnTo>
                  <a:lnTo>
                    <a:pt x="181749" y="209550"/>
                  </a:lnTo>
                  <a:lnTo>
                    <a:pt x="185889" y="215900"/>
                  </a:lnTo>
                  <a:lnTo>
                    <a:pt x="190233" y="222250"/>
                  </a:lnTo>
                  <a:lnTo>
                    <a:pt x="199390" y="232410"/>
                  </a:lnTo>
                  <a:lnTo>
                    <a:pt x="204368" y="237490"/>
                  </a:lnTo>
                  <a:lnTo>
                    <a:pt x="211391" y="243840"/>
                  </a:lnTo>
                  <a:lnTo>
                    <a:pt x="212839" y="245110"/>
                  </a:lnTo>
                  <a:lnTo>
                    <a:pt x="214376" y="245110"/>
                  </a:lnTo>
                  <a:lnTo>
                    <a:pt x="213042" y="243840"/>
                  </a:lnTo>
                  <a:lnTo>
                    <a:pt x="211747" y="242570"/>
                  </a:lnTo>
                  <a:lnTo>
                    <a:pt x="210489" y="241300"/>
                  </a:lnTo>
                  <a:lnTo>
                    <a:pt x="204939" y="237490"/>
                  </a:lnTo>
                  <a:lnTo>
                    <a:pt x="199999" y="232410"/>
                  </a:lnTo>
                  <a:lnTo>
                    <a:pt x="191096" y="222250"/>
                  </a:lnTo>
                  <a:lnTo>
                    <a:pt x="187071" y="215900"/>
                  </a:lnTo>
                  <a:lnTo>
                    <a:pt x="183273" y="210820"/>
                  </a:lnTo>
                  <a:lnTo>
                    <a:pt x="212471" y="237490"/>
                  </a:lnTo>
                  <a:lnTo>
                    <a:pt x="214579" y="238760"/>
                  </a:lnTo>
                  <a:lnTo>
                    <a:pt x="210680" y="236118"/>
                  </a:lnTo>
                  <a:lnTo>
                    <a:pt x="209029" y="234950"/>
                  </a:lnTo>
                  <a:lnTo>
                    <a:pt x="200215" y="227330"/>
                  </a:lnTo>
                  <a:lnTo>
                    <a:pt x="192062" y="218440"/>
                  </a:lnTo>
                  <a:lnTo>
                    <a:pt x="184442" y="210820"/>
                  </a:lnTo>
                  <a:lnTo>
                    <a:pt x="177253" y="201930"/>
                  </a:lnTo>
                  <a:lnTo>
                    <a:pt x="176898" y="200660"/>
                  </a:lnTo>
                  <a:lnTo>
                    <a:pt x="181330" y="194310"/>
                  </a:lnTo>
                  <a:lnTo>
                    <a:pt x="185458" y="187960"/>
                  </a:lnTo>
                  <a:lnTo>
                    <a:pt x="191808" y="175260"/>
                  </a:lnTo>
                  <a:lnTo>
                    <a:pt x="194208" y="171450"/>
                  </a:lnTo>
                  <a:lnTo>
                    <a:pt x="196532" y="166370"/>
                  </a:lnTo>
                  <a:lnTo>
                    <a:pt x="216623" y="184124"/>
                  </a:lnTo>
                  <a:lnTo>
                    <a:pt x="216611" y="185420"/>
                  </a:lnTo>
                  <a:lnTo>
                    <a:pt x="214617" y="238760"/>
                  </a:lnTo>
                  <a:lnTo>
                    <a:pt x="214503" y="241300"/>
                  </a:lnTo>
                  <a:lnTo>
                    <a:pt x="214376" y="245110"/>
                  </a:lnTo>
                  <a:lnTo>
                    <a:pt x="214312" y="245960"/>
                  </a:lnTo>
                  <a:lnTo>
                    <a:pt x="209003" y="386080"/>
                  </a:lnTo>
                  <a:lnTo>
                    <a:pt x="211391" y="386080"/>
                  </a:lnTo>
                  <a:lnTo>
                    <a:pt x="211607" y="381000"/>
                  </a:lnTo>
                  <a:lnTo>
                    <a:pt x="213106" y="382270"/>
                  </a:lnTo>
                  <a:lnTo>
                    <a:pt x="222262" y="386080"/>
                  </a:lnTo>
                  <a:lnTo>
                    <a:pt x="227698" y="386080"/>
                  </a:lnTo>
                  <a:lnTo>
                    <a:pt x="220853" y="383540"/>
                  </a:lnTo>
                  <a:lnTo>
                    <a:pt x="216039" y="381000"/>
                  </a:lnTo>
                  <a:lnTo>
                    <a:pt x="213588" y="379730"/>
                  </a:lnTo>
                  <a:lnTo>
                    <a:pt x="216344" y="378460"/>
                  </a:lnTo>
                  <a:lnTo>
                    <a:pt x="218071" y="377190"/>
                  </a:lnTo>
                  <a:lnTo>
                    <a:pt x="221538" y="374650"/>
                  </a:lnTo>
                  <a:lnTo>
                    <a:pt x="229082" y="370840"/>
                  </a:lnTo>
                  <a:lnTo>
                    <a:pt x="244284" y="379730"/>
                  </a:lnTo>
                  <a:lnTo>
                    <a:pt x="229793" y="386080"/>
                  </a:lnTo>
                  <a:lnTo>
                    <a:pt x="235178" y="386080"/>
                  </a:lnTo>
                  <a:lnTo>
                    <a:pt x="245681" y="381000"/>
                  </a:lnTo>
                  <a:lnTo>
                    <a:pt x="245821" y="386080"/>
                  </a:lnTo>
                  <a:lnTo>
                    <a:pt x="248208" y="386080"/>
                  </a:lnTo>
                  <a:lnTo>
                    <a:pt x="248056" y="381000"/>
                  </a:lnTo>
                  <a:lnTo>
                    <a:pt x="247942" y="377190"/>
                  </a:lnTo>
                  <a:lnTo>
                    <a:pt x="247510" y="360680"/>
                  </a:lnTo>
                  <a:lnTo>
                    <a:pt x="247497" y="359410"/>
                  </a:lnTo>
                  <a:lnTo>
                    <a:pt x="247421" y="356870"/>
                  </a:lnTo>
                  <a:lnTo>
                    <a:pt x="246976" y="340360"/>
                  </a:lnTo>
                  <a:lnTo>
                    <a:pt x="246837" y="335280"/>
                  </a:lnTo>
                  <a:lnTo>
                    <a:pt x="246392" y="318770"/>
                  </a:lnTo>
                  <a:lnTo>
                    <a:pt x="246354" y="317500"/>
                  </a:lnTo>
                  <a:lnTo>
                    <a:pt x="246278" y="314960"/>
                  </a:lnTo>
                  <a:lnTo>
                    <a:pt x="246253" y="313690"/>
                  </a:lnTo>
                  <a:lnTo>
                    <a:pt x="245808" y="297180"/>
                  </a:lnTo>
                  <a:lnTo>
                    <a:pt x="245656" y="292100"/>
                  </a:lnTo>
                  <a:lnTo>
                    <a:pt x="245567" y="288836"/>
                  </a:lnTo>
                  <a:lnTo>
                    <a:pt x="245567" y="377190"/>
                  </a:lnTo>
                  <a:lnTo>
                    <a:pt x="233845" y="370840"/>
                  </a:lnTo>
                  <a:lnTo>
                    <a:pt x="231495" y="369570"/>
                  </a:lnTo>
                  <a:lnTo>
                    <a:pt x="233476" y="368300"/>
                  </a:lnTo>
                  <a:lnTo>
                    <a:pt x="241388" y="363220"/>
                  </a:lnTo>
                  <a:lnTo>
                    <a:pt x="245122" y="360680"/>
                  </a:lnTo>
                  <a:lnTo>
                    <a:pt x="245567" y="377190"/>
                  </a:lnTo>
                  <a:lnTo>
                    <a:pt x="245567" y="288836"/>
                  </a:lnTo>
                  <a:lnTo>
                    <a:pt x="245173" y="274320"/>
                  </a:lnTo>
                  <a:lnTo>
                    <a:pt x="245148" y="273050"/>
                  </a:lnTo>
                  <a:lnTo>
                    <a:pt x="245071" y="270510"/>
                  </a:lnTo>
                  <a:lnTo>
                    <a:pt x="245046" y="269240"/>
                  </a:lnTo>
                  <a:lnTo>
                    <a:pt x="245008" y="267830"/>
                  </a:lnTo>
                  <a:lnTo>
                    <a:pt x="245008" y="356870"/>
                  </a:lnTo>
                  <a:lnTo>
                    <a:pt x="243928" y="356171"/>
                  </a:lnTo>
                  <a:lnTo>
                    <a:pt x="243928" y="359410"/>
                  </a:lnTo>
                  <a:lnTo>
                    <a:pt x="234035" y="364490"/>
                  </a:lnTo>
                  <a:lnTo>
                    <a:pt x="229069" y="368300"/>
                  </a:lnTo>
                  <a:lnTo>
                    <a:pt x="226644" y="366864"/>
                  </a:lnTo>
                  <a:lnTo>
                    <a:pt x="226644" y="369570"/>
                  </a:lnTo>
                  <a:lnTo>
                    <a:pt x="216877" y="374650"/>
                  </a:lnTo>
                  <a:lnTo>
                    <a:pt x="213144" y="377190"/>
                  </a:lnTo>
                  <a:lnTo>
                    <a:pt x="211734" y="377190"/>
                  </a:lnTo>
                  <a:lnTo>
                    <a:pt x="212369" y="360680"/>
                  </a:lnTo>
                  <a:lnTo>
                    <a:pt x="226644" y="369570"/>
                  </a:lnTo>
                  <a:lnTo>
                    <a:pt x="226644" y="366864"/>
                  </a:lnTo>
                  <a:lnTo>
                    <a:pt x="216204" y="360680"/>
                  </a:lnTo>
                  <a:lnTo>
                    <a:pt x="214058" y="359410"/>
                  </a:lnTo>
                  <a:lnTo>
                    <a:pt x="217817" y="356870"/>
                  </a:lnTo>
                  <a:lnTo>
                    <a:pt x="229082" y="349250"/>
                  </a:lnTo>
                  <a:lnTo>
                    <a:pt x="243928" y="359410"/>
                  </a:lnTo>
                  <a:lnTo>
                    <a:pt x="243928" y="356171"/>
                  </a:lnTo>
                  <a:lnTo>
                    <a:pt x="233362" y="349250"/>
                  </a:lnTo>
                  <a:lnTo>
                    <a:pt x="231419" y="347980"/>
                  </a:lnTo>
                  <a:lnTo>
                    <a:pt x="233616" y="346710"/>
                  </a:lnTo>
                  <a:lnTo>
                    <a:pt x="244563" y="340360"/>
                  </a:lnTo>
                  <a:lnTo>
                    <a:pt x="245008" y="356870"/>
                  </a:lnTo>
                  <a:lnTo>
                    <a:pt x="245008" y="267830"/>
                  </a:lnTo>
                  <a:lnTo>
                    <a:pt x="244602" y="252730"/>
                  </a:lnTo>
                  <a:lnTo>
                    <a:pt x="244500" y="248920"/>
                  </a:lnTo>
                  <a:lnTo>
                    <a:pt x="245783" y="248920"/>
                  </a:lnTo>
                  <a:lnTo>
                    <a:pt x="247002" y="247650"/>
                  </a:lnTo>
                  <a:lnTo>
                    <a:pt x="250431" y="247650"/>
                  </a:lnTo>
                  <a:lnTo>
                    <a:pt x="252641" y="246380"/>
                  </a:lnTo>
                  <a:lnTo>
                    <a:pt x="262648" y="242570"/>
                  </a:lnTo>
                  <a:lnTo>
                    <a:pt x="285610" y="219710"/>
                  </a:lnTo>
                  <a:lnTo>
                    <a:pt x="287426" y="223520"/>
                  </a:lnTo>
                  <a:lnTo>
                    <a:pt x="289306" y="226060"/>
                  </a:lnTo>
                  <a:lnTo>
                    <a:pt x="298780" y="241300"/>
                  </a:lnTo>
                  <a:lnTo>
                    <a:pt x="305650" y="248920"/>
                  </a:lnTo>
                  <a:lnTo>
                    <a:pt x="308140" y="251460"/>
                  </a:lnTo>
                  <a:lnTo>
                    <a:pt x="313677" y="255270"/>
                  </a:lnTo>
                  <a:lnTo>
                    <a:pt x="316801" y="256540"/>
                  </a:lnTo>
                  <a:lnTo>
                    <a:pt x="320217" y="257810"/>
                  </a:lnTo>
                  <a:lnTo>
                    <a:pt x="323367" y="257810"/>
                  </a:lnTo>
                  <a:lnTo>
                    <a:pt x="320306" y="256540"/>
                  </a:lnTo>
                  <a:lnTo>
                    <a:pt x="317004" y="256540"/>
                  </a:lnTo>
                  <a:lnTo>
                    <a:pt x="313931" y="254000"/>
                  </a:lnTo>
                  <a:lnTo>
                    <a:pt x="308495" y="250190"/>
                  </a:lnTo>
                  <a:lnTo>
                    <a:pt x="306031" y="247650"/>
                  </a:lnTo>
                  <a:lnTo>
                    <a:pt x="299212" y="241300"/>
                  </a:lnTo>
                  <a:lnTo>
                    <a:pt x="295338" y="234950"/>
                  </a:lnTo>
                  <a:lnTo>
                    <a:pt x="289737" y="226060"/>
                  </a:lnTo>
                  <a:lnTo>
                    <a:pt x="287832" y="222250"/>
                  </a:lnTo>
                  <a:lnTo>
                    <a:pt x="285991" y="219710"/>
                  </a:lnTo>
                  <a:lnTo>
                    <a:pt x="286766" y="218440"/>
                  </a:lnTo>
                  <a:lnTo>
                    <a:pt x="289052" y="214630"/>
                  </a:lnTo>
                  <a:lnTo>
                    <a:pt x="290474" y="213360"/>
                  </a:lnTo>
                  <a:lnTo>
                    <a:pt x="294005" y="207010"/>
                  </a:lnTo>
                  <a:lnTo>
                    <a:pt x="297307" y="200660"/>
                  </a:lnTo>
                  <a:lnTo>
                    <a:pt x="300431" y="195580"/>
                  </a:lnTo>
                  <a:lnTo>
                    <a:pt x="303377" y="189230"/>
                  </a:lnTo>
                  <a:lnTo>
                    <a:pt x="304749" y="194310"/>
                  </a:lnTo>
                  <a:lnTo>
                    <a:pt x="306158" y="198120"/>
                  </a:lnTo>
                  <a:lnTo>
                    <a:pt x="318833" y="234950"/>
                  </a:lnTo>
                  <a:lnTo>
                    <a:pt x="328574" y="253733"/>
                  </a:lnTo>
                  <a:lnTo>
                    <a:pt x="328168" y="252730"/>
                  </a:lnTo>
                  <a:lnTo>
                    <a:pt x="324904" y="246380"/>
                  </a:lnTo>
                  <a:lnTo>
                    <a:pt x="321970" y="241300"/>
                  </a:lnTo>
                  <a:lnTo>
                    <a:pt x="319214" y="234696"/>
                  </a:lnTo>
                  <a:lnTo>
                    <a:pt x="306641" y="198120"/>
                  </a:lnTo>
                  <a:lnTo>
                    <a:pt x="303758" y="187960"/>
                  </a:lnTo>
                  <a:lnTo>
                    <a:pt x="304355" y="186690"/>
                  </a:lnTo>
                  <a:lnTo>
                    <a:pt x="306730" y="181610"/>
                  </a:lnTo>
                  <a:lnTo>
                    <a:pt x="309460" y="175260"/>
                  </a:lnTo>
                  <a:lnTo>
                    <a:pt x="314833" y="161290"/>
                  </a:lnTo>
                  <a:lnTo>
                    <a:pt x="317436" y="153670"/>
                  </a:lnTo>
                  <a:lnTo>
                    <a:pt x="319887" y="146050"/>
                  </a:lnTo>
                  <a:lnTo>
                    <a:pt x="338251" y="204470"/>
                  </a:lnTo>
                  <a:lnTo>
                    <a:pt x="352640" y="217170"/>
                  </a:lnTo>
                  <a:lnTo>
                    <a:pt x="351142" y="222250"/>
                  </a:lnTo>
                  <a:lnTo>
                    <a:pt x="349516" y="226060"/>
                  </a:lnTo>
                  <a:lnTo>
                    <a:pt x="347662" y="231140"/>
                  </a:lnTo>
                  <a:lnTo>
                    <a:pt x="329819" y="255270"/>
                  </a:lnTo>
                  <a:lnTo>
                    <a:pt x="328917" y="254254"/>
                  </a:lnTo>
                  <a:lnTo>
                    <a:pt x="329361" y="255270"/>
                  </a:lnTo>
                  <a:lnTo>
                    <a:pt x="326567" y="256540"/>
                  </a:lnTo>
                  <a:lnTo>
                    <a:pt x="323367" y="257810"/>
                  </a:lnTo>
                  <a:lnTo>
                    <a:pt x="326745" y="257810"/>
                  </a:lnTo>
                  <a:lnTo>
                    <a:pt x="329641" y="255270"/>
                  </a:lnTo>
                  <a:lnTo>
                    <a:pt x="331533" y="259080"/>
                  </a:lnTo>
                  <a:lnTo>
                    <a:pt x="333641" y="261620"/>
                  </a:lnTo>
                  <a:lnTo>
                    <a:pt x="338023" y="264210"/>
                  </a:lnTo>
                  <a:lnTo>
                    <a:pt x="339953" y="265430"/>
                  </a:lnTo>
                  <a:lnTo>
                    <a:pt x="342188" y="266700"/>
                  </a:lnTo>
                  <a:lnTo>
                    <a:pt x="344424" y="266700"/>
                  </a:lnTo>
                  <a:lnTo>
                    <a:pt x="340156" y="265430"/>
                  </a:lnTo>
                  <a:lnTo>
                    <a:pt x="338213" y="264160"/>
                  </a:lnTo>
                  <a:lnTo>
                    <a:pt x="334010" y="260350"/>
                  </a:lnTo>
                  <a:lnTo>
                    <a:pt x="331876" y="257733"/>
                  </a:lnTo>
                  <a:lnTo>
                    <a:pt x="330098" y="255270"/>
                  </a:lnTo>
                  <a:lnTo>
                    <a:pt x="330238" y="255270"/>
                  </a:lnTo>
                  <a:lnTo>
                    <a:pt x="333286" y="254000"/>
                  </a:lnTo>
                  <a:lnTo>
                    <a:pt x="335813" y="251460"/>
                  </a:lnTo>
                  <a:lnTo>
                    <a:pt x="342303" y="243840"/>
                  </a:lnTo>
                  <a:lnTo>
                    <a:pt x="345414" y="237439"/>
                  </a:lnTo>
                  <a:lnTo>
                    <a:pt x="348081" y="231140"/>
                  </a:lnTo>
                  <a:lnTo>
                    <a:pt x="349910" y="227330"/>
                  </a:lnTo>
                  <a:lnTo>
                    <a:pt x="351523" y="222250"/>
                  </a:lnTo>
                  <a:lnTo>
                    <a:pt x="352996" y="218440"/>
                  </a:lnTo>
                  <a:lnTo>
                    <a:pt x="358546" y="222250"/>
                  </a:lnTo>
                  <a:lnTo>
                    <a:pt x="354952" y="260350"/>
                  </a:lnTo>
                  <a:lnTo>
                    <a:pt x="346684" y="266700"/>
                  </a:lnTo>
                  <a:lnTo>
                    <a:pt x="346811" y="266700"/>
                  </a:lnTo>
                  <a:lnTo>
                    <a:pt x="348856" y="265430"/>
                  </a:lnTo>
                  <a:lnTo>
                    <a:pt x="352336" y="264160"/>
                  </a:lnTo>
                  <a:lnTo>
                    <a:pt x="355003" y="261594"/>
                  </a:lnTo>
                  <a:lnTo>
                    <a:pt x="357212" y="257810"/>
                  </a:lnTo>
                  <a:lnTo>
                    <a:pt x="352513" y="382270"/>
                  </a:lnTo>
                  <a:lnTo>
                    <a:pt x="353898" y="382270"/>
                  </a:lnTo>
                  <a:lnTo>
                    <a:pt x="354037" y="378460"/>
                  </a:lnTo>
                  <a:lnTo>
                    <a:pt x="356476" y="377190"/>
                  </a:lnTo>
                  <a:lnTo>
                    <a:pt x="366229" y="372110"/>
                  </a:lnTo>
                  <a:lnTo>
                    <a:pt x="378421" y="378460"/>
                  </a:lnTo>
                  <a:lnTo>
                    <a:pt x="378510" y="382270"/>
                  </a:lnTo>
                  <a:lnTo>
                    <a:pt x="379895" y="382270"/>
                  </a:lnTo>
                  <a:lnTo>
                    <a:pt x="379768" y="377190"/>
                  </a:lnTo>
                  <a:lnTo>
                    <a:pt x="379463" y="365760"/>
                  </a:lnTo>
                  <a:lnTo>
                    <a:pt x="379387" y="363220"/>
                  </a:lnTo>
                  <a:lnTo>
                    <a:pt x="379133" y="353060"/>
                  </a:lnTo>
                  <a:lnTo>
                    <a:pt x="379044" y="350520"/>
                  </a:lnTo>
                  <a:lnTo>
                    <a:pt x="378714" y="339090"/>
                  </a:lnTo>
                  <a:lnTo>
                    <a:pt x="378701" y="336550"/>
                  </a:lnTo>
                  <a:lnTo>
                    <a:pt x="378383" y="326390"/>
                  </a:lnTo>
                  <a:lnTo>
                    <a:pt x="378371" y="325970"/>
                  </a:lnTo>
                  <a:lnTo>
                    <a:pt x="378371" y="377190"/>
                  </a:lnTo>
                  <a:lnTo>
                    <a:pt x="369874" y="372110"/>
                  </a:lnTo>
                  <a:lnTo>
                    <a:pt x="367753" y="370840"/>
                  </a:lnTo>
                  <a:lnTo>
                    <a:pt x="378066" y="365760"/>
                  </a:lnTo>
                  <a:lnTo>
                    <a:pt x="378371" y="377190"/>
                  </a:lnTo>
                  <a:lnTo>
                    <a:pt x="378371" y="325970"/>
                  </a:lnTo>
                  <a:lnTo>
                    <a:pt x="378307" y="323850"/>
                  </a:lnTo>
                  <a:lnTo>
                    <a:pt x="378002" y="312127"/>
                  </a:lnTo>
                  <a:lnTo>
                    <a:pt x="378002" y="363220"/>
                  </a:lnTo>
                  <a:lnTo>
                    <a:pt x="377253" y="362839"/>
                  </a:lnTo>
                  <a:lnTo>
                    <a:pt x="377253" y="364490"/>
                  </a:lnTo>
                  <a:lnTo>
                    <a:pt x="366229" y="370840"/>
                  </a:lnTo>
                  <a:lnTo>
                    <a:pt x="364731" y="369963"/>
                  </a:lnTo>
                  <a:lnTo>
                    <a:pt x="364731" y="370840"/>
                  </a:lnTo>
                  <a:lnTo>
                    <a:pt x="354101" y="377190"/>
                  </a:lnTo>
                  <a:lnTo>
                    <a:pt x="354507" y="365760"/>
                  </a:lnTo>
                  <a:lnTo>
                    <a:pt x="364731" y="370840"/>
                  </a:lnTo>
                  <a:lnTo>
                    <a:pt x="364731" y="369963"/>
                  </a:lnTo>
                  <a:lnTo>
                    <a:pt x="357657" y="365760"/>
                  </a:lnTo>
                  <a:lnTo>
                    <a:pt x="355511" y="364490"/>
                  </a:lnTo>
                  <a:lnTo>
                    <a:pt x="358241" y="363220"/>
                  </a:lnTo>
                  <a:lnTo>
                    <a:pt x="366445" y="359410"/>
                  </a:lnTo>
                  <a:lnTo>
                    <a:pt x="377253" y="364490"/>
                  </a:lnTo>
                  <a:lnTo>
                    <a:pt x="377253" y="362839"/>
                  </a:lnTo>
                  <a:lnTo>
                    <a:pt x="370509" y="359410"/>
                  </a:lnTo>
                  <a:lnTo>
                    <a:pt x="368007" y="358140"/>
                  </a:lnTo>
                  <a:lnTo>
                    <a:pt x="370446" y="356870"/>
                  </a:lnTo>
                  <a:lnTo>
                    <a:pt x="377736" y="353060"/>
                  </a:lnTo>
                  <a:lnTo>
                    <a:pt x="378002" y="363220"/>
                  </a:lnTo>
                  <a:lnTo>
                    <a:pt x="378002" y="312127"/>
                  </a:lnTo>
                  <a:lnTo>
                    <a:pt x="377977" y="311150"/>
                  </a:lnTo>
                  <a:lnTo>
                    <a:pt x="377939" y="309880"/>
                  </a:lnTo>
                  <a:lnTo>
                    <a:pt x="377913" y="308610"/>
                  </a:lnTo>
                  <a:lnTo>
                    <a:pt x="377672" y="299567"/>
                  </a:lnTo>
                  <a:lnTo>
                    <a:pt x="377672" y="350520"/>
                  </a:lnTo>
                  <a:lnTo>
                    <a:pt x="376936" y="350139"/>
                  </a:lnTo>
                  <a:lnTo>
                    <a:pt x="376936" y="351790"/>
                  </a:lnTo>
                  <a:lnTo>
                    <a:pt x="366445" y="356870"/>
                  </a:lnTo>
                  <a:lnTo>
                    <a:pt x="364871" y="356082"/>
                  </a:lnTo>
                  <a:lnTo>
                    <a:pt x="364871" y="358140"/>
                  </a:lnTo>
                  <a:lnTo>
                    <a:pt x="354596" y="363220"/>
                  </a:lnTo>
                  <a:lnTo>
                    <a:pt x="354990" y="353060"/>
                  </a:lnTo>
                  <a:lnTo>
                    <a:pt x="356108" y="353060"/>
                  </a:lnTo>
                  <a:lnTo>
                    <a:pt x="358673" y="355600"/>
                  </a:lnTo>
                  <a:lnTo>
                    <a:pt x="364871" y="358140"/>
                  </a:lnTo>
                  <a:lnTo>
                    <a:pt x="364871" y="356082"/>
                  </a:lnTo>
                  <a:lnTo>
                    <a:pt x="361429" y="354330"/>
                  </a:lnTo>
                  <a:lnTo>
                    <a:pt x="357847" y="353060"/>
                  </a:lnTo>
                  <a:lnTo>
                    <a:pt x="356196" y="351790"/>
                  </a:lnTo>
                  <a:lnTo>
                    <a:pt x="357962" y="350520"/>
                  </a:lnTo>
                  <a:lnTo>
                    <a:pt x="361480" y="349250"/>
                  </a:lnTo>
                  <a:lnTo>
                    <a:pt x="366661" y="345440"/>
                  </a:lnTo>
                  <a:lnTo>
                    <a:pt x="376936" y="351790"/>
                  </a:lnTo>
                  <a:lnTo>
                    <a:pt x="376936" y="350139"/>
                  </a:lnTo>
                  <a:lnTo>
                    <a:pt x="368058" y="345440"/>
                  </a:lnTo>
                  <a:lnTo>
                    <a:pt x="369760" y="344170"/>
                  </a:lnTo>
                  <a:lnTo>
                    <a:pt x="371449" y="342900"/>
                  </a:lnTo>
                  <a:lnTo>
                    <a:pt x="377367" y="339090"/>
                  </a:lnTo>
                  <a:lnTo>
                    <a:pt x="377672" y="350520"/>
                  </a:lnTo>
                  <a:lnTo>
                    <a:pt x="377672" y="299567"/>
                  </a:lnTo>
                  <a:lnTo>
                    <a:pt x="377609" y="297180"/>
                  </a:lnTo>
                  <a:lnTo>
                    <a:pt x="377532" y="294640"/>
                  </a:lnTo>
                  <a:lnTo>
                    <a:pt x="377304" y="285851"/>
                  </a:lnTo>
                  <a:lnTo>
                    <a:pt x="377304" y="336550"/>
                  </a:lnTo>
                  <a:lnTo>
                    <a:pt x="376682" y="336219"/>
                  </a:lnTo>
                  <a:lnTo>
                    <a:pt x="376682" y="337820"/>
                  </a:lnTo>
                  <a:lnTo>
                    <a:pt x="366636" y="344170"/>
                  </a:lnTo>
                  <a:lnTo>
                    <a:pt x="365252" y="343484"/>
                  </a:lnTo>
                  <a:lnTo>
                    <a:pt x="365252" y="345440"/>
                  </a:lnTo>
                  <a:lnTo>
                    <a:pt x="358355" y="349250"/>
                  </a:lnTo>
                  <a:lnTo>
                    <a:pt x="355917" y="350520"/>
                  </a:lnTo>
                  <a:lnTo>
                    <a:pt x="355066" y="350520"/>
                  </a:lnTo>
                  <a:lnTo>
                    <a:pt x="355498" y="339090"/>
                  </a:lnTo>
                  <a:lnTo>
                    <a:pt x="365252" y="345440"/>
                  </a:lnTo>
                  <a:lnTo>
                    <a:pt x="365252" y="343484"/>
                  </a:lnTo>
                  <a:lnTo>
                    <a:pt x="356514" y="339090"/>
                  </a:lnTo>
                  <a:lnTo>
                    <a:pt x="358546" y="337820"/>
                  </a:lnTo>
                  <a:lnTo>
                    <a:pt x="366661" y="332740"/>
                  </a:lnTo>
                  <a:lnTo>
                    <a:pt x="376682" y="337820"/>
                  </a:lnTo>
                  <a:lnTo>
                    <a:pt x="376682" y="336219"/>
                  </a:lnTo>
                  <a:lnTo>
                    <a:pt x="370332" y="332740"/>
                  </a:lnTo>
                  <a:lnTo>
                    <a:pt x="368007" y="331470"/>
                  </a:lnTo>
                  <a:lnTo>
                    <a:pt x="370255" y="330200"/>
                  </a:lnTo>
                  <a:lnTo>
                    <a:pt x="376999" y="326390"/>
                  </a:lnTo>
                  <a:lnTo>
                    <a:pt x="377304" y="336550"/>
                  </a:lnTo>
                  <a:lnTo>
                    <a:pt x="377304" y="285851"/>
                  </a:lnTo>
                  <a:lnTo>
                    <a:pt x="377202" y="281940"/>
                  </a:lnTo>
                  <a:lnTo>
                    <a:pt x="377164" y="280670"/>
                  </a:lnTo>
                  <a:lnTo>
                    <a:pt x="377126" y="279400"/>
                  </a:lnTo>
                  <a:lnTo>
                    <a:pt x="376923" y="271780"/>
                  </a:lnTo>
                  <a:lnTo>
                    <a:pt x="376923" y="323850"/>
                  </a:lnTo>
                  <a:lnTo>
                    <a:pt x="376389" y="323469"/>
                  </a:lnTo>
                  <a:lnTo>
                    <a:pt x="376389" y="325120"/>
                  </a:lnTo>
                  <a:lnTo>
                    <a:pt x="366661" y="330200"/>
                  </a:lnTo>
                  <a:lnTo>
                    <a:pt x="365302" y="329488"/>
                  </a:lnTo>
                  <a:lnTo>
                    <a:pt x="365302" y="331470"/>
                  </a:lnTo>
                  <a:lnTo>
                    <a:pt x="355587" y="337820"/>
                  </a:lnTo>
                  <a:lnTo>
                    <a:pt x="356019" y="326390"/>
                  </a:lnTo>
                  <a:lnTo>
                    <a:pt x="365302" y="331470"/>
                  </a:lnTo>
                  <a:lnTo>
                    <a:pt x="365302" y="329488"/>
                  </a:lnTo>
                  <a:lnTo>
                    <a:pt x="359448" y="326390"/>
                  </a:lnTo>
                  <a:lnTo>
                    <a:pt x="357047" y="325120"/>
                  </a:lnTo>
                  <a:lnTo>
                    <a:pt x="358686" y="323850"/>
                  </a:lnTo>
                  <a:lnTo>
                    <a:pt x="366839" y="317500"/>
                  </a:lnTo>
                  <a:lnTo>
                    <a:pt x="376389" y="325120"/>
                  </a:lnTo>
                  <a:lnTo>
                    <a:pt x="376389" y="323469"/>
                  </a:lnTo>
                  <a:lnTo>
                    <a:pt x="368084" y="317500"/>
                  </a:lnTo>
                  <a:lnTo>
                    <a:pt x="369785" y="316230"/>
                  </a:lnTo>
                  <a:lnTo>
                    <a:pt x="376605" y="311150"/>
                  </a:lnTo>
                  <a:lnTo>
                    <a:pt x="376923" y="323850"/>
                  </a:lnTo>
                  <a:lnTo>
                    <a:pt x="376923" y="271780"/>
                  </a:lnTo>
                  <a:lnTo>
                    <a:pt x="376821" y="267970"/>
                  </a:lnTo>
                  <a:lnTo>
                    <a:pt x="376758" y="265430"/>
                  </a:lnTo>
                  <a:lnTo>
                    <a:pt x="376529" y="257200"/>
                  </a:lnTo>
                  <a:lnTo>
                    <a:pt x="376529" y="308610"/>
                  </a:lnTo>
                  <a:lnTo>
                    <a:pt x="375005" y="307467"/>
                  </a:lnTo>
                  <a:lnTo>
                    <a:pt x="375005" y="309880"/>
                  </a:lnTo>
                  <a:lnTo>
                    <a:pt x="374967" y="311150"/>
                  </a:lnTo>
                  <a:lnTo>
                    <a:pt x="366839" y="316230"/>
                  </a:lnTo>
                  <a:lnTo>
                    <a:pt x="365582" y="315455"/>
                  </a:lnTo>
                  <a:lnTo>
                    <a:pt x="365582" y="317500"/>
                  </a:lnTo>
                  <a:lnTo>
                    <a:pt x="356108" y="323850"/>
                  </a:lnTo>
                  <a:lnTo>
                    <a:pt x="356577" y="311150"/>
                  </a:lnTo>
                  <a:lnTo>
                    <a:pt x="365582" y="317500"/>
                  </a:lnTo>
                  <a:lnTo>
                    <a:pt x="365582" y="315455"/>
                  </a:lnTo>
                  <a:lnTo>
                    <a:pt x="358686" y="311150"/>
                  </a:lnTo>
                  <a:lnTo>
                    <a:pt x="374967" y="311150"/>
                  </a:lnTo>
                  <a:lnTo>
                    <a:pt x="374967" y="309880"/>
                  </a:lnTo>
                  <a:lnTo>
                    <a:pt x="358673" y="309880"/>
                  </a:lnTo>
                  <a:lnTo>
                    <a:pt x="360324" y="308610"/>
                  </a:lnTo>
                  <a:lnTo>
                    <a:pt x="366890" y="303530"/>
                  </a:lnTo>
                  <a:lnTo>
                    <a:pt x="375005" y="309880"/>
                  </a:lnTo>
                  <a:lnTo>
                    <a:pt x="375005" y="307467"/>
                  </a:lnTo>
                  <a:lnTo>
                    <a:pt x="369811" y="303530"/>
                  </a:lnTo>
                  <a:lnTo>
                    <a:pt x="368122" y="302260"/>
                  </a:lnTo>
                  <a:lnTo>
                    <a:pt x="376224" y="297180"/>
                  </a:lnTo>
                  <a:lnTo>
                    <a:pt x="376529" y="308610"/>
                  </a:lnTo>
                  <a:lnTo>
                    <a:pt x="376529" y="257200"/>
                  </a:lnTo>
                  <a:lnTo>
                    <a:pt x="376440" y="254000"/>
                  </a:lnTo>
                  <a:lnTo>
                    <a:pt x="376339" y="250190"/>
                  </a:lnTo>
                  <a:lnTo>
                    <a:pt x="376148" y="243141"/>
                  </a:lnTo>
                  <a:lnTo>
                    <a:pt x="376148" y="294640"/>
                  </a:lnTo>
                  <a:lnTo>
                    <a:pt x="375716" y="294297"/>
                  </a:lnTo>
                  <a:lnTo>
                    <a:pt x="375716" y="295910"/>
                  </a:lnTo>
                  <a:lnTo>
                    <a:pt x="366890" y="302260"/>
                  </a:lnTo>
                  <a:lnTo>
                    <a:pt x="365658" y="301358"/>
                  </a:lnTo>
                  <a:lnTo>
                    <a:pt x="365658" y="302260"/>
                  </a:lnTo>
                  <a:lnTo>
                    <a:pt x="356654" y="308610"/>
                  </a:lnTo>
                  <a:lnTo>
                    <a:pt x="357124" y="297180"/>
                  </a:lnTo>
                  <a:lnTo>
                    <a:pt x="365658" y="302260"/>
                  </a:lnTo>
                  <a:lnTo>
                    <a:pt x="365658" y="301358"/>
                  </a:lnTo>
                  <a:lnTo>
                    <a:pt x="359956" y="297180"/>
                  </a:lnTo>
                  <a:lnTo>
                    <a:pt x="358216" y="295910"/>
                  </a:lnTo>
                  <a:lnTo>
                    <a:pt x="359981" y="294640"/>
                  </a:lnTo>
                  <a:lnTo>
                    <a:pt x="367030" y="289560"/>
                  </a:lnTo>
                  <a:lnTo>
                    <a:pt x="375716" y="295910"/>
                  </a:lnTo>
                  <a:lnTo>
                    <a:pt x="375716" y="294297"/>
                  </a:lnTo>
                  <a:lnTo>
                    <a:pt x="369773" y="289560"/>
                  </a:lnTo>
                  <a:lnTo>
                    <a:pt x="368173" y="288290"/>
                  </a:lnTo>
                  <a:lnTo>
                    <a:pt x="369709" y="287020"/>
                  </a:lnTo>
                  <a:lnTo>
                    <a:pt x="375818" y="281940"/>
                  </a:lnTo>
                  <a:lnTo>
                    <a:pt x="376148" y="294640"/>
                  </a:lnTo>
                  <a:lnTo>
                    <a:pt x="376148" y="243141"/>
                  </a:lnTo>
                  <a:lnTo>
                    <a:pt x="375996" y="237490"/>
                  </a:lnTo>
                  <a:lnTo>
                    <a:pt x="375932" y="234950"/>
                  </a:lnTo>
                  <a:lnTo>
                    <a:pt x="375742" y="227812"/>
                  </a:lnTo>
                  <a:lnTo>
                    <a:pt x="375742" y="279400"/>
                  </a:lnTo>
                  <a:lnTo>
                    <a:pt x="374408" y="278269"/>
                  </a:lnTo>
                  <a:lnTo>
                    <a:pt x="374408" y="280670"/>
                  </a:lnTo>
                  <a:lnTo>
                    <a:pt x="374396" y="281940"/>
                  </a:lnTo>
                  <a:lnTo>
                    <a:pt x="367030" y="287020"/>
                  </a:lnTo>
                  <a:lnTo>
                    <a:pt x="365887" y="286232"/>
                  </a:lnTo>
                  <a:lnTo>
                    <a:pt x="365887" y="288290"/>
                  </a:lnTo>
                  <a:lnTo>
                    <a:pt x="357200" y="294640"/>
                  </a:lnTo>
                  <a:lnTo>
                    <a:pt x="357695" y="281940"/>
                  </a:lnTo>
                  <a:lnTo>
                    <a:pt x="365887" y="288290"/>
                  </a:lnTo>
                  <a:lnTo>
                    <a:pt x="365887" y="286232"/>
                  </a:lnTo>
                  <a:lnTo>
                    <a:pt x="359740" y="281940"/>
                  </a:lnTo>
                  <a:lnTo>
                    <a:pt x="374396" y="281940"/>
                  </a:lnTo>
                  <a:lnTo>
                    <a:pt x="374396" y="280670"/>
                  </a:lnTo>
                  <a:lnTo>
                    <a:pt x="359765" y="280670"/>
                  </a:lnTo>
                  <a:lnTo>
                    <a:pt x="361238" y="279400"/>
                  </a:lnTo>
                  <a:lnTo>
                    <a:pt x="367106" y="274320"/>
                  </a:lnTo>
                  <a:lnTo>
                    <a:pt x="374408" y="280670"/>
                  </a:lnTo>
                  <a:lnTo>
                    <a:pt x="374408" y="278269"/>
                  </a:lnTo>
                  <a:lnTo>
                    <a:pt x="369760" y="274320"/>
                  </a:lnTo>
                  <a:lnTo>
                    <a:pt x="368261" y="273050"/>
                  </a:lnTo>
                  <a:lnTo>
                    <a:pt x="375424" y="267970"/>
                  </a:lnTo>
                  <a:lnTo>
                    <a:pt x="375742" y="279400"/>
                  </a:lnTo>
                  <a:lnTo>
                    <a:pt x="375742" y="227812"/>
                  </a:lnTo>
                  <a:lnTo>
                    <a:pt x="375627" y="223520"/>
                  </a:lnTo>
                  <a:lnTo>
                    <a:pt x="375589" y="222250"/>
                  </a:lnTo>
                  <a:lnTo>
                    <a:pt x="376999" y="220980"/>
                  </a:lnTo>
                  <a:lnTo>
                    <a:pt x="384022" y="214630"/>
                  </a:lnTo>
                  <a:lnTo>
                    <a:pt x="384911" y="217170"/>
                  </a:lnTo>
                  <a:lnTo>
                    <a:pt x="385787" y="218440"/>
                  </a:lnTo>
                  <a:lnTo>
                    <a:pt x="386689" y="220980"/>
                  </a:lnTo>
                  <a:lnTo>
                    <a:pt x="387629" y="223520"/>
                  </a:lnTo>
                  <a:lnTo>
                    <a:pt x="388315" y="226060"/>
                  </a:lnTo>
                  <a:lnTo>
                    <a:pt x="391020" y="234950"/>
                  </a:lnTo>
                  <a:lnTo>
                    <a:pt x="393547" y="243840"/>
                  </a:lnTo>
                  <a:lnTo>
                    <a:pt x="396367" y="251460"/>
                  </a:lnTo>
                  <a:lnTo>
                    <a:pt x="407289" y="273519"/>
                  </a:lnTo>
                  <a:lnTo>
                    <a:pt x="406717" y="273050"/>
                  </a:lnTo>
                  <a:lnTo>
                    <a:pt x="405079" y="270471"/>
                  </a:lnTo>
                  <a:lnTo>
                    <a:pt x="402221" y="265430"/>
                  </a:lnTo>
                  <a:lnTo>
                    <a:pt x="400977" y="262890"/>
                  </a:lnTo>
                  <a:lnTo>
                    <a:pt x="399821" y="260350"/>
                  </a:lnTo>
                  <a:lnTo>
                    <a:pt x="396621" y="251460"/>
                  </a:lnTo>
                  <a:lnTo>
                    <a:pt x="393814" y="243840"/>
                  </a:lnTo>
                  <a:lnTo>
                    <a:pt x="388772" y="226060"/>
                  </a:lnTo>
                  <a:lnTo>
                    <a:pt x="388391" y="224790"/>
                  </a:lnTo>
                  <a:lnTo>
                    <a:pt x="389775" y="227330"/>
                  </a:lnTo>
                  <a:lnTo>
                    <a:pt x="404926" y="248691"/>
                  </a:lnTo>
                  <a:lnTo>
                    <a:pt x="402043" y="246380"/>
                  </a:lnTo>
                  <a:lnTo>
                    <a:pt x="399999" y="243840"/>
                  </a:lnTo>
                  <a:lnTo>
                    <a:pt x="388759" y="224790"/>
                  </a:lnTo>
                  <a:lnTo>
                    <a:pt x="387604" y="222250"/>
                  </a:lnTo>
                  <a:lnTo>
                    <a:pt x="386765" y="218440"/>
                  </a:lnTo>
                  <a:lnTo>
                    <a:pt x="389915" y="226060"/>
                  </a:lnTo>
                  <a:lnTo>
                    <a:pt x="393484" y="232410"/>
                  </a:lnTo>
                  <a:lnTo>
                    <a:pt x="400456" y="242570"/>
                  </a:lnTo>
                  <a:lnTo>
                    <a:pt x="403313" y="246380"/>
                  </a:lnTo>
                  <a:lnTo>
                    <a:pt x="406552" y="248920"/>
                  </a:lnTo>
                  <a:lnTo>
                    <a:pt x="406273" y="248920"/>
                  </a:lnTo>
                  <a:lnTo>
                    <a:pt x="407327" y="250190"/>
                  </a:lnTo>
                  <a:lnTo>
                    <a:pt x="409422" y="251460"/>
                  </a:lnTo>
                  <a:lnTo>
                    <a:pt x="411645" y="254000"/>
                  </a:lnTo>
                  <a:lnTo>
                    <a:pt x="417309" y="256540"/>
                  </a:lnTo>
                  <a:lnTo>
                    <a:pt x="420865" y="259080"/>
                  </a:lnTo>
                  <a:lnTo>
                    <a:pt x="425538" y="260350"/>
                  </a:lnTo>
                  <a:lnTo>
                    <a:pt x="426542" y="260350"/>
                  </a:lnTo>
                  <a:lnTo>
                    <a:pt x="425589" y="259080"/>
                  </a:lnTo>
                  <a:lnTo>
                    <a:pt x="420916" y="257810"/>
                  </a:lnTo>
                  <a:lnTo>
                    <a:pt x="417385" y="256540"/>
                  </a:lnTo>
                  <a:lnTo>
                    <a:pt x="411873" y="252730"/>
                  </a:lnTo>
                  <a:lnTo>
                    <a:pt x="409752" y="251460"/>
                  </a:lnTo>
                  <a:lnTo>
                    <a:pt x="407771" y="250190"/>
                  </a:lnTo>
                  <a:lnTo>
                    <a:pt x="410349" y="250190"/>
                  </a:lnTo>
                  <a:lnTo>
                    <a:pt x="408851" y="248920"/>
                  </a:lnTo>
                  <a:lnTo>
                    <a:pt x="406996" y="248920"/>
                  </a:lnTo>
                  <a:lnTo>
                    <a:pt x="403656" y="246380"/>
                  </a:lnTo>
                  <a:lnTo>
                    <a:pt x="400710" y="242570"/>
                  </a:lnTo>
                  <a:lnTo>
                    <a:pt x="393700" y="232410"/>
                  </a:lnTo>
                  <a:lnTo>
                    <a:pt x="390131" y="224790"/>
                  </a:lnTo>
                  <a:lnTo>
                    <a:pt x="386803" y="218440"/>
                  </a:lnTo>
                  <a:lnTo>
                    <a:pt x="386397" y="217170"/>
                  </a:lnTo>
                  <a:lnTo>
                    <a:pt x="385787" y="214630"/>
                  </a:lnTo>
                  <a:lnTo>
                    <a:pt x="385483" y="213360"/>
                  </a:lnTo>
                  <a:lnTo>
                    <a:pt x="386715" y="212090"/>
                  </a:lnTo>
                  <a:lnTo>
                    <a:pt x="392874" y="205740"/>
                  </a:lnTo>
                  <a:lnTo>
                    <a:pt x="394106" y="204470"/>
                  </a:lnTo>
                  <a:lnTo>
                    <a:pt x="394589" y="203200"/>
                  </a:lnTo>
                  <a:lnTo>
                    <a:pt x="399643" y="186690"/>
                  </a:lnTo>
                  <a:lnTo>
                    <a:pt x="413448" y="231140"/>
                  </a:lnTo>
                  <a:lnTo>
                    <a:pt x="421271" y="237490"/>
                  </a:lnTo>
                  <a:lnTo>
                    <a:pt x="413169" y="248920"/>
                  </a:lnTo>
                  <a:lnTo>
                    <a:pt x="411861" y="248920"/>
                  </a:lnTo>
                  <a:lnTo>
                    <a:pt x="410349" y="250190"/>
                  </a:lnTo>
                  <a:lnTo>
                    <a:pt x="412038" y="250190"/>
                  </a:lnTo>
                  <a:lnTo>
                    <a:pt x="413423" y="248920"/>
                  </a:lnTo>
                  <a:lnTo>
                    <a:pt x="416166" y="247650"/>
                  </a:lnTo>
                  <a:lnTo>
                    <a:pt x="418084" y="245110"/>
                  </a:lnTo>
                  <a:lnTo>
                    <a:pt x="419735" y="241300"/>
                  </a:lnTo>
                  <a:lnTo>
                    <a:pt x="420420" y="241300"/>
                  </a:lnTo>
                  <a:lnTo>
                    <a:pt x="421640" y="238760"/>
                  </a:lnTo>
                  <a:lnTo>
                    <a:pt x="428244" y="243840"/>
                  </a:lnTo>
                  <a:lnTo>
                    <a:pt x="427659" y="259207"/>
                  </a:lnTo>
                  <a:lnTo>
                    <a:pt x="427494" y="260350"/>
                  </a:lnTo>
                  <a:lnTo>
                    <a:pt x="426085" y="264210"/>
                  </a:lnTo>
                  <a:lnTo>
                    <a:pt x="424573" y="267970"/>
                  </a:lnTo>
                  <a:lnTo>
                    <a:pt x="422516" y="270510"/>
                  </a:lnTo>
                  <a:lnTo>
                    <a:pt x="420992" y="273050"/>
                  </a:lnTo>
                  <a:lnTo>
                    <a:pt x="419176" y="275590"/>
                  </a:lnTo>
                  <a:lnTo>
                    <a:pt x="416521" y="276860"/>
                  </a:lnTo>
                  <a:lnTo>
                    <a:pt x="419341" y="275590"/>
                  </a:lnTo>
                  <a:lnTo>
                    <a:pt x="421170" y="273050"/>
                  </a:lnTo>
                  <a:lnTo>
                    <a:pt x="422744" y="270471"/>
                  </a:lnTo>
                  <a:lnTo>
                    <a:pt x="424764" y="267970"/>
                  </a:lnTo>
                  <a:lnTo>
                    <a:pt x="426300" y="264160"/>
                  </a:lnTo>
                  <a:lnTo>
                    <a:pt x="427647" y="260350"/>
                  </a:lnTo>
                  <a:lnTo>
                    <a:pt x="423875" y="359410"/>
                  </a:lnTo>
                  <a:lnTo>
                    <a:pt x="424421" y="359410"/>
                  </a:lnTo>
                  <a:lnTo>
                    <a:pt x="424878" y="347980"/>
                  </a:lnTo>
                  <a:lnTo>
                    <a:pt x="433006" y="351790"/>
                  </a:lnTo>
                  <a:lnTo>
                    <a:pt x="424611" y="356844"/>
                  </a:lnTo>
                  <a:lnTo>
                    <a:pt x="433616" y="353060"/>
                  </a:lnTo>
                  <a:lnTo>
                    <a:pt x="442671" y="356857"/>
                  </a:lnTo>
                  <a:lnTo>
                    <a:pt x="436359" y="353060"/>
                  </a:lnTo>
                  <a:lnTo>
                    <a:pt x="434238" y="351790"/>
                  </a:lnTo>
                  <a:lnTo>
                    <a:pt x="442455" y="347980"/>
                  </a:lnTo>
                  <a:lnTo>
                    <a:pt x="442772" y="359410"/>
                  </a:lnTo>
                  <a:lnTo>
                    <a:pt x="443318" y="359410"/>
                  </a:lnTo>
                  <a:lnTo>
                    <a:pt x="442988" y="347980"/>
                  </a:lnTo>
                  <a:lnTo>
                    <a:pt x="443039" y="346710"/>
                  </a:lnTo>
                  <a:lnTo>
                    <a:pt x="442785" y="339090"/>
                  </a:lnTo>
                  <a:lnTo>
                    <a:pt x="442747" y="337820"/>
                  </a:lnTo>
                  <a:lnTo>
                    <a:pt x="442468" y="328930"/>
                  </a:lnTo>
                  <a:lnTo>
                    <a:pt x="442442" y="327660"/>
                  </a:lnTo>
                  <a:lnTo>
                    <a:pt x="442417" y="326682"/>
                  </a:lnTo>
                  <a:lnTo>
                    <a:pt x="442417" y="346710"/>
                  </a:lnTo>
                  <a:lnTo>
                    <a:pt x="442125" y="346583"/>
                  </a:lnTo>
                  <a:lnTo>
                    <a:pt x="442125" y="346710"/>
                  </a:lnTo>
                  <a:lnTo>
                    <a:pt x="433616" y="351790"/>
                  </a:lnTo>
                  <a:lnTo>
                    <a:pt x="425323" y="347980"/>
                  </a:lnTo>
                  <a:lnTo>
                    <a:pt x="427443" y="346710"/>
                  </a:lnTo>
                  <a:lnTo>
                    <a:pt x="433781" y="342900"/>
                  </a:lnTo>
                  <a:lnTo>
                    <a:pt x="433133" y="342544"/>
                  </a:lnTo>
                  <a:lnTo>
                    <a:pt x="433133" y="342900"/>
                  </a:lnTo>
                  <a:lnTo>
                    <a:pt x="424916" y="346710"/>
                  </a:lnTo>
                  <a:lnTo>
                    <a:pt x="425221" y="339090"/>
                  </a:lnTo>
                  <a:lnTo>
                    <a:pt x="425818" y="339090"/>
                  </a:lnTo>
                  <a:lnTo>
                    <a:pt x="427647" y="340360"/>
                  </a:lnTo>
                  <a:lnTo>
                    <a:pt x="433133" y="342900"/>
                  </a:lnTo>
                  <a:lnTo>
                    <a:pt x="433133" y="342544"/>
                  </a:lnTo>
                  <a:lnTo>
                    <a:pt x="426935" y="339090"/>
                  </a:lnTo>
                  <a:lnTo>
                    <a:pt x="425831" y="337820"/>
                  </a:lnTo>
                  <a:lnTo>
                    <a:pt x="427151" y="337820"/>
                  </a:lnTo>
                  <a:lnTo>
                    <a:pt x="430453" y="335280"/>
                  </a:lnTo>
                  <a:lnTo>
                    <a:pt x="433920" y="334010"/>
                  </a:lnTo>
                  <a:lnTo>
                    <a:pt x="441883" y="337820"/>
                  </a:lnTo>
                  <a:lnTo>
                    <a:pt x="433781" y="342900"/>
                  </a:lnTo>
                  <a:lnTo>
                    <a:pt x="442125" y="346710"/>
                  </a:lnTo>
                  <a:lnTo>
                    <a:pt x="442125" y="346583"/>
                  </a:lnTo>
                  <a:lnTo>
                    <a:pt x="434403" y="342900"/>
                  </a:lnTo>
                  <a:lnTo>
                    <a:pt x="442201" y="339090"/>
                  </a:lnTo>
                  <a:lnTo>
                    <a:pt x="442417" y="346710"/>
                  </a:lnTo>
                  <a:lnTo>
                    <a:pt x="442417" y="326682"/>
                  </a:lnTo>
                  <a:lnTo>
                    <a:pt x="442214" y="318770"/>
                  </a:lnTo>
                  <a:lnTo>
                    <a:pt x="442175" y="317500"/>
                  </a:lnTo>
                  <a:lnTo>
                    <a:pt x="442175" y="337820"/>
                  </a:lnTo>
                  <a:lnTo>
                    <a:pt x="436410" y="334010"/>
                  </a:lnTo>
                  <a:lnTo>
                    <a:pt x="434492" y="332740"/>
                  </a:lnTo>
                  <a:lnTo>
                    <a:pt x="441947" y="328930"/>
                  </a:lnTo>
                  <a:lnTo>
                    <a:pt x="442175" y="337820"/>
                  </a:lnTo>
                  <a:lnTo>
                    <a:pt x="442175" y="317500"/>
                  </a:lnTo>
                  <a:lnTo>
                    <a:pt x="441934" y="308610"/>
                  </a:lnTo>
                  <a:lnTo>
                    <a:pt x="441909" y="307340"/>
                  </a:lnTo>
                  <a:lnTo>
                    <a:pt x="441909" y="327660"/>
                  </a:lnTo>
                  <a:lnTo>
                    <a:pt x="441667" y="327545"/>
                  </a:lnTo>
                  <a:lnTo>
                    <a:pt x="441667" y="328930"/>
                  </a:lnTo>
                  <a:lnTo>
                    <a:pt x="433920" y="332740"/>
                  </a:lnTo>
                  <a:lnTo>
                    <a:pt x="433349" y="332473"/>
                  </a:lnTo>
                  <a:lnTo>
                    <a:pt x="433349" y="332740"/>
                  </a:lnTo>
                  <a:lnTo>
                    <a:pt x="429171" y="335280"/>
                  </a:lnTo>
                  <a:lnTo>
                    <a:pt x="425615" y="337820"/>
                  </a:lnTo>
                  <a:lnTo>
                    <a:pt x="425259" y="337820"/>
                  </a:lnTo>
                  <a:lnTo>
                    <a:pt x="425602" y="328930"/>
                  </a:lnTo>
                  <a:lnTo>
                    <a:pt x="433349" y="332740"/>
                  </a:lnTo>
                  <a:lnTo>
                    <a:pt x="433349" y="332473"/>
                  </a:lnTo>
                  <a:lnTo>
                    <a:pt x="426110" y="328930"/>
                  </a:lnTo>
                  <a:lnTo>
                    <a:pt x="428066" y="327660"/>
                  </a:lnTo>
                  <a:lnTo>
                    <a:pt x="433933" y="323850"/>
                  </a:lnTo>
                  <a:lnTo>
                    <a:pt x="441667" y="328930"/>
                  </a:lnTo>
                  <a:lnTo>
                    <a:pt x="441667" y="327545"/>
                  </a:lnTo>
                  <a:lnTo>
                    <a:pt x="434479" y="323850"/>
                  </a:lnTo>
                  <a:lnTo>
                    <a:pt x="436283" y="322580"/>
                  </a:lnTo>
                  <a:lnTo>
                    <a:pt x="441667" y="318770"/>
                  </a:lnTo>
                  <a:lnTo>
                    <a:pt x="441909" y="327660"/>
                  </a:lnTo>
                  <a:lnTo>
                    <a:pt x="441909" y="307340"/>
                  </a:lnTo>
                  <a:lnTo>
                    <a:pt x="441680" y="298450"/>
                  </a:lnTo>
                  <a:lnTo>
                    <a:pt x="441642" y="297180"/>
                  </a:lnTo>
                  <a:lnTo>
                    <a:pt x="441642" y="317500"/>
                  </a:lnTo>
                  <a:lnTo>
                    <a:pt x="441426" y="317347"/>
                  </a:lnTo>
                  <a:lnTo>
                    <a:pt x="441426" y="318770"/>
                  </a:lnTo>
                  <a:lnTo>
                    <a:pt x="433933" y="322580"/>
                  </a:lnTo>
                  <a:lnTo>
                    <a:pt x="433374" y="322300"/>
                  </a:lnTo>
                  <a:lnTo>
                    <a:pt x="433374" y="323850"/>
                  </a:lnTo>
                  <a:lnTo>
                    <a:pt x="425627" y="327660"/>
                  </a:lnTo>
                  <a:lnTo>
                    <a:pt x="425970" y="318770"/>
                  </a:lnTo>
                  <a:lnTo>
                    <a:pt x="433374" y="323850"/>
                  </a:lnTo>
                  <a:lnTo>
                    <a:pt x="433374" y="322300"/>
                  </a:lnTo>
                  <a:lnTo>
                    <a:pt x="426516" y="318770"/>
                  </a:lnTo>
                  <a:lnTo>
                    <a:pt x="434060" y="313690"/>
                  </a:lnTo>
                  <a:lnTo>
                    <a:pt x="441426" y="318770"/>
                  </a:lnTo>
                  <a:lnTo>
                    <a:pt x="441426" y="317347"/>
                  </a:lnTo>
                  <a:lnTo>
                    <a:pt x="436333" y="313690"/>
                  </a:lnTo>
                  <a:lnTo>
                    <a:pt x="434568" y="312420"/>
                  </a:lnTo>
                  <a:lnTo>
                    <a:pt x="441375" y="308610"/>
                  </a:lnTo>
                  <a:lnTo>
                    <a:pt x="441642" y="317500"/>
                  </a:lnTo>
                  <a:lnTo>
                    <a:pt x="441642" y="297180"/>
                  </a:lnTo>
                  <a:lnTo>
                    <a:pt x="441363" y="287020"/>
                  </a:lnTo>
                  <a:lnTo>
                    <a:pt x="441350" y="286600"/>
                  </a:lnTo>
                  <a:lnTo>
                    <a:pt x="441350" y="307340"/>
                  </a:lnTo>
                  <a:lnTo>
                    <a:pt x="434594" y="302260"/>
                  </a:lnTo>
                  <a:lnTo>
                    <a:pt x="441096" y="298450"/>
                  </a:lnTo>
                  <a:lnTo>
                    <a:pt x="441350" y="307340"/>
                  </a:lnTo>
                  <a:lnTo>
                    <a:pt x="441350" y="286600"/>
                  </a:lnTo>
                  <a:lnTo>
                    <a:pt x="441325" y="285750"/>
                  </a:lnTo>
                  <a:lnTo>
                    <a:pt x="441083" y="276860"/>
                  </a:lnTo>
                  <a:lnTo>
                    <a:pt x="441071" y="276440"/>
                  </a:lnTo>
                  <a:lnTo>
                    <a:pt x="441071" y="297180"/>
                  </a:lnTo>
                  <a:lnTo>
                    <a:pt x="440905" y="297053"/>
                  </a:lnTo>
                  <a:lnTo>
                    <a:pt x="440905" y="297180"/>
                  </a:lnTo>
                  <a:lnTo>
                    <a:pt x="434098" y="302260"/>
                  </a:lnTo>
                  <a:lnTo>
                    <a:pt x="440728" y="307340"/>
                  </a:lnTo>
                  <a:lnTo>
                    <a:pt x="440702" y="308610"/>
                  </a:lnTo>
                  <a:lnTo>
                    <a:pt x="434060" y="312420"/>
                  </a:lnTo>
                  <a:lnTo>
                    <a:pt x="433552" y="312140"/>
                  </a:lnTo>
                  <a:lnTo>
                    <a:pt x="433552" y="312420"/>
                  </a:lnTo>
                  <a:lnTo>
                    <a:pt x="426008" y="318770"/>
                  </a:lnTo>
                  <a:lnTo>
                    <a:pt x="426389" y="308610"/>
                  </a:lnTo>
                  <a:lnTo>
                    <a:pt x="433552" y="312420"/>
                  </a:lnTo>
                  <a:lnTo>
                    <a:pt x="433552" y="312140"/>
                  </a:lnTo>
                  <a:lnTo>
                    <a:pt x="427393" y="308610"/>
                  </a:lnTo>
                  <a:lnTo>
                    <a:pt x="440702" y="308610"/>
                  </a:lnTo>
                  <a:lnTo>
                    <a:pt x="440702" y="307340"/>
                  </a:lnTo>
                  <a:lnTo>
                    <a:pt x="427380" y="307340"/>
                  </a:lnTo>
                  <a:lnTo>
                    <a:pt x="434098" y="302260"/>
                  </a:lnTo>
                  <a:lnTo>
                    <a:pt x="433590" y="301879"/>
                  </a:lnTo>
                  <a:lnTo>
                    <a:pt x="433590" y="302260"/>
                  </a:lnTo>
                  <a:lnTo>
                    <a:pt x="426402" y="307340"/>
                  </a:lnTo>
                  <a:lnTo>
                    <a:pt x="426720" y="298450"/>
                  </a:lnTo>
                  <a:lnTo>
                    <a:pt x="426783" y="297205"/>
                  </a:lnTo>
                  <a:lnTo>
                    <a:pt x="433590" y="302260"/>
                  </a:lnTo>
                  <a:lnTo>
                    <a:pt x="433590" y="301879"/>
                  </a:lnTo>
                  <a:lnTo>
                    <a:pt x="427393" y="297180"/>
                  </a:lnTo>
                  <a:lnTo>
                    <a:pt x="434200" y="292100"/>
                  </a:lnTo>
                  <a:lnTo>
                    <a:pt x="440905" y="297180"/>
                  </a:lnTo>
                  <a:lnTo>
                    <a:pt x="440905" y="297053"/>
                  </a:lnTo>
                  <a:lnTo>
                    <a:pt x="434657" y="292100"/>
                  </a:lnTo>
                  <a:lnTo>
                    <a:pt x="436194" y="290830"/>
                  </a:lnTo>
                  <a:lnTo>
                    <a:pt x="440804" y="287020"/>
                  </a:lnTo>
                  <a:lnTo>
                    <a:pt x="441071" y="297180"/>
                  </a:lnTo>
                  <a:lnTo>
                    <a:pt x="441071" y="276440"/>
                  </a:lnTo>
                  <a:lnTo>
                    <a:pt x="441045" y="275590"/>
                  </a:lnTo>
                  <a:lnTo>
                    <a:pt x="440791" y="266700"/>
                  </a:lnTo>
                  <a:lnTo>
                    <a:pt x="440778" y="266192"/>
                  </a:lnTo>
                  <a:lnTo>
                    <a:pt x="440778" y="285750"/>
                  </a:lnTo>
                  <a:lnTo>
                    <a:pt x="440232" y="285292"/>
                  </a:lnTo>
                  <a:lnTo>
                    <a:pt x="440232" y="285750"/>
                  </a:lnTo>
                  <a:lnTo>
                    <a:pt x="440220" y="287020"/>
                  </a:lnTo>
                  <a:lnTo>
                    <a:pt x="434200" y="290830"/>
                  </a:lnTo>
                  <a:lnTo>
                    <a:pt x="433730" y="290537"/>
                  </a:lnTo>
                  <a:lnTo>
                    <a:pt x="433730" y="292100"/>
                  </a:lnTo>
                  <a:lnTo>
                    <a:pt x="426796" y="297180"/>
                  </a:lnTo>
                  <a:lnTo>
                    <a:pt x="427202" y="287020"/>
                  </a:lnTo>
                  <a:lnTo>
                    <a:pt x="433730" y="292100"/>
                  </a:lnTo>
                  <a:lnTo>
                    <a:pt x="433730" y="290537"/>
                  </a:lnTo>
                  <a:lnTo>
                    <a:pt x="428231" y="287020"/>
                  </a:lnTo>
                  <a:lnTo>
                    <a:pt x="440220" y="287020"/>
                  </a:lnTo>
                  <a:lnTo>
                    <a:pt x="440220" y="285750"/>
                  </a:lnTo>
                  <a:lnTo>
                    <a:pt x="428244" y="285750"/>
                  </a:lnTo>
                  <a:lnTo>
                    <a:pt x="434251" y="281940"/>
                  </a:lnTo>
                  <a:lnTo>
                    <a:pt x="440232" y="285750"/>
                  </a:lnTo>
                  <a:lnTo>
                    <a:pt x="440232" y="285292"/>
                  </a:lnTo>
                  <a:lnTo>
                    <a:pt x="436232" y="281940"/>
                  </a:lnTo>
                  <a:lnTo>
                    <a:pt x="434721" y="280670"/>
                  </a:lnTo>
                  <a:lnTo>
                    <a:pt x="440524" y="276860"/>
                  </a:lnTo>
                  <a:lnTo>
                    <a:pt x="440778" y="285750"/>
                  </a:lnTo>
                  <a:lnTo>
                    <a:pt x="440778" y="266192"/>
                  </a:lnTo>
                  <a:lnTo>
                    <a:pt x="440728" y="264160"/>
                  </a:lnTo>
                  <a:lnTo>
                    <a:pt x="440690" y="262890"/>
                  </a:lnTo>
                  <a:lnTo>
                    <a:pt x="441972" y="266700"/>
                  </a:lnTo>
                  <a:lnTo>
                    <a:pt x="456907" y="292100"/>
                  </a:lnTo>
                  <a:lnTo>
                    <a:pt x="458419" y="292100"/>
                  </a:lnTo>
                  <a:lnTo>
                    <a:pt x="456958" y="290830"/>
                  </a:lnTo>
                  <a:lnTo>
                    <a:pt x="455676" y="290830"/>
                  </a:lnTo>
                  <a:lnTo>
                    <a:pt x="452297" y="287020"/>
                  </a:lnTo>
                  <a:lnTo>
                    <a:pt x="450570" y="284480"/>
                  </a:lnTo>
                  <a:lnTo>
                    <a:pt x="447497" y="279400"/>
                  </a:lnTo>
                  <a:lnTo>
                    <a:pt x="446189" y="276860"/>
                  </a:lnTo>
                  <a:lnTo>
                    <a:pt x="444982" y="273050"/>
                  </a:lnTo>
                  <a:lnTo>
                    <a:pt x="443382" y="269240"/>
                  </a:lnTo>
                  <a:lnTo>
                    <a:pt x="441998" y="265430"/>
                  </a:lnTo>
                  <a:lnTo>
                    <a:pt x="441121" y="262890"/>
                  </a:lnTo>
                  <a:lnTo>
                    <a:pt x="440677" y="261620"/>
                  </a:lnTo>
                  <a:lnTo>
                    <a:pt x="440613" y="259080"/>
                  </a:lnTo>
                  <a:lnTo>
                    <a:pt x="440486" y="254469"/>
                  </a:lnTo>
                  <a:lnTo>
                    <a:pt x="440486" y="275590"/>
                  </a:lnTo>
                  <a:lnTo>
                    <a:pt x="440334" y="275450"/>
                  </a:lnTo>
                  <a:lnTo>
                    <a:pt x="440334" y="275590"/>
                  </a:lnTo>
                  <a:lnTo>
                    <a:pt x="434251" y="280670"/>
                  </a:lnTo>
                  <a:lnTo>
                    <a:pt x="428409" y="275590"/>
                  </a:lnTo>
                  <a:lnTo>
                    <a:pt x="434594" y="271780"/>
                  </a:lnTo>
                  <a:lnTo>
                    <a:pt x="440334" y="275590"/>
                  </a:lnTo>
                  <a:lnTo>
                    <a:pt x="440334" y="275450"/>
                  </a:lnTo>
                  <a:lnTo>
                    <a:pt x="436397" y="271780"/>
                  </a:lnTo>
                  <a:lnTo>
                    <a:pt x="435038" y="270510"/>
                  </a:lnTo>
                  <a:lnTo>
                    <a:pt x="440258" y="266700"/>
                  </a:lnTo>
                  <a:lnTo>
                    <a:pt x="440486" y="275590"/>
                  </a:lnTo>
                  <a:lnTo>
                    <a:pt x="440486" y="254469"/>
                  </a:lnTo>
                  <a:lnTo>
                    <a:pt x="440474" y="254000"/>
                  </a:lnTo>
                  <a:lnTo>
                    <a:pt x="440207" y="244729"/>
                  </a:lnTo>
                  <a:lnTo>
                    <a:pt x="440207" y="265430"/>
                  </a:lnTo>
                  <a:lnTo>
                    <a:pt x="434594" y="270510"/>
                  </a:lnTo>
                  <a:lnTo>
                    <a:pt x="434149" y="270141"/>
                  </a:lnTo>
                  <a:lnTo>
                    <a:pt x="434149" y="270510"/>
                  </a:lnTo>
                  <a:lnTo>
                    <a:pt x="427774" y="275590"/>
                  </a:lnTo>
                  <a:lnTo>
                    <a:pt x="427672" y="276860"/>
                  </a:lnTo>
                  <a:lnTo>
                    <a:pt x="433793" y="280670"/>
                  </a:lnTo>
                  <a:lnTo>
                    <a:pt x="427202" y="285750"/>
                  </a:lnTo>
                  <a:lnTo>
                    <a:pt x="428193" y="260350"/>
                  </a:lnTo>
                  <a:lnTo>
                    <a:pt x="428790" y="245110"/>
                  </a:lnTo>
                  <a:lnTo>
                    <a:pt x="431482" y="247650"/>
                  </a:lnTo>
                  <a:lnTo>
                    <a:pt x="431076" y="248920"/>
                  </a:lnTo>
                  <a:lnTo>
                    <a:pt x="430174" y="251460"/>
                  </a:lnTo>
                  <a:lnTo>
                    <a:pt x="428637" y="252730"/>
                  </a:lnTo>
                  <a:lnTo>
                    <a:pt x="428498" y="255270"/>
                  </a:lnTo>
                  <a:lnTo>
                    <a:pt x="428993" y="255270"/>
                  </a:lnTo>
                  <a:lnTo>
                    <a:pt x="428383" y="257479"/>
                  </a:lnTo>
                  <a:lnTo>
                    <a:pt x="429158" y="255270"/>
                  </a:lnTo>
                  <a:lnTo>
                    <a:pt x="433349" y="258991"/>
                  </a:lnTo>
                  <a:lnTo>
                    <a:pt x="433349" y="259207"/>
                  </a:lnTo>
                  <a:lnTo>
                    <a:pt x="432269" y="260350"/>
                  </a:lnTo>
                  <a:lnTo>
                    <a:pt x="432066" y="260350"/>
                  </a:lnTo>
                  <a:lnTo>
                    <a:pt x="428180" y="264160"/>
                  </a:lnTo>
                  <a:lnTo>
                    <a:pt x="428053" y="265430"/>
                  </a:lnTo>
                  <a:lnTo>
                    <a:pt x="434149" y="270510"/>
                  </a:lnTo>
                  <a:lnTo>
                    <a:pt x="434149" y="270141"/>
                  </a:lnTo>
                  <a:lnTo>
                    <a:pt x="428612" y="265430"/>
                  </a:lnTo>
                  <a:lnTo>
                    <a:pt x="428688" y="264160"/>
                  </a:lnTo>
                  <a:lnTo>
                    <a:pt x="432955" y="260350"/>
                  </a:lnTo>
                  <a:lnTo>
                    <a:pt x="434695" y="260350"/>
                  </a:lnTo>
                  <a:lnTo>
                    <a:pt x="440207" y="265430"/>
                  </a:lnTo>
                  <a:lnTo>
                    <a:pt x="440207" y="244729"/>
                  </a:lnTo>
                  <a:lnTo>
                    <a:pt x="440182" y="243840"/>
                  </a:lnTo>
                  <a:lnTo>
                    <a:pt x="440182" y="264160"/>
                  </a:lnTo>
                  <a:lnTo>
                    <a:pt x="435533" y="260350"/>
                  </a:lnTo>
                  <a:lnTo>
                    <a:pt x="435356" y="260350"/>
                  </a:lnTo>
                  <a:lnTo>
                    <a:pt x="434352" y="259080"/>
                  </a:lnTo>
                  <a:lnTo>
                    <a:pt x="438581" y="256540"/>
                  </a:lnTo>
                  <a:lnTo>
                    <a:pt x="438950" y="256540"/>
                  </a:lnTo>
                  <a:lnTo>
                    <a:pt x="439381" y="257810"/>
                  </a:lnTo>
                  <a:lnTo>
                    <a:pt x="439737" y="258991"/>
                  </a:lnTo>
                  <a:lnTo>
                    <a:pt x="439648" y="259207"/>
                  </a:lnTo>
                  <a:lnTo>
                    <a:pt x="438531" y="260350"/>
                  </a:lnTo>
                  <a:lnTo>
                    <a:pt x="440093" y="260350"/>
                  </a:lnTo>
                  <a:lnTo>
                    <a:pt x="440182" y="264160"/>
                  </a:lnTo>
                  <a:lnTo>
                    <a:pt x="440182" y="243840"/>
                  </a:lnTo>
                  <a:lnTo>
                    <a:pt x="441439" y="242570"/>
                  </a:lnTo>
                  <a:lnTo>
                    <a:pt x="445338" y="238633"/>
                  </a:lnTo>
                  <a:lnTo>
                    <a:pt x="445020" y="238175"/>
                  </a:lnTo>
                  <a:lnTo>
                    <a:pt x="445020" y="238760"/>
                  </a:lnTo>
                  <a:lnTo>
                    <a:pt x="440169" y="242570"/>
                  </a:lnTo>
                  <a:lnTo>
                    <a:pt x="440055" y="238760"/>
                  </a:lnTo>
                  <a:lnTo>
                    <a:pt x="440055" y="259029"/>
                  </a:lnTo>
                  <a:lnTo>
                    <a:pt x="439902" y="259080"/>
                  </a:lnTo>
                  <a:lnTo>
                    <a:pt x="439089" y="256540"/>
                  </a:lnTo>
                  <a:lnTo>
                    <a:pt x="438708" y="255270"/>
                  </a:lnTo>
                  <a:lnTo>
                    <a:pt x="439940" y="255270"/>
                  </a:lnTo>
                  <a:lnTo>
                    <a:pt x="440055" y="259029"/>
                  </a:lnTo>
                  <a:lnTo>
                    <a:pt x="440055" y="238760"/>
                  </a:lnTo>
                  <a:lnTo>
                    <a:pt x="439902" y="233680"/>
                  </a:lnTo>
                  <a:lnTo>
                    <a:pt x="439902" y="254000"/>
                  </a:lnTo>
                  <a:lnTo>
                    <a:pt x="439750" y="253847"/>
                  </a:lnTo>
                  <a:lnTo>
                    <a:pt x="439750" y="254000"/>
                  </a:lnTo>
                  <a:lnTo>
                    <a:pt x="438531" y="255270"/>
                  </a:lnTo>
                  <a:lnTo>
                    <a:pt x="437756" y="252730"/>
                  </a:lnTo>
                  <a:lnTo>
                    <a:pt x="439750" y="254000"/>
                  </a:lnTo>
                  <a:lnTo>
                    <a:pt x="439750" y="253847"/>
                  </a:lnTo>
                  <a:lnTo>
                    <a:pt x="438683" y="252730"/>
                  </a:lnTo>
                  <a:lnTo>
                    <a:pt x="437464" y="251460"/>
                  </a:lnTo>
                  <a:lnTo>
                    <a:pt x="437248" y="250786"/>
                  </a:lnTo>
                  <a:lnTo>
                    <a:pt x="437248" y="251460"/>
                  </a:lnTo>
                  <a:lnTo>
                    <a:pt x="434390" y="248920"/>
                  </a:lnTo>
                  <a:lnTo>
                    <a:pt x="436118" y="247650"/>
                  </a:lnTo>
                  <a:lnTo>
                    <a:pt x="436460" y="248920"/>
                  </a:lnTo>
                  <a:lnTo>
                    <a:pt x="437248" y="251460"/>
                  </a:lnTo>
                  <a:lnTo>
                    <a:pt x="437248" y="250786"/>
                  </a:lnTo>
                  <a:lnTo>
                    <a:pt x="436245" y="247650"/>
                  </a:lnTo>
                  <a:lnTo>
                    <a:pt x="439661" y="243840"/>
                  </a:lnTo>
                  <a:lnTo>
                    <a:pt x="439902" y="254000"/>
                  </a:lnTo>
                  <a:lnTo>
                    <a:pt x="439902" y="233680"/>
                  </a:lnTo>
                  <a:lnTo>
                    <a:pt x="439864" y="232410"/>
                  </a:lnTo>
                  <a:lnTo>
                    <a:pt x="445020" y="238760"/>
                  </a:lnTo>
                  <a:lnTo>
                    <a:pt x="445020" y="238175"/>
                  </a:lnTo>
                  <a:lnTo>
                    <a:pt x="441020" y="232410"/>
                  </a:lnTo>
                  <a:lnTo>
                    <a:pt x="440143" y="231140"/>
                  </a:lnTo>
                  <a:lnTo>
                    <a:pt x="440372" y="231140"/>
                  </a:lnTo>
                  <a:lnTo>
                    <a:pt x="444804" y="227330"/>
                  </a:lnTo>
                  <a:lnTo>
                    <a:pt x="445871" y="231140"/>
                  </a:lnTo>
                  <a:lnTo>
                    <a:pt x="445211" y="228600"/>
                  </a:lnTo>
                  <a:lnTo>
                    <a:pt x="444868" y="227330"/>
                  </a:lnTo>
                  <a:lnTo>
                    <a:pt x="446265" y="226060"/>
                  </a:lnTo>
                  <a:lnTo>
                    <a:pt x="447840" y="231140"/>
                  </a:lnTo>
                  <a:lnTo>
                    <a:pt x="448030" y="231140"/>
                  </a:lnTo>
                  <a:lnTo>
                    <a:pt x="449148" y="234950"/>
                  </a:lnTo>
                  <a:lnTo>
                    <a:pt x="447560" y="236220"/>
                  </a:lnTo>
                  <a:lnTo>
                    <a:pt x="447052" y="234950"/>
                  </a:lnTo>
                  <a:lnTo>
                    <a:pt x="446125" y="231140"/>
                  </a:lnTo>
                  <a:lnTo>
                    <a:pt x="446989" y="234950"/>
                  </a:lnTo>
                  <a:lnTo>
                    <a:pt x="447509" y="236220"/>
                  </a:lnTo>
                  <a:lnTo>
                    <a:pt x="446519" y="237439"/>
                  </a:lnTo>
                  <a:lnTo>
                    <a:pt x="447713" y="236220"/>
                  </a:lnTo>
                  <a:lnTo>
                    <a:pt x="448602" y="240030"/>
                  </a:lnTo>
                  <a:lnTo>
                    <a:pt x="449516" y="242570"/>
                  </a:lnTo>
                  <a:lnTo>
                    <a:pt x="450227" y="244271"/>
                  </a:lnTo>
                  <a:lnTo>
                    <a:pt x="449554" y="242570"/>
                  </a:lnTo>
                  <a:lnTo>
                    <a:pt x="448640" y="240030"/>
                  </a:lnTo>
                  <a:lnTo>
                    <a:pt x="447763" y="236220"/>
                  </a:lnTo>
                  <a:lnTo>
                    <a:pt x="449326" y="234950"/>
                  </a:lnTo>
                  <a:lnTo>
                    <a:pt x="455231" y="254000"/>
                  </a:lnTo>
                  <a:lnTo>
                    <a:pt x="455358" y="254254"/>
                  </a:lnTo>
                  <a:lnTo>
                    <a:pt x="456895" y="258991"/>
                  </a:lnTo>
                  <a:lnTo>
                    <a:pt x="456006" y="257810"/>
                  </a:lnTo>
                  <a:lnTo>
                    <a:pt x="456920" y="259080"/>
                  </a:lnTo>
                  <a:lnTo>
                    <a:pt x="456996" y="259207"/>
                  </a:lnTo>
                  <a:lnTo>
                    <a:pt x="459968" y="267970"/>
                  </a:lnTo>
                  <a:lnTo>
                    <a:pt x="462229" y="270471"/>
                  </a:lnTo>
                  <a:lnTo>
                    <a:pt x="462305" y="269240"/>
                  </a:lnTo>
                  <a:lnTo>
                    <a:pt x="460768" y="267970"/>
                  </a:lnTo>
                  <a:lnTo>
                    <a:pt x="460590" y="267970"/>
                  </a:lnTo>
                  <a:lnTo>
                    <a:pt x="462470" y="265430"/>
                  </a:lnTo>
                  <a:lnTo>
                    <a:pt x="462597" y="264210"/>
                  </a:lnTo>
                  <a:lnTo>
                    <a:pt x="462127" y="265430"/>
                  </a:lnTo>
                  <a:lnTo>
                    <a:pt x="460235" y="267970"/>
                  </a:lnTo>
                  <a:lnTo>
                    <a:pt x="457923" y="260451"/>
                  </a:lnTo>
                  <a:lnTo>
                    <a:pt x="456615" y="256540"/>
                  </a:lnTo>
                  <a:lnTo>
                    <a:pt x="462749" y="261594"/>
                  </a:lnTo>
                  <a:lnTo>
                    <a:pt x="462813" y="260350"/>
                  </a:lnTo>
                  <a:lnTo>
                    <a:pt x="457987" y="256540"/>
                  </a:lnTo>
                  <a:lnTo>
                    <a:pt x="456374" y="255270"/>
                  </a:lnTo>
                  <a:lnTo>
                    <a:pt x="455663" y="254000"/>
                  </a:lnTo>
                  <a:lnTo>
                    <a:pt x="457517" y="252730"/>
                  </a:lnTo>
                  <a:lnTo>
                    <a:pt x="461213" y="250190"/>
                  </a:lnTo>
                  <a:lnTo>
                    <a:pt x="463232" y="247980"/>
                  </a:lnTo>
                  <a:lnTo>
                    <a:pt x="461149" y="250190"/>
                  </a:lnTo>
                  <a:lnTo>
                    <a:pt x="456844" y="252730"/>
                  </a:lnTo>
                  <a:lnTo>
                    <a:pt x="455612" y="252730"/>
                  </a:lnTo>
                  <a:lnTo>
                    <a:pt x="449694" y="234950"/>
                  </a:lnTo>
                  <a:lnTo>
                    <a:pt x="451027" y="233680"/>
                  </a:lnTo>
                  <a:lnTo>
                    <a:pt x="453694" y="231140"/>
                  </a:lnTo>
                  <a:lnTo>
                    <a:pt x="454152" y="229870"/>
                  </a:lnTo>
                  <a:lnTo>
                    <a:pt x="454507" y="228600"/>
                  </a:lnTo>
                  <a:lnTo>
                    <a:pt x="455472" y="227330"/>
                  </a:lnTo>
                  <a:lnTo>
                    <a:pt x="458368" y="223520"/>
                  </a:lnTo>
                  <a:lnTo>
                    <a:pt x="459333" y="227330"/>
                  </a:lnTo>
                  <a:lnTo>
                    <a:pt x="460362" y="229870"/>
                  </a:lnTo>
                  <a:lnTo>
                    <a:pt x="462851" y="236220"/>
                  </a:lnTo>
                  <a:lnTo>
                    <a:pt x="464070" y="238747"/>
                  </a:lnTo>
                  <a:lnTo>
                    <a:pt x="464108" y="237490"/>
                  </a:lnTo>
                  <a:lnTo>
                    <a:pt x="463080" y="236220"/>
                  </a:lnTo>
                  <a:lnTo>
                    <a:pt x="460590" y="229870"/>
                  </a:lnTo>
                  <a:lnTo>
                    <a:pt x="459549" y="227330"/>
                  </a:lnTo>
                  <a:lnTo>
                    <a:pt x="458584" y="223520"/>
                  </a:lnTo>
                  <a:lnTo>
                    <a:pt x="460260" y="222250"/>
                  </a:lnTo>
                  <a:lnTo>
                    <a:pt x="465023" y="222250"/>
                  </a:lnTo>
                  <a:lnTo>
                    <a:pt x="465099" y="220980"/>
                  </a:lnTo>
                  <a:lnTo>
                    <a:pt x="467080" y="186715"/>
                  </a:lnTo>
                  <a:lnTo>
                    <a:pt x="466953" y="187109"/>
                  </a:lnTo>
                  <a:lnTo>
                    <a:pt x="466953" y="187960"/>
                  </a:lnTo>
                  <a:lnTo>
                    <a:pt x="465074" y="220980"/>
                  </a:lnTo>
                  <a:lnTo>
                    <a:pt x="459676" y="220980"/>
                  </a:lnTo>
                  <a:lnTo>
                    <a:pt x="459676" y="222250"/>
                  </a:lnTo>
                  <a:lnTo>
                    <a:pt x="458406" y="223520"/>
                  </a:lnTo>
                  <a:lnTo>
                    <a:pt x="458203" y="223012"/>
                  </a:lnTo>
                  <a:lnTo>
                    <a:pt x="458203" y="223520"/>
                  </a:lnTo>
                  <a:lnTo>
                    <a:pt x="454863" y="227330"/>
                  </a:lnTo>
                  <a:lnTo>
                    <a:pt x="456666" y="222250"/>
                  </a:lnTo>
                  <a:lnTo>
                    <a:pt x="457619" y="222250"/>
                  </a:lnTo>
                  <a:lnTo>
                    <a:pt x="458203" y="223520"/>
                  </a:lnTo>
                  <a:lnTo>
                    <a:pt x="458203" y="223012"/>
                  </a:lnTo>
                  <a:lnTo>
                    <a:pt x="457898" y="222250"/>
                  </a:lnTo>
                  <a:lnTo>
                    <a:pt x="459676" y="222250"/>
                  </a:lnTo>
                  <a:lnTo>
                    <a:pt x="459676" y="220980"/>
                  </a:lnTo>
                  <a:lnTo>
                    <a:pt x="457771" y="220980"/>
                  </a:lnTo>
                  <a:lnTo>
                    <a:pt x="457288" y="219710"/>
                  </a:lnTo>
                  <a:lnTo>
                    <a:pt x="466953" y="187960"/>
                  </a:lnTo>
                  <a:lnTo>
                    <a:pt x="466953" y="187109"/>
                  </a:lnTo>
                  <a:lnTo>
                    <a:pt x="466674" y="187960"/>
                  </a:lnTo>
                  <a:lnTo>
                    <a:pt x="461327" y="180340"/>
                  </a:lnTo>
                  <a:lnTo>
                    <a:pt x="467715" y="175260"/>
                  </a:lnTo>
                  <a:lnTo>
                    <a:pt x="467220" y="184124"/>
                  </a:lnTo>
                  <a:lnTo>
                    <a:pt x="467741" y="175260"/>
                  </a:lnTo>
                  <a:lnTo>
                    <a:pt x="467956" y="171450"/>
                  </a:lnTo>
                  <a:close/>
                </a:path>
              </a:pathLst>
            </a:custGeom>
            <a:solidFill>
              <a:srgbClr val="00364C"/>
            </a:solidFill>
          </p:spPr>
          <p:txBody>
            <a:bodyPr wrap="square" lIns="0" tIns="0" rIns="0" bIns="0" rtlCol="0"/>
            <a:lstStyle/>
            <a:p>
              <a:endParaRPr/>
            </a:p>
          </p:txBody>
        </p:sp>
        <p:pic>
          <p:nvPicPr>
            <p:cNvPr id="8" name="object 8"/>
            <p:cNvPicPr/>
            <p:nvPr/>
          </p:nvPicPr>
          <p:blipFill>
            <a:blip r:embed="rId3" cstate="print"/>
            <a:stretch>
              <a:fillRect/>
            </a:stretch>
          </p:blipFill>
          <p:spPr>
            <a:xfrm>
              <a:off x="0" y="6431005"/>
              <a:ext cx="226604" cy="251462"/>
            </a:xfrm>
            <a:prstGeom prst="rect">
              <a:avLst/>
            </a:prstGeom>
          </p:spPr>
        </p:pic>
        <p:sp>
          <p:nvSpPr>
            <p:cNvPr id="9" name="object 9"/>
            <p:cNvSpPr/>
            <p:nvPr/>
          </p:nvSpPr>
          <p:spPr>
            <a:xfrm>
              <a:off x="0" y="6094653"/>
              <a:ext cx="5760085" cy="742315"/>
            </a:xfrm>
            <a:custGeom>
              <a:avLst/>
              <a:gdLst/>
              <a:ahLst/>
              <a:cxnLst/>
              <a:rect l="l" t="t" r="r" b="b"/>
              <a:pathLst>
                <a:path w="5760085" h="742315">
                  <a:moveTo>
                    <a:pt x="3131693" y="90474"/>
                  </a:moveTo>
                  <a:lnTo>
                    <a:pt x="3128581" y="87934"/>
                  </a:lnTo>
                  <a:lnTo>
                    <a:pt x="3125647" y="87934"/>
                  </a:lnTo>
                  <a:lnTo>
                    <a:pt x="3127311" y="86664"/>
                  </a:lnTo>
                  <a:lnTo>
                    <a:pt x="3122218" y="86664"/>
                  </a:lnTo>
                  <a:lnTo>
                    <a:pt x="3121380" y="85394"/>
                  </a:lnTo>
                  <a:lnTo>
                    <a:pt x="3129254" y="84124"/>
                  </a:lnTo>
                  <a:lnTo>
                    <a:pt x="3123996" y="81584"/>
                  </a:lnTo>
                  <a:lnTo>
                    <a:pt x="3127857" y="76504"/>
                  </a:lnTo>
                  <a:lnTo>
                    <a:pt x="3128822" y="75234"/>
                  </a:lnTo>
                  <a:lnTo>
                    <a:pt x="3123171" y="76504"/>
                  </a:lnTo>
                  <a:lnTo>
                    <a:pt x="3119742" y="75234"/>
                  </a:lnTo>
                  <a:lnTo>
                    <a:pt x="3120301" y="75234"/>
                  </a:lnTo>
                  <a:lnTo>
                    <a:pt x="3122231" y="73964"/>
                  </a:lnTo>
                  <a:lnTo>
                    <a:pt x="3121583" y="73964"/>
                  </a:lnTo>
                  <a:lnTo>
                    <a:pt x="3122180" y="72694"/>
                  </a:lnTo>
                  <a:lnTo>
                    <a:pt x="3123044" y="71424"/>
                  </a:lnTo>
                  <a:lnTo>
                    <a:pt x="3118802" y="72694"/>
                  </a:lnTo>
                  <a:lnTo>
                    <a:pt x="3117037" y="71424"/>
                  </a:lnTo>
                  <a:lnTo>
                    <a:pt x="3115830" y="71424"/>
                  </a:lnTo>
                  <a:lnTo>
                    <a:pt x="3119805" y="67614"/>
                  </a:lnTo>
                  <a:lnTo>
                    <a:pt x="3113836" y="65074"/>
                  </a:lnTo>
                  <a:lnTo>
                    <a:pt x="3113316" y="58724"/>
                  </a:lnTo>
                  <a:lnTo>
                    <a:pt x="3112579" y="49834"/>
                  </a:lnTo>
                  <a:lnTo>
                    <a:pt x="3111436" y="44754"/>
                  </a:lnTo>
                  <a:lnTo>
                    <a:pt x="3109836" y="47294"/>
                  </a:lnTo>
                  <a:lnTo>
                    <a:pt x="3109531" y="58724"/>
                  </a:lnTo>
                  <a:lnTo>
                    <a:pt x="3109201" y="58724"/>
                  </a:lnTo>
                  <a:lnTo>
                    <a:pt x="3108883" y="47294"/>
                  </a:lnTo>
                  <a:lnTo>
                    <a:pt x="3107296" y="44754"/>
                  </a:lnTo>
                  <a:lnTo>
                    <a:pt x="3106140" y="49834"/>
                  </a:lnTo>
                  <a:lnTo>
                    <a:pt x="3104883" y="65074"/>
                  </a:lnTo>
                  <a:lnTo>
                    <a:pt x="3098914" y="67614"/>
                  </a:lnTo>
                  <a:lnTo>
                    <a:pt x="3102889" y="71424"/>
                  </a:lnTo>
                  <a:lnTo>
                    <a:pt x="3099917" y="72694"/>
                  </a:lnTo>
                  <a:lnTo>
                    <a:pt x="3095675" y="71424"/>
                  </a:lnTo>
                  <a:lnTo>
                    <a:pt x="3097149" y="73964"/>
                  </a:lnTo>
                  <a:lnTo>
                    <a:pt x="3096501" y="73964"/>
                  </a:lnTo>
                  <a:lnTo>
                    <a:pt x="3098419" y="75234"/>
                  </a:lnTo>
                  <a:lnTo>
                    <a:pt x="3098977" y="75234"/>
                  </a:lnTo>
                  <a:lnTo>
                    <a:pt x="3095548" y="76504"/>
                  </a:lnTo>
                  <a:lnTo>
                    <a:pt x="3089897" y="75234"/>
                  </a:lnTo>
                  <a:lnTo>
                    <a:pt x="3094736" y="81584"/>
                  </a:lnTo>
                  <a:lnTo>
                    <a:pt x="3089478" y="84124"/>
                  </a:lnTo>
                  <a:lnTo>
                    <a:pt x="3097339" y="85394"/>
                  </a:lnTo>
                  <a:lnTo>
                    <a:pt x="3096514" y="86664"/>
                  </a:lnTo>
                  <a:lnTo>
                    <a:pt x="3091421" y="86664"/>
                  </a:lnTo>
                  <a:lnTo>
                    <a:pt x="3093085" y="87934"/>
                  </a:lnTo>
                  <a:lnTo>
                    <a:pt x="3090151" y="87934"/>
                  </a:lnTo>
                  <a:lnTo>
                    <a:pt x="3085719" y="90474"/>
                  </a:lnTo>
                  <a:lnTo>
                    <a:pt x="3092056" y="91744"/>
                  </a:lnTo>
                  <a:lnTo>
                    <a:pt x="3089579" y="95554"/>
                  </a:lnTo>
                  <a:lnTo>
                    <a:pt x="3096641" y="95554"/>
                  </a:lnTo>
                  <a:lnTo>
                    <a:pt x="3096666" y="99364"/>
                  </a:lnTo>
                  <a:lnTo>
                    <a:pt x="3098800" y="98094"/>
                  </a:lnTo>
                  <a:lnTo>
                    <a:pt x="3099854" y="96824"/>
                  </a:lnTo>
                  <a:lnTo>
                    <a:pt x="3101987" y="95554"/>
                  </a:lnTo>
                  <a:lnTo>
                    <a:pt x="3101937" y="98094"/>
                  </a:lnTo>
                  <a:lnTo>
                    <a:pt x="3099968" y="100634"/>
                  </a:lnTo>
                  <a:lnTo>
                    <a:pt x="3099638" y="101904"/>
                  </a:lnTo>
                  <a:lnTo>
                    <a:pt x="3081045" y="95554"/>
                  </a:lnTo>
                  <a:lnTo>
                    <a:pt x="3082658" y="96824"/>
                  </a:lnTo>
                  <a:lnTo>
                    <a:pt x="3082658" y="100634"/>
                  </a:lnTo>
                  <a:lnTo>
                    <a:pt x="3079623" y="100634"/>
                  </a:lnTo>
                  <a:lnTo>
                    <a:pt x="3083191" y="103174"/>
                  </a:lnTo>
                  <a:lnTo>
                    <a:pt x="3082658" y="103174"/>
                  </a:lnTo>
                  <a:lnTo>
                    <a:pt x="3082658" y="106984"/>
                  </a:lnTo>
                  <a:lnTo>
                    <a:pt x="3077476" y="108254"/>
                  </a:lnTo>
                  <a:lnTo>
                    <a:pt x="3082658" y="112064"/>
                  </a:lnTo>
                  <a:lnTo>
                    <a:pt x="3082658" y="114604"/>
                  </a:lnTo>
                  <a:lnTo>
                    <a:pt x="3082975" y="114604"/>
                  </a:lnTo>
                  <a:lnTo>
                    <a:pt x="3082734" y="118414"/>
                  </a:lnTo>
                  <a:lnTo>
                    <a:pt x="3084995" y="115874"/>
                  </a:lnTo>
                  <a:lnTo>
                    <a:pt x="3086684" y="118414"/>
                  </a:lnTo>
                  <a:lnTo>
                    <a:pt x="3090062" y="115874"/>
                  </a:lnTo>
                  <a:lnTo>
                    <a:pt x="3091383" y="115874"/>
                  </a:lnTo>
                  <a:lnTo>
                    <a:pt x="3090075" y="118414"/>
                  </a:lnTo>
                  <a:lnTo>
                    <a:pt x="3076105" y="122224"/>
                  </a:lnTo>
                  <a:lnTo>
                    <a:pt x="3079712" y="126034"/>
                  </a:lnTo>
                  <a:lnTo>
                    <a:pt x="3077908" y="129844"/>
                  </a:lnTo>
                  <a:lnTo>
                    <a:pt x="3091967" y="126034"/>
                  </a:lnTo>
                  <a:lnTo>
                    <a:pt x="3089491" y="128574"/>
                  </a:lnTo>
                  <a:lnTo>
                    <a:pt x="3082658" y="129844"/>
                  </a:lnTo>
                  <a:lnTo>
                    <a:pt x="3082658" y="132384"/>
                  </a:lnTo>
                  <a:lnTo>
                    <a:pt x="3062960" y="136194"/>
                  </a:lnTo>
                  <a:lnTo>
                    <a:pt x="3070796" y="141274"/>
                  </a:lnTo>
                  <a:lnTo>
                    <a:pt x="3070656" y="145084"/>
                  </a:lnTo>
                  <a:lnTo>
                    <a:pt x="3073806" y="143814"/>
                  </a:lnTo>
                  <a:lnTo>
                    <a:pt x="3069056" y="150164"/>
                  </a:lnTo>
                  <a:lnTo>
                    <a:pt x="3075648" y="146354"/>
                  </a:lnTo>
                  <a:lnTo>
                    <a:pt x="3076308" y="151434"/>
                  </a:lnTo>
                  <a:lnTo>
                    <a:pt x="3079191" y="146354"/>
                  </a:lnTo>
                  <a:lnTo>
                    <a:pt x="3083268" y="145249"/>
                  </a:lnTo>
                  <a:lnTo>
                    <a:pt x="3082937" y="146354"/>
                  </a:lnTo>
                  <a:lnTo>
                    <a:pt x="3082658" y="146354"/>
                  </a:lnTo>
                  <a:lnTo>
                    <a:pt x="3079623" y="150164"/>
                  </a:lnTo>
                  <a:lnTo>
                    <a:pt x="3081591" y="151434"/>
                  </a:lnTo>
                  <a:lnTo>
                    <a:pt x="3072536" y="157784"/>
                  </a:lnTo>
                  <a:lnTo>
                    <a:pt x="3080512" y="159054"/>
                  </a:lnTo>
                  <a:lnTo>
                    <a:pt x="3079762" y="162864"/>
                  </a:lnTo>
                  <a:lnTo>
                    <a:pt x="3092907" y="155244"/>
                  </a:lnTo>
                  <a:lnTo>
                    <a:pt x="3089275" y="159054"/>
                  </a:lnTo>
                  <a:lnTo>
                    <a:pt x="3091281" y="159054"/>
                  </a:lnTo>
                  <a:lnTo>
                    <a:pt x="3090710" y="160324"/>
                  </a:lnTo>
                  <a:lnTo>
                    <a:pt x="3081731" y="165404"/>
                  </a:lnTo>
                  <a:lnTo>
                    <a:pt x="3078226" y="166636"/>
                  </a:lnTo>
                  <a:lnTo>
                    <a:pt x="3078226" y="192074"/>
                  </a:lnTo>
                  <a:lnTo>
                    <a:pt x="3075914" y="197154"/>
                  </a:lnTo>
                  <a:lnTo>
                    <a:pt x="3072371" y="200964"/>
                  </a:lnTo>
                  <a:lnTo>
                    <a:pt x="3070834" y="200964"/>
                  </a:lnTo>
                  <a:lnTo>
                    <a:pt x="3069132" y="200050"/>
                  </a:lnTo>
                  <a:lnTo>
                    <a:pt x="3069132" y="253034"/>
                  </a:lnTo>
                  <a:lnTo>
                    <a:pt x="3065970" y="258114"/>
                  </a:lnTo>
                  <a:lnTo>
                    <a:pt x="3055493" y="251764"/>
                  </a:lnTo>
                  <a:lnTo>
                    <a:pt x="3054566" y="249224"/>
                  </a:lnTo>
                  <a:lnTo>
                    <a:pt x="3056394" y="247954"/>
                  </a:lnTo>
                  <a:lnTo>
                    <a:pt x="3060738" y="254304"/>
                  </a:lnTo>
                  <a:lnTo>
                    <a:pt x="3064853" y="250494"/>
                  </a:lnTo>
                  <a:lnTo>
                    <a:pt x="3067012" y="251764"/>
                  </a:lnTo>
                  <a:lnTo>
                    <a:pt x="3067507" y="250494"/>
                  </a:lnTo>
                  <a:lnTo>
                    <a:pt x="3068345" y="253034"/>
                  </a:lnTo>
                  <a:lnTo>
                    <a:pt x="3069132" y="253034"/>
                  </a:lnTo>
                  <a:lnTo>
                    <a:pt x="3069132" y="200050"/>
                  </a:lnTo>
                  <a:lnTo>
                    <a:pt x="3066123" y="198424"/>
                  </a:lnTo>
                  <a:lnTo>
                    <a:pt x="3063989" y="197281"/>
                  </a:lnTo>
                  <a:lnTo>
                    <a:pt x="3063989" y="212394"/>
                  </a:lnTo>
                  <a:lnTo>
                    <a:pt x="3060179" y="217474"/>
                  </a:lnTo>
                  <a:lnTo>
                    <a:pt x="3058414" y="216204"/>
                  </a:lnTo>
                  <a:lnTo>
                    <a:pt x="3056648" y="214934"/>
                  </a:lnTo>
                  <a:lnTo>
                    <a:pt x="3055366" y="213664"/>
                  </a:lnTo>
                  <a:lnTo>
                    <a:pt x="3063989" y="212394"/>
                  </a:lnTo>
                  <a:lnTo>
                    <a:pt x="3063989" y="197281"/>
                  </a:lnTo>
                  <a:lnTo>
                    <a:pt x="3061424" y="195884"/>
                  </a:lnTo>
                  <a:lnTo>
                    <a:pt x="3063316" y="194614"/>
                  </a:lnTo>
                  <a:lnTo>
                    <a:pt x="3068993" y="190804"/>
                  </a:lnTo>
                  <a:lnTo>
                    <a:pt x="3070301" y="198424"/>
                  </a:lnTo>
                  <a:lnTo>
                    <a:pt x="3078226" y="192074"/>
                  </a:lnTo>
                  <a:lnTo>
                    <a:pt x="3078226" y="166636"/>
                  </a:lnTo>
                  <a:lnTo>
                    <a:pt x="3074479" y="167944"/>
                  </a:lnTo>
                  <a:lnTo>
                    <a:pt x="3077921" y="170484"/>
                  </a:lnTo>
                  <a:lnTo>
                    <a:pt x="3075902" y="173024"/>
                  </a:lnTo>
                  <a:lnTo>
                    <a:pt x="3065145" y="174586"/>
                  </a:lnTo>
                  <a:lnTo>
                    <a:pt x="3065145" y="185724"/>
                  </a:lnTo>
                  <a:lnTo>
                    <a:pt x="3055137" y="192049"/>
                  </a:lnTo>
                  <a:lnTo>
                    <a:pt x="3055137" y="207314"/>
                  </a:lnTo>
                  <a:lnTo>
                    <a:pt x="3050857" y="208584"/>
                  </a:lnTo>
                  <a:lnTo>
                    <a:pt x="3046882" y="204774"/>
                  </a:lnTo>
                  <a:lnTo>
                    <a:pt x="3044240" y="202234"/>
                  </a:lnTo>
                  <a:lnTo>
                    <a:pt x="3043644" y="198424"/>
                  </a:lnTo>
                  <a:lnTo>
                    <a:pt x="3046831" y="198424"/>
                  </a:lnTo>
                  <a:lnTo>
                    <a:pt x="3048406" y="204774"/>
                  </a:lnTo>
                  <a:lnTo>
                    <a:pt x="3053829" y="200964"/>
                  </a:lnTo>
                  <a:lnTo>
                    <a:pt x="3055137" y="207314"/>
                  </a:lnTo>
                  <a:lnTo>
                    <a:pt x="3055137" y="192049"/>
                  </a:lnTo>
                  <a:lnTo>
                    <a:pt x="3054680" y="192074"/>
                  </a:lnTo>
                  <a:lnTo>
                    <a:pt x="3053892" y="190804"/>
                  </a:lnTo>
                  <a:lnTo>
                    <a:pt x="3056940" y="190804"/>
                  </a:lnTo>
                  <a:lnTo>
                    <a:pt x="3051124" y="185724"/>
                  </a:lnTo>
                  <a:lnTo>
                    <a:pt x="3043847" y="179374"/>
                  </a:lnTo>
                  <a:lnTo>
                    <a:pt x="3047415" y="179374"/>
                  </a:lnTo>
                  <a:lnTo>
                    <a:pt x="3051378" y="181914"/>
                  </a:lnTo>
                  <a:lnTo>
                    <a:pt x="3050895" y="179374"/>
                  </a:lnTo>
                  <a:lnTo>
                    <a:pt x="3049714" y="173024"/>
                  </a:lnTo>
                  <a:lnTo>
                    <a:pt x="3053257" y="175564"/>
                  </a:lnTo>
                  <a:lnTo>
                    <a:pt x="3052521" y="175564"/>
                  </a:lnTo>
                  <a:lnTo>
                    <a:pt x="3057169" y="179374"/>
                  </a:lnTo>
                  <a:lnTo>
                    <a:pt x="3054070" y="183184"/>
                  </a:lnTo>
                  <a:lnTo>
                    <a:pt x="3061601" y="183184"/>
                  </a:lnTo>
                  <a:lnTo>
                    <a:pt x="3065145" y="185724"/>
                  </a:lnTo>
                  <a:lnTo>
                    <a:pt x="3065145" y="174586"/>
                  </a:lnTo>
                  <a:lnTo>
                    <a:pt x="3058325" y="175564"/>
                  </a:lnTo>
                  <a:lnTo>
                    <a:pt x="3058058" y="173024"/>
                  </a:lnTo>
                  <a:lnTo>
                    <a:pt x="3063341" y="171754"/>
                  </a:lnTo>
                  <a:lnTo>
                    <a:pt x="3058236" y="169214"/>
                  </a:lnTo>
                  <a:lnTo>
                    <a:pt x="3049574" y="166674"/>
                  </a:lnTo>
                  <a:lnTo>
                    <a:pt x="3042920" y="162864"/>
                  </a:lnTo>
                  <a:lnTo>
                    <a:pt x="3040697" y="161594"/>
                  </a:lnTo>
                  <a:lnTo>
                    <a:pt x="3042577" y="157784"/>
                  </a:lnTo>
                  <a:lnTo>
                    <a:pt x="3049308" y="162864"/>
                  </a:lnTo>
                  <a:lnTo>
                    <a:pt x="3050222" y="157784"/>
                  </a:lnTo>
                  <a:lnTo>
                    <a:pt x="3050451" y="156514"/>
                  </a:lnTo>
                  <a:lnTo>
                    <a:pt x="3056344" y="164134"/>
                  </a:lnTo>
                  <a:lnTo>
                    <a:pt x="3054337" y="156514"/>
                  </a:lnTo>
                  <a:lnTo>
                    <a:pt x="3063481" y="159054"/>
                  </a:lnTo>
                  <a:lnTo>
                    <a:pt x="3061792" y="156514"/>
                  </a:lnTo>
                  <a:lnTo>
                    <a:pt x="3060115" y="153974"/>
                  </a:lnTo>
                  <a:lnTo>
                    <a:pt x="3065716" y="153974"/>
                  </a:lnTo>
                  <a:lnTo>
                    <a:pt x="3054972" y="150164"/>
                  </a:lnTo>
                  <a:lnTo>
                    <a:pt x="3046349" y="146354"/>
                  </a:lnTo>
                  <a:lnTo>
                    <a:pt x="3040596" y="143814"/>
                  </a:lnTo>
                  <a:lnTo>
                    <a:pt x="3046819" y="141274"/>
                  </a:lnTo>
                  <a:lnTo>
                    <a:pt x="3038284" y="134924"/>
                  </a:lnTo>
                  <a:lnTo>
                    <a:pt x="3036582" y="133654"/>
                  </a:lnTo>
                  <a:lnTo>
                    <a:pt x="3050514" y="138734"/>
                  </a:lnTo>
                  <a:lnTo>
                    <a:pt x="3048000" y="133654"/>
                  </a:lnTo>
                  <a:lnTo>
                    <a:pt x="3052635" y="132384"/>
                  </a:lnTo>
                  <a:lnTo>
                    <a:pt x="3038741" y="126034"/>
                  </a:lnTo>
                  <a:lnTo>
                    <a:pt x="3043478" y="120954"/>
                  </a:lnTo>
                  <a:lnTo>
                    <a:pt x="3037141" y="117144"/>
                  </a:lnTo>
                  <a:lnTo>
                    <a:pt x="3038017" y="113334"/>
                  </a:lnTo>
                  <a:lnTo>
                    <a:pt x="3033941" y="110794"/>
                  </a:lnTo>
                  <a:lnTo>
                    <a:pt x="3035300" y="109524"/>
                  </a:lnTo>
                  <a:lnTo>
                    <a:pt x="3033115" y="106984"/>
                  </a:lnTo>
                  <a:lnTo>
                    <a:pt x="3031769" y="95554"/>
                  </a:lnTo>
                  <a:lnTo>
                    <a:pt x="3029889" y="108254"/>
                  </a:lnTo>
                  <a:lnTo>
                    <a:pt x="3027426" y="110794"/>
                  </a:lnTo>
                  <a:lnTo>
                    <a:pt x="3028810" y="114604"/>
                  </a:lnTo>
                  <a:lnTo>
                    <a:pt x="3023044" y="115874"/>
                  </a:lnTo>
                  <a:lnTo>
                    <a:pt x="3023755" y="119684"/>
                  </a:lnTo>
                  <a:lnTo>
                    <a:pt x="3015805" y="122224"/>
                  </a:lnTo>
                  <a:lnTo>
                    <a:pt x="3027540" y="124764"/>
                  </a:lnTo>
                  <a:lnTo>
                    <a:pt x="3011652" y="131114"/>
                  </a:lnTo>
                  <a:lnTo>
                    <a:pt x="3017736" y="134924"/>
                  </a:lnTo>
                  <a:lnTo>
                    <a:pt x="3014281" y="138734"/>
                  </a:lnTo>
                  <a:lnTo>
                    <a:pt x="3020288" y="136194"/>
                  </a:lnTo>
                  <a:lnTo>
                    <a:pt x="3025876" y="134924"/>
                  </a:lnTo>
                  <a:lnTo>
                    <a:pt x="3021038" y="138734"/>
                  </a:lnTo>
                  <a:lnTo>
                    <a:pt x="3014611" y="141274"/>
                  </a:lnTo>
                  <a:lnTo>
                    <a:pt x="3011487" y="143814"/>
                  </a:lnTo>
                  <a:lnTo>
                    <a:pt x="3018777" y="143814"/>
                  </a:lnTo>
                  <a:lnTo>
                    <a:pt x="3015831" y="148894"/>
                  </a:lnTo>
                  <a:lnTo>
                    <a:pt x="3021304" y="146354"/>
                  </a:lnTo>
                  <a:lnTo>
                    <a:pt x="3023158" y="148894"/>
                  </a:lnTo>
                  <a:lnTo>
                    <a:pt x="3019412" y="151333"/>
                  </a:lnTo>
                  <a:lnTo>
                    <a:pt x="3019412" y="162864"/>
                  </a:lnTo>
                  <a:lnTo>
                    <a:pt x="3017329" y="167944"/>
                  </a:lnTo>
                  <a:lnTo>
                    <a:pt x="3010420" y="171742"/>
                  </a:lnTo>
                  <a:lnTo>
                    <a:pt x="3010420" y="235254"/>
                  </a:lnTo>
                  <a:lnTo>
                    <a:pt x="3005963" y="240563"/>
                  </a:lnTo>
                  <a:lnTo>
                    <a:pt x="3005963" y="272084"/>
                  </a:lnTo>
                  <a:lnTo>
                    <a:pt x="3004108" y="274624"/>
                  </a:lnTo>
                  <a:lnTo>
                    <a:pt x="3002889" y="275894"/>
                  </a:lnTo>
                  <a:lnTo>
                    <a:pt x="3002584" y="275894"/>
                  </a:lnTo>
                  <a:lnTo>
                    <a:pt x="2999740" y="274624"/>
                  </a:lnTo>
                  <a:lnTo>
                    <a:pt x="3000730" y="273354"/>
                  </a:lnTo>
                  <a:lnTo>
                    <a:pt x="3001251" y="272084"/>
                  </a:lnTo>
                  <a:lnTo>
                    <a:pt x="3002242" y="270814"/>
                  </a:lnTo>
                  <a:lnTo>
                    <a:pt x="3005074" y="270814"/>
                  </a:lnTo>
                  <a:lnTo>
                    <a:pt x="3005963" y="272084"/>
                  </a:lnTo>
                  <a:lnTo>
                    <a:pt x="3005963" y="240563"/>
                  </a:lnTo>
                  <a:lnTo>
                    <a:pt x="3001873" y="245414"/>
                  </a:lnTo>
                  <a:lnTo>
                    <a:pt x="2999473" y="244144"/>
                  </a:lnTo>
                  <a:lnTo>
                    <a:pt x="2994672" y="241604"/>
                  </a:lnTo>
                  <a:lnTo>
                    <a:pt x="2996450" y="237794"/>
                  </a:lnTo>
                  <a:lnTo>
                    <a:pt x="3004972" y="239064"/>
                  </a:lnTo>
                  <a:lnTo>
                    <a:pt x="3003499" y="237794"/>
                  </a:lnTo>
                  <a:lnTo>
                    <a:pt x="3000552" y="235254"/>
                  </a:lnTo>
                  <a:lnTo>
                    <a:pt x="2998051" y="231444"/>
                  </a:lnTo>
                  <a:lnTo>
                    <a:pt x="2999511" y="230174"/>
                  </a:lnTo>
                  <a:lnTo>
                    <a:pt x="3001949" y="235254"/>
                  </a:lnTo>
                  <a:lnTo>
                    <a:pt x="3005137" y="231444"/>
                  </a:lnTo>
                  <a:lnTo>
                    <a:pt x="3005988" y="230174"/>
                  </a:lnTo>
                  <a:lnTo>
                    <a:pt x="3005544" y="232714"/>
                  </a:lnTo>
                  <a:lnTo>
                    <a:pt x="3007601" y="232714"/>
                  </a:lnTo>
                  <a:lnTo>
                    <a:pt x="3006610" y="236524"/>
                  </a:lnTo>
                  <a:lnTo>
                    <a:pt x="3010420" y="235254"/>
                  </a:lnTo>
                  <a:lnTo>
                    <a:pt x="3010420" y="171742"/>
                  </a:lnTo>
                  <a:lnTo>
                    <a:pt x="3009595" y="172199"/>
                  </a:lnTo>
                  <a:lnTo>
                    <a:pt x="3009595" y="199694"/>
                  </a:lnTo>
                  <a:lnTo>
                    <a:pt x="3009455" y="199694"/>
                  </a:lnTo>
                  <a:lnTo>
                    <a:pt x="3008172" y="203504"/>
                  </a:lnTo>
                  <a:lnTo>
                    <a:pt x="3007068" y="204774"/>
                  </a:lnTo>
                  <a:lnTo>
                    <a:pt x="3003207" y="202234"/>
                  </a:lnTo>
                  <a:lnTo>
                    <a:pt x="2997416" y="198424"/>
                  </a:lnTo>
                  <a:lnTo>
                    <a:pt x="3001822" y="194614"/>
                  </a:lnTo>
                  <a:lnTo>
                    <a:pt x="3003016" y="197154"/>
                  </a:lnTo>
                  <a:lnTo>
                    <a:pt x="3003473" y="195884"/>
                  </a:lnTo>
                  <a:lnTo>
                    <a:pt x="3003702" y="198424"/>
                  </a:lnTo>
                  <a:lnTo>
                    <a:pt x="3006902" y="195884"/>
                  </a:lnTo>
                  <a:lnTo>
                    <a:pt x="3007588" y="198424"/>
                  </a:lnTo>
                  <a:lnTo>
                    <a:pt x="3009595" y="199694"/>
                  </a:lnTo>
                  <a:lnTo>
                    <a:pt x="3009595" y="172199"/>
                  </a:lnTo>
                  <a:lnTo>
                    <a:pt x="3008071" y="173024"/>
                  </a:lnTo>
                  <a:lnTo>
                    <a:pt x="3003016" y="174294"/>
                  </a:lnTo>
                  <a:lnTo>
                    <a:pt x="3006788" y="178104"/>
                  </a:lnTo>
                  <a:lnTo>
                    <a:pt x="3002737" y="180644"/>
                  </a:lnTo>
                  <a:lnTo>
                    <a:pt x="2995879" y="175564"/>
                  </a:lnTo>
                  <a:lnTo>
                    <a:pt x="2993021" y="169214"/>
                  </a:lnTo>
                  <a:lnTo>
                    <a:pt x="2999917" y="173024"/>
                  </a:lnTo>
                  <a:lnTo>
                    <a:pt x="3003816" y="170484"/>
                  </a:lnTo>
                  <a:lnTo>
                    <a:pt x="3009188" y="171754"/>
                  </a:lnTo>
                  <a:lnTo>
                    <a:pt x="3008236" y="170484"/>
                  </a:lnTo>
                  <a:lnTo>
                    <a:pt x="3007283" y="169214"/>
                  </a:lnTo>
                  <a:lnTo>
                    <a:pt x="3004439" y="165404"/>
                  </a:lnTo>
                  <a:lnTo>
                    <a:pt x="3010458" y="162864"/>
                  </a:lnTo>
                  <a:lnTo>
                    <a:pt x="3010001" y="166674"/>
                  </a:lnTo>
                  <a:lnTo>
                    <a:pt x="3009709" y="167944"/>
                  </a:lnTo>
                  <a:lnTo>
                    <a:pt x="3014853" y="162864"/>
                  </a:lnTo>
                  <a:lnTo>
                    <a:pt x="3019412" y="162864"/>
                  </a:lnTo>
                  <a:lnTo>
                    <a:pt x="3019412" y="151333"/>
                  </a:lnTo>
                  <a:lnTo>
                    <a:pt x="3015323" y="153974"/>
                  </a:lnTo>
                  <a:lnTo>
                    <a:pt x="3005683" y="158407"/>
                  </a:lnTo>
                  <a:lnTo>
                    <a:pt x="3005683" y="161594"/>
                  </a:lnTo>
                  <a:lnTo>
                    <a:pt x="3004959" y="162864"/>
                  </a:lnTo>
                  <a:lnTo>
                    <a:pt x="3003905" y="165404"/>
                  </a:lnTo>
                  <a:lnTo>
                    <a:pt x="2999333" y="161594"/>
                  </a:lnTo>
                  <a:lnTo>
                    <a:pt x="3005683" y="161594"/>
                  </a:lnTo>
                  <a:lnTo>
                    <a:pt x="3005683" y="158407"/>
                  </a:lnTo>
                  <a:lnTo>
                    <a:pt x="2998724" y="161594"/>
                  </a:lnTo>
                  <a:lnTo>
                    <a:pt x="2995892" y="160324"/>
                  </a:lnTo>
                  <a:lnTo>
                    <a:pt x="2993415" y="157784"/>
                  </a:lnTo>
                  <a:lnTo>
                    <a:pt x="2983484" y="147624"/>
                  </a:lnTo>
                  <a:lnTo>
                    <a:pt x="2982887" y="143814"/>
                  </a:lnTo>
                  <a:lnTo>
                    <a:pt x="2986074" y="143814"/>
                  </a:lnTo>
                  <a:lnTo>
                    <a:pt x="2987649" y="150164"/>
                  </a:lnTo>
                  <a:lnTo>
                    <a:pt x="2993059" y="146354"/>
                  </a:lnTo>
                  <a:lnTo>
                    <a:pt x="2993694" y="148894"/>
                  </a:lnTo>
                  <a:lnTo>
                    <a:pt x="2993987" y="150164"/>
                  </a:lnTo>
                  <a:lnTo>
                    <a:pt x="2994622" y="153974"/>
                  </a:lnTo>
                  <a:lnTo>
                    <a:pt x="2996946" y="150164"/>
                  </a:lnTo>
                  <a:lnTo>
                    <a:pt x="3003778" y="153974"/>
                  </a:lnTo>
                  <a:lnTo>
                    <a:pt x="3003473" y="151434"/>
                  </a:lnTo>
                  <a:lnTo>
                    <a:pt x="3004337" y="150164"/>
                  </a:lnTo>
                  <a:lnTo>
                    <a:pt x="3005201" y="148894"/>
                  </a:lnTo>
                  <a:lnTo>
                    <a:pt x="3010382" y="150164"/>
                  </a:lnTo>
                  <a:lnTo>
                    <a:pt x="3008731" y="148894"/>
                  </a:lnTo>
                  <a:lnTo>
                    <a:pt x="3005442" y="146354"/>
                  </a:lnTo>
                  <a:lnTo>
                    <a:pt x="3002153" y="143814"/>
                  </a:lnTo>
                  <a:lnTo>
                    <a:pt x="2993936" y="137464"/>
                  </a:lnTo>
                  <a:lnTo>
                    <a:pt x="2993136" y="136194"/>
                  </a:lnTo>
                  <a:lnTo>
                    <a:pt x="2996184" y="136194"/>
                  </a:lnTo>
                  <a:lnTo>
                    <a:pt x="2983090" y="124764"/>
                  </a:lnTo>
                  <a:lnTo>
                    <a:pt x="2986659" y="124764"/>
                  </a:lnTo>
                  <a:lnTo>
                    <a:pt x="2990621" y="126034"/>
                  </a:lnTo>
                  <a:lnTo>
                    <a:pt x="2990342" y="124764"/>
                  </a:lnTo>
                  <a:lnTo>
                    <a:pt x="2988957" y="118414"/>
                  </a:lnTo>
                  <a:lnTo>
                    <a:pt x="2997974" y="123494"/>
                  </a:lnTo>
                  <a:lnTo>
                    <a:pt x="2997301" y="118414"/>
                  </a:lnTo>
                  <a:lnTo>
                    <a:pt x="3002584" y="117144"/>
                  </a:lnTo>
                  <a:lnTo>
                    <a:pt x="2988818" y="112064"/>
                  </a:lnTo>
                  <a:lnTo>
                    <a:pt x="2979940" y="106984"/>
                  </a:lnTo>
                  <a:lnTo>
                    <a:pt x="2981820" y="103174"/>
                  </a:lnTo>
                  <a:lnTo>
                    <a:pt x="2988564" y="108254"/>
                  </a:lnTo>
                  <a:lnTo>
                    <a:pt x="2989478" y="103174"/>
                  </a:lnTo>
                  <a:lnTo>
                    <a:pt x="2989707" y="101904"/>
                  </a:lnTo>
                  <a:lnTo>
                    <a:pt x="2995587" y="109524"/>
                  </a:lnTo>
                  <a:lnTo>
                    <a:pt x="2993593" y="101904"/>
                  </a:lnTo>
                  <a:lnTo>
                    <a:pt x="3002724" y="104444"/>
                  </a:lnTo>
                  <a:lnTo>
                    <a:pt x="3001035" y="101904"/>
                  </a:lnTo>
                  <a:lnTo>
                    <a:pt x="2999359" y="99364"/>
                  </a:lnTo>
                  <a:lnTo>
                    <a:pt x="3004959" y="99364"/>
                  </a:lnTo>
                  <a:lnTo>
                    <a:pt x="2986113" y="91744"/>
                  </a:lnTo>
                  <a:lnTo>
                    <a:pt x="2979839" y="89204"/>
                  </a:lnTo>
                  <a:lnTo>
                    <a:pt x="2986062" y="86664"/>
                  </a:lnTo>
                  <a:lnTo>
                    <a:pt x="2977527" y="80314"/>
                  </a:lnTo>
                  <a:lnTo>
                    <a:pt x="2975826" y="79044"/>
                  </a:lnTo>
                  <a:lnTo>
                    <a:pt x="2989770" y="84124"/>
                  </a:lnTo>
                  <a:lnTo>
                    <a:pt x="2987243" y="79044"/>
                  </a:lnTo>
                  <a:lnTo>
                    <a:pt x="2991878" y="77774"/>
                  </a:lnTo>
                  <a:lnTo>
                    <a:pt x="2977985" y="71424"/>
                  </a:lnTo>
                  <a:lnTo>
                    <a:pt x="2982722" y="66344"/>
                  </a:lnTo>
                  <a:lnTo>
                    <a:pt x="2978912" y="63804"/>
                  </a:lnTo>
                  <a:lnTo>
                    <a:pt x="2976384" y="62534"/>
                  </a:lnTo>
                  <a:lnTo>
                    <a:pt x="2977261" y="58724"/>
                  </a:lnTo>
                  <a:lnTo>
                    <a:pt x="2973184" y="56184"/>
                  </a:lnTo>
                  <a:lnTo>
                    <a:pt x="2974543" y="54914"/>
                  </a:lnTo>
                  <a:lnTo>
                    <a:pt x="2972358" y="52374"/>
                  </a:lnTo>
                  <a:lnTo>
                    <a:pt x="2971012" y="40944"/>
                  </a:lnTo>
                  <a:lnTo>
                    <a:pt x="2969133" y="52374"/>
                  </a:lnTo>
                  <a:lnTo>
                    <a:pt x="2967659" y="54914"/>
                  </a:lnTo>
                  <a:lnTo>
                    <a:pt x="2966669" y="56184"/>
                  </a:lnTo>
                  <a:lnTo>
                    <a:pt x="2968053" y="59994"/>
                  </a:lnTo>
                  <a:lnTo>
                    <a:pt x="2962287" y="61264"/>
                  </a:lnTo>
                  <a:lnTo>
                    <a:pt x="2962986" y="65074"/>
                  </a:lnTo>
                  <a:lnTo>
                    <a:pt x="2955048" y="67614"/>
                  </a:lnTo>
                  <a:lnTo>
                    <a:pt x="2966783" y="70154"/>
                  </a:lnTo>
                  <a:lnTo>
                    <a:pt x="2950895" y="76504"/>
                  </a:lnTo>
                  <a:lnTo>
                    <a:pt x="2956979" y="80314"/>
                  </a:lnTo>
                  <a:lnTo>
                    <a:pt x="2953524" y="84124"/>
                  </a:lnTo>
                  <a:lnTo>
                    <a:pt x="2959531" y="81584"/>
                  </a:lnTo>
                  <a:lnTo>
                    <a:pt x="2965119" y="80314"/>
                  </a:lnTo>
                  <a:lnTo>
                    <a:pt x="2960281" y="84124"/>
                  </a:lnTo>
                  <a:lnTo>
                    <a:pt x="2953855" y="86664"/>
                  </a:lnTo>
                  <a:lnTo>
                    <a:pt x="2950730" y="89204"/>
                  </a:lnTo>
                  <a:lnTo>
                    <a:pt x="2958020" y="89204"/>
                  </a:lnTo>
                  <a:lnTo>
                    <a:pt x="2955074" y="94284"/>
                  </a:lnTo>
                  <a:lnTo>
                    <a:pt x="2960547" y="91744"/>
                  </a:lnTo>
                  <a:lnTo>
                    <a:pt x="2962402" y="94284"/>
                  </a:lnTo>
                  <a:lnTo>
                    <a:pt x="2954566" y="99364"/>
                  </a:lnTo>
                  <a:lnTo>
                    <a:pt x="2937294" y="106984"/>
                  </a:lnTo>
                  <a:lnTo>
                    <a:pt x="2944926" y="106984"/>
                  </a:lnTo>
                  <a:lnTo>
                    <a:pt x="2942501" y="112064"/>
                  </a:lnTo>
                  <a:lnTo>
                    <a:pt x="2949702" y="108254"/>
                  </a:lnTo>
                  <a:lnTo>
                    <a:pt x="2948952" y="113334"/>
                  </a:lnTo>
                  <a:lnTo>
                    <a:pt x="2954083" y="108254"/>
                  </a:lnTo>
                  <a:lnTo>
                    <a:pt x="2958655" y="106984"/>
                  </a:lnTo>
                  <a:lnTo>
                    <a:pt x="2956572" y="113334"/>
                  </a:lnTo>
                  <a:lnTo>
                    <a:pt x="2954388" y="114541"/>
                  </a:lnTo>
                  <a:lnTo>
                    <a:pt x="2954388" y="136194"/>
                  </a:lnTo>
                  <a:lnTo>
                    <a:pt x="2949664" y="143586"/>
                  </a:lnTo>
                  <a:lnTo>
                    <a:pt x="2949664" y="180644"/>
                  </a:lnTo>
                  <a:lnTo>
                    <a:pt x="2945079" y="185724"/>
                  </a:lnTo>
                  <a:lnTo>
                    <a:pt x="2944850" y="185458"/>
                  </a:lnTo>
                  <a:lnTo>
                    <a:pt x="2944850" y="185724"/>
                  </a:lnTo>
                  <a:lnTo>
                    <a:pt x="2940951" y="190804"/>
                  </a:lnTo>
                  <a:lnTo>
                    <a:pt x="2938792" y="192074"/>
                  </a:lnTo>
                  <a:lnTo>
                    <a:pt x="2933966" y="188874"/>
                  </a:lnTo>
                  <a:lnTo>
                    <a:pt x="2933966" y="198424"/>
                  </a:lnTo>
                  <a:lnTo>
                    <a:pt x="2933382" y="202234"/>
                  </a:lnTo>
                  <a:lnTo>
                    <a:pt x="2932900" y="202234"/>
                  </a:lnTo>
                  <a:lnTo>
                    <a:pt x="2927921" y="199694"/>
                  </a:lnTo>
                  <a:lnTo>
                    <a:pt x="2933966" y="198424"/>
                  </a:lnTo>
                  <a:lnTo>
                    <a:pt x="2933966" y="188874"/>
                  </a:lnTo>
                  <a:lnTo>
                    <a:pt x="2933065" y="188264"/>
                  </a:lnTo>
                  <a:lnTo>
                    <a:pt x="2935008" y="186994"/>
                  </a:lnTo>
                  <a:lnTo>
                    <a:pt x="2932785" y="184454"/>
                  </a:lnTo>
                  <a:lnTo>
                    <a:pt x="2933522" y="183184"/>
                  </a:lnTo>
                  <a:lnTo>
                    <a:pt x="2933992" y="181914"/>
                  </a:lnTo>
                  <a:lnTo>
                    <a:pt x="2935452" y="181914"/>
                  </a:lnTo>
                  <a:lnTo>
                    <a:pt x="2938322" y="188264"/>
                  </a:lnTo>
                  <a:lnTo>
                    <a:pt x="2938996" y="183184"/>
                  </a:lnTo>
                  <a:lnTo>
                    <a:pt x="2944850" y="185724"/>
                  </a:lnTo>
                  <a:lnTo>
                    <a:pt x="2944850" y="185458"/>
                  </a:lnTo>
                  <a:lnTo>
                    <a:pt x="2942958" y="183184"/>
                  </a:lnTo>
                  <a:lnTo>
                    <a:pt x="2941891" y="181914"/>
                  </a:lnTo>
                  <a:lnTo>
                    <a:pt x="2940837" y="180644"/>
                  </a:lnTo>
                  <a:lnTo>
                    <a:pt x="2943987" y="180644"/>
                  </a:lnTo>
                  <a:lnTo>
                    <a:pt x="2943847" y="178104"/>
                  </a:lnTo>
                  <a:lnTo>
                    <a:pt x="2945536" y="176834"/>
                  </a:lnTo>
                  <a:lnTo>
                    <a:pt x="2947225" y="175564"/>
                  </a:lnTo>
                  <a:lnTo>
                    <a:pt x="2945854" y="181914"/>
                  </a:lnTo>
                  <a:lnTo>
                    <a:pt x="2949664" y="180644"/>
                  </a:lnTo>
                  <a:lnTo>
                    <a:pt x="2949664" y="143586"/>
                  </a:lnTo>
                  <a:lnTo>
                    <a:pt x="2948698" y="145084"/>
                  </a:lnTo>
                  <a:lnTo>
                    <a:pt x="2947416" y="148894"/>
                  </a:lnTo>
                  <a:lnTo>
                    <a:pt x="2945130" y="151434"/>
                  </a:lnTo>
                  <a:lnTo>
                    <a:pt x="2943580" y="152704"/>
                  </a:lnTo>
                  <a:lnTo>
                    <a:pt x="2936189" y="157784"/>
                  </a:lnTo>
                  <a:lnTo>
                    <a:pt x="2930461" y="156679"/>
                  </a:lnTo>
                  <a:lnTo>
                    <a:pt x="2930461" y="197154"/>
                  </a:lnTo>
                  <a:lnTo>
                    <a:pt x="2926842" y="198424"/>
                  </a:lnTo>
                  <a:lnTo>
                    <a:pt x="2923921" y="197154"/>
                  </a:lnTo>
                  <a:lnTo>
                    <a:pt x="2923527" y="196253"/>
                  </a:lnTo>
                  <a:lnTo>
                    <a:pt x="2923527" y="335584"/>
                  </a:lnTo>
                  <a:lnTo>
                    <a:pt x="2918726" y="336854"/>
                  </a:lnTo>
                  <a:lnTo>
                    <a:pt x="2914777" y="329234"/>
                  </a:lnTo>
                  <a:lnTo>
                    <a:pt x="2923527" y="335584"/>
                  </a:lnTo>
                  <a:lnTo>
                    <a:pt x="2923527" y="196253"/>
                  </a:lnTo>
                  <a:lnTo>
                    <a:pt x="2921711" y="192074"/>
                  </a:lnTo>
                  <a:lnTo>
                    <a:pt x="2930461" y="197154"/>
                  </a:lnTo>
                  <a:lnTo>
                    <a:pt x="2930461" y="156679"/>
                  </a:lnTo>
                  <a:lnTo>
                    <a:pt x="2916555" y="153974"/>
                  </a:lnTo>
                  <a:lnTo>
                    <a:pt x="2924581" y="152704"/>
                  </a:lnTo>
                  <a:lnTo>
                    <a:pt x="2924518" y="150164"/>
                  </a:lnTo>
                  <a:lnTo>
                    <a:pt x="2924492" y="148894"/>
                  </a:lnTo>
                  <a:lnTo>
                    <a:pt x="2931909" y="155244"/>
                  </a:lnTo>
                  <a:lnTo>
                    <a:pt x="2931528" y="148894"/>
                  </a:lnTo>
                  <a:lnTo>
                    <a:pt x="2937179" y="143814"/>
                  </a:lnTo>
                  <a:lnTo>
                    <a:pt x="2936087" y="143814"/>
                  </a:lnTo>
                  <a:lnTo>
                    <a:pt x="2942450" y="138734"/>
                  </a:lnTo>
                  <a:lnTo>
                    <a:pt x="2942958" y="143814"/>
                  </a:lnTo>
                  <a:lnTo>
                    <a:pt x="2954388" y="136194"/>
                  </a:lnTo>
                  <a:lnTo>
                    <a:pt x="2954388" y="114541"/>
                  </a:lnTo>
                  <a:lnTo>
                    <a:pt x="2947314" y="118414"/>
                  </a:lnTo>
                  <a:lnTo>
                    <a:pt x="2942259" y="119684"/>
                  </a:lnTo>
                  <a:lnTo>
                    <a:pt x="2946044" y="123494"/>
                  </a:lnTo>
                  <a:lnTo>
                    <a:pt x="2937802" y="127304"/>
                  </a:lnTo>
                  <a:lnTo>
                    <a:pt x="2946209" y="127304"/>
                  </a:lnTo>
                  <a:lnTo>
                    <a:pt x="2943923" y="131114"/>
                  </a:lnTo>
                  <a:lnTo>
                    <a:pt x="2934551" y="134175"/>
                  </a:lnTo>
                  <a:lnTo>
                    <a:pt x="2934551" y="143814"/>
                  </a:lnTo>
                  <a:lnTo>
                    <a:pt x="2929102" y="143814"/>
                  </a:lnTo>
                  <a:lnTo>
                    <a:pt x="2930601" y="140004"/>
                  </a:lnTo>
                  <a:lnTo>
                    <a:pt x="2932468" y="138734"/>
                  </a:lnTo>
                  <a:lnTo>
                    <a:pt x="2934525" y="138734"/>
                  </a:lnTo>
                  <a:lnTo>
                    <a:pt x="2934551" y="143814"/>
                  </a:lnTo>
                  <a:lnTo>
                    <a:pt x="2934551" y="134175"/>
                  </a:lnTo>
                  <a:lnTo>
                    <a:pt x="2932226" y="134924"/>
                  </a:lnTo>
                  <a:lnTo>
                    <a:pt x="2929966" y="136194"/>
                  </a:lnTo>
                  <a:lnTo>
                    <a:pt x="2932150" y="133654"/>
                  </a:lnTo>
                  <a:lnTo>
                    <a:pt x="2933585" y="131114"/>
                  </a:lnTo>
                  <a:lnTo>
                    <a:pt x="2915005" y="138734"/>
                  </a:lnTo>
                  <a:lnTo>
                    <a:pt x="2911348" y="132384"/>
                  </a:lnTo>
                  <a:lnTo>
                    <a:pt x="2910611" y="131114"/>
                  </a:lnTo>
                  <a:lnTo>
                    <a:pt x="2917977" y="136194"/>
                  </a:lnTo>
                  <a:lnTo>
                    <a:pt x="2917990" y="132384"/>
                  </a:lnTo>
                  <a:lnTo>
                    <a:pt x="2925064" y="132384"/>
                  </a:lnTo>
                  <a:lnTo>
                    <a:pt x="2924238" y="131114"/>
                  </a:lnTo>
                  <a:lnTo>
                    <a:pt x="2923400" y="129844"/>
                  </a:lnTo>
                  <a:lnTo>
                    <a:pt x="2922574" y="128574"/>
                  </a:lnTo>
                  <a:lnTo>
                    <a:pt x="2928912" y="127304"/>
                  </a:lnTo>
                  <a:lnTo>
                    <a:pt x="2924492" y="124764"/>
                  </a:lnTo>
                  <a:lnTo>
                    <a:pt x="2917291" y="122224"/>
                  </a:lnTo>
                  <a:lnTo>
                    <a:pt x="2925165" y="120954"/>
                  </a:lnTo>
                  <a:lnTo>
                    <a:pt x="2919907" y="117144"/>
                  </a:lnTo>
                  <a:lnTo>
                    <a:pt x="2923527" y="113334"/>
                  </a:lnTo>
                  <a:lnTo>
                    <a:pt x="2924733" y="112064"/>
                  </a:lnTo>
                  <a:lnTo>
                    <a:pt x="2919082" y="113334"/>
                  </a:lnTo>
                  <a:lnTo>
                    <a:pt x="2915653" y="112064"/>
                  </a:lnTo>
                  <a:lnTo>
                    <a:pt x="2917850" y="109524"/>
                  </a:lnTo>
                  <a:lnTo>
                    <a:pt x="2918955" y="108254"/>
                  </a:lnTo>
                  <a:lnTo>
                    <a:pt x="2909595" y="109524"/>
                  </a:lnTo>
                  <a:lnTo>
                    <a:pt x="2915716" y="104444"/>
                  </a:lnTo>
                  <a:lnTo>
                    <a:pt x="2913342" y="103174"/>
                  </a:lnTo>
                  <a:lnTo>
                    <a:pt x="2909747" y="101904"/>
                  </a:lnTo>
                  <a:lnTo>
                    <a:pt x="2908490" y="86664"/>
                  </a:lnTo>
                  <a:lnTo>
                    <a:pt x="2907347" y="81584"/>
                  </a:lnTo>
                  <a:lnTo>
                    <a:pt x="2905747" y="84124"/>
                  </a:lnTo>
                  <a:lnTo>
                    <a:pt x="2905442" y="95554"/>
                  </a:lnTo>
                  <a:lnTo>
                    <a:pt x="2903296" y="100634"/>
                  </a:lnTo>
                  <a:lnTo>
                    <a:pt x="2898965" y="103174"/>
                  </a:lnTo>
                  <a:lnTo>
                    <a:pt x="2902839" y="105714"/>
                  </a:lnTo>
                  <a:lnTo>
                    <a:pt x="2892412" y="110794"/>
                  </a:lnTo>
                  <a:lnTo>
                    <a:pt x="2896324" y="113334"/>
                  </a:lnTo>
                  <a:lnTo>
                    <a:pt x="2893428" y="115874"/>
                  </a:lnTo>
                  <a:lnTo>
                    <a:pt x="2902267" y="118414"/>
                  </a:lnTo>
                  <a:lnTo>
                    <a:pt x="2894723" y="122224"/>
                  </a:lnTo>
                  <a:lnTo>
                    <a:pt x="2887332" y="123494"/>
                  </a:lnTo>
                  <a:lnTo>
                    <a:pt x="2894431" y="126034"/>
                  </a:lnTo>
                  <a:lnTo>
                    <a:pt x="2893288" y="132384"/>
                  </a:lnTo>
                  <a:lnTo>
                    <a:pt x="2897962" y="129844"/>
                  </a:lnTo>
                  <a:lnTo>
                    <a:pt x="2897848" y="134924"/>
                  </a:lnTo>
                  <a:lnTo>
                    <a:pt x="2902089" y="132384"/>
                  </a:lnTo>
                  <a:lnTo>
                    <a:pt x="2895549" y="138734"/>
                  </a:lnTo>
                  <a:lnTo>
                    <a:pt x="2891383" y="137464"/>
                  </a:lnTo>
                  <a:lnTo>
                    <a:pt x="2874746" y="132384"/>
                  </a:lnTo>
                  <a:lnTo>
                    <a:pt x="2877667" y="136194"/>
                  </a:lnTo>
                  <a:lnTo>
                    <a:pt x="2873552" y="138734"/>
                  </a:lnTo>
                  <a:lnTo>
                    <a:pt x="2881896" y="137464"/>
                  </a:lnTo>
                  <a:lnTo>
                    <a:pt x="2875165" y="142544"/>
                  </a:lnTo>
                  <a:lnTo>
                    <a:pt x="2881515" y="145084"/>
                  </a:lnTo>
                  <a:lnTo>
                    <a:pt x="2873349" y="152704"/>
                  </a:lnTo>
                  <a:lnTo>
                    <a:pt x="2879636" y="151434"/>
                  </a:lnTo>
                  <a:lnTo>
                    <a:pt x="2882595" y="155244"/>
                  </a:lnTo>
                  <a:lnTo>
                    <a:pt x="2887129" y="151434"/>
                  </a:lnTo>
                  <a:lnTo>
                    <a:pt x="2888640" y="150164"/>
                  </a:lnTo>
                  <a:lnTo>
                    <a:pt x="2883001" y="161594"/>
                  </a:lnTo>
                  <a:lnTo>
                    <a:pt x="2888323" y="157784"/>
                  </a:lnTo>
                  <a:lnTo>
                    <a:pt x="2892793" y="160324"/>
                  </a:lnTo>
                  <a:lnTo>
                    <a:pt x="2894330" y="157784"/>
                  </a:lnTo>
                  <a:lnTo>
                    <a:pt x="2897403" y="152704"/>
                  </a:lnTo>
                  <a:lnTo>
                    <a:pt x="2898876" y="157784"/>
                  </a:lnTo>
                  <a:lnTo>
                    <a:pt x="2888170" y="165404"/>
                  </a:lnTo>
                  <a:lnTo>
                    <a:pt x="2869590" y="169214"/>
                  </a:lnTo>
                  <a:lnTo>
                    <a:pt x="2870466" y="170484"/>
                  </a:lnTo>
                  <a:lnTo>
                    <a:pt x="2871063" y="171754"/>
                  </a:lnTo>
                  <a:lnTo>
                    <a:pt x="2862249" y="171754"/>
                  </a:lnTo>
                  <a:lnTo>
                    <a:pt x="2871381" y="178104"/>
                  </a:lnTo>
                  <a:lnTo>
                    <a:pt x="2867634" y="181914"/>
                  </a:lnTo>
                  <a:lnTo>
                    <a:pt x="2882303" y="176834"/>
                  </a:lnTo>
                  <a:lnTo>
                    <a:pt x="2871749" y="189534"/>
                  </a:lnTo>
                  <a:lnTo>
                    <a:pt x="2878734" y="188264"/>
                  </a:lnTo>
                  <a:lnTo>
                    <a:pt x="2879369" y="193344"/>
                  </a:lnTo>
                  <a:lnTo>
                    <a:pt x="2882773" y="188264"/>
                  </a:lnTo>
                  <a:lnTo>
                    <a:pt x="2884474" y="185724"/>
                  </a:lnTo>
                  <a:lnTo>
                    <a:pt x="2887637" y="190804"/>
                  </a:lnTo>
                  <a:lnTo>
                    <a:pt x="2888450" y="185724"/>
                  </a:lnTo>
                  <a:lnTo>
                    <a:pt x="2888856" y="183184"/>
                  </a:lnTo>
                  <a:lnTo>
                    <a:pt x="2891840" y="183184"/>
                  </a:lnTo>
                  <a:lnTo>
                    <a:pt x="2893809" y="188264"/>
                  </a:lnTo>
                  <a:lnTo>
                    <a:pt x="2885186" y="194614"/>
                  </a:lnTo>
                  <a:lnTo>
                    <a:pt x="2892082" y="197154"/>
                  </a:lnTo>
                  <a:lnTo>
                    <a:pt x="2889707" y="202234"/>
                  </a:lnTo>
                  <a:lnTo>
                    <a:pt x="2889516" y="202285"/>
                  </a:lnTo>
                  <a:lnTo>
                    <a:pt x="2889516" y="218744"/>
                  </a:lnTo>
                  <a:lnTo>
                    <a:pt x="2887802" y="221284"/>
                  </a:lnTo>
                  <a:lnTo>
                    <a:pt x="2885275" y="225094"/>
                  </a:lnTo>
                  <a:lnTo>
                    <a:pt x="2876550" y="229222"/>
                  </a:lnTo>
                  <a:lnTo>
                    <a:pt x="2876550" y="268274"/>
                  </a:lnTo>
                  <a:lnTo>
                    <a:pt x="2874200" y="272084"/>
                  </a:lnTo>
                  <a:lnTo>
                    <a:pt x="2872498" y="272084"/>
                  </a:lnTo>
                  <a:lnTo>
                    <a:pt x="2872498" y="283514"/>
                  </a:lnTo>
                  <a:lnTo>
                    <a:pt x="2871228" y="284784"/>
                  </a:lnTo>
                  <a:lnTo>
                    <a:pt x="2868752" y="286054"/>
                  </a:lnTo>
                  <a:lnTo>
                    <a:pt x="2863291" y="282244"/>
                  </a:lnTo>
                  <a:lnTo>
                    <a:pt x="2864256" y="279704"/>
                  </a:lnTo>
                  <a:lnTo>
                    <a:pt x="2870377" y="282244"/>
                  </a:lnTo>
                  <a:lnTo>
                    <a:pt x="2872498" y="283514"/>
                  </a:lnTo>
                  <a:lnTo>
                    <a:pt x="2872498" y="272084"/>
                  </a:lnTo>
                  <a:lnTo>
                    <a:pt x="2871178" y="272084"/>
                  </a:lnTo>
                  <a:lnTo>
                    <a:pt x="2871800" y="269544"/>
                  </a:lnTo>
                  <a:lnTo>
                    <a:pt x="2873972" y="260654"/>
                  </a:lnTo>
                  <a:lnTo>
                    <a:pt x="2874276" y="259384"/>
                  </a:lnTo>
                  <a:lnTo>
                    <a:pt x="2874441" y="268274"/>
                  </a:lnTo>
                  <a:lnTo>
                    <a:pt x="2876550" y="268274"/>
                  </a:lnTo>
                  <a:lnTo>
                    <a:pt x="2876550" y="229222"/>
                  </a:lnTo>
                  <a:lnTo>
                    <a:pt x="2871851" y="231444"/>
                  </a:lnTo>
                  <a:lnTo>
                    <a:pt x="2863329" y="228904"/>
                  </a:lnTo>
                  <a:lnTo>
                    <a:pt x="2862656" y="227634"/>
                  </a:lnTo>
                  <a:lnTo>
                    <a:pt x="2865767" y="226364"/>
                  </a:lnTo>
                  <a:lnTo>
                    <a:pt x="2863761" y="225717"/>
                  </a:lnTo>
                  <a:lnTo>
                    <a:pt x="2869577" y="218744"/>
                  </a:lnTo>
                  <a:lnTo>
                    <a:pt x="2867990" y="227634"/>
                  </a:lnTo>
                  <a:lnTo>
                    <a:pt x="2874327" y="223824"/>
                  </a:lnTo>
                  <a:lnTo>
                    <a:pt x="2877515" y="227634"/>
                  </a:lnTo>
                  <a:lnTo>
                    <a:pt x="2878023" y="223824"/>
                  </a:lnTo>
                  <a:lnTo>
                    <a:pt x="2878696" y="218744"/>
                  </a:lnTo>
                  <a:lnTo>
                    <a:pt x="2878861" y="217474"/>
                  </a:lnTo>
                  <a:lnTo>
                    <a:pt x="2882379" y="221284"/>
                  </a:lnTo>
                  <a:lnTo>
                    <a:pt x="2889516" y="218744"/>
                  </a:lnTo>
                  <a:lnTo>
                    <a:pt x="2889516" y="202285"/>
                  </a:lnTo>
                  <a:lnTo>
                    <a:pt x="2865577" y="208000"/>
                  </a:lnTo>
                  <a:lnTo>
                    <a:pt x="2865577" y="216204"/>
                  </a:lnTo>
                  <a:lnTo>
                    <a:pt x="2863405" y="225602"/>
                  </a:lnTo>
                  <a:lnTo>
                    <a:pt x="2859494" y="224358"/>
                  </a:lnTo>
                  <a:lnTo>
                    <a:pt x="2859494" y="242874"/>
                  </a:lnTo>
                  <a:lnTo>
                    <a:pt x="2858160" y="243192"/>
                  </a:lnTo>
                  <a:lnTo>
                    <a:pt x="2858160" y="291134"/>
                  </a:lnTo>
                  <a:lnTo>
                    <a:pt x="2853436" y="292404"/>
                  </a:lnTo>
                  <a:lnTo>
                    <a:pt x="2852890" y="291134"/>
                  </a:lnTo>
                  <a:lnTo>
                    <a:pt x="2852712" y="289864"/>
                  </a:lnTo>
                  <a:lnTo>
                    <a:pt x="2852547" y="288594"/>
                  </a:lnTo>
                  <a:lnTo>
                    <a:pt x="2851785" y="287997"/>
                  </a:lnTo>
                  <a:lnTo>
                    <a:pt x="2851785" y="293674"/>
                  </a:lnTo>
                  <a:lnTo>
                    <a:pt x="2849486" y="293674"/>
                  </a:lnTo>
                  <a:lnTo>
                    <a:pt x="2848343" y="294944"/>
                  </a:lnTo>
                  <a:lnTo>
                    <a:pt x="2846044" y="294944"/>
                  </a:lnTo>
                  <a:lnTo>
                    <a:pt x="2844368" y="293674"/>
                  </a:lnTo>
                  <a:lnTo>
                    <a:pt x="2838564" y="286054"/>
                  </a:lnTo>
                  <a:lnTo>
                    <a:pt x="2837218" y="282244"/>
                  </a:lnTo>
                  <a:lnTo>
                    <a:pt x="2837383" y="282244"/>
                  </a:lnTo>
                  <a:lnTo>
                    <a:pt x="2843555" y="289864"/>
                  </a:lnTo>
                  <a:lnTo>
                    <a:pt x="2846565" y="292404"/>
                  </a:lnTo>
                  <a:lnTo>
                    <a:pt x="2847543" y="289864"/>
                  </a:lnTo>
                  <a:lnTo>
                    <a:pt x="2851785" y="293674"/>
                  </a:lnTo>
                  <a:lnTo>
                    <a:pt x="2851785" y="287997"/>
                  </a:lnTo>
                  <a:lnTo>
                    <a:pt x="2849308" y="286054"/>
                  </a:lnTo>
                  <a:lnTo>
                    <a:pt x="2850210" y="282244"/>
                  </a:lnTo>
                  <a:lnTo>
                    <a:pt x="2852978" y="283514"/>
                  </a:lnTo>
                  <a:lnTo>
                    <a:pt x="2852242" y="287324"/>
                  </a:lnTo>
                  <a:lnTo>
                    <a:pt x="2856242" y="286054"/>
                  </a:lnTo>
                  <a:lnTo>
                    <a:pt x="2858160" y="291134"/>
                  </a:lnTo>
                  <a:lnTo>
                    <a:pt x="2858160" y="243192"/>
                  </a:lnTo>
                  <a:lnTo>
                    <a:pt x="2854121" y="244144"/>
                  </a:lnTo>
                  <a:lnTo>
                    <a:pt x="2853194" y="242874"/>
                  </a:lnTo>
                  <a:lnTo>
                    <a:pt x="2855811" y="237794"/>
                  </a:lnTo>
                  <a:lnTo>
                    <a:pt x="2858020" y="241604"/>
                  </a:lnTo>
                  <a:lnTo>
                    <a:pt x="2859494" y="242874"/>
                  </a:lnTo>
                  <a:lnTo>
                    <a:pt x="2859494" y="224358"/>
                  </a:lnTo>
                  <a:lnTo>
                    <a:pt x="2857855" y="223824"/>
                  </a:lnTo>
                  <a:lnTo>
                    <a:pt x="2853906" y="222554"/>
                  </a:lnTo>
                  <a:lnTo>
                    <a:pt x="2850197" y="221373"/>
                  </a:lnTo>
                  <a:lnTo>
                    <a:pt x="2850197" y="255574"/>
                  </a:lnTo>
                  <a:lnTo>
                    <a:pt x="2847289" y="259384"/>
                  </a:lnTo>
                  <a:lnTo>
                    <a:pt x="2843657" y="260654"/>
                  </a:lnTo>
                  <a:lnTo>
                    <a:pt x="2838881" y="256844"/>
                  </a:lnTo>
                  <a:lnTo>
                    <a:pt x="2837484" y="253034"/>
                  </a:lnTo>
                  <a:lnTo>
                    <a:pt x="2836545" y="250494"/>
                  </a:lnTo>
                  <a:lnTo>
                    <a:pt x="2837103" y="246684"/>
                  </a:lnTo>
                  <a:lnTo>
                    <a:pt x="2843644" y="254304"/>
                  </a:lnTo>
                  <a:lnTo>
                    <a:pt x="2843631" y="255574"/>
                  </a:lnTo>
                  <a:lnTo>
                    <a:pt x="2845587" y="256844"/>
                  </a:lnTo>
                  <a:lnTo>
                    <a:pt x="2845168" y="254304"/>
                  </a:lnTo>
                  <a:lnTo>
                    <a:pt x="2846032" y="253034"/>
                  </a:lnTo>
                  <a:lnTo>
                    <a:pt x="2847302" y="251764"/>
                  </a:lnTo>
                  <a:lnTo>
                    <a:pt x="2847733" y="255574"/>
                  </a:lnTo>
                  <a:lnTo>
                    <a:pt x="2850197" y="255574"/>
                  </a:lnTo>
                  <a:lnTo>
                    <a:pt x="2850197" y="221373"/>
                  </a:lnTo>
                  <a:lnTo>
                    <a:pt x="2845993" y="220014"/>
                  </a:lnTo>
                  <a:lnTo>
                    <a:pt x="2843022" y="216204"/>
                  </a:lnTo>
                  <a:lnTo>
                    <a:pt x="2838081" y="209854"/>
                  </a:lnTo>
                  <a:lnTo>
                    <a:pt x="2837002" y="204774"/>
                  </a:lnTo>
                  <a:lnTo>
                    <a:pt x="2839656" y="204774"/>
                  </a:lnTo>
                  <a:lnTo>
                    <a:pt x="2848165" y="216204"/>
                  </a:lnTo>
                  <a:lnTo>
                    <a:pt x="2848495" y="213664"/>
                  </a:lnTo>
                  <a:lnTo>
                    <a:pt x="2847949" y="209854"/>
                  </a:lnTo>
                  <a:lnTo>
                    <a:pt x="2849219" y="208584"/>
                  </a:lnTo>
                  <a:lnTo>
                    <a:pt x="2850375" y="211124"/>
                  </a:lnTo>
                  <a:lnTo>
                    <a:pt x="2851162" y="212394"/>
                  </a:lnTo>
                  <a:lnTo>
                    <a:pt x="2851632" y="212394"/>
                  </a:lnTo>
                  <a:lnTo>
                    <a:pt x="2856090" y="217474"/>
                  </a:lnTo>
                  <a:lnTo>
                    <a:pt x="2855887" y="214934"/>
                  </a:lnTo>
                  <a:lnTo>
                    <a:pt x="2857627" y="214934"/>
                  </a:lnTo>
                  <a:lnTo>
                    <a:pt x="2854198" y="222554"/>
                  </a:lnTo>
                  <a:lnTo>
                    <a:pt x="2865577" y="216204"/>
                  </a:lnTo>
                  <a:lnTo>
                    <a:pt x="2865577" y="208000"/>
                  </a:lnTo>
                  <a:lnTo>
                    <a:pt x="2863075" y="208584"/>
                  </a:lnTo>
                  <a:lnTo>
                    <a:pt x="2862643" y="208584"/>
                  </a:lnTo>
                  <a:lnTo>
                    <a:pt x="2871520" y="206044"/>
                  </a:lnTo>
                  <a:lnTo>
                    <a:pt x="2859824" y="204774"/>
                  </a:lnTo>
                  <a:lnTo>
                    <a:pt x="2853575" y="203504"/>
                  </a:lnTo>
                  <a:lnTo>
                    <a:pt x="2855976" y="202234"/>
                  </a:lnTo>
                  <a:lnTo>
                    <a:pt x="2857601" y="200964"/>
                  </a:lnTo>
                  <a:lnTo>
                    <a:pt x="2843542" y="197154"/>
                  </a:lnTo>
                  <a:lnTo>
                    <a:pt x="2839974" y="194614"/>
                  </a:lnTo>
                  <a:lnTo>
                    <a:pt x="2837611" y="192074"/>
                  </a:lnTo>
                  <a:lnTo>
                    <a:pt x="2837738" y="190804"/>
                  </a:lnTo>
                  <a:lnTo>
                    <a:pt x="2837878" y="189534"/>
                  </a:lnTo>
                  <a:lnTo>
                    <a:pt x="2845168" y="190804"/>
                  </a:lnTo>
                  <a:lnTo>
                    <a:pt x="2843873" y="189534"/>
                  </a:lnTo>
                  <a:lnTo>
                    <a:pt x="2838678" y="184454"/>
                  </a:lnTo>
                  <a:lnTo>
                    <a:pt x="2834792" y="180644"/>
                  </a:lnTo>
                  <a:lnTo>
                    <a:pt x="2840710" y="180644"/>
                  </a:lnTo>
                  <a:lnTo>
                    <a:pt x="2848610" y="184454"/>
                  </a:lnTo>
                  <a:lnTo>
                    <a:pt x="2848635" y="180644"/>
                  </a:lnTo>
                  <a:lnTo>
                    <a:pt x="2848660" y="176834"/>
                  </a:lnTo>
                  <a:lnTo>
                    <a:pt x="2854833" y="173024"/>
                  </a:lnTo>
                  <a:lnTo>
                    <a:pt x="2838856" y="173024"/>
                  </a:lnTo>
                  <a:lnTo>
                    <a:pt x="2836024" y="171754"/>
                  </a:lnTo>
                  <a:lnTo>
                    <a:pt x="2834602" y="170484"/>
                  </a:lnTo>
                  <a:lnTo>
                    <a:pt x="2831782" y="169214"/>
                  </a:lnTo>
                  <a:lnTo>
                    <a:pt x="2832112" y="167944"/>
                  </a:lnTo>
                  <a:lnTo>
                    <a:pt x="2832443" y="166674"/>
                  </a:lnTo>
                  <a:lnTo>
                    <a:pt x="2842323" y="170484"/>
                  </a:lnTo>
                  <a:lnTo>
                    <a:pt x="2841447" y="165404"/>
                  </a:lnTo>
                  <a:lnTo>
                    <a:pt x="2849118" y="166674"/>
                  </a:lnTo>
                  <a:lnTo>
                    <a:pt x="2848699" y="165404"/>
                  </a:lnTo>
                  <a:lnTo>
                    <a:pt x="2847441" y="161594"/>
                  </a:lnTo>
                  <a:lnTo>
                    <a:pt x="2848292" y="160324"/>
                  </a:lnTo>
                  <a:lnTo>
                    <a:pt x="2852585" y="153974"/>
                  </a:lnTo>
                  <a:lnTo>
                    <a:pt x="2837230" y="160324"/>
                  </a:lnTo>
                  <a:lnTo>
                    <a:pt x="2830906" y="157784"/>
                  </a:lnTo>
                  <a:lnTo>
                    <a:pt x="2832316" y="153974"/>
                  </a:lnTo>
                  <a:lnTo>
                    <a:pt x="2833230" y="152704"/>
                  </a:lnTo>
                  <a:lnTo>
                    <a:pt x="2839643" y="152704"/>
                  </a:lnTo>
                  <a:lnTo>
                    <a:pt x="2838094" y="150164"/>
                  </a:lnTo>
                  <a:lnTo>
                    <a:pt x="2840774" y="146354"/>
                  </a:lnTo>
                  <a:lnTo>
                    <a:pt x="2842552" y="143814"/>
                  </a:lnTo>
                  <a:lnTo>
                    <a:pt x="2832811" y="146354"/>
                  </a:lnTo>
                  <a:lnTo>
                    <a:pt x="2830995" y="142544"/>
                  </a:lnTo>
                  <a:lnTo>
                    <a:pt x="2832608" y="140004"/>
                  </a:lnTo>
                  <a:lnTo>
                    <a:pt x="2834221" y="137464"/>
                  </a:lnTo>
                  <a:lnTo>
                    <a:pt x="2831935" y="140004"/>
                  </a:lnTo>
                  <a:lnTo>
                    <a:pt x="2828620" y="136194"/>
                  </a:lnTo>
                  <a:lnTo>
                    <a:pt x="2828848" y="119684"/>
                  </a:lnTo>
                  <a:lnTo>
                    <a:pt x="2826893" y="118414"/>
                  </a:lnTo>
                  <a:lnTo>
                    <a:pt x="2825737" y="122224"/>
                  </a:lnTo>
                  <a:lnTo>
                    <a:pt x="2825559" y="132384"/>
                  </a:lnTo>
                  <a:lnTo>
                    <a:pt x="2822384" y="137464"/>
                  </a:lnTo>
                  <a:lnTo>
                    <a:pt x="2817291" y="137464"/>
                  </a:lnTo>
                  <a:lnTo>
                    <a:pt x="2822283" y="141274"/>
                  </a:lnTo>
                  <a:lnTo>
                    <a:pt x="2823286" y="146354"/>
                  </a:lnTo>
                  <a:lnTo>
                    <a:pt x="2809176" y="142544"/>
                  </a:lnTo>
                  <a:lnTo>
                    <a:pt x="2814828" y="148894"/>
                  </a:lnTo>
                  <a:lnTo>
                    <a:pt x="2813266" y="153974"/>
                  </a:lnTo>
                  <a:lnTo>
                    <a:pt x="2818523" y="152704"/>
                  </a:lnTo>
                  <a:lnTo>
                    <a:pt x="2822257" y="152704"/>
                  </a:lnTo>
                  <a:lnTo>
                    <a:pt x="2821914" y="155244"/>
                  </a:lnTo>
                  <a:lnTo>
                    <a:pt x="2821660" y="156514"/>
                  </a:lnTo>
                  <a:lnTo>
                    <a:pt x="2815183" y="156514"/>
                  </a:lnTo>
                  <a:lnTo>
                    <a:pt x="2816720" y="160324"/>
                  </a:lnTo>
                  <a:lnTo>
                    <a:pt x="2819908" y="161594"/>
                  </a:lnTo>
                  <a:lnTo>
                    <a:pt x="2816212" y="161594"/>
                  </a:lnTo>
                  <a:lnTo>
                    <a:pt x="2807068" y="159054"/>
                  </a:lnTo>
                  <a:lnTo>
                    <a:pt x="2798838" y="155244"/>
                  </a:lnTo>
                  <a:lnTo>
                    <a:pt x="2800769" y="160324"/>
                  </a:lnTo>
                  <a:lnTo>
                    <a:pt x="2802077" y="164134"/>
                  </a:lnTo>
                  <a:lnTo>
                    <a:pt x="2798508" y="166674"/>
                  </a:lnTo>
                  <a:lnTo>
                    <a:pt x="2802051" y="166674"/>
                  </a:lnTo>
                  <a:lnTo>
                    <a:pt x="2799283" y="173024"/>
                  </a:lnTo>
                  <a:lnTo>
                    <a:pt x="2809163" y="167944"/>
                  </a:lnTo>
                  <a:lnTo>
                    <a:pt x="2809151" y="173024"/>
                  </a:lnTo>
                  <a:lnTo>
                    <a:pt x="2816504" y="170484"/>
                  </a:lnTo>
                  <a:lnTo>
                    <a:pt x="2818092" y="175564"/>
                  </a:lnTo>
                  <a:lnTo>
                    <a:pt x="2811957" y="178104"/>
                  </a:lnTo>
                  <a:lnTo>
                    <a:pt x="2798597" y="178104"/>
                  </a:lnTo>
                  <a:lnTo>
                    <a:pt x="2802940" y="181914"/>
                  </a:lnTo>
                  <a:lnTo>
                    <a:pt x="2800007" y="188264"/>
                  </a:lnTo>
                  <a:lnTo>
                    <a:pt x="2809341" y="184454"/>
                  </a:lnTo>
                  <a:lnTo>
                    <a:pt x="2809405" y="188264"/>
                  </a:lnTo>
                  <a:lnTo>
                    <a:pt x="2803728" y="193344"/>
                  </a:lnTo>
                  <a:lnTo>
                    <a:pt x="2814307" y="190804"/>
                  </a:lnTo>
                  <a:lnTo>
                    <a:pt x="2816872" y="193344"/>
                  </a:lnTo>
                  <a:lnTo>
                    <a:pt x="2811780" y="199694"/>
                  </a:lnTo>
                  <a:lnTo>
                    <a:pt x="2795155" y="207314"/>
                  </a:lnTo>
                  <a:lnTo>
                    <a:pt x="2779649" y="207314"/>
                  </a:lnTo>
                  <a:lnTo>
                    <a:pt x="2784386" y="213664"/>
                  </a:lnTo>
                  <a:lnTo>
                    <a:pt x="2778379" y="221284"/>
                  </a:lnTo>
                  <a:lnTo>
                    <a:pt x="2790482" y="216204"/>
                  </a:lnTo>
                  <a:lnTo>
                    <a:pt x="2790063" y="220014"/>
                  </a:lnTo>
                  <a:lnTo>
                    <a:pt x="2783332" y="230174"/>
                  </a:lnTo>
                  <a:lnTo>
                    <a:pt x="2789428" y="225094"/>
                  </a:lnTo>
                  <a:lnTo>
                    <a:pt x="2791295" y="230174"/>
                  </a:lnTo>
                  <a:lnTo>
                    <a:pt x="2798127" y="225094"/>
                  </a:lnTo>
                  <a:lnTo>
                    <a:pt x="2799829" y="223824"/>
                  </a:lnTo>
                  <a:lnTo>
                    <a:pt x="2800858" y="227634"/>
                  </a:lnTo>
                  <a:lnTo>
                    <a:pt x="2802877" y="226364"/>
                  </a:lnTo>
                  <a:lnTo>
                    <a:pt x="2804884" y="223824"/>
                  </a:lnTo>
                  <a:lnTo>
                    <a:pt x="2805887" y="222554"/>
                  </a:lnTo>
                  <a:lnTo>
                    <a:pt x="2806192" y="226364"/>
                  </a:lnTo>
                  <a:lnTo>
                    <a:pt x="2806369" y="227634"/>
                  </a:lnTo>
                  <a:lnTo>
                    <a:pt x="2806674" y="231444"/>
                  </a:lnTo>
                  <a:lnTo>
                    <a:pt x="2814015" y="223824"/>
                  </a:lnTo>
                  <a:lnTo>
                    <a:pt x="2813177" y="227634"/>
                  </a:lnTo>
                  <a:lnTo>
                    <a:pt x="2811475" y="231444"/>
                  </a:lnTo>
                  <a:lnTo>
                    <a:pt x="2810433" y="232270"/>
                  </a:lnTo>
                  <a:lnTo>
                    <a:pt x="2810433" y="245414"/>
                  </a:lnTo>
                  <a:lnTo>
                    <a:pt x="2805226" y="251764"/>
                  </a:lnTo>
                  <a:lnTo>
                    <a:pt x="2805938" y="254304"/>
                  </a:lnTo>
                  <a:lnTo>
                    <a:pt x="2808186" y="253034"/>
                  </a:lnTo>
                  <a:lnTo>
                    <a:pt x="2807665" y="253619"/>
                  </a:lnTo>
                  <a:lnTo>
                    <a:pt x="2807665" y="293674"/>
                  </a:lnTo>
                  <a:lnTo>
                    <a:pt x="2806992" y="296214"/>
                  </a:lnTo>
                  <a:lnTo>
                    <a:pt x="2802432" y="303834"/>
                  </a:lnTo>
                  <a:lnTo>
                    <a:pt x="2796489" y="310184"/>
                  </a:lnTo>
                  <a:lnTo>
                    <a:pt x="2794355" y="315264"/>
                  </a:lnTo>
                  <a:lnTo>
                    <a:pt x="2791358" y="313994"/>
                  </a:lnTo>
                  <a:lnTo>
                    <a:pt x="2790685" y="313994"/>
                  </a:lnTo>
                  <a:lnTo>
                    <a:pt x="2791383" y="310184"/>
                  </a:lnTo>
                  <a:lnTo>
                    <a:pt x="2792145" y="308914"/>
                  </a:lnTo>
                  <a:lnTo>
                    <a:pt x="2795574" y="308914"/>
                  </a:lnTo>
                  <a:lnTo>
                    <a:pt x="2795105" y="306374"/>
                  </a:lnTo>
                  <a:lnTo>
                    <a:pt x="2797822" y="306374"/>
                  </a:lnTo>
                  <a:lnTo>
                    <a:pt x="2800439" y="305104"/>
                  </a:lnTo>
                  <a:lnTo>
                    <a:pt x="2798762" y="305104"/>
                  </a:lnTo>
                  <a:lnTo>
                    <a:pt x="2803169" y="298754"/>
                  </a:lnTo>
                  <a:lnTo>
                    <a:pt x="2805823" y="294944"/>
                  </a:lnTo>
                  <a:lnTo>
                    <a:pt x="2807665" y="293674"/>
                  </a:lnTo>
                  <a:lnTo>
                    <a:pt x="2807665" y="253619"/>
                  </a:lnTo>
                  <a:lnTo>
                    <a:pt x="2804744" y="256844"/>
                  </a:lnTo>
                  <a:lnTo>
                    <a:pt x="2798445" y="261924"/>
                  </a:lnTo>
                  <a:lnTo>
                    <a:pt x="2798445" y="282244"/>
                  </a:lnTo>
                  <a:lnTo>
                    <a:pt x="2794787" y="287324"/>
                  </a:lnTo>
                  <a:lnTo>
                    <a:pt x="2790152" y="284784"/>
                  </a:lnTo>
                  <a:lnTo>
                    <a:pt x="2794406" y="279704"/>
                  </a:lnTo>
                  <a:lnTo>
                    <a:pt x="2797035" y="278434"/>
                  </a:lnTo>
                  <a:lnTo>
                    <a:pt x="2798445" y="282244"/>
                  </a:lnTo>
                  <a:lnTo>
                    <a:pt x="2798445" y="261924"/>
                  </a:lnTo>
                  <a:lnTo>
                    <a:pt x="2796857" y="263194"/>
                  </a:lnTo>
                  <a:lnTo>
                    <a:pt x="2790113" y="266890"/>
                  </a:lnTo>
                  <a:lnTo>
                    <a:pt x="2790113" y="292404"/>
                  </a:lnTo>
                  <a:lnTo>
                    <a:pt x="2787573" y="294944"/>
                  </a:lnTo>
                  <a:lnTo>
                    <a:pt x="2782024" y="298754"/>
                  </a:lnTo>
                  <a:lnTo>
                    <a:pt x="2777871" y="296214"/>
                  </a:lnTo>
                  <a:lnTo>
                    <a:pt x="2774340" y="292404"/>
                  </a:lnTo>
                  <a:lnTo>
                    <a:pt x="2772029" y="287324"/>
                  </a:lnTo>
                  <a:lnTo>
                    <a:pt x="2779953" y="293674"/>
                  </a:lnTo>
                  <a:lnTo>
                    <a:pt x="2781033" y="287324"/>
                  </a:lnTo>
                  <a:lnTo>
                    <a:pt x="2782138" y="287324"/>
                  </a:lnTo>
                  <a:lnTo>
                    <a:pt x="2790113" y="292404"/>
                  </a:lnTo>
                  <a:lnTo>
                    <a:pt x="2790113" y="266890"/>
                  </a:lnTo>
                  <a:lnTo>
                    <a:pt x="2785237" y="269544"/>
                  </a:lnTo>
                  <a:lnTo>
                    <a:pt x="2774353" y="268274"/>
                  </a:lnTo>
                  <a:lnTo>
                    <a:pt x="2772333" y="267004"/>
                  </a:lnTo>
                  <a:lnTo>
                    <a:pt x="2775775" y="263194"/>
                  </a:lnTo>
                  <a:lnTo>
                    <a:pt x="2774899" y="262890"/>
                  </a:lnTo>
                  <a:lnTo>
                    <a:pt x="2780474" y="260654"/>
                  </a:lnTo>
                  <a:lnTo>
                    <a:pt x="2783636" y="258114"/>
                  </a:lnTo>
                  <a:lnTo>
                    <a:pt x="2789974" y="255574"/>
                  </a:lnTo>
                  <a:lnTo>
                    <a:pt x="2791053" y="261924"/>
                  </a:lnTo>
                  <a:lnTo>
                    <a:pt x="2793657" y="258114"/>
                  </a:lnTo>
                  <a:lnTo>
                    <a:pt x="2793822" y="255574"/>
                  </a:lnTo>
                  <a:lnTo>
                    <a:pt x="2793987" y="253034"/>
                  </a:lnTo>
                  <a:lnTo>
                    <a:pt x="2795041" y="249224"/>
                  </a:lnTo>
                  <a:lnTo>
                    <a:pt x="2797886" y="253034"/>
                  </a:lnTo>
                  <a:lnTo>
                    <a:pt x="2798292" y="256844"/>
                  </a:lnTo>
                  <a:lnTo>
                    <a:pt x="2801112" y="256844"/>
                  </a:lnTo>
                  <a:lnTo>
                    <a:pt x="2806090" y="249224"/>
                  </a:lnTo>
                  <a:lnTo>
                    <a:pt x="2810433" y="245414"/>
                  </a:lnTo>
                  <a:lnTo>
                    <a:pt x="2810433" y="232270"/>
                  </a:lnTo>
                  <a:lnTo>
                    <a:pt x="2805049" y="236524"/>
                  </a:lnTo>
                  <a:lnTo>
                    <a:pt x="2796235" y="240334"/>
                  </a:lnTo>
                  <a:lnTo>
                    <a:pt x="2787015" y="242874"/>
                  </a:lnTo>
                  <a:lnTo>
                    <a:pt x="2784221" y="243979"/>
                  </a:lnTo>
                  <a:lnTo>
                    <a:pt x="2784221" y="253034"/>
                  </a:lnTo>
                  <a:lnTo>
                    <a:pt x="2774556" y="262763"/>
                  </a:lnTo>
                  <a:lnTo>
                    <a:pt x="2768523" y="260654"/>
                  </a:lnTo>
                  <a:lnTo>
                    <a:pt x="2759545" y="256844"/>
                  </a:lnTo>
                  <a:lnTo>
                    <a:pt x="2757335" y="251764"/>
                  </a:lnTo>
                  <a:lnTo>
                    <a:pt x="2770492" y="258114"/>
                  </a:lnTo>
                  <a:lnTo>
                    <a:pt x="2769743" y="254304"/>
                  </a:lnTo>
                  <a:lnTo>
                    <a:pt x="2775750" y="254304"/>
                  </a:lnTo>
                  <a:lnTo>
                    <a:pt x="2775508" y="256844"/>
                  </a:lnTo>
                  <a:lnTo>
                    <a:pt x="2781312" y="254304"/>
                  </a:lnTo>
                  <a:lnTo>
                    <a:pt x="2784221" y="253034"/>
                  </a:lnTo>
                  <a:lnTo>
                    <a:pt x="2784221" y="243979"/>
                  </a:lnTo>
                  <a:lnTo>
                    <a:pt x="2780563" y="245414"/>
                  </a:lnTo>
                  <a:lnTo>
                    <a:pt x="2779992" y="244538"/>
                  </a:lnTo>
                  <a:lnTo>
                    <a:pt x="2779992" y="245414"/>
                  </a:lnTo>
                  <a:lnTo>
                    <a:pt x="2770936" y="247954"/>
                  </a:lnTo>
                  <a:lnTo>
                    <a:pt x="2776067" y="250494"/>
                  </a:lnTo>
                  <a:lnTo>
                    <a:pt x="2775877" y="251764"/>
                  </a:lnTo>
                  <a:lnTo>
                    <a:pt x="2768663" y="246684"/>
                  </a:lnTo>
                  <a:lnTo>
                    <a:pt x="2770632" y="245414"/>
                  </a:lnTo>
                  <a:lnTo>
                    <a:pt x="2767419" y="241604"/>
                  </a:lnTo>
                  <a:lnTo>
                    <a:pt x="2766352" y="240334"/>
                  </a:lnTo>
                  <a:lnTo>
                    <a:pt x="2771051" y="241604"/>
                  </a:lnTo>
                  <a:lnTo>
                    <a:pt x="2773934" y="246684"/>
                  </a:lnTo>
                  <a:lnTo>
                    <a:pt x="2774607" y="241604"/>
                  </a:lnTo>
                  <a:lnTo>
                    <a:pt x="2779992" y="245414"/>
                  </a:lnTo>
                  <a:lnTo>
                    <a:pt x="2779992" y="244538"/>
                  </a:lnTo>
                  <a:lnTo>
                    <a:pt x="2778099" y="241604"/>
                  </a:lnTo>
                  <a:lnTo>
                    <a:pt x="2777274" y="240334"/>
                  </a:lnTo>
                  <a:lnTo>
                    <a:pt x="2776448" y="239064"/>
                  </a:lnTo>
                  <a:lnTo>
                    <a:pt x="2779585" y="240334"/>
                  </a:lnTo>
                  <a:lnTo>
                    <a:pt x="2779547" y="239064"/>
                  </a:lnTo>
                  <a:lnTo>
                    <a:pt x="2779458" y="236524"/>
                  </a:lnTo>
                  <a:lnTo>
                    <a:pt x="2787294" y="232714"/>
                  </a:lnTo>
                  <a:lnTo>
                    <a:pt x="2761538" y="227634"/>
                  </a:lnTo>
                  <a:lnTo>
                    <a:pt x="2758503" y="226364"/>
                  </a:lnTo>
                  <a:lnTo>
                    <a:pt x="2761272" y="225094"/>
                  </a:lnTo>
                  <a:lnTo>
                    <a:pt x="2758287" y="221284"/>
                  </a:lnTo>
                  <a:lnTo>
                    <a:pt x="2772346" y="225094"/>
                  </a:lnTo>
                  <a:lnTo>
                    <a:pt x="2770530" y="221284"/>
                  </a:lnTo>
                  <a:lnTo>
                    <a:pt x="2774137" y="217474"/>
                  </a:lnTo>
                  <a:lnTo>
                    <a:pt x="2752179" y="212394"/>
                  </a:lnTo>
                  <a:lnTo>
                    <a:pt x="2760192" y="212394"/>
                  </a:lnTo>
                  <a:lnTo>
                    <a:pt x="2760167" y="211124"/>
                  </a:lnTo>
                  <a:lnTo>
                    <a:pt x="2760129" y="209854"/>
                  </a:lnTo>
                  <a:lnTo>
                    <a:pt x="2760103" y="208584"/>
                  </a:lnTo>
                  <a:lnTo>
                    <a:pt x="2767520" y="213664"/>
                  </a:lnTo>
                  <a:lnTo>
                    <a:pt x="2767126" y="208584"/>
                  </a:lnTo>
                  <a:lnTo>
                    <a:pt x="2772778" y="203504"/>
                  </a:lnTo>
                  <a:lnTo>
                    <a:pt x="2764713" y="202234"/>
                  </a:lnTo>
                  <a:lnTo>
                    <a:pt x="2766212" y="199694"/>
                  </a:lnTo>
                  <a:lnTo>
                    <a:pt x="2770632" y="195884"/>
                  </a:lnTo>
                  <a:lnTo>
                    <a:pt x="2765056" y="195884"/>
                  </a:lnTo>
                  <a:lnTo>
                    <a:pt x="2769209" y="190804"/>
                  </a:lnTo>
                  <a:lnTo>
                    <a:pt x="2750616" y="197154"/>
                  </a:lnTo>
                  <a:lnTo>
                    <a:pt x="2747683" y="192074"/>
                  </a:lnTo>
                  <a:lnTo>
                    <a:pt x="2746210" y="189534"/>
                  </a:lnTo>
                  <a:lnTo>
                    <a:pt x="2753588" y="195884"/>
                  </a:lnTo>
                  <a:lnTo>
                    <a:pt x="2753614" y="190804"/>
                  </a:lnTo>
                  <a:lnTo>
                    <a:pt x="2760675" y="192074"/>
                  </a:lnTo>
                  <a:lnTo>
                    <a:pt x="2759849" y="190804"/>
                  </a:lnTo>
                  <a:lnTo>
                    <a:pt x="2759011" y="189534"/>
                  </a:lnTo>
                  <a:lnTo>
                    <a:pt x="2758186" y="188264"/>
                  </a:lnTo>
                  <a:lnTo>
                    <a:pt x="2764536" y="186994"/>
                  </a:lnTo>
                  <a:lnTo>
                    <a:pt x="2760091" y="184454"/>
                  </a:lnTo>
                  <a:lnTo>
                    <a:pt x="2752915" y="181914"/>
                  </a:lnTo>
                  <a:lnTo>
                    <a:pt x="2760776" y="180644"/>
                  </a:lnTo>
                  <a:lnTo>
                    <a:pt x="2755519" y="176834"/>
                  </a:lnTo>
                  <a:lnTo>
                    <a:pt x="2758427" y="173024"/>
                  </a:lnTo>
                  <a:lnTo>
                    <a:pt x="2760357" y="170484"/>
                  </a:lnTo>
                  <a:lnTo>
                    <a:pt x="2754706" y="173024"/>
                  </a:lnTo>
                  <a:lnTo>
                    <a:pt x="2751277" y="171754"/>
                  </a:lnTo>
                  <a:lnTo>
                    <a:pt x="2753474" y="169214"/>
                  </a:lnTo>
                  <a:lnTo>
                    <a:pt x="2754579" y="167944"/>
                  </a:lnTo>
                  <a:lnTo>
                    <a:pt x="2745206" y="169214"/>
                  </a:lnTo>
                  <a:lnTo>
                    <a:pt x="2751328" y="162864"/>
                  </a:lnTo>
                  <a:lnTo>
                    <a:pt x="2745371" y="160324"/>
                  </a:lnTo>
                  <a:lnTo>
                    <a:pt x="2744101" y="146354"/>
                  </a:lnTo>
                  <a:lnTo>
                    <a:pt x="2742958" y="140004"/>
                  </a:lnTo>
                  <a:lnTo>
                    <a:pt x="2742311" y="141274"/>
                  </a:lnTo>
                  <a:lnTo>
                    <a:pt x="2742006" y="141274"/>
                  </a:lnTo>
                  <a:lnTo>
                    <a:pt x="2741358" y="142544"/>
                  </a:lnTo>
                  <a:lnTo>
                    <a:pt x="2741053" y="153974"/>
                  </a:lnTo>
                  <a:lnTo>
                    <a:pt x="2738920" y="160324"/>
                  </a:lnTo>
                  <a:lnTo>
                    <a:pt x="2736304" y="161594"/>
                  </a:lnTo>
                  <a:lnTo>
                    <a:pt x="2734589" y="162864"/>
                  </a:lnTo>
                  <a:lnTo>
                    <a:pt x="2738450" y="165404"/>
                  </a:lnTo>
                  <a:lnTo>
                    <a:pt x="2728023" y="169214"/>
                  </a:lnTo>
                  <a:lnTo>
                    <a:pt x="2731935" y="173024"/>
                  </a:lnTo>
                  <a:lnTo>
                    <a:pt x="2729039" y="175564"/>
                  </a:lnTo>
                  <a:lnTo>
                    <a:pt x="2737891" y="178104"/>
                  </a:lnTo>
                  <a:lnTo>
                    <a:pt x="2730347" y="181914"/>
                  </a:lnTo>
                  <a:lnTo>
                    <a:pt x="2722943" y="183184"/>
                  </a:lnTo>
                  <a:lnTo>
                    <a:pt x="2730042" y="185724"/>
                  </a:lnTo>
                  <a:lnTo>
                    <a:pt x="2728887" y="190804"/>
                  </a:lnTo>
                  <a:lnTo>
                    <a:pt x="2733560" y="188264"/>
                  </a:lnTo>
                  <a:lnTo>
                    <a:pt x="2733459" y="193344"/>
                  </a:lnTo>
                  <a:lnTo>
                    <a:pt x="2737701" y="192074"/>
                  </a:lnTo>
                  <a:lnTo>
                    <a:pt x="2731160" y="197154"/>
                  </a:lnTo>
                  <a:lnTo>
                    <a:pt x="2710357" y="192074"/>
                  </a:lnTo>
                  <a:lnTo>
                    <a:pt x="2713266" y="194614"/>
                  </a:lnTo>
                  <a:lnTo>
                    <a:pt x="2709164" y="198424"/>
                  </a:lnTo>
                  <a:lnTo>
                    <a:pt x="2717495" y="197154"/>
                  </a:lnTo>
                  <a:lnTo>
                    <a:pt x="2710777" y="202234"/>
                  </a:lnTo>
                  <a:lnTo>
                    <a:pt x="2717127" y="204774"/>
                  </a:lnTo>
                  <a:lnTo>
                    <a:pt x="2708948" y="212394"/>
                  </a:lnTo>
                  <a:lnTo>
                    <a:pt x="2715247" y="209854"/>
                  </a:lnTo>
                  <a:lnTo>
                    <a:pt x="2718206" y="214934"/>
                  </a:lnTo>
                  <a:lnTo>
                    <a:pt x="2724239" y="209854"/>
                  </a:lnTo>
                  <a:lnTo>
                    <a:pt x="2720873" y="216204"/>
                  </a:lnTo>
                  <a:lnTo>
                    <a:pt x="2718600" y="220014"/>
                  </a:lnTo>
                  <a:lnTo>
                    <a:pt x="2723921" y="216204"/>
                  </a:lnTo>
                  <a:lnTo>
                    <a:pt x="2728417" y="220014"/>
                  </a:lnTo>
                  <a:lnTo>
                    <a:pt x="2730385" y="216204"/>
                  </a:lnTo>
                  <a:lnTo>
                    <a:pt x="2733014" y="211124"/>
                  </a:lnTo>
                  <a:lnTo>
                    <a:pt x="2734487" y="217474"/>
                  </a:lnTo>
                  <a:lnTo>
                    <a:pt x="2723781" y="223824"/>
                  </a:lnTo>
                  <a:lnTo>
                    <a:pt x="2705201" y="227634"/>
                  </a:lnTo>
                  <a:lnTo>
                    <a:pt x="2706662" y="230174"/>
                  </a:lnTo>
                  <a:lnTo>
                    <a:pt x="2697861" y="230174"/>
                  </a:lnTo>
                  <a:lnTo>
                    <a:pt x="2706979" y="236524"/>
                  </a:lnTo>
                  <a:lnTo>
                    <a:pt x="2703233" y="240334"/>
                  </a:lnTo>
                  <a:lnTo>
                    <a:pt x="2715679" y="236524"/>
                  </a:lnTo>
                  <a:lnTo>
                    <a:pt x="2717901" y="236524"/>
                  </a:lnTo>
                  <a:lnTo>
                    <a:pt x="2716263" y="240334"/>
                  </a:lnTo>
                  <a:lnTo>
                    <a:pt x="2707360" y="247954"/>
                  </a:lnTo>
                  <a:lnTo>
                    <a:pt x="2714358" y="247954"/>
                  </a:lnTo>
                  <a:lnTo>
                    <a:pt x="2714980" y="253034"/>
                  </a:lnTo>
                  <a:lnTo>
                    <a:pt x="2720086" y="245414"/>
                  </a:lnTo>
                  <a:lnTo>
                    <a:pt x="2723235" y="249224"/>
                  </a:lnTo>
                  <a:lnTo>
                    <a:pt x="2723845" y="245414"/>
                  </a:lnTo>
                  <a:lnTo>
                    <a:pt x="2724467" y="241604"/>
                  </a:lnTo>
                  <a:lnTo>
                    <a:pt x="2727439" y="242874"/>
                  </a:lnTo>
                  <a:lnTo>
                    <a:pt x="2729407" y="246684"/>
                  </a:lnTo>
                  <a:lnTo>
                    <a:pt x="2720810" y="254304"/>
                  </a:lnTo>
                  <a:lnTo>
                    <a:pt x="2727693" y="256844"/>
                  </a:lnTo>
                  <a:lnTo>
                    <a:pt x="2725318" y="260654"/>
                  </a:lnTo>
                  <a:lnTo>
                    <a:pt x="2725115" y="260718"/>
                  </a:lnTo>
                  <a:lnTo>
                    <a:pt x="2725115" y="278434"/>
                  </a:lnTo>
                  <a:lnTo>
                    <a:pt x="2720873" y="284784"/>
                  </a:lnTo>
                  <a:lnTo>
                    <a:pt x="2715247" y="287172"/>
                  </a:lnTo>
                  <a:lnTo>
                    <a:pt x="2715247" y="390194"/>
                  </a:lnTo>
                  <a:lnTo>
                    <a:pt x="2711602" y="391464"/>
                  </a:lnTo>
                  <a:lnTo>
                    <a:pt x="2713520" y="386384"/>
                  </a:lnTo>
                  <a:lnTo>
                    <a:pt x="2715247" y="390194"/>
                  </a:lnTo>
                  <a:lnTo>
                    <a:pt x="2715247" y="287172"/>
                  </a:lnTo>
                  <a:lnTo>
                    <a:pt x="2712174" y="288480"/>
                  </a:lnTo>
                  <a:lnTo>
                    <a:pt x="2712174" y="326694"/>
                  </a:lnTo>
                  <a:lnTo>
                    <a:pt x="2705087" y="341934"/>
                  </a:lnTo>
                  <a:lnTo>
                    <a:pt x="2708173" y="341934"/>
                  </a:lnTo>
                  <a:lnTo>
                    <a:pt x="2706840" y="344474"/>
                  </a:lnTo>
                  <a:lnTo>
                    <a:pt x="2703360" y="345744"/>
                  </a:lnTo>
                  <a:lnTo>
                    <a:pt x="2699372" y="345744"/>
                  </a:lnTo>
                  <a:lnTo>
                    <a:pt x="2692641" y="344474"/>
                  </a:lnTo>
                  <a:lnTo>
                    <a:pt x="2693428" y="343204"/>
                  </a:lnTo>
                  <a:lnTo>
                    <a:pt x="2695003" y="340664"/>
                  </a:lnTo>
                  <a:lnTo>
                    <a:pt x="2697188" y="344474"/>
                  </a:lnTo>
                  <a:lnTo>
                    <a:pt x="2698800" y="340664"/>
                  </a:lnTo>
                  <a:lnTo>
                    <a:pt x="2699867" y="338124"/>
                  </a:lnTo>
                  <a:lnTo>
                    <a:pt x="2700299" y="334314"/>
                  </a:lnTo>
                  <a:lnTo>
                    <a:pt x="2700439" y="333044"/>
                  </a:lnTo>
                  <a:lnTo>
                    <a:pt x="2701912" y="334314"/>
                  </a:lnTo>
                  <a:lnTo>
                    <a:pt x="2706014" y="334314"/>
                  </a:lnTo>
                  <a:lnTo>
                    <a:pt x="2706357" y="333044"/>
                  </a:lnTo>
                  <a:lnTo>
                    <a:pt x="2707729" y="327964"/>
                  </a:lnTo>
                  <a:lnTo>
                    <a:pt x="2708287" y="325424"/>
                  </a:lnTo>
                  <a:lnTo>
                    <a:pt x="2708846" y="322884"/>
                  </a:lnTo>
                  <a:lnTo>
                    <a:pt x="2709976" y="322884"/>
                  </a:lnTo>
                  <a:lnTo>
                    <a:pt x="2710053" y="327964"/>
                  </a:lnTo>
                  <a:lnTo>
                    <a:pt x="2712174" y="326694"/>
                  </a:lnTo>
                  <a:lnTo>
                    <a:pt x="2712174" y="288480"/>
                  </a:lnTo>
                  <a:lnTo>
                    <a:pt x="2702915" y="292404"/>
                  </a:lnTo>
                  <a:lnTo>
                    <a:pt x="2707144" y="294944"/>
                  </a:lnTo>
                  <a:lnTo>
                    <a:pt x="2697200" y="301294"/>
                  </a:lnTo>
                  <a:lnTo>
                    <a:pt x="2689860" y="303466"/>
                  </a:lnTo>
                  <a:lnTo>
                    <a:pt x="2689860" y="335584"/>
                  </a:lnTo>
                  <a:lnTo>
                    <a:pt x="2689606" y="336854"/>
                  </a:lnTo>
                  <a:lnTo>
                    <a:pt x="2688552" y="343204"/>
                  </a:lnTo>
                  <a:lnTo>
                    <a:pt x="2682570" y="339394"/>
                  </a:lnTo>
                  <a:lnTo>
                    <a:pt x="2683611" y="338124"/>
                  </a:lnTo>
                  <a:lnTo>
                    <a:pt x="2685681" y="335584"/>
                  </a:lnTo>
                  <a:lnTo>
                    <a:pt x="2686723" y="334314"/>
                  </a:lnTo>
                  <a:lnTo>
                    <a:pt x="2689860" y="335584"/>
                  </a:lnTo>
                  <a:lnTo>
                    <a:pt x="2689860" y="303466"/>
                  </a:lnTo>
                  <a:lnTo>
                    <a:pt x="2684272" y="305104"/>
                  </a:lnTo>
                  <a:lnTo>
                    <a:pt x="2677528" y="301294"/>
                  </a:lnTo>
                  <a:lnTo>
                    <a:pt x="2672981" y="298411"/>
                  </a:lnTo>
                  <a:lnTo>
                    <a:pt x="2672981" y="324154"/>
                  </a:lnTo>
                  <a:lnTo>
                    <a:pt x="2670733" y="325424"/>
                  </a:lnTo>
                  <a:lnTo>
                    <a:pt x="2669971" y="321614"/>
                  </a:lnTo>
                  <a:lnTo>
                    <a:pt x="2671445" y="319074"/>
                  </a:lnTo>
                  <a:lnTo>
                    <a:pt x="2672981" y="324154"/>
                  </a:lnTo>
                  <a:lnTo>
                    <a:pt x="2672981" y="298411"/>
                  </a:lnTo>
                  <a:lnTo>
                    <a:pt x="2669527" y="296214"/>
                  </a:lnTo>
                  <a:lnTo>
                    <a:pt x="2668701" y="294944"/>
                  </a:lnTo>
                  <a:lnTo>
                    <a:pt x="2663723" y="287324"/>
                  </a:lnTo>
                  <a:lnTo>
                    <a:pt x="2662110" y="283514"/>
                  </a:lnTo>
                  <a:lnTo>
                    <a:pt x="2668701" y="291134"/>
                  </a:lnTo>
                  <a:lnTo>
                    <a:pt x="2671724" y="293674"/>
                  </a:lnTo>
                  <a:lnTo>
                    <a:pt x="2672689" y="291134"/>
                  </a:lnTo>
                  <a:lnTo>
                    <a:pt x="2679281" y="297484"/>
                  </a:lnTo>
                  <a:lnTo>
                    <a:pt x="2678341" y="293674"/>
                  </a:lnTo>
                  <a:lnTo>
                    <a:pt x="2677909" y="291134"/>
                  </a:lnTo>
                  <a:lnTo>
                    <a:pt x="2677693" y="289864"/>
                  </a:lnTo>
                  <a:lnTo>
                    <a:pt x="2674467" y="287324"/>
                  </a:lnTo>
                  <a:lnTo>
                    <a:pt x="2675369" y="283514"/>
                  </a:lnTo>
                  <a:lnTo>
                    <a:pt x="2681465" y="287324"/>
                  </a:lnTo>
                  <a:lnTo>
                    <a:pt x="2684284" y="294944"/>
                  </a:lnTo>
                  <a:lnTo>
                    <a:pt x="2686875" y="291134"/>
                  </a:lnTo>
                  <a:lnTo>
                    <a:pt x="2691155" y="298754"/>
                  </a:lnTo>
                  <a:lnTo>
                    <a:pt x="2693974" y="293674"/>
                  </a:lnTo>
                  <a:lnTo>
                    <a:pt x="2698127" y="296214"/>
                  </a:lnTo>
                  <a:lnTo>
                    <a:pt x="2697530" y="293674"/>
                  </a:lnTo>
                  <a:lnTo>
                    <a:pt x="2696934" y="291134"/>
                  </a:lnTo>
                  <a:lnTo>
                    <a:pt x="2696629" y="289864"/>
                  </a:lnTo>
                  <a:lnTo>
                    <a:pt x="2688450" y="283514"/>
                  </a:lnTo>
                  <a:lnTo>
                    <a:pt x="2687688" y="279704"/>
                  </a:lnTo>
                  <a:lnTo>
                    <a:pt x="2689974" y="280974"/>
                  </a:lnTo>
                  <a:lnTo>
                    <a:pt x="2690215" y="280974"/>
                  </a:lnTo>
                  <a:lnTo>
                    <a:pt x="2695524" y="284784"/>
                  </a:lnTo>
                  <a:lnTo>
                    <a:pt x="2701594" y="284784"/>
                  </a:lnTo>
                  <a:lnTo>
                    <a:pt x="2700731" y="282244"/>
                  </a:lnTo>
                  <a:lnTo>
                    <a:pt x="2705189" y="278434"/>
                  </a:lnTo>
                  <a:lnTo>
                    <a:pt x="2703614" y="287324"/>
                  </a:lnTo>
                  <a:lnTo>
                    <a:pt x="2709951" y="283514"/>
                  </a:lnTo>
                  <a:lnTo>
                    <a:pt x="2713126" y="286054"/>
                  </a:lnTo>
                  <a:lnTo>
                    <a:pt x="2713456" y="283514"/>
                  </a:lnTo>
                  <a:lnTo>
                    <a:pt x="2714129" y="278434"/>
                  </a:lnTo>
                  <a:lnTo>
                    <a:pt x="2714472" y="275894"/>
                  </a:lnTo>
                  <a:lnTo>
                    <a:pt x="2717990" y="279704"/>
                  </a:lnTo>
                  <a:lnTo>
                    <a:pt x="2725115" y="278434"/>
                  </a:lnTo>
                  <a:lnTo>
                    <a:pt x="2725115" y="260718"/>
                  </a:lnTo>
                  <a:lnTo>
                    <a:pt x="2686393" y="272084"/>
                  </a:lnTo>
                  <a:lnTo>
                    <a:pt x="2682697" y="270814"/>
                  </a:lnTo>
                  <a:lnTo>
                    <a:pt x="2671876" y="265734"/>
                  </a:lnTo>
                  <a:lnTo>
                    <a:pt x="2664028" y="258114"/>
                  </a:lnTo>
                  <a:lnTo>
                    <a:pt x="2662631" y="254304"/>
                  </a:lnTo>
                  <a:lnTo>
                    <a:pt x="2661704" y="251764"/>
                  </a:lnTo>
                  <a:lnTo>
                    <a:pt x="2662250" y="247954"/>
                  </a:lnTo>
                  <a:lnTo>
                    <a:pt x="2670746" y="259384"/>
                  </a:lnTo>
                  <a:lnTo>
                    <a:pt x="2670022" y="253034"/>
                  </a:lnTo>
                  <a:lnTo>
                    <a:pt x="2668689" y="247954"/>
                  </a:lnTo>
                  <a:lnTo>
                    <a:pt x="2668028" y="245414"/>
                  </a:lnTo>
                  <a:lnTo>
                    <a:pt x="2677795" y="261924"/>
                  </a:lnTo>
                  <a:lnTo>
                    <a:pt x="2679636" y="255574"/>
                  </a:lnTo>
                  <a:lnTo>
                    <a:pt x="2686354" y="265734"/>
                  </a:lnTo>
                  <a:lnTo>
                    <a:pt x="2685783" y="260654"/>
                  </a:lnTo>
                  <a:lnTo>
                    <a:pt x="2687155" y="259384"/>
                  </a:lnTo>
                  <a:lnTo>
                    <a:pt x="2691955" y="261924"/>
                  </a:lnTo>
                  <a:lnTo>
                    <a:pt x="2694698" y="259384"/>
                  </a:lnTo>
                  <a:lnTo>
                    <a:pt x="2696070" y="258114"/>
                  </a:lnTo>
                  <a:lnTo>
                    <a:pt x="2690190" y="255574"/>
                  </a:lnTo>
                  <a:lnTo>
                    <a:pt x="2687256" y="254304"/>
                  </a:lnTo>
                  <a:lnTo>
                    <a:pt x="2680068" y="247954"/>
                  </a:lnTo>
                  <a:lnTo>
                    <a:pt x="2678925" y="245414"/>
                  </a:lnTo>
                  <a:lnTo>
                    <a:pt x="2678353" y="244144"/>
                  </a:lnTo>
                  <a:lnTo>
                    <a:pt x="2680970" y="239064"/>
                  </a:lnTo>
                  <a:lnTo>
                    <a:pt x="2683167" y="242874"/>
                  </a:lnTo>
                  <a:lnTo>
                    <a:pt x="2689212" y="249224"/>
                  </a:lnTo>
                  <a:lnTo>
                    <a:pt x="2687904" y="239064"/>
                  </a:lnTo>
                  <a:lnTo>
                    <a:pt x="2695321" y="245414"/>
                  </a:lnTo>
                  <a:lnTo>
                    <a:pt x="2694000" y="239064"/>
                  </a:lnTo>
                  <a:lnTo>
                    <a:pt x="2693479" y="236524"/>
                  </a:lnTo>
                  <a:lnTo>
                    <a:pt x="2704363" y="235254"/>
                  </a:lnTo>
                  <a:lnTo>
                    <a:pt x="2688488" y="230174"/>
                  </a:lnTo>
                  <a:lnTo>
                    <a:pt x="2687802" y="228904"/>
                  </a:lnTo>
                  <a:lnTo>
                    <a:pt x="2690926" y="227634"/>
                  </a:lnTo>
                  <a:lnTo>
                    <a:pt x="2683014" y="225094"/>
                  </a:lnTo>
                  <a:lnTo>
                    <a:pt x="2679065" y="223824"/>
                  </a:lnTo>
                  <a:lnTo>
                    <a:pt x="2671153" y="221284"/>
                  </a:lnTo>
                  <a:lnTo>
                    <a:pt x="2668181" y="217474"/>
                  </a:lnTo>
                  <a:lnTo>
                    <a:pt x="2663240" y="211124"/>
                  </a:lnTo>
                  <a:lnTo>
                    <a:pt x="2662148" y="206044"/>
                  </a:lnTo>
                  <a:lnTo>
                    <a:pt x="2664803" y="207314"/>
                  </a:lnTo>
                  <a:lnTo>
                    <a:pt x="2673324" y="217474"/>
                  </a:lnTo>
                  <a:lnTo>
                    <a:pt x="2673667" y="214934"/>
                  </a:lnTo>
                  <a:lnTo>
                    <a:pt x="2673108" y="211124"/>
                  </a:lnTo>
                  <a:lnTo>
                    <a:pt x="2674366" y="211124"/>
                  </a:lnTo>
                  <a:lnTo>
                    <a:pt x="2676474" y="213664"/>
                  </a:lnTo>
                  <a:lnTo>
                    <a:pt x="2681236" y="218744"/>
                  </a:lnTo>
                  <a:lnTo>
                    <a:pt x="2680868" y="212394"/>
                  </a:lnTo>
                  <a:lnTo>
                    <a:pt x="2683243" y="212394"/>
                  </a:lnTo>
                  <a:lnTo>
                    <a:pt x="2690126" y="216204"/>
                  </a:lnTo>
                  <a:lnTo>
                    <a:pt x="2688374" y="212394"/>
                  </a:lnTo>
                  <a:lnTo>
                    <a:pt x="2687790" y="211124"/>
                  </a:lnTo>
                  <a:lnTo>
                    <a:pt x="2696680" y="207314"/>
                  </a:lnTo>
                  <a:lnTo>
                    <a:pt x="2684983" y="206044"/>
                  </a:lnTo>
                  <a:lnTo>
                    <a:pt x="2678722" y="204774"/>
                  </a:lnTo>
                  <a:lnTo>
                    <a:pt x="2682748" y="202234"/>
                  </a:lnTo>
                  <a:lnTo>
                    <a:pt x="2668689" y="198424"/>
                  </a:lnTo>
                  <a:lnTo>
                    <a:pt x="2662758" y="193344"/>
                  </a:lnTo>
                  <a:lnTo>
                    <a:pt x="2663037" y="190804"/>
                  </a:lnTo>
                  <a:lnTo>
                    <a:pt x="2670340" y="192074"/>
                  </a:lnTo>
                  <a:lnTo>
                    <a:pt x="2669044" y="190804"/>
                  </a:lnTo>
                  <a:lnTo>
                    <a:pt x="2663850" y="185724"/>
                  </a:lnTo>
                  <a:lnTo>
                    <a:pt x="2659951" y="181914"/>
                  </a:lnTo>
                  <a:lnTo>
                    <a:pt x="2665882" y="181914"/>
                  </a:lnTo>
                  <a:lnTo>
                    <a:pt x="2673769" y="185724"/>
                  </a:lnTo>
                  <a:lnTo>
                    <a:pt x="2673794" y="181914"/>
                  </a:lnTo>
                  <a:lnTo>
                    <a:pt x="2673832" y="178104"/>
                  </a:lnTo>
                  <a:lnTo>
                    <a:pt x="2679992" y="174294"/>
                  </a:lnTo>
                  <a:lnTo>
                    <a:pt x="2664015" y="174294"/>
                  </a:lnTo>
                  <a:lnTo>
                    <a:pt x="2659291" y="171754"/>
                  </a:lnTo>
                  <a:lnTo>
                    <a:pt x="2656929" y="170484"/>
                  </a:lnTo>
                  <a:lnTo>
                    <a:pt x="2657208" y="170484"/>
                  </a:lnTo>
                  <a:lnTo>
                    <a:pt x="2657322" y="169214"/>
                  </a:lnTo>
                  <a:lnTo>
                    <a:pt x="2657602" y="167944"/>
                  </a:lnTo>
                  <a:lnTo>
                    <a:pt x="2667482" y="171754"/>
                  </a:lnTo>
                  <a:lnTo>
                    <a:pt x="2666593" y="166674"/>
                  </a:lnTo>
                  <a:lnTo>
                    <a:pt x="2674289" y="169214"/>
                  </a:lnTo>
                  <a:lnTo>
                    <a:pt x="2673439" y="166674"/>
                  </a:lnTo>
                  <a:lnTo>
                    <a:pt x="2672588" y="164134"/>
                  </a:lnTo>
                  <a:lnTo>
                    <a:pt x="2674061" y="161594"/>
                  </a:lnTo>
                  <a:lnTo>
                    <a:pt x="2677731" y="155244"/>
                  </a:lnTo>
                  <a:lnTo>
                    <a:pt x="2662377" y="161594"/>
                  </a:lnTo>
                  <a:lnTo>
                    <a:pt x="2656065" y="159054"/>
                  </a:lnTo>
                  <a:lnTo>
                    <a:pt x="2658402" y="153974"/>
                  </a:lnTo>
                  <a:lnTo>
                    <a:pt x="2664803" y="153974"/>
                  </a:lnTo>
                  <a:lnTo>
                    <a:pt x="2663266" y="151434"/>
                  </a:lnTo>
                  <a:lnTo>
                    <a:pt x="2665933" y="147624"/>
                  </a:lnTo>
                  <a:lnTo>
                    <a:pt x="2667724" y="145084"/>
                  </a:lnTo>
                  <a:lnTo>
                    <a:pt x="2657970" y="147624"/>
                  </a:lnTo>
                  <a:lnTo>
                    <a:pt x="2656167" y="145084"/>
                  </a:lnTo>
                  <a:lnTo>
                    <a:pt x="2658097" y="141274"/>
                  </a:lnTo>
                  <a:lnTo>
                    <a:pt x="2659380" y="138734"/>
                  </a:lnTo>
                  <a:lnTo>
                    <a:pt x="2657094" y="141274"/>
                  </a:lnTo>
                  <a:lnTo>
                    <a:pt x="2653779" y="137464"/>
                  </a:lnTo>
                  <a:lnTo>
                    <a:pt x="2654008" y="120954"/>
                  </a:lnTo>
                  <a:lnTo>
                    <a:pt x="2652064" y="119684"/>
                  </a:lnTo>
                  <a:lnTo>
                    <a:pt x="2650896" y="123494"/>
                  </a:lnTo>
                  <a:lnTo>
                    <a:pt x="2650718" y="133654"/>
                  </a:lnTo>
                  <a:lnTo>
                    <a:pt x="2647543" y="138734"/>
                  </a:lnTo>
                  <a:lnTo>
                    <a:pt x="2642463" y="138734"/>
                  </a:lnTo>
                  <a:lnTo>
                    <a:pt x="2647429" y="142544"/>
                  </a:lnTo>
                  <a:lnTo>
                    <a:pt x="2648458" y="147624"/>
                  </a:lnTo>
                  <a:lnTo>
                    <a:pt x="2634335" y="143814"/>
                  </a:lnTo>
                  <a:lnTo>
                    <a:pt x="2639987" y="150164"/>
                  </a:lnTo>
                  <a:lnTo>
                    <a:pt x="2638412" y="155244"/>
                  </a:lnTo>
                  <a:lnTo>
                    <a:pt x="2643682" y="153974"/>
                  </a:lnTo>
                  <a:lnTo>
                    <a:pt x="2647416" y="153974"/>
                  </a:lnTo>
                  <a:lnTo>
                    <a:pt x="2646819" y="157784"/>
                  </a:lnTo>
                  <a:lnTo>
                    <a:pt x="2642908" y="159054"/>
                  </a:lnTo>
                  <a:lnTo>
                    <a:pt x="2640342" y="157784"/>
                  </a:lnTo>
                  <a:lnTo>
                    <a:pt x="2641892" y="161594"/>
                  </a:lnTo>
                  <a:lnTo>
                    <a:pt x="2645067" y="162864"/>
                  </a:lnTo>
                  <a:lnTo>
                    <a:pt x="2641371" y="164134"/>
                  </a:lnTo>
                  <a:lnTo>
                    <a:pt x="2632227" y="160324"/>
                  </a:lnTo>
                  <a:lnTo>
                    <a:pt x="2623997" y="156514"/>
                  </a:lnTo>
                  <a:lnTo>
                    <a:pt x="2627223" y="165404"/>
                  </a:lnTo>
                  <a:lnTo>
                    <a:pt x="2623667" y="167944"/>
                  </a:lnTo>
                  <a:lnTo>
                    <a:pt x="2627211" y="167944"/>
                  </a:lnTo>
                  <a:lnTo>
                    <a:pt x="2624442" y="174294"/>
                  </a:lnTo>
                  <a:lnTo>
                    <a:pt x="2634323" y="169214"/>
                  </a:lnTo>
                  <a:lnTo>
                    <a:pt x="2634297" y="174294"/>
                  </a:lnTo>
                  <a:lnTo>
                    <a:pt x="2641663" y="171754"/>
                  </a:lnTo>
                  <a:lnTo>
                    <a:pt x="2642285" y="174294"/>
                  </a:lnTo>
                  <a:lnTo>
                    <a:pt x="2643251" y="176834"/>
                  </a:lnTo>
                  <a:lnTo>
                    <a:pt x="2637117" y="179374"/>
                  </a:lnTo>
                  <a:lnTo>
                    <a:pt x="2623743" y="179374"/>
                  </a:lnTo>
                  <a:lnTo>
                    <a:pt x="2628087" y="183184"/>
                  </a:lnTo>
                  <a:lnTo>
                    <a:pt x="2625153" y="189534"/>
                  </a:lnTo>
                  <a:lnTo>
                    <a:pt x="2634500" y="185724"/>
                  </a:lnTo>
                  <a:lnTo>
                    <a:pt x="2634577" y="190804"/>
                  </a:lnTo>
                  <a:lnTo>
                    <a:pt x="2628887" y="194614"/>
                  </a:lnTo>
                  <a:lnTo>
                    <a:pt x="2639199" y="193344"/>
                  </a:lnTo>
                  <a:lnTo>
                    <a:pt x="2642031" y="194614"/>
                  </a:lnTo>
                  <a:lnTo>
                    <a:pt x="2636926" y="200964"/>
                  </a:lnTo>
                  <a:lnTo>
                    <a:pt x="2620302" y="208584"/>
                  </a:lnTo>
                  <a:lnTo>
                    <a:pt x="2604795" y="208584"/>
                  </a:lnTo>
                  <a:lnTo>
                    <a:pt x="2609545" y="214934"/>
                  </a:lnTo>
                  <a:lnTo>
                    <a:pt x="2603538" y="222554"/>
                  </a:lnTo>
                  <a:lnTo>
                    <a:pt x="2615628" y="217474"/>
                  </a:lnTo>
                  <a:lnTo>
                    <a:pt x="2615209" y="221284"/>
                  </a:lnTo>
                  <a:lnTo>
                    <a:pt x="2608491" y="231444"/>
                  </a:lnTo>
                  <a:lnTo>
                    <a:pt x="2614574" y="226364"/>
                  </a:lnTo>
                  <a:lnTo>
                    <a:pt x="2624988" y="217474"/>
                  </a:lnTo>
                  <a:lnTo>
                    <a:pt x="2625598" y="225094"/>
                  </a:lnTo>
                  <a:lnTo>
                    <a:pt x="2626017" y="228904"/>
                  </a:lnTo>
                  <a:lnTo>
                    <a:pt x="2631033" y="223824"/>
                  </a:lnTo>
                  <a:lnTo>
                    <a:pt x="2631833" y="232714"/>
                  </a:lnTo>
                  <a:lnTo>
                    <a:pt x="2639161" y="225094"/>
                  </a:lnTo>
                  <a:lnTo>
                    <a:pt x="2638336" y="228904"/>
                  </a:lnTo>
                  <a:lnTo>
                    <a:pt x="2636634" y="232714"/>
                  </a:lnTo>
                  <a:lnTo>
                    <a:pt x="2630208" y="237794"/>
                  </a:lnTo>
                  <a:lnTo>
                    <a:pt x="2621394" y="241604"/>
                  </a:lnTo>
                  <a:lnTo>
                    <a:pt x="2615857" y="242874"/>
                  </a:lnTo>
                  <a:lnTo>
                    <a:pt x="2612174" y="244144"/>
                  </a:lnTo>
                  <a:lnTo>
                    <a:pt x="2596096" y="249224"/>
                  </a:lnTo>
                  <a:lnTo>
                    <a:pt x="2601214" y="251764"/>
                  </a:lnTo>
                  <a:lnTo>
                    <a:pt x="2600668" y="258114"/>
                  </a:lnTo>
                  <a:lnTo>
                    <a:pt x="2609367" y="254304"/>
                  </a:lnTo>
                  <a:lnTo>
                    <a:pt x="2599296" y="264464"/>
                  </a:lnTo>
                  <a:lnTo>
                    <a:pt x="2605633" y="261924"/>
                  </a:lnTo>
                  <a:lnTo>
                    <a:pt x="2608796" y="259384"/>
                  </a:lnTo>
                  <a:lnTo>
                    <a:pt x="2615133" y="256844"/>
                  </a:lnTo>
                  <a:lnTo>
                    <a:pt x="2616200" y="263194"/>
                  </a:lnTo>
                  <a:lnTo>
                    <a:pt x="2618194" y="256844"/>
                  </a:lnTo>
                  <a:lnTo>
                    <a:pt x="2618994" y="254304"/>
                  </a:lnTo>
                  <a:lnTo>
                    <a:pt x="2620200" y="250494"/>
                  </a:lnTo>
                  <a:lnTo>
                    <a:pt x="2623045" y="254304"/>
                  </a:lnTo>
                  <a:lnTo>
                    <a:pt x="2623439" y="258114"/>
                  </a:lnTo>
                  <a:lnTo>
                    <a:pt x="2626258" y="258114"/>
                  </a:lnTo>
                  <a:lnTo>
                    <a:pt x="2631249" y="250494"/>
                  </a:lnTo>
                  <a:lnTo>
                    <a:pt x="2632976" y="249224"/>
                  </a:lnTo>
                  <a:lnTo>
                    <a:pt x="2635605" y="247954"/>
                  </a:lnTo>
                  <a:lnTo>
                    <a:pt x="2630386" y="253034"/>
                  </a:lnTo>
                  <a:lnTo>
                    <a:pt x="2631084" y="255574"/>
                  </a:lnTo>
                  <a:lnTo>
                    <a:pt x="2632443" y="254304"/>
                  </a:lnTo>
                  <a:lnTo>
                    <a:pt x="2633332" y="254304"/>
                  </a:lnTo>
                  <a:lnTo>
                    <a:pt x="2632824" y="255066"/>
                  </a:lnTo>
                  <a:lnTo>
                    <a:pt x="2632824" y="294944"/>
                  </a:lnTo>
                  <a:lnTo>
                    <a:pt x="2632151" y="297484"/>
                  </a:lnTo>
                  <a:lnTo>
                    <a:pt x="2627592" y="305104"/>
                  </a:lnTo>
                  <a:lnTo>
                    <a:pt x="2621648" y="311454"/>
                  </a:lnTo>
                  <a:lnTo>
                    <a:pt x="2619400" y="316534"/>
                  </a:lnTo>
                  <a:lnTo>
                    <a:pt x="2622956" y="316534"/>
                  </a:lnTo>
                  <a:lnTo>
                    <a:pt x="2622270" y="320001"/>
                  </a:lnTo>
                  <a:lnTo>
                    <a:pt x="2622270" y="338124"/>
                  </a:lnTo>
                  <a:lnTo>
                    <a:pt x="2617990" y="344474"/>
                  </a:lnTo>
                  <a:lnTo>
                    <a:pt x="2616289" y="346100"/>
                  </a:lnTo>
                  <a:lnTo>
                    <a:pt x="2616289" y="407974"/>
                  </a:lnTo>
                  <a:lnTo>
                    <a:pt x="2614193" y="411784"/>
                  </a:lnTo>
                  <a:lnTo>
                    <a:pt x="2609113" y="410514"/>
                  </a:lnTo>
                  <a:lnTo>
                    <a:pt x="2616289" y="407974"/>
                  </a:lnTo>
                  <a:lnTo>
                    <a:pt x="2616289" y="346100"/>
                  </a:lnTo>
                  <a:lnTo>
                    <a:pt x="2611323" y="350824"/>
                  </a:lnTo>
                  <a:lnTo>
                    <a:pt x="2608834" y="352069"/>
                  </a:lnTo>
                  <a:lnTo>
                    <a:pt x="2608834" y="402894"/>
                  </a:lnTo>
                  <a:lnTo>
                    <a:pt x="2608046" y="410514"/>
                  </a:lnTo>
                  <a:lnTo>
                    <a:pt x="2606357" y="409244"/>
                  </a:lnTo>
                  <a:lnTo>
                    <a:pt x="2608834" y="402894"/>
                  </a:lnTo>
                  <a:lnTo>
                    <a:pt x="2608834" y="352069"/>
                  </a:lnTo>
                  <a:lnTo>
                    <a:pt x="2606205" y="353364"/>
                  </a:lnTo>
                  <a:lnTo>
                    <a:pt x="2604605" y="352679"/>
                  </a:lnTo>
                  <a:lnTo>
                    <a:pt x="2604605" y="385114"/>
                  </a:lnTo>
                  <a:lnTo>
                    <a:pt x="2597594" y="391464"/>
                  </a:lnTo>
                  <a:lnTo>
                    <a:pt x="2593606" y="392734"/>
                  </a:lnTo>
                  <a:lnTo>
                    <a:pt x="2589352" y="388924"/>
                  </a:lnTo>
                  <a:lnTo>
                    <a:pt x="2588984" y="387654"/>
                  </a:lnTo>
                  <a:lnTo>
                    <a:pt x="2588260" y="385114"/>
                  </a:lnTo>
                  <a:lnTo>
                    <a:pt x="2587523" y="382574"/>
                  </a:lnTo>
                  <a:lnTo>
                    <a:pt x="2586431" y="378764"/>
                  </a:lnTo>
                  <a:lnTo>
                    <a:pt x="2586063" y="377494"/>
                  </a:lnTo>
                  <a:lnTo>
                    <a:pt x="2589250" y="376224"/>
                  </a:lnTo>
                  <a:lnTo>
                    <a:pt x="2589276" y="377494"/>
                  </a:lnTo>
                  <a:lnTo>
                    <a:pt x="2589834" y="376224"/>
                  </a:lnTo>
                  <a:lnTo>
                    <a:pt x="2593378" y="382574"/>
                  </a:lnTo>
                  <a:lnTo>
                    <a:pt x="2591320" y="383844"/>
                  </a:lnTo>
                  <a:lnTo>
                    <a:pt x="2593797" y="382574"/>
                  </a:lnTo>
                  <a:lnTo>
                    <a:pt x="2598013" y="388924"/>
                  </a:lnTo>
                  <a:lnTo>
                    <a:pt x="2598623" y="382574"/>
                  </a:lnTo>
                  <a:lnTo>
                    <a:pt x="2598877" y="380034"/>
                  </a:lnTo>
                  <a:lnTo>
                    <a:pt x="2599321" y="380034"/>
                  </a:lnTo>
                  <a:lnTo>
                    <a:pt x="2601620" y="386384"/>
                  </a:lnTo>
                  <a:lnTo>
                    <a:pt x="2603716" y="382574"/>
                  </a:lnTo>
                  <a:lnTo>
                    <a:pt x="2604605" y="385114"/>
                  </a:lnTo>
                  <a:lnTo>
                    <a:pt x="2604605" y="352679"/>
                  </a:lnTo>
                  <a:lnTo>
                    <a:pt x="2603258" y="352094"/>
                  </a:lnTo>
                  <a:lnTo>
                    <a:pt x="2591447" y="347014"/>
                  </a:lnTo>
                  <a:lnTo>
                    <a:pt x="2577376" y="331774"/>
                  </a:lnTo>
                  <a:lnTo>
                    <a:pt x="2581249" y="329234"/>
                  </a:lnTo>
                  <a:lnTo>
                    <a:pt x="2586355" y="335584"/>
                  </a:lnTo>
                  <a:lnTo>
                    <a:pt x="2585618" y="329234"/>
                  </a:lnTo>
                  <a:lnTo>
                    <a:pt x="2585326" y="326694"/>
                  </a:lnTo>
                  <a:lnTo>
                    <a:pt x="2586278" y="321614"/>
                  </a:lnTo>
                  <a:lnTo>
                    <a:pt x="2588857" y="324154"/>
                  </a:lnTo>
                  <a:lnTo>
                    <a:pt x="2592679" y="331774"/>
                  </a:lnTo>
                  <a:lnTo>
                    <a:pt x="2595257" y="336854"/>
                  </a:lnTo>
                  <a:lnTo>
                    <a:pt x="2598445" y="327964"/>
                  </a:lnTo>
                  <a:lnTo>
                    <a:pt x="2598966" y="325424"/>
                  </a:lnTo>
                  <a:lnTo>
                    <a:pt x="2599486" y="326694"/>
                  </a:lnTo>
                  <a:lnTo>
                    <a:pt x="2600287" y="326694"/>
                  </a:lnTo>
                  <a:lnTo>
                    <a:pt x="2603677" y="330504"/>
                  </a:lnTo>
                  <a:lnTo>
                    <a:pt x="2603208" y="331774"/>
                  </a:lnTo>
                  <a:lnTo>
                    <a:pt x="2605125" y="331774"/>
                  </a:lnTo>
                  <a:lnTo>
                    <a:pt x="2609888" y="335584"/>
                  </a:lnTo>
                  <a:lnTo>
                    <a:pt x="2592971" y="343204"/>
                  </a:lnTo>
                  <a:lnTo>
                    <a:pt x="2599944" y="343204"/>
                  </a:lnTo>
                  <a:lnTo>
                    <a:pt x="2599575" y="349554"/>
                  </a:lnTo>
                  <a:lnTo>
                    <a:pt x="2603931" y="344474"/>
                  </a:lnTo>
                  <a:lnTo>
                    <a:pt x="2607932" y="341934"/>
                  </a:lnTo>
                  <a:lnTo>
                    <a:pt x="2607424" y="348284"/>
                  </a:lnTo>
                  <a:lnTo>
                    <a:pt x="2610993" y="347014"/>
                  </a:lnTo>
                  <a:lnTo>
                    <a:pt x="2617432" y="341934"/>
                  </a:lnTo>
                  <a:lnTo>
                    <a:pt x="2622270" y="338124"/>
                  </a:lnTo>
                  <a:lnTo>
                    <a:pt x="2622270" y="320001"/>
                  </a:lnTo>
                  <a:lnTo>
                    <a:pt x="2621699" y="322884"/>
                  </a:lnTo>
                  <a:lnTo>
                    <a:pt x="2612936" y="334314"/>
                  </a:lnTo>
                  <a:lnTo>
                    <a:pt x="2610739" y="335584"/>
                  </a:lnTo>
                  <a:lnTo>
                    <a:pt x="2607894" y="327964"/>
                  </a:lnTo>
                  <a:lnTo>
                    <a:pt x="2609291" y="325424"/>
                  </a:lnTo>
                  <a:lnTo>
                    <a:pt x="2610688" y="322884"/>
                  </a:lnTo>
                  <a:lnTo>
                    <a:pt x="2615311" y="325424"/>
                  </a:lnTo>
                  <a:lnTo>
                    <a:pt x="2615196" y="322884"/>
                  </a:lnTo>
                  <a:lnTo>
                    <a:pt x="2618803" y="325424"/>
                  </a:lnTo>
                  <a:lnTo>
                    <a:pt x="2618321" y="322884"/>
                  </a:lnTo>
                  <a:lnTo>
                    <a:pt x="2618079" y="321614"/>
                  </a:lnTo>
                  <a:lnTo>
                    <a:pt x="2616885" y="315264"/>
                  </a:lnTo>
                  <a:lnTo>
                    <a:pt x="2619718" y="312724"/>
                  </a:lnTo>
                  <a:lnTo>
                    <a:pt x="2622550" y="310184"/>
                  </a:lnTo>
                  <a:lnTo>
                    <a:pt x="2617978" y="308914"/>
                  </a:lnTo>
                  <a:lnTo>
                    <a:pt x="2619540" y="306374"/>
                  </a:lnTo>
                  <a:lnTo>
                    <a:pt x="2620607" y="305104"/>
                  </a:lnTo>
                  <a:lnTo>
                    <a:pt x="2622677" y="307644"/>
                  </a:lnTo>
                  <a:lnTo>
                    <a:pt x="2624518" y="305104"/>
                  </a:lnTo>
                  <a:lnTo>
                    <a:pt x="2625445" y="303834"/>
                  </a:lnTo>
                  <a:lnTo>
                    <a:pt x="2630982" y="296214"/>
                  </a:lnTo>
                  <a:lnTo>
                    <a:pt x="2632824" y="294944"/>
                  </a:lnTo>
                  <a:lnTo>
                    <a:pt x="2632824" y="255066"/>
                  </a:lnTo>
                  <a:lnTo>
                    <a:pt x="2629890" y="259384"/>
                  </a:lnTo>
                  <a:lnTo>
                    <a:pt x="2623604" y="263436"/>
                  </a:lnTo>
                  <a:lnTo>
                    <a:pt x="2623604" y="283514"/>
                  </a:lnTo>
                  <a:lnTo>
                    <a:pt x="2619044" y="291134"/>
                  </a:lnTo>
                  <a:lnTo>
                    <a:pt x="2612733" y="296214"/>
                  </a:lnTo>
                  <a:lnTo>
                    <a:pt x="2604960" y="301294"/>
                  </a:lnTo>
                  <a:lnTo>
                    <a:pt x="2598966" y="303834"/>
                  </a:lnTo>
                  <a:lnTo>
                    <a:pt x="2584970" y="302564"/>
                  </a:lnTo>
                  <a:lnTo>
                    <a:pt x="2577198" y="298754"/>
                  </a:lnTo>
                  <a:lnTo>
                    <a:pt x="2576652" y="296214"/>
                  </a:lnTo>
                  <a:lnTo>
                    <a:pt x="2577427" y="294944"/>
                  </a:lnTo>
                  <a:lnTo>
                    <a:pt x="2584577" y="294944"/>
                  </a:lnTo>
                  <a:lnTo>
                    <a:pt x="2582202" y="292404"/>
                  </a:lnTo>
                  <a:lnTo>
                    <a:pt x="2579827" y="289864"/>
                  </a:lnTo>
                  <a:lnTo>
                    <a:pt x="2578519" y="288594"/>
                  </a:lnTo>
                  <a:lnTo>
                    <a:pt x="2579535" y="286054"/>
                  </a:lnTo>
                  <a:lnTo>
                    <a:pt x="2591320" y="287324"/>
                  </a:lnTo>
                  <a:lnTo>
                    <a:pt x="2590088" y="286054"/>
                  </a:lnTo>
                  <a:lnTo>
                    <a:pt x="2586380" y="282244"/>
                  </a:lnTo>
                  <a:lnTo>
                    <a:pt x="2585364" y="279704"/>
                  </a:lnTo>
                  <a:lnTo>
                    <a:pt x="2587828" y="278434"/>
                  </a:lnTo>
                  <a:lnTo>
                    <a:pt x="2594546" y="280974"/>
                  </a:lnTo>
                  <a:lnTo>
                    <a:pt x="2599309" y="283514"/>
                  </a:lnTo>
                  <a:lnTo>
                    <a:pt x="2597975" y="280974"/>
                  </a:lnTo>
                  <a:lnTo>
                    <a:pt x="2600134" y="280974"/>
                  </a:lnTo>
                  <a:lnTo>
                    <a:pt x="2598509" y="288594"/>
                  </a:lnTo>
                  <a:lnTo>
                    <a:pt x="2603601" y="283514"/>
                  </a:lnTo>
                  <a:lnTo>
                    <a:pt x="2606586" y="282244"/>
                  </a:lnTo>
                  <a:lnTo>
                    <a:pt x="2604859" y="289864"/>
                  </a:lnTo>
                  <a:lnTo>
                    <a:pt x="2608542" y="287324"/>
                  </a:lnTo>
                  <a:lnTo>
                    <a:pt x="2610815" y="282244"/>
                  </a:lnTo>
                  <a:lnTo>
                    <a:pt x="2611945" y="279704"/>
                  </a:lnTo>
                  <a:lnTo>
                    <a:pt x="2613672" y="288594"/>
                  </a:lnTo>
                  <a:lnTo>
                    <a:pt x="2619552" y="280974"/>
                  </a:lnTo>
                  <a:lnTo>
                    <a:pt x="2622181" y="279704"/>
                  </a:lnTo>
                  <a:lnTo>
                    <a:pt x="2623604" y="283514"/>
                  </a:lnTo>
                  <a:lnTo>
                    <a:pt x="2623604" y="263436"/>
                  </a:lnTo>
                  <a:lnTo>
                    <a:pt x="2622004" y="264464"/>
                  </a:lnTo>
                  <a:lnTo>
                    <a:pt x="2596908" y="279704"/>
                  </a:lnTo>
                  <a:lnTo>
                    <a:pt x="2595956" y="278434"/>
                  </a:lnTo>
                  <a:lnTo>
                    <a:pt x="2594051" y="275894"/>
                  </a:lnTo>
                  <a:lnTo>
                    <a:pt x="2593098" y="274624"/>
                  </a:lnTo>
                  <a:lnTo>
                    <a:pt x="2592146" y="273354"/>
                  </a:lnTo>
                  <a:lnTo>
                    <a:pt x="2603436" y="269544"/>
                  </a:lnTo>
                  <a:lnTo>
                    <a:pt x="2588120" y="267004"/>
                  </a:lnTo>
                  <a:lnTo>
                    <a:pt x="2578404" y="263194"/>
                  </a:lnTo>
                  <a:lnTo>
                    <a:pt x="2576284" y="261924"/>
                  </a:lnTo>
                  <a:lnTo>
                    <a:pt x="2576207" y="260654"/>
                  </a:lnTo>
                  <a:lnTo>
                    <a:pt x="2577604" y="259384"/>
                  </a:lnTo>
                  <a:lnTo>
                    <a:pt x="2578316" y="259384"/>
                  </a:lnTo>
                  <a:lnTo>
                    <a:pt x="2579713" y="258114"/>
                  </a:lnTo>
                  <a:lnTo>
                    <a:pt x="2585885" y="258114"/>
                  </a:lnTo>
                  <a:lnTo>
                    <a:pt x="2590342" y="259384"/>
                  </a:lnTo>
                  <a:lnTo>
                    <a:pt x="2589809" y="258114"/>
                  </a:lnTo>
                  <a:lnTo>
                    <a:pt x="2588742" y="255574"/>
                  </a:lnTo>
                  <a:lnTo>
                    <a:pt x="2586609" y="250494"/>
                  </a:lnTo>
                  <a:lnTo>
                    <a:pt x="2594216" y="250494"/>
                  </a:lnTo>
                  <a:lnTo>
                    <a:pt x="2593492" y="249224"/>
                  </a:lnTo>
                  <a:lnTo>
                    <a:pt x="2591333" y="245414"/>
                  </a:lnTo>
                  <a:lnTo>
                    <a:pt x="2591854" y="244144"/>
                  </a:lnTo>
                  <a:lnTo>
                    <a:pt x="2593924" y="239064"/>
                  </a:lnTo>
                  <a:lnTo>
                    <a:pt x="2587828" y="241604"/>
                  </a:lnTo>
                  <a:lnTo>
                    <a:pt x="2583764" y="244144"/>
                  </a:lnTo>
                  <a:lnTo>
                    <a:pt x="2581148" y="242874"/>
                  </a:lnTo>
                  <a:lnTo>
                    <a:pt x="2578544" y="241604"/>
                  </a:lnTo>
                  <a:lnTo>
                    <a:pt x="2574226" y="242874"/>
                  </a:lnTo>
                  <a:lnTo>
                    <a:pt x="2572512" y="240334"/>
                  </a:lnTo>
                  <a:lnTo>
                    <a:pt x="2575737" y="236524"/>
                  </a:lnTo>
                  <a:lnTo>
                    <a:pt x="2581846" y="236524"/>
                  </a:lnTo>
                  <a:lnTo>
                    <a:pt x="2581313" y="235254"/>
                  </a:lnTo>
                  <a:lnTo>
                    <a:pt x="2580538" y="233984"/>
                  </a:lnTo>
                  <a:lnTo>
                    <a:pt x="2580665" y="231444"/>
                  </a:lnTo>
                  <a:lnTo>
                    <a:pt x="2582329" y="228904"/>
                  </a:lnTo>
                  <a:lnTo>
                    <a:pt x="2583154" y="227634"/>
                  </a:lnTo>
                  <a:lnTo>
                    <a:pt x="2576830" y="228904"/>
                  </a:lnTo>
                  <a:lnTo>
                    <a:pt x="2572016" y="228904"/>
                  </a:lnTo>
                  <a:lnTo>
                    <a:pt x="2571165" y="226364"/>
                  </a:lnTo>
                  <a:lnTo>
                    <a:pt x="2571597" y="221284"/>
                  </a:lnTo>
                  <a:lnTo>
                    <a:pt x="2576309" y="212394"/>
                  </a:lnTo>
                  <a:lnTo>
                    <a:pt x="2573832" y="212394"/>
                  </a:lnTo>
                  <a:lnTo>
                    <a:pt x="2570505" y="209854"/>
                  </a:lnTo>
                  <a:lnTo>
                    <a:pt x="2570569" y="197154"/>
                  </a:lnTo>
                  <a:lnTo>
                    <a:pt x="2569426" y="194614"/>
                  </a:lnTo>
                  <a:lnTo>
                    <a:pt x="2567241" y="195884"/>
                  </a:lnTo>
                  <a:lnTo>
                    <a:pt x="2567635" y="207314"/>
                  </a:lnTo>
                  <a:lnTo>
                    <a:pt x="2566517" y="211124"/>
                  </a:lnTo>
                  <a:lnTo>
                    <a:pt x="2561488" y="211124"/>
                  </a:lnTo>
                  <a:lnTo>
                    <a:pt x="2566924" y="225094"/>
                  </a:lnTo>
                  <a:lnTo>
                    <a:pt x="2565882" y="228904"/>
                  </a:lnTo>
                  <a:lnTo>
                    <a:pt x="2551734" y="226364"/>
                  </a:lnTo>
                  <a:lnTo>
                    <a:pt x="2558846" y="232714"/>
                  </a:lnTo>
                  <a:lnTo>
                    <a:pt x="2558389" y="235254"/>
                  </a:lnTo>
                  <a:lnTo>
                    <a:pt x="2558110" y="237794"/>
                  </a:lnTo>
                  <a:lnTo>
                    <a:pt x="2561780" y="236524"/>
                  </a:lnTo>
                  <a:lnTo>
                    <a:pt x="2564688" y="236524"/>
                  </a:lnTo>
                  <a:lnTo>
                    <a:pt x="2565806" y="240334"/>
                  </a:lnTo>
                  <a:lnTo>
                    <a:pt x="2560917" y="244144"/>
                  </a:lnTo>
                  <a:lnTo>
                    <a:pt x="2541117" y="239064"/>
                  </a:lnTo>
                  <a:lnTo>
                    <a:pt x="2544559" y="242874"/>
                  </a:lnTo>
                  <a:lnTo>
                    <a:pt x="2542502" y="247954"/>
                  </a:lnTo>
                  <a:lnTo>
                    <a:pt x="2548699" y="245414"/>
                  </a:lnTo>
                  <a:lnTo>
                    <a:pt x="2543492" y="254304"/>
                  </a:lnTo>
                  <a:lnTo>
                    <a:pt x="2550452" y="251764"/>
                  </a:lnTo>
                  <a:lnTo>
                    <a:pt x="2555075" y="249224"/>
                  </a:lnTo>
                  <a:lnTo>
                    <a:pt x="2551138" y="258114"/>
                  </a:lnTo>
                  <a:lnTo>
                    <a:pt x="2557589" y="255574"/>
                  </a:lnTo>
                  <a:lnTo>
                    <a:pt x="2561679" y="255574"/>
                  </a:lnTo>
                  <a:lnTo>
                    <a:pt x="2559710" y="259384"/>
                  </a:lnTo>
                  <a:lnTo>
                    <a:pt x="2557411" y="261924"/>
                  </a:lnTo>
                  <a:lnTo>
                    <a:pt x="2547518" y="264464"/>
                  </a:lnTo>
                  <a:lnTo>
                    <a:pt x="2534272" y="264464"/>
                  </a:lnTo>
                  <a:lnTo>
                    <a:pt x="2542298" y="270814"/>
                  </a:lnTo>
                  <a:lnTo>
                    <a:pt x="2538044" y="277164"/>
                  </a:lnTo>
                  <a:lnTo>
                    <a:pt x="2548191" y="274624"/>
                  </a:lnTo>
                  <a:lnTo>
                    <a:pt x="2544686" y="283514"/>
                  </a:lnTo>
                  <a:lnTo>
                    <a:pt x="2559304" y="275894"/>
                  </a:lnTo>
                  <a:lnTo>
                    <a:pt x="2561094" y="275894"/>
                  </a:lnTo>
                  <a:lnTo>
                    <a:pt x="2561285" y="278434"/>
                  </a:lnTo>
                  <a:lnTo>
                    <a:pt x="2557818" y="282244"/>
                  </a:lnTo>
                  <a:lnTo>
                    <a:pt x="2555494" y="286054"/>
                  </a:lnTo>
                  <a:lnTo>
                    <a:pt x="2545753" y="293674"/>
                  </a:lnTo>
                  <a:lnTo>
                    <a:pt x="2552789" y="292404"/>
                  </a:lnTo>
                  <a:lnTo>
                    <a:pt x="2551138" y="298754"/>
                  </a:lnTo>
                  <a:lnTo>
                    <a:pt x="2557157" y="294944"/>
                  </a:lnTo>
                  <a:lnTo>
                    <a:pt x="2559608" y="294944"/>
                  </a:lnTo>
                  <a:lnTo>
                    <a:pt x="2559189" y="298754"/>
                  </a:lnTo>
                  <a:lnTo>
                    <a:pt x="2556332" y="300926"/>
                  </a:lnTo>
                  <a:lnTo>
                    <a:pt x="2556332" y="322884"/>
                  </a:lnTo>
                  <a:lnTo>
                    <a:pt x="2556192" y="330504"/>
                  </a:lnTo>
                  <a:lnTo>
                    <a:pt x="2553017" y="337553"/>
                  </a:lnTo>
                  <a:lnTo>
                    <a:pt x="2553017" y="382574"/>
                  </a:lnTo>
                  <a:lnTo>
                    <a:pt x="2551747" y="382270"/>
                  </a:lnTo>
                  <a:lnTo>
                    <a:pt x="2551747" y="388924"/>
                  </a:lnTo>
                  <a:lnTo>
                    <a:pt x="2551315" y="391464"/>
                  </a:lnTo>
                  <a:lnTo>
                    <a:pt x="2549093" y="394004"/>
                  </a:lnTo>
                  <a:lnTo>
                    <a:pt x="2546058" y="390194"/>
                  </a:lnTo>
                  <a:lnTo>
                    <a:pt x="2549309" y="390194"/>
                  </a:lnTo>
                  <a:lnTo>
                    <a:pt x="2549728" y="387654"/>
                  </a:lnTo>
                  <a:lnTo>
                    <a:pt x="2551747" y="388924"/>
                  </a:lnTo>
                  <a:lnTo>
                    <a:pt x="2551747" y="382270"/>
                  </a:lnTo>
                  <a:lnTo>
                    <a:pt x="2547785" y="381304"/>
                  </a:lnTo>
                  <a:lnTo>
                    <a:pt x="2549194" y="378764"/>
                  </a:lnTo>
                  <a:lnTo>
                    <a:pt x="2552331" y="380034"/>
                  </a:lnTo>
                  <a:lnTo>
                    <a:pt x="2553017" y="382574"/>
                  </a:lnTo>
                  <a:lnTo>
                    <a:pt x="2553017" y="337553"/>
                  </a:lnTo>
                  <a:lnTo>
                    <a:pt x="2551036" y="341934"/>
                  </a:lnTo>
                  <a:lnTo>
                    <a:pt x="2543759" y="347014"/>
                  </a:lnTo>
                  <a:lnTo>
                    <a:pt x="2532888" y="343992"/>
                  </a:lnTo>
                  <a:lnTo>
                    <a:pt x="2532888" y="416864"/>
                  </a:lnTo>
                  <a:lnTo>
                    <a:pt x="2524849" y="419404"/>
                  </a:lnTo>
                  <a:lnTo>
                    <a:pt x="2524480" y="418134"/>
                  </a:lnTo>
                  <a:lnTo>
                    <a:pt x="2527554" y="418134"/>
                  </a:lnTo>
                  <a:lnTo>
                    <a:pt x="2523413" y="409244"/>
                  </a:lnTo>
                  <a:lnTo>
                    <a:pt x="2522829" y="407974"/>
                  </a:lnTo>
                  <a:lnTo>
                    <a:pt x="2436609" y="407974"/>
                  </a:lnTo>
                  <a:lnTo>
                    <a:pt x="2436609" y="437184"/>
                  </a:lnTo>
                  <a:lnTo>
                    <a:pt x="2433345" y="438454"/>
                  </a:lnTo>
                  <a:lnTo>
                    <a:pt x="2432786" y="438454"/>
                  </a:lnTo>
                  <a:lnTo>
                    <a:pt x="2432037" y="437184"/>
                  </a:lnTo>
                  <a:lnTo>
                    <a:pt x="2431300" y="435914"/>
                  </a:lnTo>
                  <a:lnTo>
                    <a:pt x="2431580" y="434644"/>
                  </a:lnTo>
                  <a:lnTo>
                    <a:pt x="2431694" y="433374"/>
                  </a:lnTo>
                  <a:lnTo>
                    <a:pt x="2431973" y="432104"/>
                  </a:lnTo>
                  <a:lnTo>
                    <a:pt x="2433751" y="432104"/>
                  </a:lnTo>
                  <a:lnTo>
                    <a:pt x="2436609" y="437184"/>
                  </a:lnTo>
                  <a:lnTo>
                    <a:pt x="2436609" y="407974"/>
                  </a:lnTo>
                  <a:lnTo>
                    <a:pt x="2363813" y="407974"/>
                  </a:lnTo>
                  <a:lnTo>
                    <a:pt x="2362289" y="407974"/>
                  </a:lnTo>
                  <a:lnTo>
                    <a:pt x="2360587" y="409244"/>
                  </a:lnTo>
                  <a:lnTo>
                    <a:pt x="2357945" y="406704"/>
                  </a:lnTo>
                  <a:lnTo>
                    <a:pt x="2352675" y="401624"/>
                  </a:lnTo>
                  <a:lnTo>
                    <a:pt x="2352078" y="397814"/>
                  </a:lnTo>
                  <a:lnTo>
                    <a:pt x="2355278" y="397814"/>
                  </a:lnTo>
                  <a:lnTo>
                    <a:pt x="2356853" y="402894"/>
                  </a:lnTo>
                  <a:lnTo>
                    <a:pt x="2362250" y="400354"/>
                  </a:lnTo>
                  <a:lnTo>
                    <a:pt x="2362403" y="400354"/>
                  </a:lnTo>
                  <a:lnTo>
                    <a:pt x="2358110" y="404164"/>
                  </a:lnTo>
                  <a:lnTo>
                    <a:pt x="2362949" y="402894"/>
                  </a:lnTo>
                  <a:lnTo>
                    <a:pt x="2363025" y="404164"/>
                  </a:lnTo>
                  <a:lnTo>
                    <a:pt x="2360345" y="404164"/>
                  </a:lnTo>
                  <a:lnTo>
                    <a:pt x="2363508" y="406704"/>
                  </a:lnTo>
                  <a:lnTo>
                    <a:pt x="2363647" y="407301"/>
                  </a:lnTo>
                  <a:lnTo>
                    <a:pt x="2364105" y="407301"/>
                  </a:lnTo>
                  <a:lnTo>
                    <a:pt x="2522512" y="407301"/>
                  </a:lnTo>
                  <a:lnTo>
                    <a:pt x="2522232" y="406704"/>
                  </a:lnTo>
                  <a:lnTo>
                    <a:pt x="2520467" y="402894"/>
                  </a:lnTo>
                  <a:lnTo>
                    <a:pt x="2522588" y="404164"/>
                  </a:lnTo>
                  <a:lnTo>
                    <a:pt x="2522613" y="402894"/>
                  </a:lnTo>
                  <a:lnTo>
                    <a:pt x="2522651" y="400354"/>
                  </a:lnTo>
                  <a:lnTo>
                    <a:pt x="2522702" y="397814"/>
                  </a:lnTo>
                  <a:lnTo>
                    <a:pt x="2522753" y="395274"/>
                  </a:lnTo>
                  <a:lnTo>
                    <a:pt x="2525877" y="407974"/>
                  </a:lnTo>
                  <a:lnTo>
                    <a:pt x="2526614" y="411784"/>
                  </a:lnTo>
                  <a:lnTo>
                    <a:pt x="2530729" y="410514"/>
                  </a:lnTo>
                  <a:lnTo>
                    <a:pt x="2532215" y="409244"/>
                  </a:lnTo>
                  <a:lnTo>
                    <a:pt x="2532494" y="411784"/>
                  </a:lnTo>
                  <a:lnTo>
                    <a:pt x="2531592" y="413054"/>
                  </a:lnTo>
                  <a:lnTo>
                    <a:pt x="2532621" y="413054"/>
                  </a:lnTo>
                  <a:lnTo>
                    <a:pt x="2532888" y="416864"/>
                  </a:lnTo>
                  <a:lnTo>
                    <a:pt x="2532888" y="343992"/>
                  </a:lnTo>
                  <a:lnTo>
                    <a:pt x="2531580" y="343623"/>
                  </a:lnTo>
                  <a:lnTo>
                    <a:pt x="2531580" y="359714"/>
                  </a:lnTo>
                  <a:lnTo>
                    <a:pt x="2530271" y="362254"/>
                  </a:lnTo>
                  <a:lnTo>
                    <a:pt x="2529382" y="363524"/>
                  </a:lnTo>
                  <a:lnTo>
                    <a:pt x="2522042" y="366064"/>
                  </a:lnTo>
                  <a:lnTo>
                    <a:pt x="2516898" y="363524"/>
                  </a:lnTo>
                  <a:lnTo>
                    <a:pt x="2514320" y="362254"/>
                  </a:lnTo>
                  <a:lnTo>
                    <a:pt x="2511755" y="360984"/>
                  </a:lnTo>
                  <a:lnTo>
                    <a:pt x="2509215" y="357174"/>
                  </a:lnTo>
                  <a:lnTo>
                    <a:pt x="2507526" y="354634"/>
                  </a:lnTo>
                  <a:lnTo>
                    <a:pt x="2514650" y="357174"/>
                  </a:lnTo>
                  <a:lnTo>
                    <a:pt x="2516403" y="354634"/>
                  </a:lnTo>
                  <a:lnTo>
                    <a:pt x="2518168" y="352094"/>
                  </a:lnTo>
                  <a:lnTo>
                    <a:pt x="2519515" y="362254"/>
                  </a:lnTo>
                  <a:lnTo>
                    <a:pt x="2522702" y="359714"/>
                  </a:lnTo>
                  <a:lnTo>
                    <a:pt x="2529040" y="363524"/>
                  </a:lnTo>
                  <a:lnTo>
                    <a:pt x="2528443" y="359714"/>
                  </a:lnTo>
                  <a:lnTo>
                    <a:pt x="2528252" y="358444"/>
                  </a:lnTo>
                  <a:lnTo>
                    <a:pt x="2531580" y="359714"/>
                  </a:lnTo>
                  <a:lnTo>
                    <a:pt x="2531580" y="343623"/>
                  </a:lnTo>
                  <a:lnTo>
                    <a:pt x="2525534" y="341934"/>
                  </a:lnTo>
                  <a:lnTo>
                    <a:pt x="2507323" y="336854"/>
                  </a:lnTo>
                  <a:lnTo>
                    <a:pt x="2504960" y="333044"/>
                  </a:lnTo>
                  <a:lnTo>
                    <a:pt x="2511844" y="330504"/>
                  </a:lnTo>
                  <a:lnTo>
                    <a:pt x="2508974" y="327964"/>
                  </a:lnTo>
                  <a:lnTo>
                    <a:pt x="2503233" y="322884"/>
                  </a:lnTo>
                  <a:lnTo>
                    <a:pt x="2505189" y="319074"/>
                  </a:lnTo>
                  <a:lnTo>
                    <a:pt x="2508161" y="317804"/>
                  </a:lnTo>
                  <a:lnTo>
                    <a:pt x="2509405" y="326694"/>
                  </a:lnTo>
                  <a:lnTo>
                    <a:pt x="2512555" y="321614"/>
                  </a:lnTo>
                  <a:lnTo>
                    <a:pt x="2517648" y="329234"/>
                  </a:lnTo>
                  <a:lnTo>
                    <a:pt x="2518283" y="324154"/>
                  </a:lnTo>
                  <a:lnTo>
                    <a:pt x="2524429" y="325424"/>
                  </a:lnTo>
                  <a:lnTo>
                    <a:pt x="2521356" y="327964"/>
                  </a:lnTo>
                  <a:lnTo>
                    <a:pt x="2535580" y="321614"/>
                  </a:lnTo>
                  <a:lnTo>
                    <a:pt x="2534932" y="325424"/>
                  </a:lnTo>
                  <a:lnTo>
                    <a:pt x="2530906" y="335584"/>
                  </a:lnTo>
                  <a:lnTo>
                    <a:pt x="2538565" y="330504"/>
                  </a:lnTo>
                  <a:lnTo>
                    <a:pt x="2541447" y="339394"/>
                  </a:lnTo>
                  <a:lnTo>
                    <a:pt x="2544470" y="330504"/>
                  </a:lnTo>
                  <a:lnTo>
                    <a:pt x="2545765" y="326694"/>
                  </a:lnTo>
                  <a:lnTo>
                    <a:pt x="2547277" y="324154"/>
                  </a:lnTo>
                  <a:lnTo>
                    <a:pt x="2551112" y="329234"/>
                  </a:lnTo>
                  <a:lnTo>
                    <a:pt x="2553512" y="324154"/>
                  </a:lnTo>
                  <a:lnTo>
                    <a:pt x="2554719" y="321614"/>
                  </a:lnTo>
                  <a:lnTo>
                    <a:pt x="2556332" y="322884"/>
                  </a:lnTo>
                  <a:lnTo>
                    <a:pt x="2556332" y="300926"/>
                  </a:lnTo>
                  <a:lnTo>
                    <a:pt x="2555837" y="301294"/>
                  </a:lnTo>
                  <a:lnTo>
                    <a:pt x="2541130" y="306374"/>
                  </a:lnTo>
                  <a:lnTo>
                    <a:pt x="2532862" y="304749"/>
                  </a:lnTo>
                  <a:lnTo>
                    <a:pt x="2532862" y="313994"/>
                  </a:lnTo>
                  <a:lnTo>
                    <a:pt x="2531300" y="316534"/>
                  </a:lnTo>
                  <a:lnTo>
                    <a:pt x="2524734" y="324154"/>
                  </a:lnTo>
                  <a:lnTo>
                    <a:pt x="2521953" y="321614"/>
                  </a:lnTo>
                  <a:lnTo>
                    <a:pt x="2517775" y="317804"/>
                  </a:lnTo>
                  <a:lnTo>
                    <a:pt x="2516378" y="316534"/>
                  </a:lnTo>
                  <a:lnTo>
                    <a:pt x="2515832" y="315264"/>
                  </a:lnTo>
                  <a:lnTo>
                    <a:pt x="2514727" y="312724"/>
                  </a:lnTo>
                  <a:lnTo>
                    <a:pt x="2519184" y="313994"/>
                  </a:lnTo>
                  <a:lnTo>
                    <a:pt x="2518626" y="315264"/>
                  </a:lnTo>
                  <a:lnTo>
                    <a:pt x="2517813" y="316534"/>
                  </a:lnTo>
                  <a:lnTo>
                    <a:pt x="2521966" y="315264"/>
                  </a:lnTo>
                  <a:lnTo>
                    <a:pt x="2529408" y="317804"/>
                  </a:lnTo>
                  <a:lnTo>
                    <a:pt x="2527439" y="315264"/>
                  </a:lnTo>
                  <a:lnTo>
                    <a:pt x="2526461" y="313994"/>
                  </a:lnTo>
                  <a:lnTo>
                    <a:pt x="2529840" y="312724"/>
                  </a:lnTo>
                  <a:lnTo>
                    <a:pt x="2532862" y="313994"/>
                  </a:lnTo>
                  <a:lnTo>
                    <a:pt x="2532862" y="304749"/>
                  </a:lnTo>
                  <a:lnTo>
                    <a:pt x="2508859" y="300024"/>
                  </a:lnTo>
                  <a:lnTo>
                    <a:pt x="2504579" y="297484"/>
                  </a:lnTo>
                  <a:lnTo>
                    <a:pt x="2498153" y="293674"/>
                  </a:lnTo>
                  <a:lnTo>
                    <a:pt x="2499626" y="288594"/>
                  </a:lnTo>
                  <a:lnTo>
                    <a:pt x="2504236" y="296214"/>
                  </a:lnTo>
                  <a:lnTo>
                    <a:pt x="2508720" y="293674"/>
                  </a:lnTo>
                  <a:lnTo>
                    <a:pt x="2514041" y="296214"/>
                  </a:lnTo>
                  <a:lnTo>
                    <a:pt x="2512631" y="293674"/>
                  </a:lnTo>
                  <a:lnTo>
                    <a:pt x="2508389" y="286054"/>
                  </a:lnTo>
                  <a:lnTo>
                    <a:pt x="2514447" y="291134"/>
                  </a:lnTo>
                  <a:lnTo>
                    <a:pt x="2516213" y="288594"/>
                  </a:lnTo>
                  <a:lnTo>
                    <a:pt x="2517406" y="287324"/>
                  </a:lnTo>
                  <a:lnTo>
                    <a:pt x="2523693" y="288594"/>
                  </a:lnTo>
                  <a:lnTo>
                    <a:pt x="2522334" y="287324"/>
                  </a:lnTo>
                  <a:lnTo>
                    <a:pt x="2520975" y="286054"/>
                  </a:lnTo>
                  <a:lnTo>
                    <a:pt x="2519603" y="284784"/>
                  </a:lnTo>
                  <a:lnTo>
                    <a:pt x="2515527" y="280974"/>
                  </a:lnTo>
                  <a:lnTo>
                    <a:pt x="2521877" y="278434"/>
                  </a:lnTo>
                  <a:lnTo>
                    <a:pt x="2516822" y="274624"/>
                  </a:lnTo>
                  <a:lnTo>
                    <a:pt x="2515133" y="273354"/>
                  </a:lnTo>
                  <a:lnTo>
                    <a:pt x="2523477" y="274624"/>
                  </a:lnTo>
                  <a:lnTo>
                    <a:pt x="2519375" y="272084"/>
                  </a:lnTo>
                  <a:lnTo>
                    <a:pt x="2522270" y="268274"/>
                  </a:lnTo>
                  <a:lnTo>
                    <a:pt x="2501481" y="273354"/>
                  </a:lnTo>
                  <a:lnTo>
                    <a:pt x="2494940" y="268274"/>
                  </a:lnTo>
                  <a:lnTo>
                    <a:pt x="2499182" y="269544"/>
                  </a:lnTo>
                  <a:lnTo>
                    <a:pt x="2499156" y="268274"/>
                  </a:lnTo>
                  <a:lnTo>
                    <a:pt x="2499118" y="267004"/>
                  </a:lnTo>
                  <a:lnTo>
                    <a:pt x="2499068" y="264464"/>
                  </a:lnTo>
                  <a:lnTo>
                    <a:pt x="2503754" y="267004"/>
                  </a:lnTo>
                  <a:lnTo>
                    <a:pt x="2503170" y="264464"/>
                  </a:lnTo>
                  <a:lnTo>
                    <a:pt x="2502598" y="261924"/>
                  </a:lnTo>
                  <a:lnTo>
                    <a:pt x="2509697" y="259384"/>
                  </a:lnTo>
                  <a:lnTo>
                    <a:pt x="2502306" y="258114"/>
                  </a:lnTo>
                  <a:lnTo>
                    <a:pt x="2494750" y="254304"/>
                  </a:lnTo>
                  <a:lnTo>
                    <a:pt x="2503601" y="251764"/>
                  </a:lnTo>
                  <a:lnTo>
                    <a:pt x="2500706" y="249224"/>
                  </a:lnTo>
                  <a:lnTo>
                    <a:pt x="2504617" y="246684"/>
                  </a:lnTo>
                  <a:lnTo>
                    <a:pt x="2502014" y="245414"/>
                  </a:lnTo>
                  <a:lnTo>
                    <a:pt x="2494191" y="241604"/>
                  </a:lnTo>
                  <a:lnTo>
                    <a:pt x="2498064" y="239064"/>
                  </a:lnTo>
                  <a:lnTo>
                    <a:pt x="2493734" y="236524"/>
                  </a:lnTo>
                  <a:lnTo>
                    <a:pt x="2491587" y="230174"/>
                  </a:lnTo>
                  <a:lnTo>
                    <a:pt x="2491282" y="218744"/>
                  </a:lnTo>
                  <a:lnTo>
                    <a:pt x="2489695" y="216204"/>
                  </a:lnTo>
                  <a:lnTo>
                    <a:pt x="2488539" y="222554"/>
                  </a:lnTo>
                  <a:lnTo>
                    <a:pt x="2487269" y="236524"/>
                  </a:lnTo>
                  <a:lnTo>
                    <a:pt x="2481300" y="240334"/>
                  </a:lnTo>
                  <a:lnTo>
                    <a:pt x="2487434" y="245414"/>
                  </a:lnTo>
                  <a:lnTo>
                    <a:pt x="2478074" y="244144"/>
                  </a:lnTo>
                  <a:lnTo>
                    <a:pt x="2481376" y="247954"/>
                  </a:lnTo>
                  <a:lnTo>
                    <a:pt x="2477935" y="249224"/>
                  </a:lnTo>
                  <a:lnTo>
                    <a:pt x="2472296" y="246684"/>
                  </a:lnTo>
                  <a:lnTo>
                    <a:pt x="2477122" y="253034"/>
                  </a:lnTo>
                  <a:lnTo>
                    <a:pt x="2471864" y="256844"/>
                  </a:lnTo>
                  <a:lnTo>
                    <a:pt x="2479738" y="258114"/>
                  </a:lnTo>
                  <a:lnTo>
                    <a:pt x="2475407" y="259384"/>
                  </a:lnTo>
                  <a:lnTo>
                    <a:pt x="2472550" y="260654"/>
                  </a:lnTo>
                  <a:lnTo>
                    <a:pt x="2468118" y="263194"/>
                  </a:lnTo>
                  <a:lnTo>
                    <a:pt x="2474455" y="264464"/>
                  </a:lnTo>
                  <a:lnTo>
                    <a:pt x="2471978" y="268274"/>
                  </a:lnTo>
                  <a:lnTo>
                    <a:pt x="2479027" y="267004"/>
                  </a:lnTo>
                  <a:lnTo>
                    <a:pt x="2479065" y="272084"/>
                  </a:lnTo>
                  <a:lnTo>
                    <a:pt x="2486431" y="267004"/>
                  </a:lnTo>
                  <a:lnTo>
                    <a:pt x="2482024" y="274624"/>
                  </a:lnTo>
                  <a:lnTo>
                    <a:pt x="2463444" y="267004"/>
                  </a:lnTo>
                  <a:lnTo>
                    <a:pt x="2467584" y="273354"/>
                  </a:lnTo>
                  <a:lnTo>
                    <a:pt x="2462009" y="273354"/>
                  </a:lnTo>
                  <a:lnTo>
                    <a:pt x="2466429" y="275894"/>
                  </a:lnTo>
                  <a:lnTo>
                    <a:pt x="2467927" y="279704"/>
                  </a:lnTo>
                  <a:lnTo>
                    <a:pt x="2459863" y="279704"/>
                  </a:lnTo>
                  <a:lnTo>
                    <a:pt x="2465514" y="284784"/>
                  </a:lnTo>
                  <a:lnTo>
                    <a:pt x="2465120" y="289864"/>
                  </a:lnTo>
                  <a:lnTo>
                    <a:pt x="2472537" y="284784"/>
                  </a:lnTo>
                  <a:lnTo>
                    <a:pt x="2472448" y="288594"/>
                  </a:lnTo>
                  <a:lnTo>
                    <a:pt x="2480475" y="288594"/>
                  </a:lnTo>
                  <a:lnTo>
                    <a:pt x="2475319" y="290093"/>
                  </a:lnTo>
                  <a:lnTo>
                    <a:pt x="2475319" y="327964"/>
                  </a:lnTo>
                  <a:lnTo>
                    <a:pt x="2473109" y="333044"/>
                  </a:lnTo>
                  <a:lnTo>
                    <a:pt x="2466225" y="336854"/>
                  </a:lnTo>
                  <a:lnTo>
                    <a:pt x="2466225" y="333044"/>
                  </a:lnTo>
                  <a:lnTo>
                    <a:pt x="2470772" y="330504"/>
                  </a:lnTo>
                  <a:lnTo>
                    <a:pt x="2475319" y="327964"/>
                  </a:lnTo>
                  <a:lnTo>
                    <a:pt x="2475319" y="290093"/>
                  </a:lnTo>
                  <a:lnTo>
                    <a:pt x="2458491" y="294944"/>
                  </a:lnTo>
                  <a:lnTo>
                    <a:pt x="2462111" y="298754"/>
                  </a:lnTo>
                  <a:lnTo>
                    <a:pt x="2460294" y="302564"/>
                  </a:lnTo>
                  <a:lnTo>
                    <a:pt x="2474366" y="297484"/>
                  </a:lnTo>
                  <a:lnTo>
                    <a:pt x="2471382" y="301294"/>
                  </a:lnTo>
                  <a:lnTo>
                    <a:pt x="2474137" y="302564"/>
                  </a:lnTo>
                  <a:lnTo>
                    <a:pt x="2471102" y="303834"/>
                  </a:lnTo>
                  <a:lnTo>
                    <a:pt x="2445347" y="308914"/>
                  </a:lnTo>
                  <a:lnTo>
                    <a:pt x="2453182" y="313994"/>
                  </a:lnTo>
                  <a:lnTo>
                    <a:pt x="2453055" y="316534"/>
                  </a:lnTo>
                  <a:lnTo>
                    <a:pt x="2456192" y="315264"/>
                  </a:lnTo>
                  <a:lnTo>
                    <a:pt x="2451443" y="321614"/>
                  </a:lnTo>
                  <a:lnTo>
                    <a:pt x="2458034" y="319074"/>
                  </a:lnTo>
                  <a:lnTo>
                    <a:pt x="2458707" y="322884"/>
                  </a:lnTo>
                  <a:lnTo>
                    <a:pt x="2460853" y="319074"/>
                  </a:lnTo>
                  <a:lnTo>
                    <a:pt x="2461577" y="317804"/>
                  </a:lnTo>
                  <a:lnTo>
                    <a:pt x="2466302" y="316534"/>
                  </a:lnTo>
                  <a:lnTo>
                    <a:pt x="2462009" y="322884"/>
                  </a:lnTo>
                  <a:lnTo>
                    <a:pt x="2463977" y="322884"/>
                  </a:lnTo>
                  <a:lnTo>
                    <a:pt x="2460612" y="325818"/>
                  </a:lnTo>
                  <a:lnTo>
                    <a:pt x="2460612" y="363524"/>
                  </a:lnTo>
                  <a:lnTo>
                    <a:pt x="2458364" y="368604"/>
                  </a:lnTo>
                  <a:lnTo>
                    <a:pt x="2457462" y="369874"/>
                  </a:lnTo>
                  <a:lnTo>
                    <a:pt x="2440902" y="377494"/>
                  </a:lnTo>
                  <a:lnTo>
                    <a:pt x="2436698" y="377494"/>
                  </a:lnTo>
                  <a:lnTo>
                    <a:pt x="2429827" y="372414"/>
                  </a:lnTo>
                  <a:lnTo>
                    <a:pt x="2424684" y="368604"/>
                  </a:lnTo>
                  <a:lnTo>
                    <a:pt x="2424023" y="367334"/>
                  </a:lnTo>
                  <a:lnTo>
                    <a:pt x="2422029" y="363524"/>
                  </a:lnTo>
                  <a:lnTo>
                    <a:pt x="2427020" y="366064"/>
                  </a:lnTo>
                  <a:lnTo>
                    <a:pt x="2428506" y="363524"/>
                  </a:lnTo>
                  <a:lnTo>
                    <a:pt x="2429256" y="362254"/>
                  </a:lnTo>
                  <a:lnTo>
                    <a:pt x="2432951" y="368604"/>
                  </a:lnTo>
                  <a:lnTo>
                    <a:pt x="2435656" y="364794"/>
                  </a:lnTo>
                  <a:lnTo>
                    <a:pt x="2437523" y="371144"/>
                  </a:lnTo>
                  <a:lnTo>
                    <a:pt x="2441549" y="372414"/>
                  </a:lnTo>
                  <a:lnTo>
                    <a:pt x="2442489" y="369874"/>
                  </a:lnTo>
                  <a:lnTo>
                    <a:pt x="2445537" y="367334"/>
                  </a:lnTo>
                  <a:lnTo>
                    <a:pt x="2448153" y="368604"/>
                  </a:lnTo>
                  <a:lnTo>
                    <a:pt x="2447518" y="367334"/>
                  </a:lnTo>
                  <a:lnTo>
                    <a:pt x="2446896" y="366064"/>
                  </a:lnTo>
                  <a:lnTo>
                    <a:pt x="2448890" y="364794"/>
                  </a:lnTo>
                  <a:lnTo>
                    <a:pt x="2450884" y="363524"/>
                  </a:lnTo>
                  <a:lnTo>
                    <a:pt x="2451455" y="363524"/>
                  </a:lnTo>
                  <a:lnTo>
                    <a:pt x="2452700" y="371144"/>
                  </a:lnTo>
                  <a:lnTo>
                    <a:pt x="2460612" y="363524"/>
                  </a:lnTo>
                  <a:lnTo>
                    <a:pt x="2460612" y="325818"/>
                  </a:lnTo>
                  <a:lnTo>
                    <a:pt x="2455214" y="330504"/>
                  </a:lnTo>
                  <a:lnTo>
                    <a:pt x="2452827" y="329234"/>
                  </a:lnTo>
                  <a:lnTo>
                    <a:pt x="2444597" y="325424"/>
                  </a:lnTo>
                  <a:lnTo>
                    <a:pt x="2447823" y="334314"/>
                  </a:lnTo>
                  <a:lnTo>
                    <a:pt x="2444267" y="335584"/>
                  </a:lnTo>
                  <a:lnTo>
                    <a:pt x="2447810" y="336854"/>
                  </a:lnTo>
                  <a:lnTo>
                    <a:pt x="2445042" y="343204"/>
                  </a:lnTo>
                  <a:lnTo>
                    <a:pt x="2454910" y="336854"/>
                  </a:lnTo>
                  <a:lnTo>
                    <a:pt x="2454897" y="343204"/>
                  </a:lnTo>
                  <a:lnTo>
                    <a:pt x="2458948" y="341934"/>
                  </a:lnTo>
                  <a:lnTo>
                    <a:pt x="2460307" y="343204"/>
                  </a:lnTo>
                  <a:lnTo>
                    <a:pt x="2458288" y="345744"/>
                  </a:lnTo>
                  <a:lnTo>
                    <a:pt x="2434907" y="348284"/>
                  </a:lnTo>
                  <a:lnTo>
                    <a:pt x="2439568" y="352094"/>
                  </a:lnTo>
                  <a:lnTo>
                    <a:pt x="2436469" y="354634"/>
                  </a:lnTo>
                  <a:lnTo>
                    <a:pt x="2444000" y="355904"/>
                  </a:lnTo>
                  <a:lnTo>
                    <a:pt x="2446134" y="357174"/>
                  </a:lnTo>
                  <a:lnTo>
                    <a:pt x="2445753" y="358444"/>
                  </a:lnTo>
                  <a:lnTo>
                    <a:pt x="2446655" y="357174"/>
                  </a:lnTo>
                  <a:lnTo>
                    <a:pt x="2447531" y="358444"/>
                  </a:lnTo>
                  <a:lnTo>
                    <a:pt x="2443708" y="360984"/>
                  </a:lnTo>
                  <a:lnTo>
                    <a:pt x="2443048" y="359714"/>
                  </a:lnTo>
                  <a:lnTo>
                    <a:pt x="2431567" y="352094"/>
                  </a:lnTo>
                  <a:lnTo>
                    <a:pt x="2425827" y="348284"/>
                  </a:lnTo>
                  <a:lnTo>
                    <a:pt x="2422982" y="340664"/>
                  </a:lnTo>
                  <a:lnTo>
                    <a:pt x="2429865" y="345744"/>
                  </a:lnTo>
                  <a:lnTo>
                    <a:pt x="2433764" y="343204"/>
                  </a:lnTo>
                  <a:lnTo>
                    <a:pt x="2436990" y="343204"/>
                  </a:lnTo>
                  <a:lnTo>
                    <a:pt x="2439149" y="344474"/>
                  </a:lnTo>
                  <a:lnTo>
                    <a:pt x="2438285" y="343204"/>
                  </a:lnTo>
                  <a:lnTo>
                    <a:pt x="2436558" y="340664"/>
                  </a:lnTo>
                  <a:lnTo>
                    <a:pt x="2434831" y="338124"/>
                  </a:lnTo>
                  <a:lnTo>
                    <a:pt x="2433967" y="336854"/>
                  </a:lnTo>
                  <a:lnTo>
                    <a:pt x="2431935" y="335584"/>
                  </a:lnTo>
                  <a:lnTo>
                    <a:pt x="2425852" y="331774"/>
                  </a:lnTo>
                  <a:lnTo>
                    <a:pt x="2413431" y="320344"/>
                  </a:lnTo>
                  <a:lnTo>
                    <a:pt x="2412835" y="316534"/>
                  </a:lnTo>
                  <a:lnTo>
                    <a:pt x="2416035" y="316534"/>
                  </a:lnTo>
                  <a:lnTo>
                    <a:pt x="2417610" y="321614"/>
                  </a:lnTo>
                  <a:lnTo>
                    <a:pt x="2423007" y="317804"/>
                  </a:lnTo>
                  <a:lnTo>
                    <a:pt x="2424569" y="326694"/>
                  </a:lnTo>
                  <a:lnTo>
                    <a:pt x="2426893" y="322884"/>
                  </a:lnTo>
                  <a:lnTo>
                    <a:pt x="2433726" y="326694"/>
                  </a:lnTo>
                  <a:lnTo>
                    <a:pt x="2433409" y="322884"/>
                  </a:lnTo>
                  <a:lnTo>
                    <a:pt x="2435161" y="321614"/>
                  </a:lnTo>
                  <a:lnTo>
                    <a:pt x="2440317" y="322884"/>
                  </a:lnTo>
                  <a:lnTo>
                    <a:pt x="2440228" y="321614"/>
                  </a:lnTo>
                  <a:lnTo>
                    <a:pt x="2440038" y="319074"/>
                  </a:lnTo>
                  <a:lnTo>
                    <a:pt x="2437727" y="317804"/>
                  </a:lnTo>
                  <a:lnTo>
                    <a:pt x="2435415" y="316534"/>
                  </a:lnTo>
                  <a:lnTo>
                    <a:pt x="2423871" y="310184"/>
                  </a:lnTo>
                  <a:lnTo>
                    <a:pt x="2423477" y="308914"/>
                  </a:lnTo>
                  <a:lnTo>
                    <a:pt x="2423083" y="307644"/>
                  </a:lnTo>
                  <a:lnTo>
                    <a:pt x="2426131" y="307644"/>
                  </a:lnTo>
                  <a:lnTo>
                    <a:pt x="2413038" y="296214"/>
                  </a:lnTo>
                  <a:lnTo>
                    <a:pt x="2416606" y="296214"/>
                  </a:lnTo>
                  <a:lnTo>
                    <a:pt x="2420569" y="298754"/>
                  </a:lnTo>
                  <a:lnTo>
                    <a:pt x="2420010" y="296214"/>
                  </a:lnTo>
                  <a:lnTo>
                    <a:pt x="2418905" y="291134"/>
                  </a:lnTo>
                  <a:lnTo>
                    <a:pt x="2427922" y="296214"/>
                  </a:lnTo>
                  <a:lnTo>
                    <a:pt x="2427389" y="291134"/>
                  </a:lnTo>
                  <a:lnTo>
                    <a:pt x="2427249" y="289864"/>
                  </a:lnTo>
                  <a:lnTo>
                    <a:pt x="2432532" y="289864"/>
                  </a:lnTo>
                  <a:lnTo>
                    <a:pt x="2427427" y="286054"/>
                  </a:lnTo>
                  <a:lnTo>
                    <a:pt x="2418778" y="283514"/>
                  </a:lnTo>
                  <a:lnTo>
                    <a:pt x="2409901" y="278434"/>
                  </a:lnTo>
                  <a:lnTo>
                    <a:pt x="2411780" y="274624"/>
                  </a:lnTo>
                  <a:lnTo>
                    <a:pt x="2418499" y="280974"/>
                  </a:lnTo>
                  <a:lnTo>
                    <a:pt x="2419451" y="274624"/>
                  </a:lnTo>
                  <a:lnTo>
                    <a:pt x="2419642" y="273354"/>
                  </a:lnTo>
                  <a:lnTo>
                    <a:pt x="2425522" y="280974"/>
                  </a:lnTo>
                  <a:lnTo>
                    <a:pt x="2423528" y="273354"/>
                  </a:lnTo>
                  <a:lnTo>
                    <a:pt x="2432659" y="277164"/>
                  </a:lnTo>
                  <a:lnTo>
                    <a:pt x="2430653" y="273354"/>
                  </a:lnTo>
                  <a:lnTo>
                    <a:pt x="2429306" y="270814"/>
                  </a:lnTo>
                  <a:lnTo>
                    <a:pt x="2434907" y="270814"/>
                  </a:lnTo>
                  <a:lnTo>
                    <a:pt x="2416962" y="264464"/>
                  </a:lnTo>
                  <a:lnTo>
                    <a:pt x="2409787" y="261924"/>
                  </a:lnTo>
                  <a:lnTo>
                    <a:pt x="2416010" y="259384"/>
                  </a:lnTo>
                  <a:lnTo>
                    <a:pt x="2408694" y="253034"/>
                  </a:lnTo>
                  <a:lnTo>
                    <a:pt x="2405773" y="250494"/>
                  </a:lnTo>
                  <a:lnTo>
                    <a:pt x="2419718" y="255574"/>
                  </a:lnTo>
                  <a:lnTo>
                    <a:pt x="2417203" y="251764"/>
                  </a:lnTo>
                  <a:lnTo>
                    <a:pt x="2419515" y="250494"/>
                  </a:lnTo>
                  <a:lnTo>
                    <a:pt x="2421826" y="249224"/>
                  </a:lnTo>
                  <a:lnTo>
                    <a:pt x="2407932" y="242874"/>
                  </a:lnTo>
                  <a:lnTo>
                    <a:pt x="2412657" y="237794"/>
                  </a:lnTo>
                  <a:lnTo>
                    <a:pt x="2406332" y="235254"/>
                  </a:lnTo>
                  <a:lnTo>
                    <a:pt x="2407208" y="231444"/>
                  </a:lnTo>
                  <a:lnTo>
                    <a:pt x="2403132" y="228904"/>
                  </a:lnTo>
                  <a:lnTo>
                    <a:pt x="2404491" y="227634"/>
                  </a:lnTo>
                  <a:lnTo>
                    <a:pt x="2402306" y="223824"/>
                  </a:lnTo>
                  <a:lnTo>
                    <a:pt x="2400960" y="213664"/>
                  </a:lnTo>
                  <a:lnTo>
                    <a:pt x="2399080" y="225094"/>
                  </a:lnTo>
                  <a:lnTo>
                    <a:pt x="2396629" y="227634"/>
                  </a:lnTo>
                  <a:lnTo>
                    <a:pt x="2398001" y="231444"/>
                  </a:lnTo>
                  <a:lnTo>
                    <a:pt x="2395690" y="232714"/>
                  </a:lnTo>
                  <a:lnTo>
                    <a:pt x="2394547" y="232714"/>
                  </a:lnTo>
                  <a:lnTo>
                    <a:pt x="2392235" y="233984"/>
                  </a:lnTo>
                  <a:lnTo>
                    <a:pt x="2392946" y="236524"/>
                  </a:lnTo>
                  <a:lnTo>
                    <a:pt x="2384996" y="239064"/>
                  </a:lnTo>
                  <a:lnTo>
                    <a:pt x="2396731" y="241604"/>
                  </a:lnTo>
                  <a:lnTo>
                    <a:pt x="2380831" y="249224"/>
                  </a:lnTo>
                  <a:lnTo>
                    <a:pt x="2383282" y="250494"/>
                  </a:lnTo>
                  <a:lnTo>
                    <a:pt x="2384488" y="251764"/>
                  </a:lnTo>
                  <a:lnTo>
                    <a:pt x="2386927" y="253034"/>
                  </a:lnTo>
                  <a:lnTo>
                    <a:pt x="2383472" y="256844"/>
                  </a:lnTo>
                  <a:lnTo>
                    <a:pt x="2389479" y="254304"/>
                  </a:lnTo>
                  <a:lnTo>
                    <a:pt x="2395067" y="253034"/>
                  </a:lnTo>
                  <a:lnTo>
                    <a:pt x="2390229" y="256844"/>
                  </a:lnTo>
                  <a:lnTo>
                    <a:pt x="2383802" y="258114"/>
                  </a:lnTo>
                  <a:lnTo>
                    <a:pt x="2380678" y="261924"/>
                  </a:lnTo>
                  <a:lnTo>
                    <a:pt x="2387968" y="261924"/>
                  </a:lnTo>
                  <a:lnTo>
                    <a:pt x="2385022" y="265734"/>
                  </a:lnTo>
                  <a:lnTo>
                    <a:pt x="2390483" y="264464"/>
                  </a:lnTo>
                  <a:lnTo>
                    <a:pt x="2392349" y="267004"/>
                  </a:lnTo>
                  <a:lnTo>
                    <a:pt x="2384514" y="272084"/>
                  </a:lnTo>
                  <a:lnTo>
                    <a:pt x="2367254" y="279704"/>
                  </a:lnTo>
                  <a:lnTo>
                    <a:pt x="2374874" y="279704"/>
                  </a:lnTo>
                  <a:lnTo>
                    <a:pt x="2372449" y="283514"/>
                  </a:lnTo>
                  <a:lnTo>
                    <a:pt x="2379649" y="280974"/>
                  </a:lnTo>
                  <a:lnTo>
                    <a:pt x="2379205" y="283514"/>
                  </a:lnTo>
                  <a:lnTo>
                    <a:pt x="2378887" y="286054"/>
                  </a:lnTo>
                  <a:lnTo>
                    <a:pt x="2384031" y="280974"/>
                  </a:lnTo>
                  <a:lnTo>
                    <a:pt x="2388603" y="279704"/>
                  </a:lnTo>
                  <a:lnTo>
                    <a:pt x="2386533" y="284784"/>
                  </a:lnTo>
                  <a:lnTo>
                    <a:pt x="2377275" y="289864"/>
                  </a:lnTo>
                  <a:lnTo>
                    <a:pt x="2372195" y="292404"/>
                  </a:lnTo>
                  <a:lnTo>
                    <a:pt x="2375979" y="294944"/>
                  </a:lnTo>
                  <a:lnTo>
                    <a:pt x="2367737" y="300024"/>
                  </a:lnTo>
                  <a:lnTo>
                    <a:pt x="2376170" y="300024"/>
                  </a:lnTo>
                  <a:lnTo>
                    <a:pt x="2373871" y="302564"/>
                  </a:lnTo>
                  <a:lnTo>
                    <a:pt x="2362174" y="307644"/>
                  </a:lnTo>
                  <a:lnTo>
                    <a:pt x="2355786" y="311454"/>
                  </a:lnTo>
                  <a:lnTo>
                    <a:pt x="2364473" y="311454"/>
                  </a:lnTo>
                  <a:lnTo>
                    <a:pt x="2364498" y="317804"/>
                  </a:lnTo>
                  <a:lnTo>
                    <a:pt x="2372398" y="310184"/>
                  </a:lnTo>
                  <a:lnTo>
                    <a:pt x="2372893" y="316534"/>
                  </a:lnTo>
                  <a:lnTo>
                    <a:pt x="2378646" y="311454"/>
                  </a:lnTo>
                  <a:lnTo>
                    <a:pt x="2381478" y="310184"/>
                  </a:lnTo>
                  <a:lnTo>
                    <a:pt x="2384323" y="308914"/>
                  </a:lnTo>
                  <a:lnTo>
                    <a:pt x="2379611" y="315239"/>
                  </a:lnTo>
                  <a:lnTo>
                    <a:pt x="2379611" y="352094"/>
                  </a:lnTo>
                  <a:lnTo>
                    <a:pt x="2375154" y="357949"/>
                  </a:lnTo>
                  <a:lnTo>
                    <a:pt x="2375154" y="390194"/>
                  </a:lnTo>
                  <a:lnTo>
                    <a:pt x="2374404" y="390194"/>
                  </a:lnTo>
                  <a:lnTo>
                    <a:pt x="2370886" y="391464"/>
                  </a:lnTo>
                  <a:lnTo>
                    <a:pt x="2367127" y="394004"/>
                  </a:lnTo>
                  <a:lnTo>
                    <a:pt x="2364867" y="392582"/>
                  </a:lnTo>
                  <a:lnTo>
                    <a:pt x="2364867" y="406704"/>
                  </a:lnTo>
                  <a:lnTo>
                    <a:pt x="2364232" y="407022"/>
                  </a:lnTo>
                  <a:lnTo>
                    <a:pt x="2364371" y="406704"/>
                  </a:lnTo>
                  <a:lnTo>
                    <a:pt x="2364867" y="406704"/>
                  </a:lnTo>
                  <a:lnTo>
                    <a:pt x="2364867" y="392582"/>
                  </a:lnTo>
                  <a:lnTo>
                    <a:pt x="2363114" y="391464"/>
                  </a:lnTo>
                  <a:lnTo>
                    <a:pt x="2362720" y="390194"/>
                  </a:lnTo>
                  <a:lnTo>
                    <a:pt x="2362327" y="388924"/>
                  </a:lnTo>
                  <a:lnTo>
                    <a:pt x="2365375" y="388924"/>
                  </a:lnTo>
                  <a:lnTo>
                    <a:pt x="2362619" y="387654"/>
                  </a:lnTo>
                  <a:lnTo>
                    <a:pt x="2363203" y="385114"/>
                  </a:lnTo>
                  <a:lnTo>
                    <a:pt x="2365679" y="386384"/>
                  </a:lnTo>
                  <a:lnTo>
                    <a:pt x="2367165" y="391464"/>
                  </a:lnTo>
                  <a:lnTo>
                    <a:pt x="2370696" y="387654"/>
                  </a:lnTo>
                  <a:lnTo>
                    <a:pt x="2374188" y="388924"/>
                  </a:lnTo>
                  <a:lnTo>
                    <a:pt x="2375154" y="390194"/>
                  </a:lnTo>
                  <a:lnTo>
                    <a:pt x="2375154" y="357949"/>
                  </a:lnTo>
                  <a:lnTo>
                    <a:pt x="2370899" y="363524"/>
                  </a:lnTo>
                  <a:lnTo>
                    <a:pt x="2363584" y="367334"/>
                  </a:lnTo>
                  <a:lnTo>
                    <a:pt x="2363152" y="367245"/>
                  </a:lnTo>
                  <a:lnTo>
                    <a:pt x="2363152" y="374954"/>
                  </a:lnTo>
                  <a:lnTo>
                    <a:pt x="2363114" y="376224"/>
                  </a:lnTo>
                  <a:lnTo>
                    <a:pt x="2359329" y="377494"/>
                  </a:lnTo>
                  <a:lnTo>
                    <a:pt x="2358161" y="372414"/>
                  </a:lnTo>
                  <a:lnTo>
                    <a:pt x="2363152" y="374954"/>
                  </a:lnTo>
                  <a:lnTo>
                    <a:pt x="2363152" y="367245"/>
                  </a:lnTo>
                  <a:lnTo>
                    <a:pt x="2358009" y="366064"/>
                  </a:lnTo>
                  <a:lnTo>
                    <a:pt x="2349144" y="359714"/>
                  </a:lnTo>
                  <a:lnTo>
                    <a:pt x="2351024" y="357174"/>
                  </a:lnTo>
                  <a:lnTo>
                    <a:pt x="2357742" y="362254"/>
                  </a:lnTo>
                  <a:lnTo>
                    <a:pt x="2358504" y="357174"/>
                  </a:lnTo>
                  <a:lnTo>
                    <a:pt x="2358885" y="354634"/>
                  </a:lnTo>
                  <a:lnTo>
                    <a:pt x="2364765" y="362254"/>
                  </a:lnTo>
                  <a:lnTo>
                    <a:pt x="2362936" y="355904"/>
                  </a:lnTo>
                  <a:lnTo>
                    <a:pt x="2363216" y="355904"/>
                  </a:lnTo>
                  <a:lnTo>
                    <a:pt x="2371915" y="358444"/>
                  </a:lnTo>
                  <a:lnTo>
                    <a:pt x="2370569" y="355904"/>
                  </a:lnTo>
                  <a:lnTo>
                    <a:pt x="2369896" y="354634"/>
                  </a:lnTo>
                  <a:lnTo>
                    <a:pt x="2368550" y="352094"/>
                  </a:lnTo>
                  <a:lnTo>
                    <a:pt x="2374150" y="353364"/>
                  </a:lnTo>
                  <a:lnTo>
                    <a:pt x="2371471" y="352094"/>
                  </a:lnTo>
                  <a:lnTo>
                    <a:pt x="2374315" y="349554"/>
                  </a:lnTo>
                  <a:lnTo>
                    <a:pt x="2377630" y="343204"/>
                  </a:lnTo>
                  <a:lnTo>
                    <a:pt x="2378303" y="341934"/>
                  </a:lnTo>
                  <a:lnTo>
                    <a:pt x="2378964" y="340664"/>
                  </a:lnTo>
                  <a:lnTo>
                    <a:pt x="2375801" y="353364"/>
                  </a:lnTo>
                  <a:lnTo>
                    <a:pt x="2379611" y="352094"/>
                  </a:lnTo>
                  <a:lnTo>
                    <a:pt x="2379611" y="315239"/>
                  </a:lnTo>
                  <a:lnTo>
                    <a:pt x="2378646" y="316534"/>
                  </a:lnTo>
                  <a:lnTo>
                    <a:pt x="2377363" y="321614"/>
                  </a:lnTo>
                  <a:lnTo>
                    <a:pt x="2373528" y="325424"/>
                  </a:lnTo>
                  <a:lnTo>
                    <a:pt x="2370886" y="327253"/>
                  </a:lnTo>
                  <a:lnTo>
                    <a:pt x="2370886" y="352094"/>
                  </a:lnTo>
                  <a:lnTo>
                    <a:pt x="2366810" y="349554"/>
                  </a:lnTo>
                  <a:lnTo>
                    <a:pt x="2368702" y="347014"/>
                  </a:lnTo>
                  <a:lnTo>
                    <a:pt x="2370886" y="352094"/>
                  </a:lnTo>
                  <a:lnTo>
                    <a:pt x="2370886" y="327253"/>
                  </a:lnTo>
                  <a:lnTo>
                    <a:pt x="2362479" y="333044"/>
                  </a:lnTo>
                  <a:lnTo>
                    <a:pt x="2362136" y="333235"/>
                  </a:lnTo>
                  <a:lnTo>
                    <a:pt x="2362136" y="343204"/>
                  </a:lnTo>
                  <a:lnTo>
                    <a:pt x="2359469" y="347014"/>
                  </a:lnTo>
                  <a:lnTo>
                    <a:pt x="2354961" y="345744"/>
                  </a:lnTo>
                  <a:lnTo>
                    <a:pt x="2362136" y="343204"/>
                  </a:lnTo>
                  <a:lnTo>
                    <a:pt x="2362136" y="333235"/>
                  </a:lnTo>
                  <a:lnTo>
                    <a:pt x="2357894" y="335584"/>
                  </a:lnTo>
                  <a:lnTo>
                    <a:pt x="2356447" y="333044"/>
                  </a:lnTo>
                  <a:lnTo>
                    <a:pt x="2361069" y="331774"/>
                  </a:lnTo>
                  <a:lnTo>
                    <a:pt x="2356129" y="329526"/>
                  </a:lnTo>
                  <a:lnTo>
                    <a:pt x="2356129" y="336854"/>
                  </a:lnTo>
                  <a:lnTo>
                    <a:pt x="2354859" y="337312"/>
                  </a:lnTo>
                  <a:lnTo>
                    <a:pt x="2354859" y="345744"/>
                  </a:lnTo>
                  <a:lnTo>
                    <a:pt x="2349030" y="343204"/>
                  </a:lnTo>
                  <a:lnTo>
                    <a:pt x="2350820" y="341934"/>
                  </a:lnTo>
                  <a:lnTo>
                    <a:pt x="2353932" y="341934"/>
                  </a:lnTo>
                  <a:lnTo>
                    <a:pt x="2354859" y="345744"/>
                  </a:lnTo>
                  <a:lnTo>
                    <a:pt x="2354859" y="337312"/>
                  </a:lnTo>
                  <a:lnTo>
                    <a:pt x="2352535" y="338124"/>
                  </a:lnTo>
                  <a:lnTo>
                    <a:pt x="2348026" y="334314"/>
                  </a:lnTo>
                  <a:lnTo>
                    <a:pt x="2345017" y="331774"/>
                  </a:lnTo>
                  <a:lnTo>
                    <a:pt x="2356129" y="336854"/>
                  </a:lnTo>
                  <a:lnTo>
                    <a:pt x="2356129" y="329526"/>
                  </a:lnTo>
                  <a:lnTo>
                    <a:pt x="2347176" y="325424"/>
                  </a:lnTo>
                  <a:lnTo>
                    <a:pt x="2351913" y="320344"/>
                  </a:lnTo>
                  <a:lnTo>
                    <a:pt x="2345575" y="316534"/>
                  </a:lnTo>
                  <a:lnTo>
                    <a:pt x="2346452" y="312724"/>
                  </a:lnTo>
                  <a:lnTo>
                    <a:pt x="2342375" y="310184"/>
                  </a:lnTo>
                  <a:lnTo>
                    <a:pt x="2343734" y="308914"/>
                  </a:lnTo>
                  <a:lnTo>
                    <a:pt x="2341549" y="306374"/>
                  </a:lnTo>
                  <a:lnTo>
                    <a:pt x="2340203" y="294944"/>
                  </a:lnTo>
                  <a:lnTo>
                    <a:pt x="2338324" y="306374"/>
                  </a:lnTo>
                  <a:lnTo>
                    <a:pt x="2335873" y="310184"/>
                  </a:lnTo>
                  <a:lnTo>
                    <a:pt x="2337244" y="313994"/>
                  </a:lnTo>
                  <a:lnTo>
                    <a:pt x="2334933" y="313994"/>
                  </a:lnTo>
                  <a:lnTo>
                    <a:pt x="2333790" y="315264"/>
                  </a:lnTo>
                  <a:lnTo>
                    <a:pt x="2331478" y="315264"/>
                  </a:lnTo>
                  <a:lnTo>
                    <a:pt x="2332190" y="319074"/>
                  </a:lnTo>
                  <a:lnTo>
                    <a:pt x="2324239" y="321614"/>
                  </a:lnTo>
                  <a:lnTo>
                    <a:pt x="2335974" y="324154"/>
                  </a:lnTo>
                  <a:lnTo>
                    <a:pt x="2320074" y="330504"/>
                  </a:lnTo>
                  <a:lnTo>
                    <a:pt x="2326170" y="334314"/>
                  </a:lnTo>
                  <a:lnTo>
                    <a:pt x="2322715" y="338124"/>
                  </a:lnTo>
                  <a:lnTo>
                    <a:pt x="2328722" y="335584"/>
                  </a:lnTo>
                  <a:lnTo>
                    <a:pt x="2334310" y="334314"/>
                  </a:lnTo>
                  <a:lnTo>
                    <a:pt x="2329472" y="338124"/>
                  </a:lnTo>
                  <a:lnTo>
                    <a:pt x="2323046" y="340664"/>
                  </a:lnTo>
                  <a:lnTo>
                    <a:pt x="2319921" y="343204"/>
                  </a:lnTo>
                  <a:lnTo>
                    <a:pt x="2327211" y="343204"/>
                  </a:lnTo>
                  <a:lnTo>
                    <a:pt x="2324265" y="348284"/>
                  </a:lnTo>
                  <a:lnTo>
                    <a:pt x="2329738" y="345744"/>
                  </a:lnTo>
                  <a:lnTo>
                    <a:pt x="2331593" y="348284"/>
                  </a:lnTo>
                  <a:lnTo>
                    <a:pt x="2323769" y="353364"/>
                  </a:lnTo>
                  <a:lnTo>
                    <a:pt x="2306497" y="360984"/>
                  </a:lnTo>
                  <a:lnTo>
                    <a:pt x="2314117" y="360984"/>
                  </a:lnTo>
                  <a:lnTo>
                    <a:pt x="2311692" y="364794"/>
                  </a:lnTo>
                  <a:lnTo>
                    <a:pt x="2318893" y="362254"/>
                  </a:lnTo>
                  <a:lnTo>
                    <a:pt x="2318448" y="364794"/>
                  </a:lnTo>
                  <a:lnTo>
                    <a:pt x="2318131" y="367334"/>
                  </a:lnTo>
                  <a:lnTo>
                    <a:pt x="2325903" y="362254"/>
                  </a:lnTo>
                  <a:lnTo>
                    <a:pt x="2327846" y="360984"/>
                  </a:lnTo>
                  <a:lnTo>
                    <a:pt x="2325776" y="366064"/>
                  </a:lnTo>
                  <a:lnTo>
                    <a:pt x="2316505" y="372414"/>
                  </a:lnTo>
                  <a:lnTo>
                    <a:pt x="2311450" y="373684"/>
                  </a:lnTo>
                  <a:lnTo>
                    <a:pt x="2315222" y="377494"/>
                  </a:lnTo>
                  <a:lnTo>
                    <a:pt x="2306993" y="381304"/>
                  </a:lnTo>
                  <a:lnTo>
                    <a:pt x="2315413" y="381304"/>
                  </a:lnTo>
                  <a:lnTo>
                    <a:pt x="2313114" y="385114"/>
                  </a:lnTo>
                  <a:lnTo>
                    <a:pt x="2301417" y="388924"/>
                  </a:lnTo>
                  <a:lnTo>
                    <a:pt x="2295017" y="392734"/>
                  </a:lnTo>
                  <a:lnTo>
                    <a:pt x="2303716" y="392734"/>
                  </a:lnTo>
                  <a:lnTo>
                    <a:pt x="2303742" y="399084"/>
                  </a:lnTo>
                  <a:lnTo>
                    <a:pt x="2311641" y="392734"/>
                  </a:lnTo>
                  <a:lnTo>
                    <a:pt x="2312136" y="397814"/>
                  </a:lnTo>
                  <a:lnTo>
                    <a:pt x="2323566" y="390194"/>
                  </a:lnTo>
                  <a:lnTo>
                    <a:pt x="2317889" y="399084"/>
                  </a:lnTo>
                  <a:lnTo>
                    <a:pt x="2316607" y="402894"/>
                  </a:lnTo>
                  <a:lnTo>
                    <a:pt x="2313394" y="406704"/>
                  </a:lnTo>
                  <a:lnTo>
                    <a:pt x="2312492" y="399084"/>
                  </a:lnTo>
                  <a:lnTo>
                    <a:pt x="2311044" y="407974"/>
                  </a:lnTo>
                  <a:lnTo>
                    <a:pt x="2301735" y="414324"/>
                  </a:lnTo>
                  <a:lnTo>
                    <a:pt x="2290419" y="420674"/>
                  </a:lnTo>
                  <a:lnTo>
                    <a:pt x="2289048" y="424484"/>
                  </a:lnTo>
                  <a:lnTo>
                    <a:pt x="2293175" y="423214"/>
                  </a:lnTo>
                  <a:lnTo>
                    <a:pt x="2294128" y="427024"/>
                  </a:lnTo>
                  <a:lnTo>
                    <a:pt x="2298128" y="425754"/>
                  </a:lnTo>
                  <a:lnTo>
                    <a:pt x="2300338" y="425754"/>
                  </a:lnTo>
                  <a:lnTo>
                    <a:pt x="2296350" y="433374"/>
                  </a:lnTo>
                  <a:lnTo>
                    <a:pt x="2292362" y="434644"/>
                  </a:lnTo>
                  <a:lnTo>
                    <a:pt x="2294585" y="435914"/>
                  </a:lnTo>
                  <a:lnTo>
                    <a:pt x="2293505" y="438454"/>
                  </a:lnTo>
                  <a:lnTo>
                    <a:pt x="2295842" y="437184"/>
                  </a:lnTo>
                  <a:lnTo>
                    <a:pt x="2298458" y="438454"/>
                  </a:lnTo>
                  <a:lnTo>
                    <a:pt x="2295004" y="442264"/>
                  </a:lnTo>
                  <a:lnTo>
                    <a:pt x="2301011" y="439724"/>
                  </a:lnTo>
                  <a:lnTo>
                    <a:pt x="2306599" y="438454"/>
                  </a:lnTo>
                  <a:lnTo>
                    <a:pt x="2301760" y="442264"/>
                  </a:lnTo>
                  <a:lnTo>
                    <a:pt x="2295334" y="444804"/>
                  </a:lnTo>
                  <a:lnTo>
                    <a:pt x="2292210" y="447344"/>
                  </a:lnTo>
                  <a:lnTo>
                    <a:pt x="2299500" y="447344"/>
                  </a:lnTo>
                  <a:lnTo>
                    <a:pt x="2296566" y="452424"/>
                  </a:lnTo>
                  <a:lnTo>
                    <a:pt x="2302027" y="449884"/>
                  </a:lnTo>
                  <a:lnTo>
                    <a:pt x="2303881" y="452424"/>
                  </a:lnTo>
                  <a:lnTo>
                    <a:pt x="2300135" y="454863"/>
                  </a:lnTo>
                  <a:lnTo>
                    <a:pt x="2300135" y="465124"/>
                  </a:lnTo>
                  <a:lnTo>
                    <a:pt x="2298065" y="470204"/>
                  </a:lnTo>
                  <a:lnTo>
                    <a:pt x="2290330" y="475513"/>
                  </a:lnTo>
                  <a:lnTo>
                    <a:pt x="2290330" y="501954"/>
                  </a:lnTo>
                  <a:lnTo>
                    <a:pt x="2290178" y="503224"/>
                  </a:lnTo>
                  <a:lnTo>
                    <a:pt x="2288908" y="507034"/>
                  </a:lnTo>
                  <a:lnTo>
                    <a:pt x="2287790" y="508304"/>
                  </a:lnTo>
                  <a:lnTo>
                    <a:pt x="2283930" y="505764"/>
                  </a:lnTo>
                  <a:lnTo>
                    <a:pt x="2278138" y="501954"/>
                  </a:lnTo>
                  <a:lnTo>
                    <a:pt x="2282558" y="498144"/>
                  </a:lnTo>
                  <a:lnTo>
                    <a:pt x="2283726" y="499414"/>
                  </a:lnTo>
                  <a:lnTo>
                    <a:pt x="2284196" y="499414"/>
                  </a:lnTo>
                  <a:lnTo>
                    <a:pt x="2284425" y="501954"/>
                  </a:lnTo>
                  <a:lnTo>
                    <a:pt x="2287625" y="499414"/>
                  </a:lnTo>
                  <a:lnTo>
                    <a:pt x="2288298" y="501954"/>
                  </a:lnTo>
                  <a:lnTo>
                    <a:pt x="2290330" y="501954"/>
                  </a:lnTo>
                  <a:lnTo>
                    <a:pt x="2290330" y="475513"/>
                  </a:lnTo>
                  <a:lnTo>
                    <a:pt x="2288806" y="476554"/>
                  </a:lnTo>
                  <a:lnTo>
                    <a:pt x="2283726" y="477824"/>
                  </a:lnTo>
                  <a:lnTo>
                    <a:pt x="2286012" y="480364"/>
                  </a:lnTo>
                  <a:lnTo>
                    <a:pt x="2287511" y="481634"/>
                  </a:lnTo>
                  <a:lnTo>
                    <a:pt x="2283447" y="482904"/>
                  </a:lnTo>
                  <a:lnTo>
                    <a:pt x="2276602" y="479094"/>
                  </a:lnTo>
                  <a:lnTo>
                    <a:pt x="2273757" y="471474"/>
                  </a:lnTo>
                  <a:lnTo>
                    <a:pt x="2280640" y="476554"/>
                  </a:lnTo>
                  <a:lnTo>
                    <a:pt x="2284539" y="474014"/>
                  </a:lnTo>
                  <a:lnTo>
                    <a:pt x="2289924" y="475284"/>
                  </a:lnTo>
                  <a:lnTo>
                    <a:pt x="2288971" y="474014"/>
                  </a:lnTo>
                  <a:lnTo>
                    <a:pt x="2287066" y="471474"/>
                  </a:lnTo>
                  <a:lnTo>
                    <a:pt x="2285161" y="468934"/>
                  </a:lnTo>
                  <a:lnTo>
                    <a:pt x="2291194" y="466394"/>
                  </a:lnTo>
                  <a:lnTo>
                    <a:pt x="2290432" y="471474"/>
                  </a:lnTo>
                  <a:lnTo>
                    <a:pt x="2295563" y="466394"/>
                  </a:lnTo>
                  <a:lnTo>
                    <a:pt x="2300135" y="465124"/>
                  </a:lnTo>
                  <a:lnTo>
                    <a:pt x="2300135" y="454863"/>
                  </a:lnTo>
                  <a:lnTo>
                    <a:pt x="2296058" y="457504"/>
                  </a:lnTo>
                  <a:lnTo>
                    <a:pt x="2286419" y="461937"/>
                  </a:lnTo>
                  <a:lnTo>
                    <a:pt x="2286419" y="465124"/>
                  </a:lnTo>
                  <a:lnTo>
                    <a:pt x="2284628" y="468934"/>
                  </a:lnTo>
                  <a:lnTo>
                    <a:pt x="2280056" y="465124"/>
                  </a:lnTo>
                  <a:lnTo>
                    <a:pt x="2286419" y="465124"/>
                  </a:lnTo>
                  <a:lnTo>
                    <a:pt x="2286419" y="461937"/>
                  </a:lnTo>
                  <a:lnTo>
                    <a:pt x="2279446" y="465124"/>
                  </a:lnTo>
                  <a:lnTo>
                    <a:pt x="2276627" y="463854"/>
                  </a:lnTo>
                  <a:lnTo>
                    <a:pt x="2274138" y="461314"/>
                  </a:lnTo>
                  <a:lnTo>
                    <a:pt x="2264206" y="451154"/>
                  </a:lnTo>
                  <a:lnTo>
                    <a:pt x="2263610" y="447344"/>
                  </a:lnTo>
                  <a:lnTo>
                    <a:pt x="2266810" y="447344"/>
                  </a:lnTo>
                  <a:lnTo>
                    <a:pt x="2268385" y="452424"/>
                  </a:lnTo>
                  <a:lnTo>
                    <a:pt x="2273782" y="448614"/>
                  </a:lnTo>
                  <a:lnTo>
                    <a:pt x="2275344" y="457504"/>
                  </a:lnTo>
                  <a:lnTo>
                    <a:pt x="2277668" y="453694"/>
                  </a:lnTo>
                  <a:lnTo>
                    <a:pt x="2284501" y="457504"/>
                  </a:lnTo>
                  <a:lnTo>
                    <a:pt x="2284184" y="454964"/>
                  </a:lnTo>
                  <a:lnTo>
                    <a:pt x="2285060" y="453694"/>
                  </a:lnTo>
                  <a:lnTo>
                    <a:pt x="2285936" y="452424"/>
                  </a:lnTo>
                  <a:lnTo>
                    <a:pt x="2291105" y="453694"/>
                  </a:lnTo>
                  <a:lnTo>
                    <a:pt x="2289454" y="452424"/>
                  </a:lnTo>
                  <a:lnTo>
                    <a:pt x="2284526" y="448614"/>
                  </a:lnTo>
                  <a:lnTo>
                    <a:pt x="2282875" y="447344"/>
                  </a:lnTo>
                  <a:lnTo>
                    <a:pt x="2274646" y="440994"/>
                  </a:lnTo>
                  <a:lnTo>
                    <a:pt x="2273858" y="438454"/>
                  </a:lnTo>
                  <a:lnTo>
                    <a:pt x="2276919" y="438454"/>
                  </a:lnTo>
                  <a:lnTo>
                    <a:pt x="2263813" y="427024"/>
                  </a:lnTo>
                  <a:lnTo>
                    <a:pt x="2267381" y="427024"/>
                  </a:lnTo>
                  <a:lnTo>
                    <a:pt x="2271344" y="429564"/>
                  </a:lnTo>
                  <a:lnTo>
                    <a:pt x="2270798" y="427024"/>
                  </a:lnTo>
                  <a:lnTo>
                    <a:pt x="2269693" y="421944"/>
                  </a:lnTo>
                  <a:lnTo>
                    <a:pt x="2278697" y="427024"/>
                  </a:lnTo>
                  <a:lnTo>
                    <a:pt x="2278164" y="421944"/>
                  </a:lnTo>
                  <a:lnTo>
                    <a:pt x="2278024" y="420674"/>
                  </a:lnTo>
                  <a:lnTo>
                    <a:pt x="2283307" y="420674"/>
                  </a:lnTo>
                  <a:lnTo>
                    <a:pt x="2269553" y="414324"/>
                  </a:lnTo>
                  <a:lnTo>
                    <a:pt x="2260676" y="409244"/>
                  </a:lnTo>
                  <a:lnTo>
                    <a:pt x="2262555" y="405434"/>
                  </a:lnTo>
                  <a:lnTo>
                    <a:pt x="2269274" y="411784"/>
                  </a:lnTo>
                  <a:lnTo>
                    <a:pt x="2270226" y="405434"/>
                  </a:lnTo>
                  <a:lnTo>
                    <a:pt x="2270417" y="404164"/>
                  </a:lnTo>
                  <a:lnTo>
                    <a:pt x="2276297" y="411784"/>
                  </a:lnTo>
                  <a:lnTo>
                    <a:pt x="2274303" y="405434"/>
                  </a:lnTo>
                  <a:lnTo>
                    <a:pt x="2283447" y="407974"/>
                  </a:lnTo>
                  <a:lnTo>
                    <a:pt x="2282101" y="405434"/>
                  </a:lnTo>
                  <a:lnTo>
                    <a:pt x="2281428" y="404164"/>
                  </a:lnTo>
                  <a:lnTo>
                    <a:pt x="2280081" y="401624"/>
                  </a:lnTo>
                  <a:lnTo>
                    <a:pt x="2285682" y="402894"/>
                  </a:lnTo>
                  <a:lnTo>
                    <a:pt x="2282990" y="401624"/>
                  </a:lnTo>
                  <a:lnTo>
                    <a:pt x="2274925" y="397814"/>
                  </a:lnTo>
                  <a:lnTo>
                    <a:pt x="2267750" y="395274"/>
                  </a:lnTo>
                  <a:lnTo>
                    <a:pt x="2260574" y="392734"/>
                  </a:lnTo>
                  <a:lnTo>
                    <a:pt x="2264295" y="391464"/>
                  </a:lnTo>
                  <a:lnTo>
                    <a:pt x="2266785" y="390194"/>
                  </a:lnTo>
                  <a:lnTo>
                    <a:pt x="2259469" y="383844"/>
                  </a:lnTo>
                  <a:lnTo>
                    <a:pt x="2256548" y="381304"/>
                  </a:lnTo>
                  <a:lnTo>
                    <a:pt x="2270493" y="386384"/>
                  </a:lnTo>
                  <a:lnTo>
                    <a:pt x="2267978" y="382574"/>
                  </a:lnTo>
                  <a:lnTo>
                    <a:pt x="2272601" y="381304"/>
                  </a:lnTo>
                  <a:lnTo>
                    <a:pt x="2258720" y="373684"/>
                  </a:lnTo>
                  <a:lnTo>
                    <a:pt x="2263444" y="368604"/>
                  </a:lnTo>
                  <a:lnTo>
                    <a:pt x="2257107" y="366064"/>
                  </a:lnTo>
                  <a:lnTo>
                    <a:pt x="2257983" y="362254"/>
                  </a:lnTo>
                  <a:lnTo>
                    <a:pt x="2253907" y="359714"/>
                  </a:lnTo>
                  <a:lnTo>
                    <a:pt x="2255266" y="358444"/>
                  </a:lnTo>
                  <a:lnTo>
                    <a:pt x="2253081" y="355904"/>
                  </a:lnTo>
                  <a:lnTo>
                    <a:pt x="2251735" y="344474"/>
                  </a:lnTo>
                  <a:lnTo>
                    <a:pt x="2249868" y="355904"/>
                  </a:lnTo>
                  <a:lnTo>
                    <a:pt x="2247404" y="359714"/>
                  </a:lnTo>
                  <a:lnTo>
                    <a:pt x="2248776" y="362254"/>
                  </a:lnTo>
                  <a:lnTo>
                    <a:pt x="2243023" y="364794"/>
                  </a:lnTo>
                  <a:lnTo>
                    <a:pt x="2243721" y="367334"/>
                  </a:lnTo>
                  <a:lnTo>
                    <a:pt x="2235771" y="369874"/>
                  </a:lnTo>
                  <a:lnTo>
                    <a:pt x="2247506" y="373684"/>
                  </a:lnTo>
                  <a:lnTo>
                    <a:pt x="2231606" y="380034"/>
                  </a:lnTo>
                  <a:lnTo>
                    <a:pt x="2237702" y="383844"/>
                  </a:lnTo>
                  <a:lnTo>
                    <a:pt x="2234247" y="387654"/>
                  </a:lnTo>
                  <a:lnTo>
                    <a:pt x="2240254" y="385114"/>
                  </a:lnTo>
                  <a:lnTo>
                    <a:pt x="2245842" y="383844"/>
                  </a:lnTo>
                  <a:lnTo>
                    <a:pt x="2241004" y="387654"/>
                  </a:lnTo>
                  <a:lnTo>
                    <a:pt x="2237155" y="388924"/>
                  </a:lnTo>
                  <a:lnTo>
                    <a:pt x="2234577" y="390194"/>
                  </a:lnTo>
                  <a:lnTo>
                    <a:pt x="2231453" y="392734"/>
                  </a:lnTo>
                  <a:lnTo>
                    <a:pt x="2238743" y="392734"/>
                  </a:lnTo>
                  <a:lnTo>
                    <a:pt x="2235809" y="397814"/>
                  </a:lnTo>
                  <a:lnTo>
                    <a:pt x="2241270" y="395274"/>
                  </a:lnTo>
                  <a:lnTo>
                    <a:pt x="2243124" y="397814"/>
                  </a:lnTo>
                  <a:lnTo>
                    <a:pt x="2235301" y="402894"/>
                  </a:lnTo>
                  <a:lnTo>
                    <a:pt x="2218029" y="410514"/>
                  </a:lnTo>
                  <a:lnTo>
                    <a:pt x="2225649" y="410514"/>
                  </a:lnTo>
                  <a:lnTo>
                    <a:pt x="2223224" y="414324"/>
                  </a:lnTo>
                  <a:lnTo>
                    <a:pt x="2230437" y="411784"/>
                  </a:lnTo>
                  <a:lnTo>
                    <a:pt x="2229662" y="416864"/>
                  </a:lnTo>
                  <a:lnTo>
                    <a:pt x="2234806" y="411784"/>
                  </a:lnTo>
                  <a:lnTo>
                    <a:pt x="2239378" y="410514"/>
                  </a:lnTo>
                  <a:lnTo>
                    <a:pt x="2237308" y="415594"/>
                  </a:lnTo>
                  <a:lnTo>
                    <a:pt x="2235098" y="417118"/>
                  </a:lnTo>
                  <a:lnTo>
                    <a:pt x="2235098" y="439724"/>
                  </a:lnTo>
                  <a:lnTo>
                    <a:pt x="2230386" y="447103"/>
                  </a:lnTo>
                  <a:lnTo>
                    <a:pt x="2230386" y="484174"/>
                  </a:lnTo>
                  <a:lnTo>
                    <a:pt x="2225814" y="489254"/>
                  </a:lnTo>
                  <a:lnTo>
                    <a:pt x="2225586" y="488924"/>
                  </a:lnTo>
                  <a:lnTo>
                    <a:pt x="2225586" y="489254"/>
                  </a:lnTo>
                  <a:lnTo>
                    <a:pt x="2221687" y="494334"/>
                  </a:lnTo>
                  <a:lnTo>
                    <a:pt x="2219528" y="495604"/>
                  </a:lnTo>
                  <a:lnTo>
                    <a:pt x="2214689" y="491337"/>
                  </a:lnTo>
                  <a:lnTo>
                    <a:pt x="2214689" y="501954"/>
                  </a:lnTo>
                  <a:lnTo>
                    <a:pt x="2214118" y="505764"/>
                  </a:lnTo>
                  <a:lnTo>
                    <a:pt x="2213635" y="505764"/>
                  </a:lnTo>
                  <a:lnTo>
                    <a:pt x="2211641" y="504494"/>
                  </a:lnTo>
                  <a:lnTo>
                    <a:pt x="2210638" y="503224"/>
                  </a:lnTo>
                  <a:lnTo>
                    <a:pt x="2208644" y="501954"/>
                  </a:lnTo>
                  <a:lnTo>
                    <a:pt x="2214689" y="501954"/>
                  </a:lnTo>
                  <a:lnTo>
                    <a:pt x="2214689" y="491337"/>
                  </a:lnTo>
                  <a:lnTo>
                    <a:pt x="2213775" y="490524"/>
                  </a:lnTo>
                  <a:lnTo>
                    <a:pt x="2215743" y="490524"/>
                  </a:lnTo>
                  <a:lnTo>
                    <a:pt x="2213508" y="486714"/>
                  </a:lnTo>
                  <a:lnTo>
                    <a:pt x="2214727" y="485444"/>
                  </a:lnTo>
                  <a:lnTo>
                    <a:pt x="2216175" y="485444"/>
                  </a:lnTo>
                  <a:lnTo>
                    <a:pt x="2219045" y="490524"/>
                  </a:lnTo>
                  <a:lnTo>
                    <a:pt x="2219718" y="486714"/>
                  </a:lnTo>
                  <a:lnTo>
                    <a:pt x="2225586" y="489254"/>
                  </a:lnTo>
                  <a:lnTo>
                    <a:pt x="2225586" y="488924"/>
                  </a:lnTo>
                  <a:lnTo>
                    <a:pt x="2224113" y="486714"/>
                  </a:lnTo>
                  <a:lnTo>
                    <a:pt x="2223262" y="485444"/>
                  </a:lnTo>
                  <a:lnTo>
                    <a:pt x="2221560" y="482904"/>
                  </a:lnTo>
                  <a:lnTo>
                    <a:pt x="2224697" y="484174"/>
                  </a:lnTo>
                  <a:lnTo>
                    <a:pt x="2224633" y="482904"/>
                  </a:lnTo>
                  <a:lnTo>
                    <a:pt x="2224582" y="481634"/>
                  </a:lnTo>
                  <a:lnTo>
                    <a:pt x="2226259" y="480364"/>
                  </a:lnTo>
                  <a:lnTo>
                    <a:pt x="2227948" y="479094"/>
                  </a:lnTo>
                  <a:lnTo>
                    <a:pt x="2226576" y="485444"/>
                  </a:lnTo>
                  <a:lnTo>
                    <a:pt x="2230386" y="484174"/>
                  </a:lnTo>
                  <a:lnTo>
                    <a:pt x="2230386" y="447103"/>
                  </a:lnTo>
                  <a:lnTo>
                    <a:pt x="2229421" y="448614"/>
                  </a:lnTo>
                  <a:lnTo>
                    <a:pt x="2228138" y="452424"/>
                  </a:lnTo>
                  <a:lnTo>
                    <a:pt x="2224303" y="456234"/>
                  </a:lnTo>
                  <a:lnTo>
                    <a:pt x="2216912" y="461314"/>
                  </a:lnTo>
                  <a:lnTo>
                    <a:pt x="2211184" y="459841"/>
                  </a:lnTo>
                  <a:lnTo>
                    <a:pt x="2211184" y="499414"/>
                  </a:lnTo>
                  <a:lnTo>
                    <a:pt x="2207552" y="501954"/>
                  </a:lnTo>
                  <a:lnTo>
                    <a:pt x="2204656" y="500684"/>
                  </a:lnTo>
                  <a:lnTo>
                    <a:pt x="2202434" y="495604"/>
                  </a:lnTo>
                  <a:lnTo>
                    <a:pt x="2211184" y="499414"/>
                  </a:lnTo>
                  <a:lnTo>
                    <a:pt x="2211184" y="459841"/>
                  </a:lnTo>
                  <a:lnTo>
                    <a:pt x="2197277" y="456234"/>
                  </a:lnTo>
                  <a:lnTo>
                    <a:pt x="2205317" y="456234"/>
                  </a:lnTo>
                  <a:lnTo>
                    <a:pt x="2205266" y="453694"/>
                  </a:lnTo>
                  <a:lnTo>
                    <a:pt x="2205215" y="452424"/>
                  </a:lnTo>
                  <a:lnTo>
                    <a:pt x="2212632" y="457504"/>
                  </a:lnTo>
                  <a:lnTo>
                    <a:pt x="2212467" y="456234"/>
                  </a:lnTo>
                  <a:lnTo>
                    <a:pt x="2212238" y="452424"/>
                  </a:lnTo>
                  <a:lnTo>
                    <a:pt x="2217890" y="447344"/>
                  </a:lnTo>
                  <a:lnTo>
                    <a:pt x="2216810" y="447344"/>
                  </a:lnTo>
                  <a:lnTo>
                    <a:pt x="2223173" y="442264"/>
                  </a:lnTo>
                  <a:lnTo>
                    <a:pt x="2223668" y="447344"/>
                  </a:lnTo>
                  <a:lnTo>
                    <a:pt x="2229421" y="442264"/>
                  </a:lnTo>
                  <a:lnTo>
                    <a:pt x="2235098" y="439724"/>
                  </a:lnTo>
                  <a:lnTo>
                    <a:pt x="2235098" y="417118"/>
                  </a:lnTo>
                  <a:lnTo>
                    <a:pt x="2228050" y="421944"/>
                  </a:lnTo>
                  <a:lnTo>
                    <a:pt x="2222982" y="423214"/>
                  </a:lnTo>
                  <a:lnTo>
                    <a:pt x="2226754" y="425754"/>
                  </a:lnTo>
                  <a:lnTo>
                    <a:pt x="2218525" y="430834"/>
                  </a:lnTo>
                  <a:lnTo>
                    <a:pt x="2226945" y="430834"/>
                  </a:lnTo>
                  <a:lnTo>
                    <a:pt x="2224646" y="434644"/>
                  </a:lnTo>
                  <a:lnTo>
                    <a:pt x="2215261" y="437705"/>
                  </a:lnTo>
                  <a:lnTo>
                    <a:pt x="2215261" y="442264"/>
                  </a:lnTo>
                  <a:lnTo>
                    <a:pt x="2215261" y="447344"/>
                  </a:lnTo>
                  <a:lnTo>
                    <a:pt x="2209838" y="447344"/>
                  </a:lnTo>
                  <a:lnTo>
                    <a:pt x="2211324" y="443534"/>
                  </a:lnTo>
                  <a:lnTo>
                    <a:pt x="2213191" y="442264"/>
                  </a:lnTo>
                  <a:lnTo>
                    <a:pt x="2215261" y="442264"/>
                  </a:lnTo>
                  <a:lnTo>
                    <a:pt x="2215261" y="437705"/>
                  </a:lnTo>
                  <a:lnTo>
                    <a:pt x="2212949" y="438454"/>
                  </a:lnTo>
                  <a:lnTo>
                    <a:pt x="2210689" y="439724"/>
                  </a:lnTo>
                  <a:lnTo>
                    <a:pt x="2214308" y="434644"/>
                  </a:lnTo>
                  <a:lnTo>
                    <a:pt x="2195728" y="442264"/>
                  </a:lnTo>
                  <a:lnTo>
                    <a:pt x="2192578" y="435914"/>
                  </a:lnTo>
                  <a:lnTo>
                    <a:pt x="2191321" y="433374"/>
                  </a:lnTo>
                  <a:lnTo>
                    <a:pt x="2198687" y="439724"/>
                  </a:lnTo>
                  <a:lnTo>
                    <a:pt x="2198725" y="434644"/>
                  </a:lnTo>
                  <a:lnTo>
                    <a:pt x="2205786" y="435914"/>
                  </a:lnTo>
                  <a:lnTo>
                    <a:pt x="2205037" y="434644"/>
                  </a:lnTo>
                  <a:lnTo>
                    <a:pt x="2204288" y="433374"/>
                  </a:lnTo>
                  <a:lnTo>
                    <a:pt x="2203310" y="432104"/>
                  </a:lnTo>
                  <a:lnTo>
                    <a:pt x="2207107" y="430834"/>
                  </a:lnTo>
                  <a:lnTo>
                    <a:pt x="2209647" y="430834"/>
                  </a:lnTo>
                  <a:lnTo>
                    <a:pt x="2205202" y="428294"/>
                  </a:lnTo>
                  <a:lnTo>
                    <a:pt x="2198027" y="425754"/>
                  </a:lnTo>
                  <a:lnTo>
                    <a:pt x="2202751" y="424484"/>
                  </a:lnTo>
                  <a:lnTo>
                    <a:pt x="2205888" y="424484"/>
                  </a:lnTo>
                  <a:lnTo>
                    <a:pt x="2200630" y="420674"/>
                  </a:lnTo>
                  <a:lnTo>
                    <a:pt x="2203526" y="416864"/>
                  </a:lnTo>
                  <a:lnTo>
                    <a:pt x="2205456" y="414324"/>
                  </a:lnTo>
                  <a:lnTo>
                    <a:pt x="2202065" y="415594"/>
                  </a:lnTo>
                  <a:lnTo>
                    <a:pt x="2199817" y="416864"/>
                  </a:lnTo>
                  <a:lnTo>
                    <a:pt x="2196376" y="415594"/>
                  </a:lnTo>
                  <a:lnTo>
                    <a:pt x="2198573" y="413054"/>
                  </a:lnTo>
                  <a:lnTo>
                    <a:pt x="2199678" y="411784"/>
                  </a:lnTo>
                  <a:lnTo>
                    <a:pt x="2190318" y="413054"/>
                  </a:lnTo>
                  <a:lnTo>
                    <a:pt x="2196452" y="406704"/>
                  </a:lnTo>
                  <a:lnTo>
                    <a:pt x="2190483" y="404164"/>
                  </a:lnTo>
                  <a:lnTo>
                    <a:pt x="2189213" y="390194"/>
                  </a:lnTo>
                  <a:lnTo>
                    <a:pt x="2188057" y="383844"/>
                  </a:lnTo>
                  <a:lnTo>
                    <a:pt x="2186470" y="386384"/>
                  </a:lnTo>
                  <a:lnTo>
                    <a:pt x="2186178" y="397814"/>
                  </a:lnTo>
                  <a:lnTo>
                    <a:pt x="2184019" y="404164"/>
                  </a:lnTo>
                  <a:lnTo>
                    <a:pt x="2179701" y="406704"/>
                  </a:lnTo>
                  <a:lnTo>
                    <a:pt x="2183561" y="409244"/>
                  </a:lnTo>
                  <a:lnTo>
                    <a:pt x="2173147" y="414324"/>
                  </a:lnTo>
                  <a:lnTo>
                    <a:pt x="2177046" y="416864"/>
                  </a:lnTo>
                  <a:lnTo>
                    <a:pt x="2174163" y="419404"/>
                  </a:lnTo>
                  <a:lnTo>
                    <a:pt x="2183003" y="421944"/>
                  </a:lnTo>
                  <a:lnTo>
                    <a:pt x="2175459" y="425754"/>
                  </a:lnTo>
                  <a:lnTo>
                    <a:pt x="2168055" y="427024"/>
                  </a:lnTo>
                  <a:lnTo>
                    <a:pt x="2175154" y="429564"/>
                  </a:lnTo>
                  <a:lnTo>
                    <a:pt x="2173998" y="434644"/>
                  </a:lnTo>
                  <a:lnTo>
                    <a:pt x="2178685" y="432104"/>
                  </a:lnTo>
                  <a:lnTo>
                    <a:pt x="2178570" y="437184"/>
                  </a:lnTo>
                  <a:lnTo>
                    <a:pt x="2182812" y="435914"/>
                  </a:lnTo>
                  <a:lnTo>
                    <a:pt x="2176272" y="440994"/>
                  </a:lnTo>
                  <a:lnTo>
                    <a:pt x="2167953" y="438454"/>
                  </a:lnTo>
                  <a:lnTo>
                    <a:pt x="2163788" y="438454"/>
                  </a:lnTo>
                  <a:lnTo>
                    <a:pt x="2155482" y="435914"/>
                  </a:lnTo>
                  <a:lnTo>
                    <a:pt x="2158390" y="439724"/>
                  </a:lnTo>
                  <a:lnTo>
                    <a:pt x="2154275" y="442264"/>
                  </a:lnTo>
                  <a:lnTo>
                    <a:pt x="2162619" y="440994"/>
                  </a:lnTo>
                  <a:lnTo>
                    <a:pt x="2155888" y="446074"/>
                  </a:lnTo>
                  <a:lnTo>
                    <a:pt x="2162238" y="448614"/>
                  </a:lnTo>
                  <a:lnTo>
                    <a:pt x="2154059" y="456234"/>
                  </a:lnTo>
                  <a:lnTo>
                    <a:pt x="2160346" y="453694"/>
                  </a:lnTo>
                  <a:lnTo>
                    <a:pt x="2163318" y="458774"/>
                  </a:lnTo>
                  <a:lnTo>
                    <a:pt x="2169376" y="453694"/>
                  </a:lnTo>
                  <a:lnTo>
                    <a:pt x="2163711" y="463854"/>
                  </a:lnTo>
                  <a:lnTo>
                    <a:pt x="2169033" y="461314"/>
                  </a:lnTo>
                  <a:lnTo>
                    <a:pt x="2173516" y="463854"/>
                  </a:lnTo>
                  <a:lnTo>
                    <a:pt x="2175052" y="461314"/>
                  </a:lnTo>
                  <a:lnTo>
                    <a:pt x="2178126" y="456234"/>
                  </a:lnTo>
                  <a:lnTo>
                    <a:pt x="2179599" y="461314"/>
                  </a:lnTo>
                  <a:lnTo>
                    <a:pt x="2168893" y="467664"/>
                  </a:lnTo>
                  <a:lnTo>
                    <a:pt x="2150313" y="471474"/>
                  </a:lnTo>
                  <a:lnTo>
                    <a:pt x="2151773" y="474014"/>
                  </a:lnTo>
                  <a:lnTo>
                    <a:pt x="2142972" y="475284"/>
                  </a:lnTo>
                  <a:lnTo>
                    <a:pt x="2152116" y="480364"/>
                  </a:lnTo>
                  <a:lnTo>
                    <a:pt x="2148344" y="485444"/>
                  </a:lnTo>
                  <a:lnTo>
                    <a:pt x="2163026" y="480364"/>
                  </a:lnTo>
                  <a:lnTo>
                    <a:pt x="2152472" y="493064"/>
                  </a:lnTo>
                  <a:lnTo>
                    <a:pt x="2159470" y="491794"/>
                  </a:lnTo>
                  <a:lnTo>
                    <a:pt x="2160105" y="496874"/>
                  </a:lnTo>
                  <a:lnTo>
                    <a:pt x="2163495" y="491794"/>
                  </a:lnTo>
                  <a:lnTo>
                    <a:pt x="2165197" y="489254"/>
                  </a:lnTo>
                  <a:lnTo>
                    <a:pt x="2168347" y="494334"/>
                  </a:lnTo>
                  <a:lnTo>
                    <a:pt x="2168855" y="490524"/>
                  </a:lnTo>
                  <a:lnTo>
                    <a:pt x="2169083" y="489254"/>
                  </a:lnTo>
                  <a:lnTo>
                    <a:pt x="2169591" y="485444"/>
                  </a:lnTo>
                  <a:lnTo>
                    <a:pt x="2172563" y="486714"/>
                  </a:lnTo>
                  <a:lnTo>
                    <a:pt x="2174519" y="490524"/>
                  </a:lnTo>
                  <a:lnTo>
                    <a:pt x="2165921" y="498144"/>
                  </a:lnTo>
                  <a:lnTo>
                    <a:pt x="2172805" y="500684"/>
                  </a:lnTo>
                  <a:lnTo>
                    <a:pt x="2170430" y="504494"/>
                  </a:lnTo>
                  <a:lnTo>
                    <a:pt x="2170226" y="504558"/>
                  </a:lnTo>
                  <a:lnTo>
                    <a:pt x="2170226" y="522274"/>
                  </a:lnTo>
                  <a:lnTo>
                    <a:pt x="2165997" y="528624"/>
                  </a:lnTo>
                  <a:lnTo>
                    <a:pt x="2152573" y="534974"/>
                  </a:lnTo>
                  <a:lnTo>
                    <a:pt x="2144052" y="531164"/>
                  </a:lnTo>
                  <a:lnTo>
                    <a:pt x="2143366" y="531164"/>
                  </a:lnTo>
                  <a:lnTo>
                    <a:pt x="2146490" y="529894"/>
                  </a:lnTo>
                  <a:lnTo>
                    <a:pt x="2140216" y="527481"/>
                  </a:lnTo>
                  <a:lnTo>
                    <a:pt x="2140216" y="546404"/>
                  </a:lnTo>
                  <a:lnTo>
                    <a:pt x="2134857" y="547674"/>
                  </a:lnTo>
                  <a:lnTo>
                    <a:pt x="2133917" y="545134"/>
                  </a:lnTo>
                  <a:lnTo>
                    <a:pt x="2136533" y="541324"/>
                  </a:lnTo>
                  <a:lnTo>
                    <a:pt x="2138743" y="543864"/>
                  </a:lnTo>
                  <a:lnTo>
                    <a:pt x="2140216" y="546404"/>
                  </a:lnTo>
                  <a:lnTo>
                    <a:pt x="2140216" y="527481"/>
                  </a:lnTo>
                  <a:lnTo>
                    <a:pt x="2139899" y="527354"/>
                  </a:lnTo>
                  <a:lnTo>
                    <a:pt x="2135619" y="525703"/>
                  </a:lnTo>
                  <a:lnTo>
                    <a:pt x="2146287" y="519734"/>
                  </a:lnTo>
                  <a:lnTo>
                    <a:pt x="2143950" y="528624"/>
                  </a:lnTo>
                  <a:lnTo>
                    <a:pt x="2150300" y="522274"/>
                  </a:lnTo>
                  <a:lnTo>
                    <a:pt x="2149360" y="527354"/>
                  </a:lnTo>
                  <a:lnTo>
                    <a:pt x="2148713" y="531164"/>
                  </a:lnTo>
                  <a:lnTo>
                    <a:pt x="2155063" y="527354"/>
                  </a:lnTo>
                  <a:lnTo>
                    <a:pt x="2158238" y="529894"/>
                  </a:lnTo>
                  <a:lnTo>
                    <a:pt x="2158581" y="527354"/>
                  </a:lnTo>
                  <a:lnTo>
                    <a:pt x="2159254" y="522274"/>
                  </a:lnTo>
                  <a:lnTo>
                    <a:pt x="2159597" y="519734"/>
                  </a:lnTo>
                  <a:lnTo>
                    <a:pt x="2163102" y="524814"/>
                  </a:lnTo>
                  <a:lnTo>
                    <a:pt x="2170226" y="522274"/>
                  </a:lnTo>
                  <a:lnTo>
                    <a:pt x="2170226" y="504558"/>
                  </a:lnTo>
                  <a:lnTo>
                    <a:pt x="2143379" y="512114"/>
                  </a:lnTo>
                  <a:lnTo>
                    <a:pt x="2152243" y="508304"/>
                  </a:lnTo>
                  <a:lnTo>
                    <a:pt x="2140547" y="508304"/>
                  </a:lnTo>
                  <a:lnTo>
                    <a:pt x="2138337" y="507415"/>
                  </a:lnTo>
                  <a:lnTo>
                    <a:pt x="2138337" y="518464"/>
                  </a:lnTo>
                  <a:lnTo>
                    <a:pt x="2135174" y="525538"/>
                  </a:lnTo>
                  <a:lnTo>
                    <a:pt x="2126729" y="522274"/>
                  </a:lnTo>
                  <a:lnTo>
                    <a:pt x="2124468" y="519734"/>
                  </a:lnTo>
                  <a:lnTo>
                    <a:pt x="2121027" y="515886"/>
                  </a:lnTo>
                  <a:lnTo>
                    <a:pt x="2121027" y="554024"/>
                  </a:lnTo>
                  <a:lnTo>
                    <a:pt x="2120582" y="554024"/>
                  </a:lnTo>
                  <a:lnTo>
                    <a:pt x="2120150" y="555294"/>
                  </a:lnTo>
                  <a:lnTo>
                    <a:pt x="2119706" y="557834"/>
                  </a:lnTo>
                  <a:lnTo>
                    <a:pt x="2119096" y="557834"/>
                  </a:lnTo>
                  <a:lnTo>
                    <a:pt x="2117267" y="554024"/>
                  </a:lnTo>
                  <a:lnTo>
                    <a:pt x="2117826" y="550214"/>
                  </a:lnTo>
                  <a:lnTo>
                    <a:pt x="2121027" y="554024"/>
                  </a:lnTo>
                  <a:lnTo>
                    <a:pt x="2121027" y="515886"/>
                  </a:lnTo>
                  <a:lnTo>
                    <a:pt x="2118804" y="513384"/>
                  </a:lnTo>
                  <a:lnTo>
                    <a:pt x="2117712" y="508304"/>
                  </a:lnTo>
                  <a:lnTo>
                    <a:pt x="2120379" y="508304"/>
                  </a:lnTo>
                  <a:lnTo>
                    <a:pt x="2128901" y="519734"/>
                  </a:lnTo>
                  <a:lnTo>
                    <a:pt x="2129231" y="517194"/>
                  </a:lnTo>
                  <a:lnTo>
                    <a:pt x="2128685" y="513384"/>
                  </a:lnTo>
                  <a:lnTo>
                    <a:pt x="2129942" y="512114"/>
                  </a:lnTo>
                  <a:lnTo>
                    <a:pt x="2131885" y="515924"/>
                  </a:lnTo>
                  <a:lnTo>
                    <a:pt x="2132342" y="515924"/>
                  </a:lnTo>
                  <a:lnTo>
                    <a:pt x="2136800" y="521004"/>
                  </a:lnTo>
                  <a:lnTo>
                    <a:pt x="2136622" y="517194"/>
                  </a:lnTo>
                  <a:lnTo>
                    <a:pt x="2138337" y="518464"/>
                  </a:lnTo>
                  <a:lnTo>
                    <a:pt x="2138337" y="507415"/>
                  </a:lnTo>
                  <a:lnTo>
                    <a:pt x="2134285" y="505764"/>
                  </a:lnTo>
                  <a:lnTo>
                    <a:pt x="2138324" y="504494"/>
                  </a:lnTo>
                  <a:lnTo>
                    <a:pt x="2124278" y="500684"/>
                  </a:lnTo>
                  <a:lnTo>
                    <a:pt x="2118334" y="495604"/>
                  </a:lnTo>
                  <a:lnTo>
                    <a:pt x="2118461" y="494334"/>
                  </a:lnTo>
                  <a:lnTo>
                    <a:pt x="2118601" y="493064"/>
                  </a:lnTo>
                  <a:lnTo>
                    <a:pt x="2125903" y="493064"/>
                  </a:lnTo>
                  <a:lnTo>
                    <a:pt x="2119960" y="487984"/>
                  </a:lnTo>
                  <a:lnTo>
                    <a:pt x="2115515" y="484174"/>
                  </a:lnTo>
                  <a:lnTo>
                    <a:pt x="2121446" y="484174"/>
                  </a:lnTo>
                  <a:lnTo>
                    <a:pt x="2129332" y="487984"/>
                  </a:lnTo>
                  <a:lnTo>
                    <a:pt x="2129358" y="484174"/>
                  </a:lnTo>
                  <a:lnTo>
                    <a:pt x="2129396" y="480364"/>
                  </a:lnTo>
                  <a:lnTo>
                    <a:pt x="2135555" y="476554"/>
                  </a:lnTo>
                  <a:lnTo>
                    <a:pt x="2119592" y="475284"/>
                  </a:lnTo>
                  <a:lnTo>
                    <a:pt x="2116048" y="474014"/>
                  </a:lnTo>
                  <a:lnTo>
                    <a:pt x="2112505" y="472744"/>
                  </a:lnTo>
                  <a:lnTo>
                    <a:pt x="2113165" y="470204"/>
                  </a:lnTo>
                  <a:lnTo>
                    <a:pt x="2123046" y="474014"/>
                  </a:lnTo>
                  <a:lnTo>
                    <a:pt x="2122386" y="470204"/>
                  </a:lnTo>
                  <a:lnTo>
                    <a:pt x="2122170" y="468934"/>
                  </a:lnTo>
                  <a:lnTo>
                    <a:pt x="2129853" y="470204"/>
                  </a:lnTo>
                  <a:lnTo>
                    <a:pt x="2128164" y="465124"/>
                  </a:lnTo>
                  <a:lnTo>
                    <a:pt x="2129879" y="462584"/>
                  </a:lnTo>
                  <a:lnTo>
                    <a:pt x="2133308" y="457504"/>
                  </a:lnTo>
                  <a:lnTo>
                    <a:pt x="2124087" y="461314"/>
                  </a:lnTo>
                  <a:lnTo>
                    <a:pt x="2117941" y="462584"/>
                  </a:lnTo>
                  <a:lnTo>
                    <a:pt x="2111641" y="461314"/>
                  </a:lnTo>
                  <a:lnTo>
                    <a:pt x="2113965" y="456234"/>
                  </a:lnTo>
                  <a:lnTo>
                    <a:pt x="2120366" y="454964"/>
                  </a:lnTo>
                  <a:lnTo>
                    <a:pt x="2118830" y="452424"/>
                  </a:lnTo>
                  <a:lnTo>
                    <a:pt x="2120608" y="449884"/>
                  </a:lnTo>
                  <a:lnTo>
                    <a:pt x="2123287" y="446074"/>
                  </a:lnTo>
                  <a:lnTo>
                    <a:pt x="2113534" y="449884"/>
                  </a:lnTo>
                  <a:lnTo>
                    <a:pt x="2111730" y="446074"/>
                  </a:lnTo>
                  <a:lnTo>
                    <a:pt x="2114143" y="442264"/>
                  </a:lnTo>
                  <a:lnTo>
                    <a:pt x="2114956" y="440994"/>
                  </a:lnTo>
                  <a:lnTo>
                    <a:pt x="2112657" y="442264"/>
                  </a:lnTo>
                  <a:lnTo>
                    <a:pt x="2109343" y="439724"/>
                  </a:lnTo>
                  <a:lnTo>
                    <a:pt x="2109571" y="423214"/>
                  </a:lnTo>
                  <a:lnTo>
                    <a:pt x="2107628" y="421944"/>
                  </a:lnTo>
                  <a:lnTo>
                    <a:pt x="2106460" y="425754"/>
                  </a:lnTo>
                  <a:lnTo>
                    <a:pt x="2106282" y="435914"/>
                  </a:lnTo>
                  <a:lnTo>
                    <a:pt x="2103107" y="439724"/>
                  </a:lnTo>
                  <a:lnTo>
                    <a:pt x="2098027" y="439724"/>
                  </a:lnTo>
                  <a:lnTo>
                    <a:pt x="2103005" y="444804"/>
                  </a:lnTo>
                  <a:lnTo>
                    <a:pt x="2104021" y="449884"/>
                  </a:lnTo>
                  <a:lnTo>
                    <a:pt x="2089899" y="446074"/>
                  </a:lnTo>
                  <a:lnTo>
                    <a:pt x="2095550" y="451154"/>
                  </a:lnTo>
                  <a:lnTo>
                    <a:pt x="2093988" y="457504"/>
                  </a:lnTo>
                  <a:lnTo>
                    <a:pt x="2099246" y="454964"/>
                  </a:lnTo>
                  <a:lnTo>
                    <a:pt x="2102980" y="456234"/>
                  </a:lnTo>
                  <a:lnTo>
                    <a:pt x="2102396" y="460044"/>
                  </a:lnTo>
                  <a:lnTo>
                    <a:pt x="2095919" y="460044"/>
                  </a:lnTo>
                  <a:lnTo>
                    <a:pt x="2097455" y="462584"/>
                  </a:lnTo>
                  <a:lnTo>
                    <a:pt x="2100618" y="465124"/>
                  </a:lnTo>
                  <a:lnTo>
                    <a:pt x="2096947" y="465124"/>
                  </a:lnTo>
                  <a:lnTo>
                    <a:pt x="2087791" y="462584"/>
                  </a:lnTo>
                  <a:lnTo>
                    <a:pt x="2079574" y="458774"/>
                  </a:lnTo>
                  <a:lnTo>
                    <a:pt x="2082787" y="467664"/>
                  </a:lnTo>
                  <a:lnTo>
                    <a:pt x="2079244" y="468934"/>
                  </a:lnTo>
                  <a:lnTo>
                    <a:pt x="2082774" y="468934"/>
                  </a:lnTo>
                  <a:lnTo>
                    <a:pt x="2080006" y="476554"/>
                  </a:lnTo>
                  <a:lnTo>
                    <a:pt x="2089873" y="470204"/>
                  </a:lnTo>
                  <a:lnTo>
                    <a:pt x="2089873" y="476554"/>
                  </a:lnTo>
                  <a:lnTo>
                    <a:pt x="2097227" y="474014"/>
                  </a:lnTo>
                  <a:lnTo>
                    <a:pt x="2098814" y="479094"/>
                  </a:lnTo>
                  <a:lnTo>
                    <a:pt x="2092680" y="481634"/>
                  </a:lnTo>
                  <a:lnTo>
                    <a:pt x="2079307" y="481634"/>
                  </a:lnTo>
                  <a:lnTo>
                    <a:pt x="2083650" y="485444"/>
                  </a:lnTo>
                  <a:lnTo>
                    <a:pt x="2082495" y="487984"/>
                  </a:lnTo>
                  <a:lnTo>
                    <a:pt x="2080729" y="490524"/>
                  </a:lnTo>
                  <a:lnTo>
                    <a:pt x="2090064" y="487984"/>
                  </a:lnTo>
                  <a:lnTo>
                    <a:pt x="2090140" y="491794"/>
                  </a:lnTo>
                  <a:lnTo>
                    <a:pt x="2084451" y="495604"/>
                  </a:lnTo>
                  <a:lnTo>
                    <a:pt x="2095030" y="494334"/>
                  </a:lnTo>
                  <a:lnTo>
                    <a:pt x="2097595" y="496874"/>
                  </a:lnTo>
                  <a:lnTo>
                    <a:pt x="2092502" y="503224"/>
                  </a:lnTo>
                  <a:lnTo>
                    <a:pt x="2075878" y="509574"/>
                  </a:lnTo>
                  <a:lnTo>
                    <a:pt x="2060384" y="510844"/>
                  </a:lnTo>
                  <a:lnTo>
                    <a:pt x="2065108" y="517194"/>
                  </a:lnTo>
                  <a:lnTo>
                    <a:pt x="2059114" y="524814"/>
                  </a:lnTo>
                  <a:lnTo>
                    <a:pt x="2071204" y="519734"/>
                  </a:lnTo>
                  <a:lnTo>
                    <a:pt x="2070785" y="523544"/>
                  </a:lnTo>
                  <a:lnTo>
                    <a:pt x="2064067" y="533704"/>
                  </a:lnTo>
                  <a:lnTo>
                    <a:pt x="2070150" y="528624"/>
                  </a:lnTo>
                  <a:lnTo>
                    <a:pt x="2072030" y="532434"/>
                  </a:lnTo>
                  <a:lnTo>
                    <a:pt x="2078431" y="528624"/>
                  </a:lnTo>
                  <a:lnTo>
                    <a:pt x="2080564" y="527354"/>
                  </a:lnTo>
                  <a:lnTo>
                    <a:pt x="2081593" y="531164"/>
                  </a:lnTo>
                  <a:lnTo>
                    <a:pt x="2085352" y="527354"/>
                  </a:lnTo>
                  <a:lnTo>
                    <a:pt x="2086610" y="526084"/>
                  </a:lnTo>
                  <a:lnTo>
                    <a:pt x="2087410" y="533704"/>
                  </a:lnTo>
                  <a:lnTo>
                    <a:pt x="2094738" y="527354"/>
                  </a:lnTo>
                  <a:lnTo>
                    <a:pt x="2093899" y="531164"/>
                  </a:lnTo>
                  <a:lnTo>
                    <a:pt x="2092210" y="534974"/>
                  </a:lnTo>
                  <a:lnTo>
                    <a:pt x="2091169" y="535597"/>
                  </a:lnTo>
                  <a:lnTo>
                    <a:pt x="2091169" y="548944"/>
                  </a:lnTo>
                  <a:lnTo>
                    <a:pt x="2085949" y="555294"/>
                  </a:lnTo>
                  <a:lnTo>
                    <a:pt x="2086660" y="556564"/>
                  </a:lnTo>
                  <a:lnTo>
                    <a:pt x="2088908" y="556564"/>
                  </a:lnTo>
                  <a:lnTo>
                    <a:pt x="2085467" y="560374"/>
                  </a:lnTo>
                  <a:lnTo>
                    <a:pt x="2082495" y="562914"/>
                  </a:lnTo>
                  <a:lnTo>
                    <a:pt x="2081364" y="560374"/>
                  </a:lnTo>
                  <a:lnTo>
                    <a:pt x="2080793" y="560374"/>
                  </a:lnTo>
                  <a:lnTo>
                    <a:pt x="2082825" y="557834"/>
                  </a:lnTo>
                  <a:lnTo>
                    <a:pt x="2086813" y="552754"/>
                  </a:lnTo>
                  <a:lnTo>
                    <a:pt x="2091169" y="548944"/>
                  </a:lnTo>
                  <a:lnTo>
                    <a:pt x="2091169" y="535597"/>
                  </a:lnTo>
                  <a:lnTo>
                    <a:pt x="2085771" y="538784"/>
                  </a:lnTo>
                  <a:lnTo>
                    <a:pt x="2078786" y="542823"/>
                  </a:lnTo>
                  <a:lnTo>
                    <a:pt x="2078786" y="557834"/>
                  </a:lnTo>
                  <a:lnTo>
                    <a:pt x="2077364" y="556564"/>
                  </a:lnTo>
                  <a:lnTo>
                    <a:pt x="2074545" y="559104"/>
                  </a:lnTo>
                  <a:lnTo>
                    <a:pt x="2074722" y="556564"/>
                  </a:lnTo>
                  <a:lnTo>
                    <a:pt x="2075065" y="555294"/>
                  </a:lnTo>
                  <a:lnTo>
                    <a:pt x="2075764" y="552754"/>
                  </a:lnTo>
                  <a:lnTo>
                    <a:pt x="2078621" y="556564"/>
                  </a:lnTo>
                  <a:lnTo>
                    <a:pt x="2078786" y="557834"/>
                  </a:lnTo>
                  <a:lnTo>
                    <a:pt x="2078786" y="542823"/>
                  </a:lnTo>
                  <a:lnTo>
                    <a:pt x="2076958" y="543864"/>
                  </a:lnTo>
                  <a:lnTo>
                    <a:pt x="2071446" y="545388"/>
                  </a:lnTo>
                  <a:lnTo>
                    <a:pt x="2071446" y="562914"/>
                  </a:lnTo>
                  <a:lnTo>
                    <a:pt x="2070506" y="564184"/>
                  </a:lnTo>
                  <a:lnTo>
                    <a:pt x="2069985" y="565607"/>
                  </a:lnTo>
                  <a:lnTo>
                    <a:pt x="2066848" y="575614"/>
                  </a:lnTo>
                  <a:lnTo>
                    <a:pt x="2066442" y="574344"/>
                  </a:lnTo>
                  <a:lnTo>
                    <a:pt x="2064016" y="566724"/>
                  </a:lnTo>
                  <a:lnTo>
                    <a:pt x="2063610" y="565454"/>
                  </a:lnTo>
                  <a:lnTo>
                    <a:pt x="2060384" y="564184"/>
                  </a:lnTo>
                  <a:lnTo>
                    <a:pt x="2070696" y="559104"/>
                  </a:lnTo>
                  <a:lnTo>
                    <a:pt x="2071446" y="562914"/>
                  </a:lnTo>
                  <a:lnTo>
                    <a:pt x="2071446" y="545388"/>
                  </a:lnTo>
                  <a:lnTo>
                    <a:pt x="2067750" y="546404"/>
                  </a:lnTo>
                  <a:lnTo>
                    <a:pt x="2064943" y="546963"/>
                  </a:lnTo>
                  <a:lnTo>
                    <a:pt x="2064943" y="556564"/>
                  </a:lnTo>
                  <a:lnTo>
                    <a:pt x="2060905" y="560374"/>
                  </a:lnTo>
                  <a:lnTo>
                    <a:pt x="2058898" y="562914"/>
                  </a:lnTo>
                  <a:lnTo>
                    <a:pt x="2056472" y="565200"/>
                  </a:lnTo>
                  <a:lnTo>
                    <a:pt x="2056472" y="565607"/>
                  </a:lnTo>
                  <a:lnTo>
                    <a:pt x="2056295" y="566724"/>
                  </a:lnTo>
                  <a:lnTo>
                    <a:pt x="2056091" y="566724"/>
                  </a:lnTo>
                  <a:lnTo>
                    <a:pt x="2055291" y="566432"/>
                  </a:lnTo>
                  <a:lnTo>
                    <a:pt x="2056472" y="565607"/>
                  </a:lnTo>
                  <a:lnTo>
                    <a:pt x="2056472" y="565200"/>
                  </a:lnTo>
                  <a:lnTo>
                    <a:pt x="2038477" y="554024"/>
                  </a:lnTo>
                  <a:lnTo>
                    <a:pt x="2051215" y="561644"/>
                  </a:lnTo>
                  <a:lnTo>
                    <a:pt x="2050465" y="557834"/>
                  </a:lnTo>
                  <a:lnTo>
                    <a:pt x="2056485" y="556564"/>
                  </a:lnTo>
                  <a:lnTo>
                    <a:pt x="2056231" y="560374"/>
                  </a:lnTo>
                  <a:lnTo>
                    <a:pt x="2064943" y="556564"/>
                  </a:lnTo>
                  <a:lnTo>
                    <a:pt x="2064943" y="546963"/>
                  </a:lnTo>
                  <a:lnTo>
                    <a:pt x="2061298" y="547674"/>
                  </a:lnTo>
                  <a:lnTo>
                    <a:pt x="2060714" y="546963"/>
                  </a:lnTo>
                  <a:lnTo>
                    <a:pt x="2060714" y="547674"/>
                  </a:lnTo>
                  <a:lnTo>
                    <a:pt x="2054669" y="550214"/>
                  </a:lnTo>
                  <a:lnTo>
                    <a:pt x="2051659" y="551484"/>
                  </a:lnTo>
                  <a:lnTo>
                    <a:pt x="2056790" y="552754"/>
                  </a:lnTo>
                  <a:lnTo>
                    <a:pt x="2056612" y="555294"/>
                  </a:lnTo>
                  <a:lnTo>
                    <a:pt x="2054809" y="554024"/>
                  </a:lnTo>
                  <a:lnTo>
                    <a:pt x="2049399" y="550214"/>
                  </a:lnTo>
                  <a:lnTo>
                    <a:pt x="2051354" y="548944"/>
                  </a:lnTo>
                  <a:lnTo>
                    <a:pt x="2048141" y="545134"/>
                  </a:lnTo>
                  <a:lnTo>
                    <a:pt x="2047074" y="543864"/>
                  </a:lnTo>
                  <a:lnTo>
                    <a:pt x="2051786" y="545134"/>
                  </a:lnTo>
                  <a:lnTo>
                    <a:pt x="2054669" y="550214"/>
                  </a:lnTo>
                  <a:lnTo>
                    <a:pt x="2055329" y="545134"/>
                  </a:lnTo>
                  <a:lnTo>
                    <a:pt x="2060714" y="547674"/>
                  </a:lnTo>
                  <a:lnTo>
                    <a:pt x="2060714" y="546963"/>
                  </a:lnTo>
                  <a:lnTo>
                    <a:pt x="2059228" y="545134"/>
                  </a:lnTo>
                  <a:lnTo>
                    <a:pt x="2058200" y="543864"/>
                  </a:lnTo>
                  <a:lnTo>
                    <a:pt x="2057171" y="542594"/>
                  </a:lnTo>
                  <a:lnTo>
                    <a:pt x="2060321" y="543864"/>
                  </a:lnTo>
                  <a:lnTo>
                    <a:pt x="2060270" y="542594"/>
                  </a:lnTo>
                  <a:lnTo>
                    <a:pt x="2060181" y="540054"/>
                  </a:lnTo>
                  <a:lnTo>
                    <a:pt x="2063318" y="538784"/>
                  </a:lnTo>
                  <a:lnTo>
                    <a:pt x="2068029" y="534974"/>
                  </a:lnTo>
                  <a:lnTo>
                    <a:pt x="2042274" y="531164"/>
                  </a:lnTo>
                  <a:lnTo>
                    <a:pt x="2039239" y="528624"/>
                  </a:lnTo>
                  <a:lnTo>
                    <a:pt x="2041982" y="528624"/>
                  </a:lnTo>
                  <a:lnTo>
                    <a:pt x="2040788" y="527354"/>
                  </a:lnTo>
                  <a:lnTo>
                    <a:pt x="2040204" y="526084"/>
                  </a:lnTo>
                  <a:lnTo>
                    <a:pt x="2039010" y="524814"/>
                  </a:lnTo>
                  <a:lnTo>
                    <a:pt x="2044636" y="526084"/>
                  </a:lnTo>
                  <a:lnTo>
                    <a:pt x="2047443" y="527354"/>
                  </a:lnTo>
                  <a:lnTo>
                    <a:pt x="2053069" y="528624"/>
                  </a:lnTo>
                  <a:lnTo>
                    <a:pt x="2051253" y="524814"/>
                  </a:lnTo>
                  <a:lnTo>
                    <a:pt x="2054872" y="521004"/>
                  </a:lnTo>
                  <a:lnTo>
                    <a:pt x="2032901" y="515924"/>
                  </a:lnTo>
                  <a:lnTo>
                    <a:pt x="2040915" y="514654"/>
                  </a:lnTo>
                  <a:lnTo>
                    <a:pt x="2040839" y="512114"/>
                  </a:lnTo>
                  <a:lnTo>
                    <a:pt x="2048243" y="517194"/>
                  </a:lnTo>
                  <a:lnTo>
                    <a:pt x="2047862" y="512114"/>
                  </a:lnTo>
                  <a:lnTo>
                    <a:pt x="2051240" y="508304"/>
                  </a:lnTo>
                  <a:lnTo>
                    <a:pt x="2053513" y="507034"/>
                  </a:lnTo>
                  <a:lnTo>
                    <a:pt x="2045436" y="505764"/>
                  </a:lnTo>
                  <a:lnTo>
                    <a:pt x="2046935" y="503224"/>
                  </a:lnTo>
                  <a:lnTo>
                    <a:pt x="2051354" y="499414"/>
                  </a:lnTo>
                  <a:lnTo>
                    <a:pt x="2045792" y="499414"/>
                  </a:lnTo>
                  <a:lnTo>
                    <a:pt x="2049932" y="494334"/>
                  </a:lnTo>
                  <a:lnTo>
                    <a:pt x="2031352" y="500684"/>
                  </a:lnTo>
                  <a:lnTo>
                    <a:pt x="2028418" y="495604"/>
                  </a:lnTo>
                  <a:lnTo>
                    <a:pt x="2026945" y="493064"/>
                  </a:lnTo>
                  <a:lnTo>
                    <a:pt x="2034311" y="498144"/>
                  </a:lnTo>
                  <a:lnTo>
                    <a:pt x="2034324" y="494334"/>
                  </a:lnTo>
                  <a:lnTo>
                    <a:pt x="2041398" y="494334"/>
                  </a:lnTo>
                  <a:lnTo>
                    <a:pt x="2040153" y="493064"/>
                  </a:lnTo>
                  <a:lnTo>
                    <a:pt x="2038908" y="491794"/>
                  </a:lnTo>
                  <a:lnTo>
                    <a:pt x="2045246" y="489254"/>
                  </a:lnTo>
                  <a:lnTo>
                    <a:pt x="2040826" y="487984"/>
                  </a:lnTo>
                  <a:lnTo>
                    <a:pt x="2033638" y="485444"/>
                  </a:lnTo>
                  <a:lnTo>
                    <a:pt x="2041499" y="484174"/>
                  </a:lnTo>
                  <a:lnTo>
                    <a:pt x="2036241" y="480364"/>
                  </a:lnTo>
                  <a:lnTo>
                    <a:pt x="2039137" y="476554"/>
                  </a:lnTo>
                  <a:lnTo>
                    <a:pt x="2041067" y="474014"/>
                  </a:lnTo>
                  <a:lnTo>
                    <a:pt x="2035416" y="476554"/>
                  </a:lnTo>
                  <a:lnTo>
                    <a:pt x="2031987" y="475284"/>
                  </a:lnTo>
                  <a:lnTo>
                    <a:pt x="2033638" y="472744"/>
                  </a:lnTo>
                  <a:lnTo>
                    <a:pt x="2035302" y="470204"/>
                  </a:lnTo>
                  <a:lnTo>
                    <a:pt x="2025929" y="472744"/>
                  </a:lnTo>
                  <a:lnTo>
                    <a:pt x="2032050" y="466394"/>
                  </a:lnTo>
                  <a:lnTo>
                    <a:pt x="2026094" y="463854"/>
                  </a:lnTo>
                  <a:lnTo>
                    <a:pt x="2024837" y="448614"/>
                  </a:lnTo>
                  <a:lnTo>
                    <a:pt x="2023681" y="443534"/>
                  </a:lnTo>
                  <a:lnTo>
                    <a:pt x="2022094" y="446074"/>
                  </a:lnTo>
                  <a:lnTo>
                    <a:pt x="2021776" y="457504"/>
                  </a:lnTo>
                  <a:lnTo>
                    <a:pt x="2019642" y="462584"/>
                  </a:lnTo>
                  <a:lnTo>
                    <a:pt x="2015299" y="466394"/>
                  </a:lnTo>
                  <a:lnTo>
                    <a:pt x="2019185" y="468934"/>
                  </a:lnTo>
                  <a:lnTo>
                    <a:pt x="2008746" y="472744"/>
                  </a:lnTo>
                  <a:lnTo>
                    <a:pt x="2012657" y="475284"/>
                  </a:lnTo>
                  <a:lnTo>
                    <a:pt x="2010930" y="477824"/>
                  </a:lnTo>
                  <a:lnTo>
                    <a:pt x="2009762" y="477824"/>
                  </a:lnTo>
                  <a:lnTo>
                    <a:pt x="2015070" y="480364"/>
                  </a:lnTo>
                  <a:lnTo>
                    <a:pt x="2018614" y="480364"/>
                  </a:lnTo>
                  <a:lnTo>
                    <a:pt x="2011070" y="485444"/>
                  </a:lnTo>
                  <a:lnTo>
                    <a:pt x="2003666" y="485444"/>
                  </a:lnTo>
                  <a:lnTo>
                    <a:pt x="2010778" y="489254"/>
                  </a:lnTo>
                  <a:lnTo>
                    <a:pt x="2009622" y="494334"/>
                  </a:lnTo>
                  <a:lnTo>
                    <a:pt x="2014296" y="491794"/>
                  </a:lnTo>
                  <a:lnTo>
                    <a:pt x="2014181" y="496874"/>
                  </a:lnTo>
                  <a:lnTo>
                    <a:pt x="2018436" y="495604"/>
                  </a:lnTo>
                  <a:lnTo>
                    <a:pt x="2011883" y="500684"/>
                  </a:lnTo>
                  <a:lnTo>
                    <a:pt x="1991080" y="494334"/>
                  </a:lnTo>
                  <a:lnTo>
                    <a:pt x="1993988" y="498144"/>
                  </a:lnTo>
                  <a:lnTo>
                    <a:pt x="1989886" y="501954"/>
                  </a:lnTo>
                  <a:lnTo>
                    <a:pt x="1998230" y="500684"/>
                  </a:lnTo>
                  <a:lnTo>
                    <a:pt x="1991499" y="505764"/>
                  </a:lnTo>
                  <a:lnTo>
                    <a:pt x="1997849" y="507034"/>
                  </a:lnTo>
                  <a:lnTo>
                    <a:pt x="1989683" y="515924"/>
                  </a:lnTo>
                  <a:lnTo>
                    <a:pt x="1995970" y="513384"/>
                  </a:lnTo>
                  <a:lnTo>
                    <a:pt x="1998929" y="518464"/>
                  </a:lnTo>
                  <a:lnTo>
                    <a:pt x="2003767" y="513384"/>
                  </a:lnTo>
                  <a:lnTo>
                    <a:pt x="2004974" y="512114"/>
                  </a:lnTo>
                  <a:lnTo>
                    <a:pt x="1999322" y="523544"/>
                  </a:lnTo>
                  <a:lnTo>
                    <a:pt x="2004656" y="519734"/>
                  </a:lnTo>
                  <a:lnTo>
                    <a:pt x="2006434" y="521004"/>
                  </a:lnTo>
                  <a:lnTo>
                    <a:pt x="2007349" y="522274"/>
                  </a:lnTo>
                  <a:lnTo>
                    <a:pt x="2009127" y="523544"/>
                  </a:lnTo>
                  <a:lnTo>
                    <a:pt x="2011095" y="519734"/>
                  </a:lnTo>
                  <a:lnTo>
                    <a:pt x="2013737" y="514654"/>
                  </a:lnTo>
                  <a:lnTo>
                    <a:pt x="2015210" y="521004"/>
                  </a:lnTo>
                  <a:lnTo>
                    <a:pt x="2004504" y="527354"/>
                  </a:lnTo>
                  <a:lnTo>
                    <a:pt x="1985924" y="531164"/>
                  </a:lnTo>
                  <a:lnTo>
                    <a:pt x="1987397" y="533704"/>
                  </a:lnTo>
                  <a:lnTo>
                    <a:pt x="1978583" y="533704"/>
                  </a:lnTo>
                  <a:lnTo>
                    <a:pt x="1987715" y="540054"/>
                  </a:lnTo>
                  <a:lnTo>
                    <a:pt x="1983968" y="543864"/>
                  </a:lnTo>
                  <a:lnTo>
                    <a:pt x="1998637" y="540054"/>
                  </a:lnTo>
                  <a:lnTo>
                    <a:pt x="1996998" y="543864"/>
                  </a:lnTo>
                  <a:lnTo>
                    <a:pt x="1988096" y="551484"/>
                  </a:lnTo>
                  <a:lnTo>
                    <a:pt x="1995081" y="550214"/>
                  </a:lnTo>
                  <a:lnTo>
                    <a:pt x="1995716" y="555294"/>
                  </a:lnTo>
                  <a:lnTo>
                    <a:pt x="1999107" y="550214"/>
                  </a:lnTo>
                  <a:lnTo>
                    <a:pt x="2000808" y="547674"/>
                  </a:lnTo>
                  <a:lnTo>
                    <a:pt x="2003971" y="552754"/>
                  </a:lnTo>
                  <a:lnTo>
                    <a:pt x="2004783" y="547674"/>
                  </a:lnTo>
                  <a:lnTo>
                    <a:pt x="2005190" y="545134"/>
                  </a:lnTo>
                  <a:lnTo>
                    <a:pt x="2008174" y="545134"/>
                  </a:lnTo>
                  <a:lnTo>
                    <a:pt x="2010143" y="550214"/>
                  </a:lnTo>
                  <a:lnTo>
                    <a:pt x="2004974" y="554024"/>
                  </a:lnTo>
                  <a:lnTo>
                    <a:pt x="2001520" y="557834"/>
                  </a:lnTo>
                  <a:lnTo>
                    <a:pt x="2008416" y="560374"/>
                  </a:lnTo>
                  <a:lnTo>
                    <a:pt x="2006041" y="564184"/>
                  </a:lnTo>
                  <a:lnTo>
                    <a:pt x="1985924" y="569442"/>
                  </a:lnTo>
                  <a:lnTo>
                    <a:pt x="1985924" y="580694"/>
                  </a:lnTo>
                  <a:lnTo>
                    <a:pt x="1984324" y="589584"/>
                  </a:lnTo>
                  <a:lnTo>
                    <a:pt x="1985683" y="589584"/>
                  </a:lnTo>
                  <a:lnTo>
                    <a:pt x="1984222" y="595934"/>
                  </a:lnTo>
                  <a:lnTo>
                    <a:pt x="1983854" y="594664"/>
                  </a:lnTo>
                  <a:lnTo>
                    <a:pt x="1982762" y="590854"/>
                  </a:lnTo>
                  <a:lnTo>
                    <a:pt x="1981301" y="587044"/>
                  </a:lnTo>
                  <a:lnTo>
                    <a:pt x="1982317" y="588314"/>
                  </a:lnTo>
                  <a:lnTo>
                    <a:pt x="1981466" y="585774"/>
                  </a:lnTo>
                  <a:lnTo>
                    <a:pt x="1985924" y="580694"/>
                  </a:lnTo>
                  <a:lnTo>
                    <a:pt x="1985924" y="569442"/>
                  </a:lnTo>
                  <a:lnTo>
                    <a:pt x="1979625" y="571080"/>
                  </a:lnTo>
                  <a:lnTo>
                    <a:pt x="1979625" y="587044"/>
                  </a:lnTo>
                  <a:lnTo>
                    <a:pt x="1977517" y="594664"/>
                  </a:lnTo>
                  <a:lnTo>
                    <a:pt x="1975408" y="592124"/>
                  </a:lnTo>
                  <a:lnTo>
                    <a:pt x="1974342" y="589584"/>
                  </a:lnTo>
                  <a:lnTo>
                    <a:pt x="1973287" y="587044"/>
                  </a:lnTo>
                  <a:lnTo>
                    <a:pt x="1973097" y="588314"/>
                  </a:lnTo>
                  <a:lnTo>
                    <a:pt x="1972716" y="589584"/>
                  </a:lnTo>
                  <a:lnTo>
                    <a:pt x="1969173" y="587044"/>
                  </a:lnTo>
                  <a:lnTo>
                    <a:pt x="1968411" y="583234"/>
                  </a:lnTo>
                  <a:lnTo>
                    <a:pt x="1970697" y="584504"/>
                  </a:lnTo>
                  <a:lnTo>
                    <a:pt x="1970951" y="584504"/>
                  </a:lnTo>
                  <a:lnTo>
                    <a:pt x="1976259" y="587044"/>
                  </a:lnTo>
                  <a:lnTo>
                    <a:pt x="1979625" y="587044"/>
                  </a:lnTo>
                  <a:lnTo>
                    <a:pt x="1979625" y="571080"/>
                  </a:lnTo>
                  <a:lnTo>
                    <a:pt x="1967115" y="574344"/>
                  </a:lnTo>
                  <a:lnTo>
                    <a:pt x="1963420" y="574344"/>
                  </a:lnTo>
                  <a:lnTo>
                    <a:pt x="1952599" y="569264"/>
                  </a:lnTo>
                  <a:lnTo>
                    <a:pt x="1944763" y="561644"/>
                  </a:lnTo>
                  <a:lnTo>
                    <a:pt x="1943366" y="557834"/>
                  </a:lnTo>
                  <a:lnTo>
                    <a:pt x="1942426" y="555294"/>
                  </a:lnTo>
                  <a:lnTo>
                    <a:pt x="1942985" y="551484"/>
                  </a:lnTo>
                  <a:lnTo>
                    <a:pt x="1951469" y="561644"/>
                  </a:lnTo>
                  <a:lnTo>
                    <a:pt x="1950745" y="556564"/>
                  </a:lnTo>
                  <a:lnTo>
                    <a:pt x="1949602" y="551484"/>
                  </a:lnTo>
                  <a:lnTo>
                    <a:pt x="1949323" y="550214"/>
                  </a:lnTo>
                  <a:lnTo>
                    <a:pt x="1948751" y="547674"/>
                  </a:lnTo>
                  <a:lnTo>
                    <a:pt x="1958517" y="564184"/>
                  </a:lnTo>
                  <a:lnTo>
                    <a:pt x="1960359" y="559104"/>
                  </a:lnTo>
                  <a:lnTo>
                    <a:pt x="1967077" y="569264"/>
                  </a:lnTo>
                  <a:lnTo>
                    <a:pt x="1966493" y="564184"/>
                  </a:lnTo>
                  <a:lnTo>
                    <a:pt x="1967877" y="562914"/>
                  </a:lnTo>
                  <a:lnTo>
                    <a:pt x="1972691" y="564184"/>
                  </a:lnTo>
                  <a:lnTo>
                    <a:pt x="1974735" y="562914"/>
                  </a:lnTo>
                  <a:lnTo>
                    <a:pt x="1976793" y="561644"/>
                  </a:lnTo>
                  <a:lnTo>
                    <a:pt x="1973275" y="560374"/>
                  </a:lnTo>
                  <a:lnTo>
                    <a:pt x="1970620" y="559104"/>
                  </a:lnTo>
                  <a:lnTo>
                    <a:pt x="1967979" y="557834"/>
                  </a:lnTo>
                  <a:lnTo>
                    <a:pt x="1960803" y="550214"/>
                  </a:lnTo>
                  <a:lnTo>
                    <a:pt x="1959076" y="547674"/>
                  </a:lnTo>
                  <a:lnTo>
                    <a:pt x="1961692" y="542594"/>
                  </a:lnTo>
                  <a:lnTo>
                    <a:pt x="1963902" y="546404"/>
                  </a:lnTo>
                  <a:lnTo>
                    <a:pt x="1969935" y="552754"/>
                  </a:lnTo>
                  <a:lnTo>
                    <a:pt x="1968779" y="542594"/>
                  </a:lnTo>
                  <a:lnTo>
                    <a:pt x="1968639" y="541324"/>
                  </a:lnTo>
                  <a:lnTo>
                    <a:pt x="1976056" y="547674"/>
                  </a:lnTo>
                  <a:lnTo>
                    <a:pt x="1974735" y="541324"/>
                  </a:lnTo>
                  <a:lnTo>
                    <a:pt x="1974202" y="538784"/>
                  </a:lnTo>
                  <a:lnTo>
                    <a:pt x="1985086" y="538784"/>
                  </a:lnTo>
                  <a:lnTo>
                    <a:pt x="1969211" y="532434"/>
                  </a:lnTo>
                  <a:lnTo>
                    <a:pt x="1968538" y="532434"/>
                  </a:lnTo>
                  <a:lnTo>
                    <a:pt x="1971649" y="531164"/>
                  </a:lnTo>
                  <a:lnTo>
                    <a:pt x="1965058" y="528624"/>
                  </a:lnTo>
                  <a:lnTo>
                    <a:pt x="1961756" y="527354"/>
                  </a:lnTo>
                  <a:lnTo>
                    <a:pt x="1951875" y="523544"/>
                  </a:lnTo>
                  <a:lnTo>
                    <a:pt x="1949615" y="521004"/>
                  </a:lnTo>
                  <a:lnTo>
                    <a:pt x="1943963" y="514654"/>
                  </a:lnTo>
                  <a:lnTo>
                    <a:pt x="1942884" y="509574"/>
                  </a:lnTo>
                  <a:lnTo>
                    <a:pt x="1945525" y="509574"/>
                  </a:lnTo>
                  <a:lnTo>
                    <a:pt x="1954047" y="521004"/>
                  </a:lnTo>
                  <a:lnTo>
                    <a:pt x="1954377" y="518464"/>
                  </a:lnTo>
                  <a:lnTo>
                    <a:pt x="1953831" y="514654"/>
                  </a:lnTo>
                  <a:lnTo>
                    <a:pt x="1955088" y="513384"/>
                  </a:lnTo>
                  <a:lnTo>
                    <a:pt x="1957197" y="517194"/>
                  </a:lnTo>
                  <a:lnTo>
                    <a:pt x="1961972" y="522274"/>
                  </a:lnTo>
                  <a:lnTo>
                    <a:pt x="1961591" y="515924"/>
                  </a:lnTo>
                  <a:lnTo>
                    <a:pt x="1963966" y="515924"/>
                  </a:lnTo>
                  <a:lnTo>
                    <a:pt x="1970836" y="519734"/>
                  </a:lnTo>
                  <a:lnTo>
                    <a:pt x="1969439" y="515924"/>
                  </a:lnTo>
                  <a:lnTo>
                    <a:pt x="1968512" y="513384"/>
                  </a:lnTo>
                  <a:lnTo>
                    <a:pt x="1977402" y="509574"/>
                  </a:lnTo>
                  <a:lnTo>
                    <a:pt x="1965693" y="509574"/>
                  </a:lnTo>
                  <a:lnTo>
                    <a:pt x="1959457" y="508304"/>
                  </a:lnTo>
                  <a:lnTo>
                    <a:pt x="1963483" y="505764"/>
                  </a:lnTo>
                  <a:lnTo>
                    <a:pt x="1949424" y="501954"/>
                  </a:lnTo>
                  <a:lnTo>
                    <a:pt x="1943493" y="496874"/>
                  </a:lnTo>
                  <a:lnTo>
                    <a:pt x="1943760" y="494334"/>
                  </a:lnTo>
                  <a:lnTo>
                    <a:pt x="1951062" y="494334"/>
                  </a:lnTo>
                  <a:lnTo>
                    <a:pt x="1946897" y="490524"/>
                  </a:lnTo>
                  <a:lnTo>
                    <a:pt x="1944827" y="489254"/>
                  </a:lnTo>
                  <a:lnTo>
                    <a:pt x="1940661" y="485444"/>
                  </a:lnTo>
                  <a:lnTo>
                    <a:pt x="1946605" y="485444"/>
                  </a:lnTo>
                  <a:lnTo>
                    <a:pt x="1954491" y="489254"/>
                  </a:lnTo>
                  <a:lnTo>
                    <a:pt x="1954517" y="485444"/>
                  </a:lnTo>
                  <a:lnTo>
                    <a:pt x="1954542" y="481634"/>
                  </a:lnTo>
                  <a:lnTo>
                    <a:pt x="1960714" y="477824"/>
                  </a:lnTo>
                  <a:lnTo>
                    <a:pt x="1944738" y="477824"/>
                  </a:lnTo>
                  <a:lnTo>
                    <a:pt x="1940026" y="475284"/>
                  </a:lnTo>
                  <a:lnTo>
                    <a:pt x="1937664" y="474014"/>
                  </a:lnTo>
                  <a:lnTo>
                    <a:pt x="1938324" y="471474"/>
                  </a:lnTo>
                  <a:lnTo>
                    <a:pt x="1948205" y="475284"/>
                  </a:lnTo>
                  <a:lnTo>
                    <a:pt x="1947532" y="471474"/>
                  </a:lnTo>
                  <a:lnTo>
                    <a:pt x="1947316" y="470204"/>
                  </a:lnTo>
                  <a:lnTo>
                    <a:pt x="1954999" y="471474"/>
                  </a:lnTo>
                  <a:lnTo>
                    <a:pt x="1954580" y="470204"/>
                  </a:lnTo>
                  <a:lnTo>
                    <a:pt x="1953323" y="466394"/>
                  </a:lnTo>
                  <a:lnTo>
                    <a:pt x="1954174" y="465124"/>
                  </a:lnTo>
                  <a:lnTo>
                    <a:pt x="1958467" y="458774"/>
                  </a:lnTo>
                  <a:lnTo>
                    <a:pt x="1943100" y="465124"/>
                  </a:lnTo>
                  <a:lnTo>
                    <a:pt x="1936788" y="462584"/>
                  </a:lnTo>
                  <a:lnTo>
                    <a:pt x="1938197" y="458774"/>
                  </a:lnTo>
                  <a:lnTo>
                    <a:pt x="1939112" y="457504"/>
                  </a:lnTo>
                  <a:lnTo>
                    <a:pt x="1945525" y="456234"/>
                  </a:lnTo>
                  <a:lnTo>
                    <a:pt x="1943976" y="454964"/>
                  </a:lnTo>
                  <a:lnTo>
                    <a:pt x="1946198" y="451154"/>
                  </a:lnTo>
                  <a:lnTo>
                    <a:pt x="1948434" y="447344"/>
                  </a:lnTo>
                  <a:lnTo>
                    <a:pt x="1938693" y="451154"/>
                  </a:lnTo>
                  <a:lnTo>
                    <a:pt x="1936889" y="447344"/>
                  </a:lnTo>
                  <a:lnTo>
                    <a:pt x="1939302" y="443534"/>
                  </a:lnTo>
                  <a:lnTo>
                    <a:pt x="1940102" y="442264"/>
                  </a:lnTo>
                  <a:lnTo>
                    <a:pt x="1937804" y="443534"/>
                  </a:lnTo>
                  <a:lnTo>
                    <a:pt x="1936153" y="442264"/>
                  </a:lnTo>
                  <a:lnTo>
                    <a:pt x="1934502" y="440994"/>
                  </a:lnTo>
                  <a:lnTo>
                    <a:pt x="1934718" y="424484"/>
                  </a:lnTo>
                  <a:lnTo>
                    <a:pt x="1932774" y="423214"/>
                  </a:lnTo>
                  <a:lnTo>
                    <a:pt x="1931631" y="427024"/>
                  </a:lnTo>
                  <a:lnTo>
                    <a:pt x="1931441" y="437184"/>
                  </a:lnTo>
                  <a:lnTo>
                    <a:pt x="1928253" y="442264"/>
                  </a:lnTo>
                  <a:lnTo>
                    <a:pt x="1923173" y="440994"/>
                  </a:lnTo>
                  <a:lnTo>
                    <a:pt x="1928164" y="446074"/>
                  </a:lnTo>
                  <a:lnTo>
                    <a:pt x="1929168" y="451154"/>
                  </a:lnTo>
                  <a:lnTo>
                    <a:pt x="1915058" y="447344"/>
                  </a:lnTo>
                  <a:lnTo>
                    <a:pt x="1920709" y="452424"/>
                  </a:lnTo>
                  <a:lnTo>
                    <a:pt x="1919147" y="458774"/>
                  </a:lnTo>
                  <a:lnTo>
                    <a:pt x="1924405" y="457504"/>
                  </a:lnTo>
                  <a:lnTo>
                    <a:pt x="1928139" y="457504"/>
                  </a:lnTo>
                  <a:lnTo>
                    <a:pt x="1927542" y="461314"/>
                  </a:lnTo>
                  <a:lnTo>
                    <a:pt x="1921065" y="461314"/>
                  </a:lnTo>
                  <a:lnTo>
                    <a:pt x="1922602" y="465124"/>
                  </a:lnTo>
                  <a:lnTo>
                    <a:pt x="1925789" y="466394"/>
                  </a:lnTo>
                  <a:lnTo>
                    <a:pt x="1922094" y="466394"/>
                  </a:lnTo>
                  <a:lnTo>
                    <a:pt x="1912950" y="463854"/>
                  </a:lnTo>
                  <a:lnTo>
                    <a:pt x="1904720" y="460044"/>
                  </a:lnTo>
                  <a:lnTo>
                    <a:pt x="1907946" y="468934"/>
                  </a:lnTo>
                  <a:lnTo>
                    <a:pt x="1904390" y="470204"/>
                  </a:lnTo>
                  <a:lnTo>
                    <a:pt x="1907933" y="471474"/>
                  </a:lnTo>
                  <a:lnTo>
                    <a:pt x="1905165" y="477824"/>
                  </a:lnTo>
                  <a:lnTo>
                    <a:pt x="1915045" y="471474"/>
                  </a:lnTo>
                  <a:lnTo>
                    <a:pt x="1915033" y="477824"/>
                  </a:lnTo>
                  <a:lnTo>
                    <a:pt x="1922386" y="475284"/>
                  </a:lnTo>
                  <a:lnTo>
                    <a:pt x="1923973" y="480364"/>
                  </a:lnTo>
                  <a:lnTo>
                    <a:pt x="1917839" y="482904"/>
                  </a:lnTo>
                  <a:lnTo>
                    <a:pt x="1904479" y="482904"/>
                  </a:lnTo>
                  <a:lnTo>
                    <a:pt x="1907070" y="485444"/>
                  </a:lnTo>
                  <a:lnTo>
                    <a:pt x="1908822" y="486714"/>
                  </a:lnTo>
                  <a:lnTo>
                    <a:pt x="1905889" y="493064"/>
                  </a:lnTo>
                  <a:lnTo>
                    <a:pt x="1915223" y="489254"/>
                  </a:lnTo>
                  <a:lnTo>
                    <a:pt x="1915287" y="493064"/>
                  </a:lnTo>
                  <a:lnTo>
                    <a:pt x="1909610" y="496874"/>
                  </a:lnTo>
                  <a:lnTo>
                    <a:pt x="1919922" y="496874"/>
                  </a:lnTo>
                  <a:lnTo>
                    <a:pt x="1922754" y="498144"/>
                  </a:lnTo>
                  <a:lnTo>
                    <a:pt x="1917661" y="504494"/>
                  </a:lnTo>
                  <a:lnTo>
                    <a:pt x="1901037" y="512114"/>
                  </a:lnTo>
                  <a:lnTo>
                    <a:pt x="1885530" y="512114"/>
                  </a:lnTo>
                  <a:lnTo>
                    <a:pt x="1890268" y="518464"/>
                  </a:lnTo>
                  <a:lnTo>
                    <a:pt x="1884260" y="526084"/>
                  </a:lnTo>
                  <a:lnTo>
                    <a:pt x="1896364" y="521004"/>
                  </a:lnTo>
                  <a:lnTo>
                    <a:pt x="1895944" y="524814"/>
                  </a:lnTo>
                  <a:lnTo>
                    <a:pt x="1889226" y="534974"/>
                  </a:lnTo>
                  <a:lnTo>
                    <a:pt x="1895309" y="529894"/>
                  </a:lnTo>
                  <a:lnTo>
                    <a:pt x="1905711" y="521004"/>
                  </a:lnTo>
                  <a:lnTo>
                    <a:pt x="1906739" y="532434"/>
                  </a:lnTo>
                  <a:lnTo>
                    <a:pt x="1911756" y="527354"/>
                  </a:lnTo>
                  <a:lnTo>
                    <a:pt x="1912569" y="536244"/>
                  </a:lnTo>
                  <a:lnTo>
                    <a:pt x="1919897" y="528624"/>
                  </a:lnTo>
                  <a:lnTo>
                    <a:pt x="1892896" y="547674"/>
                  </a:lnTo>
                  <a:lnTo>
                    <a:pt x="1876818" y="552754"/>
                  </a:lnTo>
                  <a:lnTo>
                    <a:pt x="1881949" y="555294"/>
                  </a:lnTo>
                  <a:lnTo>
                    <a:pt x="1881390" y="561644"/>
                  </a:lnTo>
                  <a:lnTo>
                    <a:pt x="1890102" y="557834"/>
                  </a:lnTo>
                  <a:lnTo>
                    <a:pt x="1886064" y="561644"/>
                  </a:lnTo>
                  <a:lnTo>
                    <a:pt x="1884057" y="564184"/>
                  </a:lnTo>
                  <a:lnTo>
                    <a:pt x="1880019" y="567994"/>
                  </a:lnTo>
                  <a:lnTo>
                    <a:pt x="1895856" y="560374"/>
                  </a:lnTo>
                  <a:lnTo>
                    <a:pt x="1896922" y="566724"/>
                  </a:lnTo>
                  <a:lnTo>
                    <a:pt x="1898916" y="560374"/>
                  </a:lnTo>
                  <a:lnTo>
                    <a:pt x="1899716" y="557834"/>
                  </a:lnTo>
                  <a:lnTo>
                    <a:pt x="1900923" y="554024"/>
                  </a:lnTo>
                  <a:lnTo>
                    <a:pt x="1903768" y="557834"/>
                  </a:lnTo>
                  <a:lnTo>
                    <a:pt x="1904174" y="561644"/>
                  </a:lnTo>
                  <a:lnTo>
                    <a:pt x="1906981" y="561644"/>
                  </a:lnTo>
                  <a:lnTo>
                    <a:pt x="1911972" y="554024"/>
                  </a:lnTo>
                  <a:lnTo>
                    <a:pt x="1916315" y="550214"/>
                  </a:lnTo>
                  <a:lnTo>
                    <a:pt x="1911108" y="556564"/>
                  </a:lnTo>
                  <a:lnTo>
                    <a:pt x="1911819" y="559104"/>
                  </a:lnTo>
                  <a:lnTo>
                    <a:pt x="1914067" y="557834"/>
                  </a:lnTo>
                  <a:lnTo>
                    <a:pt x="1910613" y="561644"/>
                  </a:lnTo>
                  <a:lnTo>
                    <a:pt x="1904326" y="566724"/>
                  </a:lnTo>
                  <a:lnTo>
                    <a:pt x="1904326" y="587044"/>
                  </a:lnTo>
                  <a:lnTo>
                    <a:pt x="1899780" y="593394"/>
                  </a:lnTo>
                  <a:lnTo>
                    <a:pt x="1896833" y="597204"/>
                  </a:lnTo>
                  <a:lnTo>
                    <a:pt x="1894649" y="593394"/>
                  </a:lnTo>
                  <a:lnTo>
                    <a:pt x="1891677" y="589584"/>
                  </a:lnTo>
                  <a:lnTo>
                    <a:pt x="1890179" y="588314"/>
                  </a:lnTo>
                  <a:lnTo>
                    <a:pt x="1891423" y="585774"/>
                  </a:lnTo>
                  <a:lnTo>
                    <a:pt x="1892681" y="583234"/>
                  </a:lnTo>
                  <a:lnTo>
                    <a:pt x="1894408" y="592124"/>
                  </a:lnTo>
                  <a:lnTo>
                    <a:pt x="1900288" y="584504"/>
                  </a:lnTo>
                  <a:lnTo>
                    <a:pt x="1902917" y="583234"/>
                  </a:lnTo>
                  <a:lnTo>
                    <a:pt x="1904326" y="587044"/>
                  </a:lnTo>
                  <a:lnTo>
                    <a:pt x="1904326" y="566724"/>
                  </a:lnTo>
                  <a:lnTo>
                    <a:pt x="1902739" y="567994"/>
                  </a:lnTo>
                  <a:lnTo>
                    <a:pt x="1887308" y="577367"/>
                  </a:lnTo>
                  <a:lnTo>
                    <a:pt x="1887308" y="585774"/>
                  </a:lnTo>
                  <a:lnTo>
                    <a:pt x="1886851" y="587044"/>
                  </a:lnTo>
                  <a:lnTo>
                    <a:pt x="1884984" y="587044"/>
                  </a:lnTo>
                  <a:lnTo>
                    <a:pt x="1883117" y="589584"/>
                  </a:lnTo>
                  <a:lnTo>
                    <a:pt x="1881276" y="593394"/>
                  </a:lnTo>
                  <a:lnTo>
                    <a:pt x="1879587" y="602284"/>
                  </a:lnTo>
                  <a:lnTo>
                    <a:pt x="1876221" y="592124"/>
                  </a:lnTo>
                  <a:lnTo>
                    <a:pt x="1874532" y="597204"/>
                  </a:lnTo>
                  <a:lnTo>
                    <a:pt x="1872284" y="602284"/>
                  </a:lnTo>
                  <a:lnTo>
                    <a:pt x="1870011" y="604824"/>
                  </a:lnTo>
                  <a:lnTo>
                    <a:pt x="1869655" y="603554"/>
                  </a:lnTo>
                  <a:lnTo>
                    <a:pt x="1868246" y="598474"/>
                  </a:lnTo>
                  <a:lnTo>
                    <a:pt x="1867890" y="597204"/>
                  </a:lnTo>
                  <a:lnTo>
                    <a:pt x="1866480" y="592124"/>
                  </a:lnTo>
                  <a:lnTo>
                    <a:pt x="1865160" y="593394"/>
                  </a:lnTo>
                  <a:lnTo>
                    <a:pt x="1863826" y="597204"/>
                  </a:lnTo>
                  <a:lnTo>
                    <a:pt x="1863242" y="596531"/>
                  </a:lnTo>
                  <a:lnTo>
                    <a:pt x="1863242" y="598474"/>
                  </a:lnTo>
                  <a:lnTo>
                    <a:pt x="1861781" y="602284"/>
                  </a:lnTo>
                  <a:lnTo>
                    <a:pt x="1861045" y="603554"/>
                  </a:lnTo>
                  <a:lnTo>
                    <a:pt x="1860829" y="603554"/>
                  </a:lnTo>
                  <a:lnTo>
                    <a:pt x="1857921" y="602284"/>
                  </a:lnTo>
                  <a:lnTo>
                    <a:pt x="1857375" y="599744"/>
                  </a:lnTo>
                  <a:lnTo>
                    <a:pt x="1859280" y="598474"/>
                  </a:lnTo>
                  <a:lnTo>
                    <a:pt x="1863242" y="598474"/>
                  </a:lnTo>
                  <a:lnTo>
                    <a:pt x="1863242" y="596531"/>
                  </a:lnTo>
                  <a:lnTo>
                    <a:pt x="1860550" y="593394"/>
                  </a:lnTo>
                  <a:lnTo>
                    <a:pt x="1859241" y="590854"/>
                  </a:lnTo>
                  <a:lnTo>
                    <a:pt x="1860245" y="589584"/>
                  </a:lnTo>
                  <a:lnTo>
                    <a:pt x="1872043" y="590854"/>
                  </a:lnTo>
                  <a:lnTo>
                    <a:pt x="1870811" y="589584"/>
                  </a:lnTo>
                  <a:lnTo>
                    <a:pt x="1867103" y="585774"/>
                  </a:lnTo>
                  <a:lnTo>
                    <a:pt x="1866099" y="581964"/>
                  </a:lnTo>
                  <a:lnTo>
                    <a:pt x="1868551" y="581964"/>
                  </a:lnTo>
                  <a:lnTo>
                    <a:pt x="1875269" y="584504"/>
                  </a:lnTo>
                  <a:lnTo>
                    <a:pt x="1880019" y="585774"/>
                  </a:lnTo>
                  <a:lnTo>
                    <a:pt x="1878711" y="584504"/>
                  </a:lnTo>
                  <a:lnTo>
                    <a:pt x="1880870" y="584504"/>
                  </a:lnTo>
                  <a:lnTo>
                    <a:pt x="1879231" y="592124"/>
                  </a:lnTo>
                  <a:lnTo>
                    <a:pt x="1884324" y="587044"/>
                  </a:lnTo>
                  <a:lnTo>
                    <a:pt x="1887308" y="585774"/>
                  </a:lnTo>
                  <a:lnTo>
                    <a:pt x="1887308" y="577367"/>
                  </a:lnTo>
                  <a:lnTo>
                    <a:pt x="1877631" y="583234"/>
                  </a:lnTo>
                  <a:lnTo>
                    <a:pt x="1876679" y="581964"/>
                  </a:lnTo>
                  <a:lnTo>
                    <a:pt x="1873821" y="578154"/>
                  </a:lnTo>
                  <a:lnTo>
                    <a:pt x="1872869" y="576884"/>
                  </a:lnTo>
                  <a:lnTo>
                    <a:pt x="1884159" y="573074"/>
                  </a:lnTo>
                  <a:lnTo>
                    <a:pt x="1868843" y="570534"/>
                  </a:lnTo>
                  <a:lnTo>
                    <a:pt x="1859127" y="566724"/>
                  </a:lnTo>
                  <a:lnTo>
                    <a:pt x="1857006" y="565454"/>
                  </a:lnTo>
                  <a:lnTo>
                    <a:pt x="1856930" y="564184"/>
                  </a:lnTo>
                  <a:lnTo>
                    <a:pt x="1860435" y="561644"/>
                  </a:lnTo>
                  <a:lnTo>
                    <a:pt x="1866607" y="561644"/>
                  </a:lnTo>
                  <a:lnTo>
                    <a:pt x="1871065" y="562914"/>
                  </a:lnTo>
                  <a:lnTo>
                    <a:pt x="1870532" y="561644"/>
                  </a:lnTo>
                  <a:lnTo>
                    <a:pt x="1869465" y="559104"/>
                  </a:lnTo>
                  <a:lnTo>
                    <a:pt x="1867331" y="554024"/>
                  </a:lnTo>
                  <a:lnTo>
                    <a:pt x="1874939" y="554024"/>
                  </a:lnTo>
                  <a:lnTo>
                    <a:pt x="1874215" y="552754"/>
                  </a:lnTo>
                  <a:lnTo>
                    <a:pt x="1872056" y="548944"/>
                  </a:lnTo>
                  <a:lnTo>
                    <a:pt x="1872488" y="547674"/>
                  </a:lnTo>
                  <a:lnTo>
                    <a:pt x="1872919" y="546404"/>
                  </a:lnTo>
                  <a:lnTo>
                    <a:pt x="1874647" y="541324"/>
                  </a:lnTo>
                  <a:lnTo>
                    <a:pt x="1864487" y="546404"/>
                  </a:lnTo>
                  <a:lnTo>
                    <a:pt x="1859267" y="545134"/>
                  </a:lnTo>
                  <a:lnTo>
                    <a:pt x="1854949" y="546404"/>
                  </a:lnTo>
                  <a:lnTo>
                    <a:pt x="1853247" y="543864"/>
                  </a:lnTo>
                  <a:lnTo>
                    <a:pt x="1855660" y="540054"/>
                  </a:lnTo>
                  <a:lnTo>
                    <a:pt x="1856460" y="538784"/>
                  </a:lnTo>
                  <a:lnTo>
                    <a:pt x="1862569" y="540054"/>
                  </a:lnTo>
                  <a:lnTo>
                    <a:pt x="1862175" y="538784"/>
                  </a:lnTo>
                  <a:lnTo>
                    <a:pt x="1861794" y="537514"/>
                  </a:lnTo>
                  <a:lnTo>
                    <a:pt x="1861261" y="536244"/>
                  </a:lnTo>
                  <a:lnTo>
                    <a:pt x="1861388" y="534974"/>
                  </a:lnTo>
                  <a:lnTo>
                    <a:pt x="1863051" y="532434"/>
                  </a:lnTo>
                  <a:lnTo>
                    <a:pt x="1863890" y="531164"/>
                  </a:lnTo>
                  <a:lnTo>
                    <a:pt x="1857552" y="532434"/>
                  </a:lnTo>
                  <a:lnTo>
                    <a:pt x="1852752" y="532434"/>
                  </a:lnTo>
                  <a:lnTo>
                    <a:pt x="1851888" y="529894"/>
                  </a:lnTo>
                  <a:lnTo>
                    <a:pt x="1852333" y="524814"/>
                  </a:lnTo>
                  <a:lnTo>
                    <a:pt x="1854212" y="521004"/>
                  </a:lnTo>
                  <a:lnTo>
                    <a:pt x="1855165" y="518464"/>
                  </a:lnTo>
                  <a:lnTo>
                    <a:pt x="1857044" y="515924"/>
                  </a:lnTo>
                  <a:lnTo>
                    <a:pt x="1854568" y="515924"/>
                  </a:lnTo>
                  <a:lnTo>
                    <a:pt x="1851228" y="512114"/>
                  </a:lnTo>
                  <a:lnTo>
                    <a:pt x="1851291" y="499414"/>
                  </a:lnTo>
                  <a:lnTo>
                    <a:pt x="1850148" y="498144"/>
                  </a:lnTo>
                  <a:lnTo>
                    <a:pt x="1847964" y="499414"/>
                  </a:lnTo>
                  <a:lnTo>
                    <a:pt x="1848358" y="510844"/>
                  </a:lnTo>
                  <a:lnTo>
                    <a:pt x="1847240" y="514654"/>
                  </a:lnTo>
                  <a:lnTo>
                    <a:pt x="1842211" y="514654"/>
                  </a:lnTo>
                  <a:lnTo>
                    <a:pt x="1847646" y="527354"/>
                  </a:lnTo>
                  <a:lnTo>
                    <a:pt x="1846592" y="532434"/>
                  </a:lnTo>
                  <a:lnTo>
                    <a:pt x="1846529" y="542594"/>
                  </a:lnTo>
                  <a:lnTo>
                    <a:pt x="1842401" y="546887"/>
                  </a:lnTo>
                  <a:lnTo>
                    <a:pt x="1842401" y="559104"/>
                  </a:lnTo>
                  <a:lnTo>
                    <a:pt x="1842008" y="559879"/>
                  </a:lnTo>
                  <a:lnTo>
                    <a:pt x="1842008" y="580694"/>
                  </a:lnTo>
                  <a:lnTo>
                    <a:pt x="1840306" y="583184"/>
                  </a:lnTo>
                  <a:lnTo>
                    <a:pt x="1840306" y="598474"/>
                  </a:lnTo>
                  <a:lnTo>
                    <a:pt x="1838947" y="602284"/>
                  </a:lnTo>
                  <a:lnTo>
                    <a:pt x="1838071" y="603224"/>
                  </a:lnTo>
                  <a:lnTo>
                    <a:pt x="1838071" y="598474"/>
                  </a:lnTo>
                  <a:lnTo>
                    <a:pt x="1840306" y="598474"/>
                  </a:lnTo>
                  <a:lnTo>
                    <a:pt x="1840306" y="583184"/>
                  </a:lnTo>
                  <a:lnTo>
                    <a:pt x="1838528" y="585774"/>
                  </a:lnTo>
                  <a:lnTo>
                    <a:pt x="1838071" y="586536"/>
                  </a:lnTo>
                  <a:lnTo>
                    <a:pt x="1838071" y="580796"/>
                  </a:lnTo>
                  <a:lnTo>
                    <a:pt x="1838071" y="579526"/>
                  </a:lnTo>
                  <a:lnTo>
                    <a:pt x="1838071" y="579170"/>
                  </a:lnTo>
                  <a:lnTo>
                    <a:pt x="1840014" y="578154"/>
                  </a:lnTo>
                  <a:lnTo>
                    <a:pt x="1841817" y="578154"/>
                  </a:lnTo>
                  <a:lnTo>
                    <a:pt x="1842008" y="580694"/>
                  </a:lnTo>
                  <a:lnTo>
                    <a:pt x="1842008" y="559879"/>
                  </a:lnTo>
                  <a:lnTo>
                    <a:pt x="1840445" y="562914"/>
                  </a:lnTo>
                  <a:lnTo>
                    <a:pt x="1838134" y="565454"/>
                  </a:lnTo>
                  <a:lnTo>
                    <a:pt x="1838071" y="559155"/>
                  </a:lnTo>
                  <a:lnTo>
                    <a:pt x="1838312" y="559104"/>
                  </a:lnTo>
                  <a:lnTo>
                    <a:pt x="1842401" y="559104"/>
                  </a:lnTo>
                  <a:lnTo>
                    <a:pt x="1842401" y="546887"/>
                  </a:lnTo>
                  <a:lnTo>
                    <a:pt x="1841639" y="547674"/>
                  </a:lnTo>
                  <a:lnTo>
                    <a:pt x="1838071" y="546531"/>
                  </a:lnTo>
                  <a:lnTo>
                    <a:pt x="1838071" y="538886"/>
                  </a:lnTo>
                  <a:lnTo>
                    <a:pt x="1838071" y="534924"/>
                  </a:lnTo>
                  <a:lnTo>
                    <a:pt x="1839556" y="536244"/>
                  </a:lnTo>
                  <a:lnTo>
                    <a:pt x="1838820" y="541324"/>
                  </a:lnTo>
                  <a:lnTo>
                    <a:pt x="1842516" y="540054"/>
                  </a:lnTo>
                  <a:lnTo>
                    <a:pt x="1845411" y="540054"/>
                  </a:lnTo>
                  <a:lnTo>
                    <a:pt x="1846529" y="542594"/>
                  </a:lnTo>
                  <a:lnTo>
                    <a:pt x="1846529" y="532434"/>
                  </a:lnTo>
                  <a:lnTo>
                    <a:pt x="1838071" y="530910"/>
                  </a:lnTo>
                  <a:lnTo>
                    <a:pt x="1838071" y="528726"/>
                  </a:lnTo>
                  <a:lnTo>
                    <a:pt x="1838071" y="519836"/>
                  </a:lnTo>
                  <a:lnTo>
                    <a:pt x="1838071" y="193446"/>
                  </a:lnTo>
                  <a:lnTo>
                    <a:pt x="1834388" y="190906"/>
                  </a:lnTo>
                  <a:lnTo>
                    <a:pt x="1833816" y="189636"/>
                  </a:lnTo>
                  <a:lnTo>
                    <a:pt x="1835823" y="189636"/>
                  </a:lnTo>
                  <a:lnTo>
                    <a:pt x="1832203" y="185826"/>
                  </a:lnTo>
                  <a:lnTo>
                    <a:pt x="1838071" y="189636"/>
                  </a:lnTo>
                  <a:lnTo>
                    <a:pt x="1838071" y="185826"/>
                  </a:lnTo>
                  <a:lnTo>
                    <a:pt x="1838071" y="175666"/>
                  </a:lnTo>
                  <a:lnTo>
                    <a:pt x="1838071" y="174396"/>
                  </a:lnTo>
                  <a:lnTo>
                    <a:pt x="1838071" y="159156"/>
                  </a:lnTo>
                  <a:lnTo>
                    <a:pt x="1835619" y="159156"/>
                  </a:lnTo>
                  <a:lnTo>
                    <a:pt x="1833130" y="156616"/>
                  </a:lnTo>
                  <a:lnTo>
                    <a:pt x="1838071" y="157886"/>
                  </a:lnTo>
                  <a:lnTo>
                    <a:pt x="1838071" y="156616"/>
                  </a:lnTo>
                  <a:lnTo>
                    <a:pt x="1838071" y="150266"/>
                  </a:lnTo>
                  <a:lnTo>
                    <a:pt x="1835023" y="148996"/>
                  </a:lnTo>
                  <a:lnTo>
                    <a:pt x="1833714" y="146456"/>
                  </a:lnTo>
                  <a:lnTo>
                    <a:pt x="1835048" y="146456"/>
                  </a:lnTo>
                  <a:lnTo>
                    <a:pt x="1838071" y="148996"/>
                  </a:lnTo>
                  <a:lnTo>
                    <a:pt x="1838071" y="146456"/>
                  </a:lnTo>
                  <a:lnTo>
                    <a:pt x="1838071" y="132486"/>
                  </a:lnTo>
                  <a:lnTo>
                    <a:pt x="1838071" y="127406"/>
                  </a:lnTo>
                  <a:lnTo>
                    <a:pt x="1829181" y="131216"/>
                  </a:lnTo>
                  <a:lnTo>
                    <a:pt x="1825472" y="132486"/>
                  </a:lnTo>
                  <a:lnTo>
                    <a:pt x="1825129" y="131216"/>
                  </a:lnTo>
                  <a:lnTo>
                    <a:pt x="1823161" y="128676"/>
                  </a:lnTo>
                  <a:lnTo>
                    <a:pt x="1823123" y="126136"/>
                  </a:lnTo>
                  <a:lnTo>
                    <a:pt x="1828444" y="129946"/>
                  </a:lnTo>
                  <a:lnTo>
                    <a:pt x="1828457" y="126136"/>
                  </a:lnTo>
                  <a:lnTo>
                    <a:pt x="1835531" y="126136"/>
                  </a:lnTo>
                  <a:lnTo>
                    <a:pt x="1834527" y="124866"/>
                  </a:lnTo>
                  <a:lnTo>
                    <a:pt x="1834045" y="124866"/>
                  </a:lnTo>
                  <a:lnTo>
                    <a:pt x="1833041" y="122326"/>
                  </a:lnTo>
                  <a:lnTo>
                    <a:pt x="1838071" y="121056"/>
                  </a:lnTo>
                  <a:lnTo>
                    <a:pt x="1834959" y="118516"/>
                  </a:lnTo>
                  <a:lnTo>
                    <a:pt x="1832025" y="118516"/>
                  </a:lnTo>
                  <a:lnTo>
                    <a:pt x="1833689" y="117246"/>
                  </a:lnTo>
                  <a:lnTo>
                    <a:pt x="1828596" y="117246"/>
                  </a:lnTo>
                  <a:lnTo>
                    <a:pt x="1827758" y="115976"/>
                  </a:lnTo>
                  <a:lnTo>
                    <a:pt x="1835632" y="114706"/>
                  </a:lnTo>
                  <a:lnTo>
                    <a:pt x="1830374" y="112166"/>
                  </a:lnTo>
                  <a:lnTo>
                    <a:pt x="1834235" y="107086"/>
                  </a:lnTo>
                  <a:lnTo>
                    <a:pt x="1835200" y="105816"/>
                  </a:lnTo>
                  <a:lnTo>
                    <a:pt x="1829549" y="107086"/>
                  </a:lnTo>
                  <a:lnTo>
                    <a:pt x="1826120" y="105816"/>
                  </a:lnTo>
                  <a:lnTo>
                    <a:pt x="1826679" y="105816"/>
                  </a:lnTo>
                  <a:lnTo>
                    <a:pt x="1828609" y="104546"/>
                  </a:lnTo>
                  <a:lnTo>
                    <a:pt x="1827961" y="104546"/>
                  </a:lnTo>
                  <a:lnTo>
                    <a:pt x="1828558" y="103276"/>
                  </a:lnTo>
                  <a:lnTo>
                    <a:pt x="1829422" y="102006"/>
                  </a:lnTo>
                  <a:lnTo>
                    <a:pt x="1825180" y="103276"/>
                  </a:lnTo>
                  <a:lnTo>
                    <a:pt x="1823415" y="102006"/>
                  </a:lnTo>
                  <a:lnTo>
                    <a:pt x="1822208" y="102006"/>
                  </a:lnTo>
                  <a:lnTo>
                    <a:pt x="1826183" y="98196"/>
                  </a:lnTo>
                  <a:lnTo>
                    <a:pt x="1820214" y="95656"/>
                  </a:lnTo>
                  <a:lnTo>
                    <a:pt x="1819694" y="89306"/>
                  </a:lnTo>
                  <a:lnTo>
                    <a:pt x="1818957" y="80416"/>
                  </a:lnTo>
                  <a:lnTo>
                    <a:pt x="1817814" y="75336"/>
                  </a:lnTo>
                  <a:lnTo>
                    <a:pt x="1816214" y="77876"/>
                  </a:lnTo>
                  <a:lnTo>
                    <a:pt x="1815909" y="89306"/>
                  </a:lnTo>
                  <a:lnTo>
                    <a:pt x="1815579" y="89306"/>
                  </a:lnTo>
                  <a:lnTo>
                    <a:pt x="1815261" y="77876"/>
                  </a:lnTo>
                  <a:lnTo>
                    <a:pt x="1813674" y="75336"/>
                  </a:lnTo>
                  <a:lnTo>
                    <a:pt x="1812518" y="80416"/>
                  </a:lnTo>
                  <a:lnTo>
                    <a:pt x="1811261" y="95656"/>
                  </a:lnTo>
                  <a:lnTo>
                    <a:pt x="1805292" y="98196"/>
                  </a:lnTo>
                  <a:lnTo>
                    <a:pt x="1809267" y="102006"/>
                  </a:lnTo>
                  <a:lnTo>
                    <a:pt x="1806295" y="103276"/>
                  </a:lnTo>
                  <a:lnTo>
                    <a:pt x="1802053" y="102006"/>
                  </a:lnTo>
                  <a:lnTo>
                    <a:pt x="1803527" y="104546"/>
                  </a:lnTo>
                  <a:lnTo>
                    <a:pt x="1802879" y="104546"/>
                  </a:lnTo>
                  <a:lnTo>
                    <a:pt x="1804797" y="105816"/>
                  </a:lnTo>
                  <a:lnTo>
                    <a:pt x="1805355" y="105816"/>
                  </a:lnTo>
                  <a:lnTo>
                    <a:pt x="1801926" y="107086"/>
                  </a:lnTo>
                  <a:lnTo>
                    <a:pt x="1796275" y="105816"/>
                  </a:lnTo>
                  <a:lnTo>
                    <a:pt x="1801114" y="112166"/>
                  </a:lnTo>
                  <a:lnTo>
                    <a:pt x="1795856" y="114706"/>
                  </a:lnTo>
                  <a:lnTo>
                    <a:pt x="1803717" y="115976"/>
                  </a:lnTo>
                  <a:lnTo>
                    <a:pt x="1802892" y="117246"/>
                  </a:lnTo>
                  <a:lnTo>
                    <a:pt x="1797799" y="117246"/>
                  </a:lnTo>
                  <a:lnTo>
                    <a:pt x="1799463" y="118516"/>
                  </a:lnTo>
                  <a:lnTo>
                    <a:pt x="1796529" y="118516"/>
                  </a:lnTo>
                  <a:lnTo>
                    <a:pt x="1792097" y="121056"/>
                  </a:lnTo>
                  <a:lnTo>
                    <a:pt x="1798434" y="122326"/>
                  </a:lnTo>
                  <a:lnTo>
                    <a:pt x="1795957" y="126136"/>
                  </a:lnTo>
                  <a:lnTo>
                    <a:pt x="1803019" y="126136"/>
                  </a:lnTo>
                  <a:lnTo>
                    <a:pt x="1803044" y="129946"/>
                  </a:lnTo>
                  <a:lnTo>
                    <a:pt x="1805178" y="128676"/>
                  </a:lnTo>
                  <a:lnTo>
                    <a:pt x="1806232" y="127406"/>
                  </a:lnTo>
                  <a:lnTo>
                    <a:pt x="1808365" y="126136"/>
                  </a:lnTo>
                  <a:lnTo>
                    <a:pt x="1808314" y="128676"/>
                  </a:lnTo>
                  <a:lnTo>
                    <a:pt x="1806346" y="131216"/>
                  </a:lnTo>
                  <a:lnTo>
                    <a:pt x="1806016" y="132486"/>
                  </a:lnTo>
                  <a:lnTo>
                    <a:pt x="1787423" y="126136"/>
                  </a:lnTo>
                  <a:lnTo>
                    <a:pt x="1789036" y="127406"/>
                  </a:lnTo>
                  <a:lnTo>
                    <a:pt x="1789036" y="131216"/>
                  </a:lnTo>
                  <a:lnTo>
                    <a:pt x="1786001" y="131216"/>
                  </a:lnTo>
                  <a:lnTo>
                    <a:pt x="1789569" y="133756"/>
                  </a:lnTo>
                  <a:lnTo>
                    <a:pt x="1789036" y="133756"/>
                  </a:lnTo>
                  <a:lnTo>
                    <a:pt x="1789036" y="137566"/>
                  </a:lnTo>
                  <a:lnTo>
                    <a:pt x="1783854" y="138836"/>
                  </a:lnTo>
                  <a:lnTo>
                    <a:pt x="1789036" y="142646"/>
                  </a:lnTo>
                  <a:lnTo>
                    <a:pt x="1789036" y="145186"/>
                  </a:lnTo>
                  <a:lnTo>
                    <a:pt x="1789353" y="145186"/>
                  </a:lnTo>
                  <a:lnTo>
                    <a:pt x="1789112" y="148996"/>
                  </a:lnTo>
                  <a:lnTo>
                    <a:pt x="1791373" y="146456"/>
                  </a:lnTo>
                  <a:lnTo>
                    <a:pt x="1793062" y="148996"/>
                  </a:lnTo>
                  <a:lnTo>
                    <a:pt x="1796440" y="146456"/>
                  </a:lnTo>
                  <a:lnTo>
                    <a:pt x="1797761" y="146456"/>
                  </a:lnTo>
                  <a:lnTo>
                    <a:pt x="1796453" y="148996"/>
                  </a:lnTo>
                  <a:lnTo>
                    <a:pt x="1782483" y="152806"/>
                  </a:lnTo>
                  <a:lnTo>
                    <a:pt x="1786089" y="156616"/>
                  </a:lnTo>
                  <a:lnTo>
                    <a:pt x="1784286" y="160426"/>
                  </a:lnTo>
                  <a:lnTo>
                    <a:pt x="1798345" y="156616"/>
                  </a:lnTo>
                  <a:lnTo>
                    <a:pt x="1795868" y="159156"/>
                  </a:lnTo>
                  <a:lnTo>
                    <a:pt x="1789036" y="160426"/>
                  </a:lnTo>
                  <a:lnTo>
                    <a:pt x="1789036" y="162966"/>
                  </a:lnTo>
                  <a:lnTo>
                    <a:pt x="1769338" y="166776"/>
                  </a:lnTo>
                  <a:lnTo>
                    <a:pt x="1777174" y="171856"/>
                  </a:lnTo>
                  <a:lnTo>
                    <a:pt x="1777034" y="175666"/>
                  </a:lnTo>
                  <a:lnTo>
                    <a:pt x="1780184" y="174396"/>
                  </a:lnTo>
                  <a:lnTo>
                    <a:pt x="1775434" y="180746"/>
                  </a:lnTo>
                  <a:lnTo>
                    <a:pt x="1778063" y="179476"/>
                  </a:lnTo>
                  <a:lnTo>
                    <a:pt x="1782025" y="176936"/>
                  </a:lnTo>
                  <a:lnTo>
                    <a:pt x="1782686" y="182016"/>
                  </a:lnTo>
                  <a:lnTo>
                    <a:pt x="1785569" y="176936"/>
                  </a:lnTo>
                  <a:lnTo>
                    <a:pt x="1790280" y="175666"/>
                  </a:lnTo>
                  <a:lnTo>
                    <a:pt x="1789303" y="176936"/>
                  </a:lnTo>
                  <a:lnTo>
                    <a:pt x="1789036" y="176936"/>
                  </a:lnTo>
                  <a:lnTo>
                    <a:pt x="1786001" y="180746"/>
                  </a:lnTo>
                  <a:lnTo>
                    <a:pt x="1787969" y="182016"/>
                  </a:lnTo>
                  <a:lnTo>
                    <a:pt x="1778914" y="188366"/>
                  </a:lnTo>
                  <a:lnTo>
                    <a:pt x="1786890" y="189636"/>
                  </a:lnTo>
                  <a:lnTo>
                    <a:pt x="1786140" y="193446"/>
                  </a:lnTo>
                  <a:lnTo>
                    <a:pt x="1799285" y="185826"/>
                  </a:lnTo>
                  <a:lnTo>
                    <a:pt x="1795653" y="189636"/>
                  </a:lnTo>
                  <a:lnTo>
                    <a:pt x="1797659" y="189636"/>
                  </a:lnTo>
                  <a:lnTo>
                    <a:pt x="1797088" y="190906"/>
                  </a:lnTo>
                  <a:lnTo>
                    <a:pt x="1788109" y="195986"/>
                  </a:lnTo>
                  <a:lnTo>
                    <a:pt x="1784604" y="197218"/>
                  </a:lnTo>
                  <a:lnTo>
                    <a:pt x="1784604" y="222656"/>
                  </a:lnTo>
                  <a:lnTo>
                    <a:pt x="1782292" y="227736"/>
                  </a:lnTo>
                  <a:lnTo>
                    <a:pt x="1778749" y="231546"/>
                  </a:lnTo>
                  <a:lnTo>
                    <a:pt x="1777212" y="231546"/>
                  </a:lnTo>
                  <a:lnTo>
                    <a:pt x="1775510" y="230632"/>
                  </a:lnTo>
                  <a:lnTo>
                    <a:pt x="1775510" y="283616"/>
                  </a:lnTo>
                  <a:lnTo>
                    <a:pt x="1772348" y="288696"/>
                  </a:lnTo>
                  <a:lnTo>
                    <a:pt x="1761871" y="282346"/>
                  </a:lnTo>
                  <a:lnTo>
                    <a:pt x="1760943" y="279806"/>
                  </a:lnTo>
                  <a:lnTo>
                    <a:pt x="1762772" y="278536"/>
                  </a:lnTo>
                  <a:lnTo>
                    <a:pt x="1767116" y="284886"/>
                  </a:lnTo>
                  <a:lnTo>
                    <a:pt x="1771230" y="281076"/>
                  </a:lnTo>
                  <a:lnTo>
                    <a:pt x="1773389" y="282346"/>
                  </a:lnTo>
                  <a:lnTo>
                    <a:pt x="1773885" y="281076"/>
                  </a:lnTo>
                  <a:lnTo>
                    <a:pt x="1774723" y="283616"/>
                  </a:lnTo>
                  <a:lnTo>
                    <a:pt x="1775510" y="283616"/>
                  </a:lnTo>
                  <a:lnTo>
                    <a:pt x="1775510" y="230632"/>
                  </a:lnTo>
                  <a:lnTo>
                    <a:pt x="1772513" y="229006"/>
                  </a:lnTo>
                  <a:lnTo>
                    <a:pt x="1770367" y="227850"/>
                  </a:lnTo>
                  <a:lnTo>
                    <a:pt x="1770367" y="242976"/>
                  </a:lnTo>
                  <a:lnTo>
                    <a:pt x="1766557" y="248056"/>
                  </a:lnTo>
                  <a:lnTo>
                    <a:pt x="1764792" y="246786"/>
                  </a:lnTo>
                  <a:lnTo>
                    <a:pt x="1763026" y="245516"/>
                  </a:lnTo>
                  <a:lnTo>
                    <a:pt x="1761744" y="244246"/>
                  </a:lnTo>
                  <a:lnTo>
                    <a:pt x="1770367" y="242976"/>
                  </a:lnTo>
                  <a:lnTo>
                    <a:pt x="1770367" y="227850"/>
                  </a:lnTo>
                  <a:lnTo>
                    <a:pt x="1767801" y="226466"/>
                  </a:lnTo>
                  <a:lnTo>
                    <a:pt x="1769694" y="225196"/>
                  </a:lnTo>
                  <a:lnTo>
                    <a:pt x="1775371" y="221386"/>
                  </a:lnTo>
                  <a:lnTo>
                    <a:pt x="1776679" y="229006"/>
                  </a:lnTo>
                  <a:lnTo>
                    <a:pt x="1784604" y="222656"/>
                  </a:lnTo>
                  <a:lnTo>
                    <a:pt x="1784604" y="197218"/>
                  </a:lnTo>
                  <a:lnTo>
                    <a:pt x="1780857" y="198526"/>
                  </a:lnTo>
                  <a:lnTo>
                    <a:pt x="1784299" y="201066"/>
                  </a:lnTo>
                  <a:lnTo>
                    <a:pt x="1782279" y="203606"/>
                  </a:lnTo>
                  <a:lnTo>
                    <a:pt x="1771523" y="205168"/>
                  </a:lnTo>
                  <a:lnTo>
                    <a:pt x="1771523" y="216306"/>
                  </a:lnTo>
                  <a:lnTo>
                    <a:pt x="1761515" y="222631"/>
                  </a:lnTo>
                  <a:lnTo>
                    <a:pt x="1761515" y="237896"/>
                  </a:lnTo>
                  <a:lnTo>
                    <a:pt x="1757235" y="239166"/>
                  </a:lnTo>
                  <a:lnTo>
                    <a:pt x="1753260" y="235356"/>
                  </a:lnTo>
                  <a:lnTo>
                    <a:pt x="1750618" y="232816"/>
                  </a:lnTo>
                  <a:lnTo>
                    <a:pt x="1750021" y="229006"/>
                  </a:lnTo>
                  <a:lnTo>
                    <a:pt x="1753209" y="229006"/>
                  </a:lnTo>
                  <a:lnTo>
                    <a:pt x="1754784" y="235356"/>
                  </a:lnTo>
                  <a:lnTo>
                    <a:pt x="1760207" y="231546"/>
                  </a:lnTo>
                  <a:lnTo>
                    <a:pt x="1761515" y="237896"/>
                  </a:lnTo>
                  <a:lnTo>
                    <a:pt x="1761515" y="222631"/>
                  </a:lnTo>
                  <a:lnTo>
                    <a:pt x="1761058" y="222656"/>
                  </a:lnTo>
                  <a:lnTo>
                    <a:pt x="1760270" y="221386"/>
                  </a:lnTo>
                  <a:lnTo>
                    <a:pt x="1763318" y="221386"/>
                  </a:lnTo>
                  <a:lnTo>
                    <a:pt x="1757502" y="216306"/>
                  </a:lnTo>
                  <a:lnTo>
                    <a:pt x="1750225" y="209956"/>
                  </a:lnTo>
                  <a:lnTo>
                    <a:pt x="1753793" y="209956"/>
                  </a:lnTo>
                  <a:lnTo>
                    <a:pt x="1757756" y="212496"/>
                  </a:lnTo>
                  <a:lnTo>
                    <a:pt x="1757286" y="209956"/>
                  </a:lnTo>
                  <a:lnTo>
                    <a:pt x="1756092" y="203606"/>
                  </a:lnTo>
                  <a:lnTo>
                    <a:pt x="1759635" y="206146"/>
                  </a:lnTo>
                  <a:lnTo>
                    <a:pt x="1758899" y="206146"/>
                  </a:lnTo>
                  <a:lnTo>
                    <a:pt x="1763547" y="209956"/>
                  </a:lnTo>
                  <a:lnTo>
                    <a:pt x="1760448" y="213766"/>
                  </a:lnTo>
                  <a:lnTo>
                    <a:pt x="1767979" y="213766"/>
                  </a:lnTo>
                  <a:lnTo>
                    <a:pt x="1771523" y="216306"/>
                  </a:lnTo>
                  <a:lnTo>
                    <a:pt x="1771523" y="205168"/>
                  </a:lnTo>
                  <a:lnTo>
                    <a:pt x="1764703" y="206146"/>
                  </a:lnTo>
                  <a:lnTo>
                    <a:pt x="1764436" y="203606"/>
                  </a:lnTo>
                  <a:lnTo>
                    <a:pt x="1769719" y="202336"/>
                  </a:lnTo>
                  <a:lnTo>
                    <a:pt x="1764614" y="199796"/>
                  </a:lnTo>
                  <a:lnTo>
                    <a:pt x="1755952" y="197256"/>
                  </a:lnTo>
                  <a:lnTo>
                    <a:pt x="1749298" y="193446"/>
                  </a:lnTo>
                  <a:lnTo>
                    <a:pt x="1747075" y="192176"/>
                  </a:lnTo>
                  <a:lnTo>
                    <a:pt x="1748955" y="188366"/>
                  </a:lnTo>
                  <a:lnTo>
                    <a:pt x="1755686" y="193446"/>
                  </a:lnTo>
                  <a:lnTo>
                    <a:pt x="1756600" y="188366"/>
                  </a:lnTo>
                  <a:lnTo>
                    <a:pt x="1756829" y="187096"/>
                  </a:lnTo>
                  <a:lnTo>
                    <a:pt x="1762721" y="194716"/>
                  </a:lnTo>
                  <a:lnTo>
                    <a:pt x="1760715" y="187096"/>
                  </a:lnTo>
                  <a:lnTo>
                    <a:pt x="1769859" y="189636"/>
                  </a:lnTo>
                  <a:lnTo>
                    <a:pt x="1768182" y="187096"/>
                  </a:lnTo>
                  <a:lnTo>
                    <a:pt x="1766493" y="184556"/>
                  </a:lnTo>
                  <a:lnTo>
                    <a:pt x="1772094" y="184556"/>
                  </a:lnTo>
                  <a:lnTo>
                    <a:pt x="1761350" y="180746"/>
                  </a:lnTo>
                  <a:lnTo>
                    <a:pt x="1752727" y="176936"/>
                  </a:lnTo>
                  <a:lnTo>
                    <a:pt x="1746973" y="174396"/>
                  </a:lnTo>
                  <a:lnTo>
                    <a:pt x="1753196" y="171856"/>
                  </a:lnTo>
                  <a:lnTo>
                    <a:pt x="1744662" y="165506"/>
                  </a:lnTo>
                  <a:lnTo>
                    <a:pt x="1742960" y="164236"/>
                  </a:lnTo>
                  <a:lnTo>
                    <a:pt x="1756892" y="169316"/>
                  </a:lnTo>
                  <a:lnTo>
                    <a:pt x="1754378" y="164236"/>
                  </a:lnTo>
                  <a:lnTo>
                    <a:pt x="1759013" y="162966"/>
                  </a:lnTo>
                  <a:lnTo>
                    <a:pt x="1745119" y="156616"/>
                  </a:lnTo>
                  <a:lnTo>
                    <a:pt x="1749856" y="151536"/>
                  </a:lnTo>
                  <a:lnTo>
                    <a:pt x="1743519" y="147726"/>
                  </a:lnTo>
                  <a:lnTo>
                    <a:pt x="1744395" y="143916"/>
                  </a:lnTo>
                  <a:lnTo>
                    <a:pt x="1740319" y="141376"/>
                  </a:lnTo>
                  <a:lnTo>
                    <a:pt x="1741678" y="140106"/>
                  </a:lnTo>
                  <a:lnTo>
                    <a:pt x="1739493" y="137566"/>
                  </a:lnTo>
                  <a:lnTo>
                    <a:pt x="1738147" y="126136"/>
                  </a:lnTo>
                  <a:lnTo>
                    <a:pt x="1736267" y="138836"/>
                  </a:lnTo>
                  <a:lnTo>
                    <a:pt x="1733804" y="141376"/>
                  </a:lnTo>
                  <a:lnTo>
                    <a:pt x="1735188" y="145186"/>
                  </a:lnTo>
                  <a:lnTo>
                    <a:pt x="1729422" y="146456"/>
                  </a:lnTo>
                  <a:lnTo>
                    <a:pt x="1730133" y="150266"/>
                  </a:lnTo>
                  <a:lnTo>
                    <a:pt x="1722183" y="152806"/>
                  </a:lnTo>
                  <a:lnTo>
                    <a:pt x="1733918" y="155346"/>
                  </a:lnTo>
                  <a:lnTo>
                    <a:pt x="1718030" y="161696"/>
                  </a:lnTo>
                  <a:lnTo>
                    <a:pt x="1724113" y="165506"/>
                  </a:lnTo>
                  <a:lnTo>
                    <a:pt x="1720659" y="169316"/>
                  </a:lnTo>
                  <a:lnTo>
                    <a:pt x="1726666" y="166776"/>
                  </a:lnTo>
                  <a:lnTo>
                    <a:pt x="1732254" y="165506"/>
                  </a:lnTo>
                  <a:lnTo>
                    <a:pt x="1727415" y="169316"/>
                  </a:lnTo>
                  <a:lnTo>
                    <a:pt x="1720989" y="171856"/>
                  </a:lnTo>
                  <a:lnTo>
                    <a:pt x="1717865" y="174396"/>
                  </a:lnTo>
                  <a:lnTo>
                    <a:pt x="1725155" y="174396"/>
                  </a:lnTo>
                  <a:lnTo>
                    <a:pt x="1722208" y="179476"/>
                  </a:lnTo>
                  <a:lnTo>
                    <a:pt x="1727682" y="176936"/>
                  </a:lnTo>
                  <a:lnTo>
                    <a:pt x="1729536" y="179476"/>
                  </a:lnTo>
                  <a:lnTo>
                    <a:pt x="1725790" y="181914"/>
                  </a:lnTo>
                  <a:lnTo>
                    <a:pt x="1725790" y="193446"/>
                  </a:lnTo>
                  <a:lnTo>
                    <a:pt x="1723707" y="198526"/>
                  </a:lnTo>
                  <a:lnTo>
                    <a:pt x="1716798" y="202323"/>
                  </a:lnTo>
                  <a:lnTo>
                    <a:pt x="1716798" y="265836"/>
                  </a:lnTo>
                  <a:lnTo>
                    <a:pt x="1712341" y="271145"/>
                  </a:lnTo>
                  <a:lnTo>
                    <a:pt x="1712341" y="302666"/>
                  </a:lnTo>
                  <a:lnTo>
                    <a:pt x="1710486" y="305206"/>
                  </a:lnTo>
                  <a:lnTo>
                    <a:pt x="1709267" y="306476"/>
                  </a:lnTo>
                  <a:lnTo>
                    <a:pt x="1708962" y="306476"/>
                  </a:lnTo>
                  <a:lnTo>
                    <a:pt x="1706118" y="305206"/>
                  </a:lnTo>
                  <a:lnTo>
                    <a:pt x="1707108" y="303936"/>
                  </a:lnTo>
                  <a:lnTo>
                    <a:pt x="1707629" y="302666"/>
                  </a:lnTo>
                  <a:lnTo>
                    <a:pt x="1708619" y="301396"/>
                  </a:lnTo>
                  <a:lnTo>
                    <a:pt x="1711452" y="301396"/>
                  </a:lnTo>
                  <a:lnTo>
                    <a:pt x="1712341" y="302666"/>
                  </a:lnTo>
                  <a:lnTo>
                    <a:pt x="1712341" y="271145"/>
                  </a:lnTo>
                  <a:lnTo>
                    <a:pt x="1708251" y="275996"/>
                  </a:lnTo>
                  <a:lnTo>
                    <a:pt x="1705851" y="274726"/>
                  </a:lnTo>
                  <a:lnTo>
                    <a:pt x="1701050" y="272186"/>
                  </a:lnTo>
                  <a:lnTo>
                    <a:pt x="1702828" y="268376"/>
                  </a:lnTo>
                  <a:lnTo>
                    <a:pt x="1711350" y="269646"/>
                  </a:lnTo>
                  <a:lnTo>
                    <a:pt x="1709877" y="268376"/>
                  </a:lnTo>
                  <a:lnTo>
                    <a:pt x="1706930" y="265836"/>
                  </a:lnTo>
                  <a:lnTo>
                    <a:pt x="1704428" y="262026"/>
                  </a:lnTo>
                  <a:lnTo>
                    <a:pt x="1705889" y="260756"/>
                  </a:lnTo>
                  <a:lnTo>
                    <a:pt x="1708327" y="265836"/>
                  </a:lnTo>
                  <a:lnTo>
                    <a:pt x="1711515" y="262026"/>
                  </a:lnTo>
                  <a:lnTo>
                    <a:pt x="1712366" y="260756"/>
                  </a:lnTo>
                  <a:lnTo>
                    <a:pt x="1711921" y="263296"/>
                  </a:lnTo>
                  <a:lnTo>
                    <a:pt x="1713979" y="263296"/>
                  </a:lnTo>
                  <a:lnTo>
                    <a:pt x="1712988" y="267106"/>
                  </a:lnTo>
                  <a:lnTo>
                    <a:pt x="1716798" y="265836"/>
                  </a:lnTo>
                  <a:lnTo>
                    <a:pt x="1716798" y="202323"/>
                  </a:lnTo>
                  <a:lnTo>
                    <a:pt x="1715973" y="202780"/>
                  </a:lnTo>
                  <a:lnTo>
                    <a:pt x="1715973" y="230276"/>
                  </a:lnTo>
                  <a:lnTo>
                    <a:pt x="1715833" y="230276"/>
                  </a:lnTo>
                  <a:lnTo>
                    <a:pt x="1714550" y="234086"/>
                  </a:lnTo>
                  <a:lnTo>
                    <a:pt x="1713445" y="235356"/>
                  </a:lnTo>
                  <a:lnTo>
                    <a:pt x="1709585" y="232816"/>
                  </a:lnTo>
                  <a:lnTo>
                    <a:pt x="1703793" y="229006"/>
                  </a:lnTo>
                  <a:lnTo>
                    <a:pt x="1708200" y="225196"/>
                  </a:lnTo>
                  <a:lnTo>
                    <a:pt x="1709394" y="227736"/>
                  </a:lnTo>
                  <a:lnTo>
                    <a:pt x="1709851" y="226466"/>
                  </a:lnTo>
                  <a:lnTo>
                    <a:pt x="1710080" y="229006"/>
                  </a:lnTo>
                  <a:lnTo>
                    <a:pt x="1713280" y="226466"/>
                  </a:lnTo>
                  <a:lnTo>
                    <a:pt x="1713966" y="229006"/>
                  </a:lnTo>
                  <a:lnTo>
                    <a:pt x="1715973" y="230276"/>
                  </a:lnTo>
                  <a:lnTo>
                    <a:pt x="1715973" y="202780"/>
                  </a:lnTo>
                  <a:lnTo>
                    <a:pt x="1714449" y="203606"/>
                  </a:lnTo>
                  <a:lnTo>
                    <a:pt x="1709394" y="204876"/>
                  </a:lnTo>
                  <a:lnTo>
                    <a:pt x="1713166" y="208686"/>
                  </a:lnTo>
                  <a:lnTo>
                    <a:pt x="1709102" y="211226"/>
                  </a:lnTo>
                  <a:lnTo>
                    <a:pt x="1702257" y="206146"/>
                  </a:lnTo>
                  <a:lnTo>
                    <a:pt x="1699399" y="199796"/>
                  </a:lnTo>
                  <a:lnTo>
                    <a:pt x="1706295" y="203606"/>
                  </a:lnTo>
                  <a:lnTo>
                    <a:pt x="1710194" y="201066"/>
                  </a:lnTo>
                  <a:lnTo>
                    <a:pt x="1715566" y="202336"/>
                  </a:lnTo>
                  <a:lnTo>
                    <a:pt x="1714614" y="201066"/>
                  </a:lnTo>
                  <a:lnTo>
                    <a:pt x="1713661" y="199796"/>
                  </a:lnTo>
                  <a:lnTo>
                    <a:pt x="1710804" y="195986"/>
                  </a:lnTo>
                  <a:lnTo>
                    <a:pt x="1716836" y="193446"/>
                  </a:lnTo>
                  <a:lnTo>
                    <a:pt x="1716379" y="197256"/>
                  </a:lnTo>
                  <a:lnTo>
                    <a:pt x="1716087" y="198526"/>
                  </a:lnTo>
                  <a:lnTo>
                    <a:pt x="1721231" y="193446"/>
                  </a:lnTo>
                  <a:lnTo>
                    <a:pt x="1725790" y="193446"/>
                  </a:lnTo>
                  <a:lnTo>
                    <a:pt x="1725790" y="181914"/>
                  </a:lnTo>
                  <a:lnTo>
                    <a:pt x="1721700" y="184556"/>
                  </a:lnTo>
                  <a:lnTo>
                    <a:pt x="1712061" y="188988"/>
                  </a:lnTo>
                  <a:lnTo>
                    <a:pt x="1712061" y="192176"/>
                  </a:lnTo>
                  <a:lnTo>
                    <a:pt x="1711337" y="193446"/>
                  </a:lnTo>
                  <a:lnTo>
                    <a:pt x="1710283" y="195986"/>
                  </a:lnTo>
                  <a:lnTo>
                    <a:pt x="1705711" y="192176"/>
                  </a:lnTo>
                  <a:lnTo>
                    <a:pt x="1712061" y="192176"/>
                  </a:lnTo>
                  <a:lnTo>
                    <a:pt x="1712061" y="188988"/>
                  </a:lnTo>
                  <a:lnTo>
                    <a:pt x="1705102" y="192176"/>
                  </a:lnTo>
                  <a:lnTo>
                    <a:pt x="1702269" y="190906"/>
                  </a:lnTo>
                  <a:lnTo>
                    <a:pt x="1699793" y="188366"/>
                  </a:lnTo>
                  <a:lnTo>
                    <a:pt x="1689862" y="178206"/>
                  </a:lnTo>
                  <a:lnTo>
                    <a:pt x="1689265" y="174396"/>
                  </a:lnTo>
                  <a:lnTo>
                    <a:pt x="1692452" y="174396"/>
                  </a:lnTo>
                  <a:lnTo>
                    <a:pt x="1694027" y="180746"/>
                  </a:lnTo>
                  <a:lnTo>
                    <a:pt x="1699437" y="176936"/>
                  </a:lnTo>
                  <a:lnTo>
                    <a:pt x="1700072" y="179476"/>
                  </a:lnTo>
                  <a:lnTo>
                    <a:pt x="1700364" y="180746"/>
                  </a:lnTo>
                  <a:lnTo>
                    <a:pt x="1700999" y="184556"/>
                  </a:lnTo>
                  <a:lnTo>
                    <a:pt x="1703324" y="180746"/>
                  </a:lnTo>
                  <a:lnTo>
                    <a:pt x="1710156" y="184556"/>
                  </a:lnTo>
                  <a:lnTo>
                    <a:pt x="1709851" y="182016"/>
                  </a:lnTo>
                  <a:lnTo>
                    <a:pt x="1710715" y="180746"/>
                  </a:lnTo>
                  <a:lnTo>
                    <a:pt x="1711579" y="179476"/>
                  </a:lnTo>
                  <a:lnTo>
                    <a:pt x="1716747" y="180746"/>
                  </a:lnTo>
                  <a:lnTo>
                    <a:pt x="1715109" y="179476"/>
                  </a:lnTo>
                  <a:lnTo>
                    <a:pt x="1711820" y="176936"/>
                  </a:lnTo>
                  <a:lnTo>
                    <a:pt x="1708531" y="174396"/>
                  </a:lnTo>
                  <a:lnTo>
                    <a:pt x="1700314" y="168046"/>
                  </a:lnTo>
                  <a:lnTo>
                    <a:pt x="1699514" y="166776"/>
                  </a:lnTo>
                  <a:lnTo>
                    <a:pt x="1702562" y="166776"/>
                  </a:lnTo>
                  <a:lnTo>
                    <a:pt x="1694713" y="159156"/>
                  </a:lnTo>
                  <a:lnTo>
                    <a:pt x="1689468" y="155346"/>
                  </a:lnTo>
                  <a:lnTo>
                    <a:pt x="1693037" y="155346"/>
                  </a:lnTo>
                  <a:lnTo>
                    <a:pt x="1696999" y="156616"/>
                  </a:lnTo>
                  <a:lnTo>
                    <a:pt x="1696720" y="155346"/>
                  </a:lnTo>
                  <a:lnTo>
                    <a:pt x="1695335" y="148996"/>
                  </a:lnTo>
                  <a:lnTo>
                    <a:pt x="1704352" y="154076"/>
                  </a:lnTo>
                  <a:lnTo>
                    <a:pt x="1703679" y="148996"/>
                  </a:lnTo>
                  <a:lnTo>
                    <a:pt x="1708962" y="147726"/>
                  </a:lnTo>
                  <a:lnTo>
                    <a:pt x="1695196" y="142646"/>
                  </a:lnTo>
                  <a:lnTo>
                    <a:pt x="1686318" y="137566"/>
                  </a:lnTo>
                  <a:lnTo>
                    <a:pt x="1688198" y="133756"/>
                  </a:lnTo>
                  <a:lnTo>
                    <a:pt x="1694942" y="138836"/>
                  </a:lnTo>
                  <a:lnTo>
                    <a:pt x="1695856" y="133756"/>
                  </a:lnTo>
                  <a:lnTo>
                    <a:pt x="1696085" y="132486"/>
                  </a:lnTo>
                  <a:lnTo>
                    <a:pt x="1701965" y="140106"/>
                  </a:lnTo>
                  <a:lnTo>
                    <a:pt x="1699971" y="132486"/>
                  </a:lnTo>
                  <a:lnTo>
                    <a:pt x="1709102" y="135026"/>
                  </a:lnTo>
                  <a:lnTo>
                    <a:pt x="1707426" y="132486"/>
                  </a:lnTo>
                  <a:lnTo>
                    <a:pt x="1705737" y="129946"/>
                  </a:lnTo>
                  <a:lnTo>
                    <a:pt x="1711337" y="129946"/>
                  </a:lnTo>
                  <a:lnTo>
                    <a:pt x="1692503" y="122326"/>
                  </a:lnTo>
                  <a:lnTo>
                    <a:pt x="1686217" y="119786"/>
                  </a:lnTo>
                  <a:lnTo>
                    <a:pt x="1692440" y="117246"/>
                  </a:lnTo>
                  <a:lnTo>
                    <a:pt x="1683905" y="110896"/>
                  </a:lnTo>
                  <a:lnTo>
                    <a:pt x="1682203" y="109626"/>
                  </a:lnTo>
                  <a:lnTo>
                    <a:pt x="1696148" y="114706"/>
                  </a:lnTo>
                  <a:lnTo>
                    <a:pt x="1693621" y="109626"/>
                  </a:lnTo>
                  <a:lnTo>
                    <a:pt x="1698256" y="108356"/>
                  </a:lnTo>
                  <a:lnTo>
                    <a:pt x="1684362" y="102006"/>
                  </a:lnTo>
                  <a:lnTo>
                    <a:pt x="1689100" y="96926"/>
                  </a:lnTo>
                  <a:lnTo>
                    <a:pt x="1685290" y="94386"/>
                  </a:lnTo>
                  <a:lnTo>
                    <a:pt x="1682762" y="93116"/>
                  </a:lnTo>
                  <a:lnTo>
                    <a:pt x="1683639" y="89306"/>
                  </a:lnTo>
                  <a:lnTo>
                    <a:pt x="1679562" y="86766"/>
                  </a:lnTo>
                  <a:lnTo>
                    <a:pt x="1680921" y="85496"/>
                  </a:lnTo>
                  <a:lnTo>
                    <a:pt x="1678736" y="82956"/>
                  </a:lnTo>
                  <a:lnTo>
                    <a:pt x="1677390" y="71526"/>
                  </a:lnTo>
                  <a:lnTo>
                    <a:pt x="1675511" y="82956"/>
                  </a:lnTo>
                  <a:lnTo>
                    <a:pt x="1674037" y="85496"/>
                  </a:lnTo>
                  <a:lnTo>
                    <a:pt x="1673047" y="86766"/>
                  </a:lnTo>
                  <a:lnTo>
                    <a:pt x="1674431" y="90576"/>
                  </a:lnTo>
                  <a:lnTo>
                    <a:pt x="1668665" y="91846"/>
                  </a:lnTo>
                  <a:lnTo>
                    <a:pt x="1669364" y="95656"/>
                  </a:lnTo>
                  <a:lnTo>
                    <a:pt x="1661426" y="98196"/>
                  </a:lnTo>
                  <a:lnTo>
                    <a:pt x="1673161" y="100736"/>
                  </a:lnTo>
                  <a:lnTo>
                    <a:pt x="1657273" y="107086"/>
                  </a:lnTo>
                  <a:lnTo>
                    <a:pt x="1663357" y="110896"/>
                  </a:lnTo>
                  <a:lnTo>
                    <a:pt x="1659902" y="114706"/>
                  </a:lnTo>
                  <a:lnTo>
                    <a:pt x="1665909" y="112166"/>
                  </a:lnTo>
                  <a:lnTo>
                    <a:pt x="1671497" y="110896"/>
                  </a:lnTo>
                  <a:lnTo>
                    <a:pt x="1666659" y="114706"/>
                  </a:lnTo>
                  <a:lnTo>
                    <a:pt x="1660232" y="117246"/>
                  </a:lnTo>
                  <a:lnTo>
                    <a:pt x="1657108" y="119786"/>
                  </a:lnTo>
                  <a:lnTo>
                    <a:pt x="1664398" y="119786"/>
                  </a:lnTo>
                  <a:lnTo>
                    <a:pt x="1661452" y="124866"/>
                  </a:lnTo>
                  <a:lnTo>
                    <a:pt x="1666925" y="122326"/>
                  </a:lnTo>
                  <a:lnTo>
                    <a:pt x="1668780" y="124866"/>
                  </a:lnTo>
                  <a:lnTo>
                    <a:pt x="1660944" y="129946"/>
                  </a:lnTo>
                  <a:lnTo>
                    <a:pt x="1643672" y="137566"/>
                  </a:lnTo>
                  <a:lnTo>
                    <a:pt x="1651304" y="137566"/>
                  </a:lnTo>
                  <a:lnTo>
                    <a:pt x="1648879" y="142646"/>
                  </a:lnTo>
                  <a:lnTo>
                    <a:pt x="1656080" y="138836"/>
                  </a:lnTo>
                  <a:lnTo>
                    <a:pt x="1655330" y="143916"/>
                  </a:lnTo>
                  <a:lnTo>
                    <a:pt x="1660461" y="138836"/>
                  </a:lnTo>
                  <a:lnTo>
                    <a:pt x="1665033" y="137566"/>
                  </a:lnTo>
                  <a:lnTo>
                    <a:pt x="1662950" y="143916"/>
                  </a:lnTo>
                  <a:lnTo>
                    <a:pt x="1660766" y="145122"/>
                  </a:lnTo>
                  <a:lnTo>
                    <a:pt x="1660766" y="166776"/>
                  </a:lnTo>
                  <a:lnTo>
                    <a:pt x="1656041" y="174167"/>
                  </a:lnTo>
                  <a:lnTo>
                    <a:pt x="1656041" y="211226"/>
                  </a:lnTo>
                  <a:lnTo>
                    <a:pt x="1651457" y="216306"/>
                  </a:lnTo>
                  <a:lnTo>
                    <a:pt x="1651228" y="216039"/>
                  </a:lnTo>
                  <a:lnTo>
                    <a:pt x="1651228" y="216306"/>
                  </a:lnTo>
                  <a:lnTo>
                    <a:pt x="1647329" y="221386"/>
                  </a:lnTo>
                  <a:lnTo>
                    <a:pt x="1645170" y="222656"/>
                  </a:lnTo>
                  <a:lnTo>
                    <a:pt x="1640344" y="219456"/>
                  </a:lnTo>
                  <a:lnTo>
                    <a:pt x="1640344" y="229006"/>
                  </a:lnTo>
                  <a:lnTo>
                    <a:pt x="1639760" y="232816"/>
                  </a:lnTo>
                  <a:lnTo>
                    <a:pt x="1639277" y="232816"/>
                  </a:lnTo>
                  <a:lnTo>
                    <a:pt x="1634299" y="230276"/>
                  </a:lnTo>
                  <a:lnTo>
                    <a:pt x="1640344" y="229006"/>
                  </a:lnTo>
                  <a:lnTo>
                    <a:pt x="1640344" y="219456"/>
                  </a:lnTo>
                  <a:lnTo>
                    <a:pt x="1639443" y="218846"/>
                  </a:lnTo>
                  <a:lnTo>
                    <a:pt x="1641386" y="217576"/>
                  </a:lnTo>
                  <a:lnTo>
                    <a:pt x="1639163" y="215036"/>
                  </a:lnTo>
                  <a:lnTo>
                    <a:pt x="1639646" y="213766"/>
                  </a:lnTo>
                  <a:lnTo>
                    <a:pt x="1639900" y="213766"/>
                  </a:lnTo>
                  <a:lnTo>
                    <a:pt x="1640370" y="212496"/>
                  </a:lnTo>
                  <a:lnTo>
                    <a:pt x="1641830" y="212496"/>
                  </a:lnTo>
                  <a:lnTo>
                    <a:pt x="1644700" y="218846"/>
                  </a:lnTo>
                  <a:lnTo>
                    <a:pt x="1645373" y="213766"/>
                  </a:lnTo>
                  <a:lnTo>
                    <a:pt x="1651228" y="216306"/>
                  </a:lnTo>
                  <a:lnTo>
                    <a:pt x="1651228" y="216039"/>
                  </a:lnTo>
                  <a:lnTo>
                    <a:pt x="1649336" y="213766"/>
                  </a:lnTo>
                  <a:lnTo>
                    <a:pt x="1648282" y="212496"/>
                  </a:lnTo>
                  <a:lnTo>
                    <a:pt x="1647215" y="211226"/>
                  </a:lnTo>
                  <a:lnTo>
                    <a:pt x="1650365" y="211226"/>
                  </a:lnTo>
                  <a:lnTo>
                    <a:pt x="1650225" y="208686"/>
                  </a:lnTo>
                  <a:lnTo>
                    <a:pt x="1651914" y="207416"/>
                  </a:lnTo>
                  <a:lnTo>
                    <a:pt x="1653603" y="206146"/>
                  </a:lnTo>
                  <a:lnTo>
                    <a:pt x="1652231" y="212496"/>
                  </a:lnTo>
                  <a:lnTo>
                    <a:pt x="1656041" y="211226"/>
                  </a:lnTo>
                  <a:lnTo>
                    <a:pt x="1656041" y="174167"/>
                  </a:lnTo>
                  <a:lnTo>
                    <a:pt x="1655076" y="175666"/>
                  </a:lnTo>
                  <a:lnTo>
                    <a:pt x="1653794" y="179476"/>
                  </a:lnTo>
                  <a:lnTo>
                    <a:pt x="1651508" y="182016"/>
                  </a:lnTo>
                  <a:lnTo>
                    <a:pt x="1649958" y="183286"/>
                  </a:lnTo>
                  <a:lnTo>
                    <a:pt x="1642567" y="188366"/>
                  </a:lnTo>
                  <a:lnTo>
                    <a:pt x="1636839" y="187261"/>
                  </a:lnTo>
                  <a:lnTo>
                    <a:pt x="1636839" y="227736"/>
                  </a:lnTo>
                  <a:lnTo>
                    <a:pt x="1633220" y="229006"/>
                  </a:lnTo>
                  <a:lnTo>
                    <a:pt x="1630299" y="227736"/>
                  </a:lnTo>
                  <a:lnTo>
                    <a:pt x="1629905" y="226834"/>
                  </a:lnTo>
                  <a:lnTo>
                    <a:pt x="1629905" y="366166"/>
                  </a:lnTo>
                  <a:lnTo>
                    <a:pt x="1625104" y="367436"/>
                  </a:lnTo>
                  <a:lnTo>
                    <a:pt x="1621155" y="359816"/>
                  </a:lnTo>
                  <a:lnTo>
                    <a:pt x="1629905" y="366166"/>
                  </a:lnTo>
                  <a:lnTo>
                    <a:pt x="1629905" y="226834"/>
                  </a:lnTo>
                  <a:lnTo>
                    <a:pt x="1628089" y="222656"/>
                  </a:lnTo>
                  <a:lnTo>
                    <a:pt x="1636839" y="227736"/>
                  </a:lnTo>
                  <a:lnTo>
                    <a:pt x="1636839" y="187261"/>
                  </a:lnTo>
                  <a:lnTo>
                    <a:pt x="1622933" y="184556"/>
                  </a:lnTo>
                  <a:lnTo>
                    <a:pt x="1630959" y="183286"/>
                  </a:lnTo>
                  <a:lnTo>
                    <a:pt x="1630895" y="180746"/>
                  </a:lnTo>
                  <a:lnTo>
                    <a:pt x="1630870" y="179476"/>
                  </a:lnTo>
                  <a:lnTo>
                    <a:pt x="1638287" y="185826"/>
                  </a:lnTo>
                  <a:lnTo>
                    <a:pt x="1637906" y="179476"/>
                  </a:lnTo>
                  <a:lnTo>
                    <a:pt x="1643557" y="174396"/>
                  </a:lnTo>
                  <a:lnTo>
                    <a:pt x="1642465" y="174396"/>
                  </a:lnTo>
                  <a:lnTo>
                    <a:pt x="1648828" y="169316"/>
                  </a:lnTo>
                  <a:lnTo>
                    <a:pt x="1649336" y="174396"/>
                  </a:lnTo>
                  <a:lnTo>
                    <a:pt x="1660766" y="166776"/>
                  </a:lnTo>
                  <a:lnTo>
                    <a:pt x="1660766" y="145122"/>
                  </a:lnTo>
                  <a:lnTo>
                    <a:pt x="1653692" y="148996"/>
                  </a:lnTo>
                  <a:lnTo>
                    <a:pt x="1648637" y="150266"/>
                  </a:lnTo>
                  <a:lnTo>
                    <a:pt x="1652422" y="154076"/>
                  </a:lnTo>
                  <a:lnTo>
                    <a:pt x="1644180" y="157886"/>
                  </a:lnTo>
                  <a:lnTo>
                    <a:pt x="1652587" y="157886"/>
                  </a:lnTo>
                  <a:lnTo>
                    <a:pt x="1650301" y="161696"/>
                  </a:lnTo>
                  <a:lnTo>
                    <a:pt x="1640928" y="164757"/>
                  </a:lnTo>
                  <a:lnTo>
                    <a:pt x="1640928" y="174396"/>
                  </a:lnTo>
                  <a:lnTo>
                    <a:pt x="1635480" y="174396"/>
                  </a:lnTo>
                  <a:lnTo>
                    <a:pt x="1636979" y="170586"/>
                  </a:lnTo>
                  <a:lnTo>
                    <a:pt x="1638846" y="169316"/>
                  </a:lnTo>
                  <a:lnTo>
                    <a:pt x="1640903" y="169316"/>
                  </a:lnTo>
                  <a:lnTo>
                    <a:pt x="1640928" y="174396"/>
                  </a:lnTo>
                  <a:lnTo>
                    <a:pt x="1640928" y="164757"/>
                  </a:lnTo>
                  <a:lnTo>
                    <a:pt x="1638604" y="165506"/>
                  </a:lnTo>
                  <a:lnTo>
                    <a:pt x="1636344" y="166776"/>
                  </a:lnTo>
                  <a:lnTo>
                    <a:pt x="1638528" y="164236"/>
                  </a:lnTo>
                  <a:lnTo>
                    <a:pt x="1639963" y="161696"/>
                  </a:lnTo>
                  <a:lnTo>
                    <a:pt x="1621383" y="169316"/>
                  </a:lnTo>
                  <a:lnTo>
                    <a:pt x="1617726" y="162966"/>
                  </a:lnTo>
                  <a:lnTo>
                    <a:pt x="1616989" y="161696"/>
                  </a:lnTo>
                  <a:lnTo>
                    <a:pt x="1624355" y="166776"/>
                  </a:lnTo>
                  <a:lnTo>
                    <a:pt x="1624368" y="162966"/>
                  </a:lnTo>
                  <a:lnTo>
                    <a:pt x="1631442" y="162966"/>
                  </a:lnTo>
                  <a:lnTo>
                    <a:pt x="1630616" y="161696"/>
                  </a:lnTo>
                  <a:lnTo>
                    <a:pt x="1629778" y="160426"/>
                  </a:lnTo>
                  <a:lnTo>
                    <a:pt x="1628952" y="159156"/>
                  </a:lnTo>
                  <a:lnTo>
                    <a:pt x="1635290" y="157886"/>
                  </a:lnTo>
                  <a:lnTo>
                    <a:pt x="1630870" y="155346"/>
                  </a:lnTo>
                  <a:lnTo>
                    <a:pt x="1623669" y="152806"/>
                  </a:lnTo>
                  <a:lnTo>
                    <a:pt x="1631543" y="151536"/>
                  </a:lnTo>
                  <a:lnTo>
                    <a:pt x="1626285" y="147726"/>
                  </a:lnTo>
                  <a:lnTo>
                    <a:pt x="1629905" y="143916"/>
                  </a:lnTo>
                  <a:lnTo>
                    <a:pt x="1631111" y="142646"/>
                  </a:lnTo>
                  <a:lnTo>
                    <a:pt x="1625460" y="143916"/>
                  </a:lnTo>
                  <a:lnTo>
                    <a:pt x="1622031" y="142646"/>
                  </a:lnTo>
                  <a:lnTo>
                    <a:pt x="1624228" y="140106"/>
                  </a:lnTo>
                  <a:lnTo>
                    <a:pt x="1625333" y="138836"/>
                  </a:lnTo>
                  <a:lnTo>
                    <a:pt x="1615973" y="140106"/>
                  </a:lnTo>
                  <a:lnTo>
                    <a:pt x="1622094" y="135026"/>
                  </a:lnTo>
                  <a:lnTo>
                    <a:pt x="1619719" y="133756"/>
                  </a:lnTo>
                  <a:lnTo>
                    <a:pt x="1616125" y="132486"/>
                  </a:lnTo>
                  <a:lnTo>
                    <a:pt x="1614868" y="117246"/>
                  </a:lnTo>
                  <a:lnTo>
                    <a:pt x="1613725" y="112166"/>
                  </a:lnTo>
                  <a:lnTo>
                    <a:pt x="1612125" y="114706"/>
                  </a:lnTo>
                  <a:lnTo>
                    <a:pt x="1611820" y="126136"/>
                  </a:lnTo>
                  <a:lnTo>
                    <a:pt x="1609674" y="131216"/>
                  </a:lnTo>
                  <a:lnTo>
                    <a:pt x="1605343" y="133756"/>
                  </a:lnTo>
                  <a:lnTo>
                    <a:pt x="1609217" y="136296"/>
                  </a:lnTo>
                  <a:lnTo>
                    <a:pt x="1598790" y="141376"/>
                  </a:lnTo>
                  <a:lnTo>
                    <a:pt x="1602701" y="143916"/>
                  </a:lnTo>
                  <a:lnTo>
                    <a:pt x="1599806" y="146456"/>
                  </a:lnTo>
                  <a:lnTo>
                    <a:pt x="1608645" y="148996"/>
                  </a:lnTo>
                  <a:lnTo>
                    <a:pt x="1601101" y="152806"/>
                  </a:lnTo>
                  <a:lnTo>
                    <a:pt x="1593710" y="154076"/>
                  </a:lnTo>
                  <a:lnTo>
                    <a:pt x="1600809" y="156616"/>
                  </a:lnTo>
                  <a:lnTo>
                    <a:pt x="1599666" y="162966"/>
                  </a:lnTo>
                  <a:lnTo>
                    <a:pt x="1604340" y="160426"/>
                  </a:lnTo>
                  <a:lnTo>
                    <a:pt x="1604225" y="165506"/>
                  </a:lnTo>
                  <a:lnTo>
                    <a:pt x="1608467" y="162966"/>
                  </a:lnTo>
                  <a:lnTo>
                    <a:pt x="1601927" y="169316"/>
                  </a:lnTo>
                  <a:lnTo>
                    <a:pt x="1597761" y="168046"/>
                  </a:lnTo>
                  <a:lnTo>
                    <a:pt x="1581124" y="162966"/>
                  </a:lnTo>
                  <a:lnTo>
                    <a:pt x="1584045" y="166776"/>
                  </a:lnTo>
                  <a:lnTo>
                    <a:pt x="1579930" y="169316"/>
                  </a:lnTo>
                  <a:lnTo>
                    <a:pt x="1588274" y="168046"/>
                  </a:lnTo>
                  <a:lnTo>
                    <a:pt x="1581543" y="173126"/>
                  </a:lnTo>
                  <a:lnTo>
                    <a:pt x="1587893" y="175666"/>
                  </a:lnTo>
                  <a:lnTo>
                    <a:pt x="1579727" y="183286"/>
                  </a:lnTo>
                  <a:lnTo>
                    <a:pt x="1586014" y="182016"/>
                  </a:lnTo>
                  <a:lnTo>
                    <a:pt x="1588973" y="185826"/>
                  </a:lnTo>
                  <a:lnTo>
                    <a:pt x="1593507" y="182016"/>
                  </a:lnTo>
                  <a:lnTo>
                    <a:pt x="1595018" y="180746"/>
                  </a:lnTo>
                  <a:lnTo>
                    <a:pt x="1589366" y="192176"/>
                  </a:lnTo>
                  <a:lnTo>
                    <a:pt x="1594700" y="188366"/>
                  </a:lnTo>
                  <a:lnTo>
                    <a:pt x="1599171" y="190906"/>
                  </a:lnTo>
                  <a:lnTo>
                    <a:pt x="1600708" y="188366"/>
                  </a:lnTo>
                  <a:lnTo>
                    <a:pt x="1603781" y="183286"/>
                  </a:lnTo>
                  <a:lnTo>
                    <a:pt x="1605254" y="188366"/>
                  </a:lnTo>
                  <a:lnTo>
                    <a:pt x="1594548" y="195986"/>
                  </a:lnTo>
                  <a:lnTo>
                    <a:pt x="1575968" y="199796"/>
                  </a:lnTo>
                  <a:lnTo>
                    <a:pt x="1576844" y="201066"/>
                  </a:lnTo>
                  <a:lnTo>
                    <a:pt x="1577441" y="202336"/>
                  </a:lnTo>
                  <a:lnTo>
                    <a:pt x="1568627" y="202336"/>
                  </a:lnTo>
                  <a:lnTo>
                    <a:pt x="1577759" y="208686"/>
                  </a:lnTo>
                  <a:lnTo>
                    <a:pt x="1574012" y="212496"/>
                  </a:lnTo>
                  <a:lnTo>
                    <a:pt x="1588681" y="207416"/>
                  </a:lnTo>
                  <a:lnTo>
                    <a:pt x="1578127" y="220116"/>
                  </a:lnTo>
                  <a:lnTo>
                    <a:pt x="1585112" y="218846"/>
                  </a:lnTo>
                  <a:lnTo>
                    <a:pt x="1585747" y="223926"/>
                  </a:lnTo>
                  <a:lnTo>
                    <a:pt x="1589151" y="218846"/>
                  </a:lnTo>
                  <a:lnTo>
                    <a:pt x="1590852" y="216306"/>
                  </a:lnTo>
                  <a:lnTo>
                    <a:pt x="1594015" y="221386"/>
                  </a:lnTo>
                  <a:lnTo>
                    <a:pt x="1594827" y="216306"/>
                  </a:lnTo>
                  <a:lnTo>
                    <a:pt x="1595234" y="213766"/>
                  </a:lnTo>
                  <a:lnTo>
                    <a:pt x="1598218" y="213766"/>
                  </a:lnTo>
                  <a:lnTo>
                    <a:pt x="1600187" y="218846"/>
                  </a:lnTo>
                  <a:lnTo>
                    <a:pt x="1591564" y="225196"/>
                  </a:lnTo>
                  <a:lnTo>
                    <a:pt x="1598460" y="227736"/>
                  </a:lnTo>
                  <a:lnTo>
                    <a:pt x="1596085" y="232816"/>
                  </a:lnTo>
                  <a:lnTo>
                    <a:pt x="1595894" y="232867"/>
                  </a:lnTo>
                  <a:lnTo>
                    <a:pt x="1595894" y="249326"/>
                  </a:lnTo>
                  <a:lnTo>
                    <a:pt x="1594180" y="251866"/>
                  </a:lnTo>
                  <a:lnTo>
                    <a:pt x="1591652" y="255676"/>
                  </a:lnTo>
                  <a:lnTo>
                    <a:pt x="1582928" y="259803"/>
                  </a:lnTo>
                  <a:lnTo>
                    <a:pt x="1582928" y="298856"/>
                  </a:lnTo>
                  <a:lnTo>
                    <a:pt x="1580578" y="302666"/>
                  </a:lnTo>
                  <a:lnTo>
                    <a:pt x="1578876" y="302666"/>
                  </a:lnTo>
                  <a:lnTo>
                    <a:pt x="1578876" y="314096"/>
                  </a:lnTo>
                  <a:lnTo>
                    <a:pt x="1577606" y="315366"/>
                  </a:lnTo>
                  <a:lnTo>
                    <a:pt x="1575130" y="316636"/>
                  </a:lnTo>
                  <a:lnTo>
                    <a:pt x="1569669" y="312826"/>
                  </a:lnTo>
                  <a:lnTo>
                    <a:pt x="1570634" y="310286"/>
                  </a:lnTo>
                  <a:lnTo>
                    <a:pt x="1576755" y="312826"/>
                  </a:lnTo>
                  <a:lnTo>
                    <a:pt x="1578876" y="314096"/>
                  </a:lnTo>
                  <a:lnTo>
                    <a:pt x="1578876" y="302666"/>
                  </a:lnTo>
                  <a:lnTo>
                    <a:pt x="1577555" y="302666"/>
                  </a:lnTo>
                  <a:lnTo>
                    <a:pt x="1578178" y="300126"/>
                  </a:lnTo>
                  <a:lnTo>
                    <a:pt x="1580349" y="291236"/>
                  </a:lnTo>
                  <a:lnTo>
                    <a:pt x="1580654" y="289966"/>
                  </a:lnTo>
                  <a:lnTo>
                    <a:pt x="1580819" y="298856"/>
                  </a:lnTo>
                  <a:lnTo>
                    <a:pt x="1582928" y="298856"/>
                  </a:lnTo>
                  <a:lnTo>
                    <a:pt x="1582928" y="259803"/>
                  </a:lnTo>
                  <a:lnTo>
                    <a:pt x="1578229" y="262026"/>
                  </a:lnTo>
                  <a:lnTo>
                    <a:pt x="1569707" y="259486"/>
                  </a:lnTo>
                  <a:lnTo>
                    <a:pt x="1569034" y="258216"/>
                  </a:lnTo>
                  <a:lnTo>
                    <a:pt x="1572145" y="256946"/>
                  </a:lnTo>
                  <a:lnTo>
                    <a:pt x="1570139" y="256298"/>
                  </a:lnTo>
                  <a:lnTo>
                    <a:pt x="1575955" y="249326"/>
                  </a:lnTo>
                  <a:lnTo>
                    <a:pt x="1574368" y="258216"/>
                  </a:lnTo>
                  <a:lnTo>
                    <a:pt x="1580705" y="254406"/>
                  </a:lnTo>
                  <a:lnTo>
                    <a:pt x="1583893" y="258216"/>
                  </a:lnTo>
                  <a:lnTo>
                    <a:pt x="1584401" y="254406"/>
                  </a:lnTo>
                  <a:lnTo>
                    <a:pt x="1585074" y="249326"/>
                  </a:lnTo>
                  <a:lnTo>
                    <a:pt x="1585239" y="248056"/>
                  </a:lnTo>
                  <a:lnTo>
                    <a:pt x="1588757" y="251866"/>
                  </a:lnTo>
                  <a:lnTo>
                    <a:pt x="1595894" y="249326"/>
                  </a:lnTo>
                  <a:lnTo>
                    <a:pt x="1595894" y="232867"/>
                  </a:lnTo>
                  <a:lnTo>
                    <a:pt x="1571955" y="238582"/>
                  </a:lnTo>
                  <a:lnTo>
                    <a:pt x="1571955" y="246786"/>
                  </a:lnTo>
                  <a:lnTo>
                    <a:pt x="1569783" y="256184"/>
                  </a:lnTo>
                  <a:lnTo>
                    <a:pt x="1565871" y="254939"/>
                  </a:lnTo>
                  <a:lnTo>
                    <a:pt x="1565871" y="273456"/>
                  </a:lnTo>
                  <a:lnTo>
                    <a:pt x="1564538" y="273773"/>
                  </a:lnTo>
                  <a:lnTo>
                    <a:pt x="1564538" y="321716"/>
                  </a:lnTo>
                  <a:lnTo>
                    <a:pt x="1559814" y="322986"/>
                  </a:lnTo>
                  <a:lnTo>
                    <a:pt x="1559267" y="321716"/>
                  </a:lnTo>
                  <a:lnTo>
                    <a:pt x="1559102" y="320446"/>
                  </a:lnTo>
                  <a:lnTo>
                    <a:pt x="1558925" y="319176"/>
                  </a:lnTo>
                  <a:lnTo>
                    <a:pt x="1558163" y="318579"/>
                  </a:lnTo>
                  <a:lnTo>
                    <a:pt x="1558163" y="324256"/>
                  </a:lnTo>
                  <a:lnTo>
                    <a:pt x="1555864" y="324256"/>
                  </a:lnTo>
                  <a:lnTo>
                    <a:pt x="1554721" y="325526"/>
                  </a:lnTo>
                  <a:lnTo>
                    <a:pt x="1552422" y="325526"/>
                  </a:lnTo>
                  <a:lnTo>
                    <a:pt x="1550746" y="324256"/>
                  </a:lnTo>
                  <a:lnTo>
                    <a:pt x="1544942" y="316636"/>
                  </a:lnTo>
                  <a:lnTo>
                    <a:pt x="1543596" y="312826"/>
                  </a:lnTo>
                  <a:lnTo>
                    <a:pt x="1543761" y="312826"/>
                  </a:lnTo>
                  <a:lnTo>
                    <a:pt x="1549933" y="320446"/>
                  </a:lnTo>
                  <a:lnTo>
                    <a:pt x="1552943" y="322986"/>
                  </a:lnTo>
                  <a:lnTo>
                    <a:pt x="1553921" y="320446"/>
                  </a:lnTo>
                  <a:lnTo>
                    <a:pt x="1558163" y="324256"/>
                  </a:lnTo>
                  <a:lnTo>
                    <a:pt x="1558163" y="318579"/>
                  </a:lnTo>
                  <a:lnTo>
                    <a:pt x="1555686" y="316636"/>
                  </a:lnTo>
                  <a:lnTo>
                    <a:pt x="1556588" y="312826"/>
                  </a:lnTo>
                  <a:lnTo>
                    <a:pt x="1559356" y="314096"/>
                  </a:lnTo>
                  <a:lnTo>
                    <a:pt x="1558620" y="317906"/>
                  </a:lnTo>
                  <a:lnTo>
                    <a:pt x="1562620" y="316636"/>
                  </a:lnTo>
                  <a:lnTo>
                    <a:pt x="1564538" y="321716"/>
                  </a:lnTo>
                  <a:lnTo>
                    <a:pt x="1564538" y="273773"/>
                  </a:lnTo>
                  <a:lnTo>
                    <a:pt x="1560499" y="274726"/>
                  </a:lnTo>
                  <a:lnTo>
                    <a:pt x="1559572" y="273456"/>
                  </a:lnTo>
                  <a:lnTo>
                    <a:pt x="1562188" y="268376"/>
                  </a:lnTo>
                  <a:lnTo>
                    <a:pt x="1564398" y="272186"/>
                  </a:lnTo>
                  <a:lnTo>
                    <a:pt x="1565871" y="273456"/>
                  </a:lnTo>
                  <a:lnTo>
                    <a:pt x="1565871" y="254939"/>
                  </a:lnTo>
                  <a:lnTo>
                    <a:pt x="1564233" y="254406"/>
                  </a:lnTo>
                  <a:lnTo>
                    <a:pt x="1560283" y="253136"/>
                  </a:lnTo>
                  <a:lnTo>
                    <a:pt x="1556575" y="251955"/>
                  </a:lnTo>
                  <a:lnTo>
                    <a:pt x="1556575" y="286156"/>
                  </a:lnTo>
                  <a:lnTo>
                    <a:pt x="1553667" y="289966"/>
                  </a:lnTo>
                  <a:lnTo>
                    <a:pt x="1550035" y="291236"/>
                  </a:lnTo>
                  <a:lnTo>
                    <a:pt x="1545259" y="287426"/>
                  </a:lnTo>
                  <a:lnTo>
                    <a:pt x="1543862" y="283616"/>
                  </a:lnTo>
                  <a:lnTo>
                    <a:pt x="1542923" y="281076"/>
                  </a:lnTo>
                  <a:lnTo>
                    <a:pt x="1543481" y="277266"/>
                  </a:lnTo>
                  <a:lnTo>
                    <a:pt x="1550022" y="284886"/>
                  </a:lnTo>
                  <a:lnTo>
                    <a:pt x="1550009" y="286156"/>
                  </a:lnTo>
                  <a:lnTo>
                    <a:pt x="1551965" y="287426"/>
                  </a:lnTo>
                  <a:lnTo>
                    <a:pt x="1551546" y="284886"/>
                  </a:lnTo>
                  <a:lnTo>
                    <a:pt x="1552409" y="283616"/>
                  </a:lnTo>
                  <a:lnTo>
                    <a:pt x="1553679" y="282346"/>
                  </a:lnTo>
                  <a:lnTo>
                    <a:pt x="1554111" y="286156"/>
                  </a:lnTo>
                  <a:lnTo>
                    <a:pt x="1556575" y="286156"/>
                  </a:lnTo>
                  <a:lnTo>
                    <a:pt x="1556575" y="251955"/>
                  </a:lnTo>
                  <a:lnTo>
                    <a:pt x="1552371" y="250596"/>
                  </a:lnTo>
                  <a:lnTo>
                    <a:pt x="1549400" y="246786"/>
                  </a:lnTo>
                  <a:lnTo>
                    <a:pt x="1544459" y="240436"/>
                  </a:lnTo>
                  <a:lnTo>
                    <a:pt x="1543380" y="235356"/>
                  </a:lnTo>
                  <a:lnTo>
                    <a:pt x="1546034" y="235356"/>
                  </a:lnTo>
                  <a:lnTo>
                    <a:pt x="1554543" y="246786"/>
                  </a:lnTo>
                  <a:lnTo>
                    <a:pt x="1554873" y="244246"/>
                  </a:lnTo>
                  <a:lnTo>
                    <a:pt x="1554327" y="240436"/>
                  </a:lnTo>
                  <a:lnTo>
                    <a:pt x="1555597" y="239166"/>
                  </a:lnTo>
                  <a:lnTo>
                    <a:pt x="1556753" y="241706"/>
                  </a:lnTo>
                  <a:lnTo>
                    <a:pt x="1557540" y="242976"/>
                  </a:lnTo>
                  <a:lnTo>
                    <a:pt x="1558010" y="242976"/>
                  </a:lnTo>
                  <a:lnTo>
                    <a:pt x="1562468" y="248056"/>
                  </a:lnTo>
                  <a:lnTo>
                    <a:pt x="1562265" y="245516"/>
                  </a:lnTo>
                  <a:lnTo>
                    <a:pt x="1564005" y="245516"/>
                  </a:lnTo>
                  <a:lnTo>
                    <a:pt x="1560576" y="253136"/>
                  </a:lnTo>
                  <a:lnTo>
                    <a:pt x="1571955" y="246786"/>
                  </a:lnTo>
                  <a:lnTo>
                    <a:pt x="1571955" y="238582"/>
                  </a:lnTo>
                  <a:lnTo>
                    <a:pt x="1569453" y="239166"/>
                  </a:lnTo>
                  <a:lnTo>
                    <a:pt x="1569021" y="239166"/>
                  </a:lnTo>
                  <a:lnTo>
                    <a:pt x="1577898" y="236626"/>
                  </a:lnTo>
                  <a:lnTo>
                    <a:pt x="1566202" y="235356"/>
                  </a:lnTo>
                  <a:lnTo>
                    <a:pt x="1559953" y="234086"/>
                  </a:lnTo>
                  <a:lnTo>
                    <a:pt x="1562354" y="232816"/>
                  </a:lnTo>
                  <a:lnTo>
                    <a:pt x="1563979" y="231546"/>
                  </a:lnTo>
                  <a:lnTo>
                    <a:pt x="1549920" y="227736"/>
                  </a:lnTo>
                  <a:lnTo>
                    <a:pt x="1543989" y="222656"/>
                  </a:lnTo>
                  <a:lnTo>
                    <a:pt x="1544129" y="221386"/>
                  </a:lnTo>
                  <a:lnTo>
                    <a:pt x="1544256" y="220116"/>
                  </a:lnTo>
                  <a:lnTo>
                    <a:pt x="1551546" y="221386"/>
                  </a:lnTo>
                  <a:lnTo>
                    <a:pt x="1550250" y="220116"/>
                  </a:lnTo>
                  <a:lnTo>
                    <a:pt x="1545056" y="215036"/>
                  </a:lnTo>
                  <a:lnTo>
                    <a:pt x="1541170" y="211226"/>
                  </a:lnTo>
                  <a:lnTo>
                    <a:pt x="1547088" y="211226"/>
                  </a:lnTo>
                  <a:lnTo>
                    <a:pt x="1554988" y="215036"/>
                  </a:lnTo>
                  <a:lnTo>
                    <a:pt x="1555013" y="211226"/>
                  </a:lnTo>
                  <a:lnTo>
                    <a:pt x="1555038" y="207416"/>
                  </a:lnTo>
                  <a:lnTo>
                    <a:pt x="1561211" y="203606"/>
                  </a:lnTo>
                  <a:lnTo>
                    <a:pt x="1545234" y="203606"/>
                  </a:lnTo>
                  <a:lnTo>
                    <a:pt x="1540522" y="201066"/>
                  </a:lnTo>
                  <a:lnTo>
                    <a:pt x="1538160" y="199796"/>
                  </a:lnTo>
                  <a:lnTo>
                    <a:pt x="1538490" y="198526"/>
                  </a:lnTo>
                  <a:lnTo>
                    <a:pt x="1538820" y="197256"/>
                  </a:lnTo>
                  <a:lnTo>
                    <a:pt x="1548701" y="201066"/>
                  </a:lnTo>
                  <a:lnTo>
                    <a:pt x="1547825" y="195986"/>
                  </a:lnTo>
                  <a:lnTo>
                    <a:pt x="1555496" y="197256"/>
                  </a:lnTo>
                  <a:lnTo>
                    <a:pt x="1555076" y="195986"/>
                  </a:lnTo>
                  <a:lnTo>
                    <a:pt x="1553819" y="192176"/>
                  </a:lnTo>
                  <a:lnTo>
                    <a:pt x="1554683" y="190906"/>
                  </a:lnTo>
                  <a:lnTo>
                    <a:pt x="1558963" y="184556"/>
                  </a:lnTo>
                  <a:lnTo>
                    <a:pt x="1543608" y="190906"/>
                  </a:lnTo>
                  <a:lnTo>
                    <a:pt x="1537284" y="188366"/>
                  </a:lnTo>
                  <a:lnTo>
                    <a:pt x="1538693" y="184556"/>
                  </a:lnTo>
                  <a:lnTo>
                    <a:pt x="1539608" y="183286"/>
                  </a:lnTo>
                  <a:lnTo>
                    <a:pt x="1546021" y="183286"/>
                  </a:lnTo>
                  <a:lnTo>
                    <a:pt x="1544472" y="180746"/>
                  </a:lnTo>
                  <a:lnTo>
                    <a:pt x="1547152" y="176936"/>
                  </a:lnTo>
                  <a:lnTo>
                    <a:pt x="1548930" y="174396"/>
                  </a:lnTo>
                  <a:lnTo>
                    <a:pt x="1539189" y="176936"/>
                  </a:lnTo>
                  <a:lnTo>
                    <a:pt x="1537373" y="173126"/>
                  </a:lnTo>
                  <a:lnTo>
                    <a:pt x="1538986" y="170586"/>
                  </a:lnTo>
                  <a:lnTo>
                    <a:pt x="1540598" y="168046"/>
                  </a:lnTo>
                  <a:lnTo>
                    <a:pt x="1538312" y="170586"/>
                  </a:lnTo>
                  <a:lnTo>
                    <a:pt x="1534998" y="166776"/>
                  </a:lnTo>
                  <a:lnTo>
                    <a:pt x="1535226" y="150266"/>
                  </a:lnTo>
                  <a:lnTo>
                    <a:pt x="1533271" y="148996"/>
                  </a:lnTo>
                  <a:lnTo>
                    <a:pt x="1532115" y="152806"/>
                  </a:lnTo>
                  <a:lnTo>
                    <a:pt x="1531937" y="162966"/>
                  </a:lnTo>
                  <a:lnTo>
                    <a:pt x="1528762" y="168046"/>
                  </a:lnTo>
                  <a:lnTo>
                    <a:pt x="1523669" y="168046"/>
                  </a:lnTo>
                  <a:lnTo>
                    <a:pt x="1528660" y="171856"/>
                  </a:lnTo>
                  <a:lnTo>
                    <a:pt x="1529664" y="176936"/>
                  </a:lnTo>
                  <a:lnTo>
                    <a:pt x="1515554" y="173126"/>
                  </a:lnTo>
                  <a:lnTo>
                    <a:pt x="1521206" y="179476"/>
                  </a:lnTo>
                  <a:lnTo>
                    <a:pt x="1519643" y="184556"/>
                  </a:lnTo>
                  <a:lnTo>
                    <a:pt x="1524901" y="183286"/>
                  </a:lnTo>
                  <a:lnTo>
                    <a:pt x="1528635" y="183286"/>
                  </a:lnTo>
                  <a:lnTo>
                    <a:pt x="1528292" y="185826"/>
                  </a:lnTo>
                  <a:lnTo>
                    <a:pt x="1528038" y="187096"/>
                  </a:lnTo>
                  <a:lnTo>
                    <a:pt x="1521561" y="187096"/>
                  </a:lnTo>
                  <a:lnTo>
                    <a:pt x="1523098" y="190906"/>
                  </a:lnTo>
                  <a:lnTo>
                    <a:pt x="1526286" y="192176"/>
                  </a:lnTo>
                  <a:lnTo>
                    <a:pt x="1522590" y="192176"/>
                  </a:lnTo>
                  <a:lnTo>
                    <a:pt x="1513446" y="189636"/>
                  </a:lnTo>
                  <a:lnTo>
                    <a:pt x="1505216" y="185826"/>
                  </a:lnTo>
                  <a:lnTo>
                    <a:pt x="1507147" y="190906"/>
                  </a:lnTo>
                  <a:lnTo>
                    <a:pt x="1508455" y="194716"/>
                  </a:lnTo>
                  <a:lnTo>
                    <a:pt x="1504886" y="197256"/>
                  </a:lnTo>
                  <a:lnTo>
                    <a:pt x="1508429" y="197256"/>
                  </a:lnTo>
                  <a:lnTo>
                    <a:pt x="1505661" y="203606"/>
                  </a:lnTo>
                  <a:lnTo>
                    <a:pt x="1515541" y="198526"/>
                  </a:lnTo>
                  <a:lnTo>
                    <a:pt x="1515529" y="203606"/>
                  </a:lnTo>
                  <a:lnTo>
                    <a:pt x="1522882" y="201066"/>
                  </a:lnTo>
                  <a:lnTo>
                    <a:pt x="1524469" y="206146"/>
                  </a:lnTo>
                  <a:lnTo>
                    <a:pt x="1518335" y="208686"/>
                  </a:lnTo>
                  <a:lnTo>
                    <a:pt x="1504975" y="208686"/>
                  </a:lnTo>
                  <a:lnTo>
                    <a:pt x="1509318" y="212496"/>
                  </a:lnTo>
                  <a:lnTo>
                    <a:pt x="1506385" y="218846"/>
                  </a:lnTo>
                  <a:lnTo>
                    <a:pt x="1515719" y="215036"/>
                  </a:lnTo>
                  <a:lnTo>
                    <a:pt x="1515783" y="218846"/>
                  </a:lnTo>
                  <a:lnTo>
                    <a:pt x="1510106" y="223926"/>
                  </a:lnTo>
                  <a:lnTo>
                    <a:pt x="1520685" y="221386"/>
                  </a:lnTo>
                  <a:lnTo>
                    <a:pt x="1523250" y="223926"/>
                  </a:lnTo>
                  <a:lnTo>
                    <a:pt x="1518158" y="230276"/>
                  </a:lnTo>
                  <a:lnTo>
                    <a:pt x="1501533" y="237896"/>
                  </a:lnTo>
                  <a:lnTo>
                    <a:pt x="1486027" y="237896"/>
                  </a:lnTo>
                  <a:lnTo>
                    <a:pt x="1490764" y="244246"/>
                  </a:lnTo>
                  <a:lnTo>
                    <a:pt x="1484757" y="251866"/>
                  </a:lnTo>
                  <a:lnTo>
                    <a:pt x="1496860" y="246786"/>
                  </a:lnTo>
                  <a:lnTo>
                    <a:pt x="1496441" y="250596"/>
                  </a:lnTo>
                  <a:lnTo>
                    <a:pt x="1489710" y="260756"/>
                  </a:lnTo>
                  <a:lnTo>
                    <a:pt x="1495806" y="255676"/>
                  </a:lnTo>
                  <a:lnTo>
                    <a:pt x="1497672" y="260756"/>
                  </a:lnTo>
                  <a:lnTo>
                    <a:pt x="1504505" y="255676"/>
                  </a:lnTo>
                  <a:lnTo>
                    <a:pt x="1506207" y="254406"/>
                  </a:lnTo>
                  <a:lnTo>
                    <a:pt x="1507236" y="258216"/>
                  </a:lnTo>
                  <a:lnTo>
                    <a:pt x="1509255" y="256946"/>
                  </a:lnTo>
                  <a:lnTo>
                    <a:pt x="1511261" y="254406"/>
                  </a:lnTo>
                  <a:lnTo>
                    <a:pt x="1512265" y="253136"/>
                  </a:lnTo>
                  <a:lnTo>
                    <a:pt x="1512570" y="256946"/>
                  </a:lnTo>
                  <a:lnTo>
                    <a:pt x="1512747" y="258216"/>
                  </a:lnTo>
                  <a:lnTo>
                    <a:pt x="1513052" y="262026"/>
                  </a:lnTo>
                  <a:lnTo>
                    <a:pt x="1520393" y="254406"/>
                  </a:lnTo>
                  <a:lnTo>
                    <a:pt x="1519555" y="258216"/>
                  </a:lnTo>
                  <a:lnTo>
                    <a:pt x="1517853" y="262026"/>
                  </a:lnTo>
                  <a:lnTo>
                    <a:pt x="1516811" y="262851"/>
                  </a:lnTo>
                  <a:lnTo>
                    <a:pt x="1516811" y="275996"/>
                  </a:lnTo>
                  <a:lnTo>
                    <a:pt x="1511604" y="282346"/>
                  </a:lnTo>
                  <a:lnTo>
                    <a:pt x="1512316" y="284886"/>
                  </a:lnTo>
                  <a:lnTo>
                    <a:pt x="1514563" y="283616"/>
                  </a:lnTo>
                  <a:lnTo>
                    <a:pt x="1514043" y="284200"/>
                  </a:lnTo>
                  <a:lnTo>
                    <a:pt x="1514043" y="324256"/>
                  </a:lnTo>
                  <a:lnTo>
                    <a:pt x="1513370" y="326796"/>
                  </a:lnTo>
                  <a:lnTo>
                    <a:pt x="1508810" y="334416"/>
                  </a:lnTo>
                  <a:lnTo>
                    <a:pt x="1502867" y="340766"/>
                  </a:lnTo>
                  <a:lnTo>
                    <a:pt x="1500733" y="345846"/>
                  </a:lnTo>
                  <a:lnTo>
                    <a:pt x="1497736" y="344576"/>
                  </a:lnTo>
                  <a:lnTo>
                    <a:pt x="1497063" y="344576"/>
                  </a:lnTo>
                  <a:lnTo>
                    <a:pt x="1497761" y="340766"/>
                  </a:lnTo>
                  <a:lnTo>
                    <a:pt x="1498523" y="339496"/>
                  </a:lnTo>
                  <a:lnTo>
                    <a:pt x="1501952" y="339496"/>
                  </a:lnTo>
                  <a:lnTo>
                    <a:pt x="1501482" y="336956"/>
                  </a:lnTo>
                  <a:lnTo>
                    <a:pt x="1504200" y="336956"/>
                  </a:lnTo>
                  <a:lnTo>
                    <a:pt x="1506816" y="335686"/>
                  </a:lnTo>
                  <a:lnTo>
                    <a:pt x="1505140" y="335686"/>
                  </a:lnTo>
                  <a:lnTo>
                    <a:pt x="1509560" y="329336"/>
                  </a:lnTo>
                  <a:lnTo>
                    <a:pt x="1512201" y="325526"/>
                  </a:lnTo>
                  <a:lnTo>
                    <a:pt x="1514043" y="324256"/>
                  </a:lnTo>
                  <a:lnTo>
                    <a:pt x="1514043" y="284200"/>
                  </a:lnTo>
                  <a:lnTo>
                    <a:pt x="1511122" y="287426"/>
                  </a:lnTo>
                  <a:lnTo>
                    <a:pt x="1504823" y="292506"/>
                  </a:lnTo>
                  <a:lnTo>
                    <a:pt x="1504823" y="312826"/>
                  </a:lnTo>
                  <a:lnTo>
                    <a:pt x="1501165" y="317906"/>
                  </a:lnTo>
                  <a:lnTo>
                    <a:pt x="1496529" y="315366"/>
                  </a:lnTo>
                  <a:lnTo>
                    <a:pt x="1500784" y="310286"/>
                  </a:lnTo>
                  <a:lnTo>
                    <a:pt x="1503413" y="309016"/>
                  </a:lnTo>
                  <a:lnTo>
                    <a:pt x="1504823" y="312826"/>
                  </a:lnTo>
                  <a:lnTo>
                    <a:pt x="1504823" y="292506"/>
                  </a:lnTo>
                  <a:lnTo>
                    <a:pt x="1503235" y="293776"/>
                  </a:lnTo>
                  <a:lnTo>
                    <a:pt x="1496491" y="297472"/>
                  </a:lnTo>
                  <a:lnTo>
                    <a:pt x="1496491" y="322986"/>
                  </a:lnTo>
                  <a:lnTo>
                    <a:pt x="1493951" y="325526"/>
                  </a:lnTo>
                  <a:lnTo>
                    <a:pt x="1488401" y="329336"/>
                  </a:lnTo>
                  <a:lnTo>
                    <a:pt x="1484249" y="326796"/>
                  </a:lnTo>
                  <a:lnTo>
                    <a:pt x="1480718" y="322986"/>
                  </a:lnTo>
                  <a:lnTo>
                    <a:pt x="1478407" y="317906"/>
                  </a:lnTo>
                  <a:lnTo>
                    <a:pt x="1486331" y="324256"/>
                  </a:lnTo>
                  <a:lnTo>
                    <a:pt x="1487411" y="317906"/>
                  </a:lnTo>
                  <a:lnTo>
                    <a:pt x="1488516" y="317906"/>
                  </a:lnTo>
                  <a:lnTo>
                    <a:pt x="1496491" y="322986"/>
                  </a:lnTo>
                  <a:lnTo>
                    <a:pt x="1496491" y="297472"/>
                  </a:lnTo>
                  <a:lnTo>
                    <a:pt x="1491615" y="300126"/>
                  </a:lnTo>
                  <a:lnTo>
                    <a:pt x="1480731" y="298856"/>
                  </a:lnTo>
                  <a:lnTo>
                    <a:pt x="1478711" y="297586"/>
                  </a:lnTo>
                  <a:lnTo>
                    <a:pt x="1482153" y="293776"/>
                  </a:lnTo>
                  <a:lnTo>
                    <a:pt x="1481277" y="293471"/>
                  </a:lnTo>
                  <a:lnTo>
                    <a:pt x="1486852" y="291236"/>
                  </a:lnTo>
                  <a:lnTo>
                    <a:pt x="1490014" y="288696"/>
                  </a:lnTo>
                  <a:lnTo>
                    <a:pt x="1496352" y="286156"/>
                  </a:lnTo>
                  <a:lnTo>
                    <a:pt x="1497418" y="292506"/>
                  </a:lnTo>
                  <a:lnTo>
                    <a:pt x="1500035" y="288696"/>
                  </a:lnTo>
                  <a:lnTo>
                    <a:pt x="1500200" y="286156"/>
                  </a:lnTo>
                  <a:lnTo>
                    <a:pt x="1500365" y="283616"/>
                  </a:lnTo>
                  <a:lnTo>
                    <a:pt x="1501419" y="279806"/>
                  </a:lnTo>
                  <a:lnTo>
                    <a:pt x="1504264" y="283616"/>
                  </a:lnTo>
                  <a:lnTo>
                    <a:pt x="1504670" y="287426"/>
                  </a:lnTo>
                  <a:lnTo>
                    <a:pt x="1507490" y="287426"/>
                  </a:lnTo>
                  <a:lnTo>
                    <a:pt x="1512468" y="279806"/>
                  </a:lnTo>
                  <a:lnTo>
                    <a:pt x="1516811" y="275996"/>
                  </a:lnTo>
                  <a:lnTo>
                    <a:pt x="1516811" y="262851"/>
                  </a:lnTo>
                  <a:lnTo>
                    <a:pt x="1511427" y="267106"/>
                  </a:lnTo>
                  <a:lnTo>
                    <a:pt x="1502613" y="270916"/>
                  </a:lnTo>
                  <a:lnTo>
                    <a:pt x="1493393" y="273456"/>
                  </a:lnTo>
                  <a:lnTo>
                    <a:pt x="1490599" y="274561"/>
                  </a:lnTo>
                  <a:lnTo>
                    <a:pt x="1490599" y="283616"/>
                  </a:lnTo>
                  <a:lnTo>
                    <a:pt x="1480934" y="293357"/>
                  </a:lnTo>
                  <a:lnTo>
                    <a:pt x="1474901" y="291236"/>
                  </a:lnTo>
                  <a:lnTo>
                    <a:pt x="1465922" y="287426"/>
                  </a:lnTo>
                  <a:lnTo>
                    <a:pt x="1463713" y="282346"/>
                  </a:lnTo>
                  <a:lnTo>
                    <a:pt x="1476870" y="288696"/>
                  </a:lnTo>
                  <a:lnTo>
                    <a:pt x="1476121" y="284886"/>
                  </a:lnTo>
                  <a:lnTo>
                    <a:pt x="1482128" y="284886"/>
                  </a:lnTo>
                  <a:lnTo>
                    <a:pt x="1481886" y="287426"/>
                  </a:lnTo>
                  <a:lnTo>
                    <a:pt x="1487690" y="284886"/>
                  </a:lnTo>
                  <a:lnTo>
                    <a:pt x="1490599" y="283616"/>
                  </a:lnTo>
                  <a:lnTo>
                    <a:pt x="1490599" y="274561"/>
                  </a:lnTo>
                  <a:lnTo>
                    <a:pt x="1486941" y="275996"/>
                  </a:lnTo>
                  <a:lnTo>
                    <a:pt x="1486369" y="275120"/>
                  </a:lnTo>
                  <a:lnTo>
                    <a:pt x="1486369" y="275996"/>
                  </a:lnTo>
                  <a:lnTo>
                    <a:pt x="1477314" y="278536"/>
                  </a:lnTo>
                  <a:lnTo>
                    <a:pt x="1482445" y="281076"/>
                  </a:lnTo>
                  <a:lnTo>
                    <a:pt x="1482255" y="282346"/>
                  </a:lnTo>
                  <a:lnTo>
                    <a:pt x="1475041" y="277266"/>
                  </a:lnTo>
                  <a:lnTo>
                    <a:pt x="1477010" y="275996"/>
                  </a:lnTo>
                  <a:lnTo>
                    <a:pt x="1473796" y="272186"/>
                  </a:lnTo>
                  <a:lnTo>
                    <a:pt x="1472730" y="270916"/>
                  </a:lnTo>
                  <a:lnTo>
                    <a:pt x="1477429" y="272186"/>
                  </a:lnTo>
                  <a:lnTo>
                    <a:pt x="1480312" y="277266"/>
                  </a:lnTo>
                  <a:lnTo>
                    <a:pt x="1480985" y="272186"/>
                  </a:lnTo>
                  <a:lnTo>
                    <a:pt x="1486369" y="275996"/>
                  </a:lnTo>
                  <a:lnTo>
                    <a:pt x="1486369" y="275120"/>
                  </a:lnTo>
                  <a:lnTo>
                    <a:pt x="1484477" y="272186"/>
                  </a:lnTo>
                  <a:lnTo>
                    <a:pt x="1483652" y="270916"/>
                  </a:lnTo>
                  <a:lnTo>
                    <a:pt x="1482826" y="269646"/>
                  </a:lnTo>
                  <a:lnTo>
                    <a:pt x="1485963" y="270916"/>
                  </a:lnTo>
                  <a:lnTo>
                    <a:pt x="1485925" y="269646"/>
                  </a:lnTo>
                  <a:lnTo>
                    <a:pt x="1485836" y="267106"/>
                  </a:lnTo>
                  <a:lnTo>
                    <a:pt x="1493672" y="263296"/>
                  </a:lnTo>
                  <a:lnTo>
                    <a:pt x="1467916" y="258216"/>
                  </a:lnTo>
                  <a:lnTo>
                    <a:pt x="1464881" y="256946"/>
                  </a:lnTo>
                  <a:lnTo>
                    <a:pt x="1467650" y="255676"/>
                  </a:lnTo>
                  <a:lnTo>
                    <a:pt x="1464665" y="251866"/>
                  </a:lnTo>
                  <a:lnTo>
                    <a:pt x="1478724" y="255676"/>
                  </a:lnTo>
                  <a:lnTo>
                    <a:pt x="1476908" y="251866"/>
                  </a:lnTo>
                  <a:lnTo>
                    <a:pt x="1480515" y="248056"/>
                  </a:lnTo>
                  <a:lnTo>
                    <a:pt x="1458556" y="242976"/>
                  </a:lnTo>
                  <a:lnTo>
                    <a:pt x="1466570" y="242976"/>
                  </a:lnTo>
                  <a:lnTo>
                    <a:pt x="1466545" y="241706"/>
                  </a:lnTo>
                  <a:lnTo>
                    <a:pt x="1466507" y="240436"/>
                  </a:lnTo>
                  <a:lnTo>
                    <a:pt x="1466481" y="239166"/>
                  </a:lnTo>
                  <a:lnTo>
                    <a:pt x="1473898" y="244246"/>
                  </a:lnTo>
                  <a:lnTo>
                    <a:pt x="1473504" y="239166"/>
                  </a:lnTo>
                  <a:lnTo>
                    <a:pt x="1479156" y="234086"/>
                  </a:lnTo>
                  <a:lnTo>
                    <a:pt x="1471091" y="232816"/>
                  </a:lnTo>
                  <a:lnTo>
                    <a:pt x="1472590" y="230276"/>
                  </a:lnTo>
                  <a:lnTo>
                    <a:pt x="1477010" y="226466"/>
                  </a:lnTo>
                  <a:lnTo>
                    <a:pt x="1471434" y="226466"/>
                  </a:lnTo>
                  <a:lnTo>
                    <a:pt x="1475587" y="221386"/>
                  </a:lnTo>
                  <a:lnTo>
                    <a:pt x="1456994" y="227736"/>
                  </a:lnTo>
                  <a:lnTo>
                    <a:pt x="1454061" y="222656"/>
                  </a:lnTo>
                  <a:lnTo>
                    <a:pt x="1452587" y="220116"/>
                  </a:lnTo>
                  <a:lnTo>
                    <a:pt x="1459966" y="226466"/>
                  </a:lnTo>
                  <a:lnTo>
                    <a:pt x="1459992" y="221386"/>
                  </a:lnTo>
                  <a:lnTo>
                    <a:pt x="1467053" y="222656"/>
                  </a:lnTo>
                  <a:lnTo>
                    <a:pt x="1466227" y="221386"/>
                  </a:lnTo>
                  <a:lnTo>
                    <a:pt x="1465389" y="220116"/>
                  </a:lnTo>
                  <a:lnTo>
                    <a:pt x="1464564" y="218846"/>
                  </a:lnTo>
                  <a:lnTo>
                    <a:pt x="1470914" y="217576"/>
                  </a:lnTo>
                  <a:lnTo>
                    <a:pt x="1466469" y="215036"/>
                  </a:lnTo>
                  <a:lnTo>
                    <a:pt x="1459293" y="212496"/>
                  </a:lnTo>
                  <a:lnTo>
                    <a:pt x="1467154" y="211226"/>
                  </a:lnTo>
                  <a:lnTo>
                    <a:pt x="1461897" y="207416"/>
                  </a:lnTo>
                  <a:lnTo>
                    <a:pt x="1464805" y="203606"/>
                  </a:lnTo>
                  <a:lnTo>
                    <a:pt x="1466735" y="201066"/>
                  </a:lnTo>
                  <a:lnTo>
                    <a:pt x="1461084" y="203606"/>
                  </a:lnTo>
                  <a:lnTo>
                    <a:pt x="1457655" y="202336"/>
                  </a:lnTo>
                  <a:lnTo>
                    <a:pt x="1459852" y="199796"/>
                  </a:lnTo>
                  <a:lnTo>
                    <a:pt x="1460957" y="198526"/>
                  </a:lnTo>
                  <a:lnTo>
                    <a:pt x="1451584" y="199796"/>
                  </a:lnTo>
                  <a:lnTo>
                    <a:pt x="1457706" y="193446"/>
                  </a:lnTo>
                  <a:lnTo>
                    <a:pt x="1451749" y="190906"/>
                  </a:lnTo>
                  <a:lnTo>
                    <a:pt x="1450479" y="176936"/>
                  </a:lnTo>
                  <a:lnTo>
                    <a:pt x="1449336" y="170586"/>
                  </a:lnTo>
                  <a:lnTo>
                    <a:pt x="1448689" y="171856"/>
                  </a:lnTo>
                  <a:lnTo>
                    <a:pt x="1448384" y="171856"/>
                  </a:lnTo>
                  <a:lnTo>
                    <a:pt x="1447736" y="173126"/>
                  </a:lnTo>
                  <a:lnTo>
                    <a:pt x="1447431" y="184556"/>
                  </a:lnTo>
                  <a:lnTo>
                    <a:pt x="1445298" y="190906"/>
                  </a:lnTo>
                  <a:lnTo>
                    <a:pt x="1442681" y="192176"/>
                  </a:lnTo>
                  <a:lnTo>
                    <a:pt x="1440967" y="193446"/>
                  </a:lnTo>
                  <a:lnTo>
                    <a:pt x="1444828" y="195986"/>
                  </a:lnTo>
                  <a:lnTo>
                    <a:pt x="1434401" y="199796"/>
                  </a:lnTo>
                  <a:lnTo>
                    <a:pt x="1438313" y="203606"/>
                  </a:lnTo>
                  <a:lnTo>
                    <a:pt x="1435417" y="206146"/>
                  </a:lnTo>
                  <a:lnTo>
                    <a:pt x="1444269" y="208686"/>
                  </a:lnTo>
                  <a:lnTo>
                    <a:pt x="1436725" y="212496"/>
                  </a:lnTo>
                  <a:lnTo>
                    <a:pt x="1429321" y="213766"/>
                  </a:lnTo>
                  <a:lnTo>
                    <a:pt x="1436420" y="216306"/>
                  </a:lnTo>
                  <a:lnTo>
                    <a:pt x="1435265" y="221386"/>
                  </a:lnTo>
                  <a:lnTo>
                    <a:pt x="1439938" y="218846"/>
                  </a:lnTo>
                  <a:lnTo>
                    <a:pt x="1439837" y="223926"/>
                  </a:lnTo>
                  <a:lnTo>
                    <a:pt x="1444078" y="222656"/>
                  </a:lnTo>
                  <a:lnTo>
                    <a:pt x="1437538" y="227736"/>
                  </a:lnTo>
                  <a:lnTo>
                    <a:pt x="1416735" y="222656"/>
                  </a:lnTo>
                  <a:lnTo>
                    <a:pt x="1419644" y="225196"/>
                  </a:lnTo>
                  <a:lnTo>
                    <a:pt x="1415542" y="229006"/>
                  </a:lnTo>
                  <a:lnTo>
                    <a:pt x="1423873" y="227736"/>
                  </a:lnTo>
                  <a:lnTo>
                    <a:pt x="1417154" y="232816"/>
                  </a:lnTo>
                  <a:lnTo>
                    <a:pt x="1423504" y="235356"/>
                  </a:lnTo>
                  <a:lnTo>
                    <a:pt x="1415326" y="242976"/>
                  </a:lnTo>
                  <a:lnTo>
                    <a:pt x="1421625" y="240436"/>
                  </a:lnTo>
                  <a:lnTo>
                    <a:pt x="1424584" y="245516"/>
                  </a:lnTo>
                  <a:lnTo>
                    <a:pt x="1430616" y="240436"/>
                  </a:lnTo>
                  <a:lnTo>
                    <a:pt x="1424978" y="250596"/>
                  </a:lnTo>
                  <a:lnTo>
                    <a:pt x="1430299" y="246786"/>
                  </a:lnTo>
                  <a:lnTo>
                    <a:pt x="1434795" y="250596"/>
                  </a:lnTo>
                  <a:lnTo>
                    <a:pt x="1436763" y="246786"/>
                  </a:lnTo>
                  <a:lnTo>
                    <a:pt x="1439392" y="241706"/>
                  </a:lnTo>
                  <a:lnTo>
                    <a:pt x="1440865" y="248056"/>
                  </a:lnTo>
                  <a:lnTo>
                    <a:pt x="1430159" y="254406"/>
                  </a:lnTo>
                  <a:lnTo>
                    <a:pt x="1411579" y="258216"/>
                  </a:lnTo>
                  <a:lnTo>
                    <a:pt x="1413040" y="260756"/>
                  </a:lnTo>
                  <a:lnTo>
                    <a:pt x="1404239" y="260756"/>
                  </a:lnTo>
                  <a:lnTo>
                    <a:pt x="1413357" y="267106"/>
                  </a:lnTo>
                  <a:lnTo>
                    <a:pt x="1409611" y="270916"/>
                  </a:lnTo>
                  <a:lnTo>
                    <a:pt x="1424279" y="267106"/>
                  </a:lnTo>
                  <a:lnTo>
                    <a:pt x="1422641" y="270916"/>
                  </a:lnTo>
                  <a:lnTo>
                    <a:pt x="1413738" y="278536"/>
                  </a:lnTo>
                  <a:lnTo>
                    <a:pt x="1420736" y="278536"/>
                  </a:lnTo>
                  <a:lnTo>
                    <a:pt x="1421358" y="283616"/>
                  </a:lnTo>
                  <a:lnTo>
                    <a:pt x="1426464" y="275996"/>
                  </a:lnTo>
                  <a:lnTo>
                    <a:pt x="1429613" y="279806"/>
                  </a:lnTo>
                  <a:lnTo>
                    <a:pt x="1430235" y="275996"/>
                  </a:lnTo>
                  <a:lnTo>
                    <a:pt x="1430845" y="272186"/>
                  </a:lnTo>
                  <a:lnTo>
                    <a:pt x="1433817" y="273456"/>
                  </a:lnTo>
                  <a:lnTo>
                    <a:pt x="1435785" y="277266"/>
                  </a:lnTo>
                  <a:lnTo>
                    <a:pt x="1427187" y="284886"/>
                  </a:lnTo>
                  <a:lnTo>
                    <a:pt x="1434071" y="287426"/>
                  </a:lnTo>
                  <a:lnTo>
                    <a:pt x="1431696" y="291236"/>
                  </a:lnTo>
                  <a:lnTo>
                    <a:pt x="1431493" y="291299"/>
                  </a:lnTo>
                  <a:lnTo>
                    <a:pt x="1431493" y="309016"/>
                  </a:lnTo>
                  <a:lnTo>
                    <a:pt x="1427251" y="315366"/>
                  </a:lnTo>
                  <a:lnTo>
                    <a:pt x="1421625" y="317754"/>
                  </a:lnTo>
                  <a:lnTo>
                    <a:pt x="1421625" y="420776"/>
                  </a:lnTo>
                  <a:lnTo>
                    <a:pt x="1417980" y="422046"/>
                  </a:lnTo>
                  <a:lnTo>
                    <a:pt x="1419898" y="416966"/>
                  </a:lnTo>
                  <a:lnTo>
                    <a:pt x="1421625" y="420776"/>
                  </a:lnTo>
                  <a:lnTo>
                    <a:pt x="1421625" y="317754"/>
                  </a:lnTo>
                  <a:lnTo>
                    <a:pt x="1418551" y="319062"/>
                  </a:lnTo>
                  <a:lnTo>
                    <a:pt x="1418551" y="357276"/>
                  </a:lnTo>
                  <a:lnTo>
                    <a:pt x="1411465" y="372516"/>
                  </a:lnTo>
                  <a:lnTo>
                    <a:pt x="1414551" y="372516"/>
                  </a:lnTo>
                  <a:lnTo>
                    <a:pt x="1413217" y="375056"/>
                  </a:lnTo>
                  <a:lnTo>
                    <a:pt x="1409738" y="376326"/>
                  </a:lnTo>
                  <a:lnTo>
                    <a:pt x="1405750" y="376326"/>
                  </a:lnTo>
                  <a:lnTo>
                    <a:pt x="1399019" y="375056"/>
                  </a:lnTo>
                  <a:lnTo>
                    <a:pt x="1399806" y="373786"/>
                  </a:lnTo>
                  <a:lnTo>
                    <a:pt x="1401381" y="371246"/>
                  </a:lnTo>
                  <a:lnTo>
                    <a:pt x="1403565" y="375056"/>
                  </a:lnTo>
                  <a:lnTo>
                    <a:pt x="1405178" y="371246"/>
                  </a:lnTo>
                  <a:lnTo>
                    <a:pt x="1406245" y="368706"/>
                  </a:lnTo>
                  <a:lnTo>
                    <a:pt x="1406677" y="364896"/>
                  </a:lnTo>
                  <a:lnTo>
                    <a:pt x="1406817" y="363626"/>
                  </a:lnTo>
                  <a:lnTo>
                    <a:pt x="1408290" y="364896"/>
                  </a:lnTo>
                  <a:lnTo>
                    <a:pt x="1412392" y="364896"/>
                  </a:lnTo>
                  <a:lnTo>
                    <a:pt x="1412735" y="363626"/>
                  </a:lnTo>
                  <a:lnTo>
                    <a:pt x="1414106" y="358546"/>
                  </a:lnTo>
                  <a:lnTo>
                    <a:pt x="1414665" y="356006"/>
                  </a:lnTo>
                  <a:lnTo>
                    <a:pt x="1415224" y="353466"/>
                  </a:lnTo>
                  <a:lnTo>
                    <a:pt x="1416342" y="353466"/>
                  </a:lnTo>
                  <a:lnTo>
                    <a:pt x="1416431" y="358546"/>
                  </a:lnTo>
                  <a:lnTo>
                    <a:pt x="1418551" y="357276"/>
                  </a:lnTo>
                  <a:lnTo>
                    <a:pt x="1418551" y="319062"/>
                  </a:lnTo>
                  <a:lnTo>
                    <a:pt x="1409293" y="322986"/>
                  </a:lnTo>
                  <a:lnTo>
                    <a:pt x="1413522" y="325526"/>
                  </a:lnTo>
                  <a:lnTo>
                    <a:pt x="1403578" y="331876"/>
                  </a:lnTo>
                  <a:lnTo>
                    <a:pt x="1396238" y="334048"/>
                  </a:lnTo>
                  <a:lnTo>
                    <a:pt x="1396238" y="366166"/>
                  </a:lnTo>
                  <a:lnTo>
                    <a:pt x="1395984" y="367436"/>
                  </a:lnTo>
                  <a:lnTo>
                    <a:pt x="1394929" y="373786"/>
                  </a:lnTo>
                  <a:lnTo>
                    <a:pt x="1388948" y="369976"/>
                  </a:lnTo>
                  <a:lnTo>
                    <a:pt x="1389989" y="368706"/>
                  </a:lnTo>
                  <a:lnTo>
                    <a:pt x="1392059" y="366166"/>
                  </a:lnTo>
                  <a:lnTo>
                    <a:pt x="1393101" y="364896"/>
                  </a:lnTo>
                  <a:lnTo>
                    <a:pt x="1396238" y="366166"/>
                  </a:lnTo>
                  <a:lnTo>
                    <a:pt x="1396238" y="334048"/>
                  </a:lnTo>
                  <a:lnTo>
                    <a:pt x="1390650" y="335686"/>
                  </a:lnTo>
                  <a:lnTo>
                    <a:pt x="1383906" y="331876"/>
                  </a:lnTo>
                  <a:lnTo>
                    <a:pt x="1379359" y="328993"/>
                  </a:lnTo>
                  <a:lnTo>
                    <a:pt x="1379359" y="354736"/>
                  </a:lnTo>
                  <a:lnTo>
                    <a:pt x="1377111" y="356006"/>
                  </a:lnTo>
                  <a:lnTo>
                    <a:pt x="1376349" y="352196"/>
                  </a:lnTo>
                  <a:lnTo>
                    <a:pt x="1377823" y="349656"/>
                  </a:lnTo>
                  <a:lnTo>
                    <a:pt x="1379359" y="354736"/>
                  </a:lnTo>
                  <a:lnTo>
                    <a:pt x="1379359" y="328993"/>
                  </a:lnTo>
                  <a:lnTo>
                    <a:pt x="1375905" y="326796"/>
                  </a:lnTo>
                  <a:lnTo>
                    <a:pt x="1375079" y="325526"/>
                  </a:lnTo>
                  <a:lnTo>
                    <a:pt x="1370101" y="317906"/>
                  </a:lnTo>
                  <a:lnTo>
                    <a:pt x="1368488" y="314096"/>
                  </a:lnTo>
                  <a:lnTo>
                    <a:pt x="1375079" y="321716"/>
                  </a:lnTo>
                  <a:lnTo>
                    <a:pt x="1378102" y="324256"/>
                  </a:lnTo>
                  <a:lnTo>
                    <a:pt x="1379067" y="321716"/>
                  </a:lnTo>
                  <a:lnTo>
                    <a:pt x="1385658" y="328066"/>
                  </a:lnTo>
                  <a:lnTo>
                    <a:pt x="1384719" y="324256"/>
                  </a:lnTo>
                  <a:lnTo>
                    <a:pt x="1384287" y="321716"/>
                  </a:lnTo>
                  <a:lnTo>
                    <a:pt x="1384071" y="320446"/>
                  </a:lnTo>
                  <a:lnTo>
                    <a:pt x="1380845" y="317906"/>
                  </a:lnTo>
                  <a:lnTo>
                    <a:pt x="1381747" y="314096"/>
                  </a:lnTo>
                  <a:lnTo>
                    <a:pt x="1387843" y="317906"/>
                  </a:lnTo>
                  <a:lnTo>
                    <a:pt x="1390662" y="325526"/>
                  </a:lnTo>
                  <a:lnTo>
                    <a:pt x="1393253" y="321716"/>
                  </a:lnTo>
                  <a:lnTo>
                    <a:pt x="1397533" y="329336"/>
                  </a:lnTo>
                  <a:lnTo>
                    <a:pt x="1400352" y="324256"/>
                  </a:lnTo>
                  <a:lnTo>
                    <a:pt x="1404505" y="326796"/>
                  </a:lnTo>
                  <a:lnTo>
                    <a:pt x="1403908" y="324256"/>
                  </a:lnTo>
                  <a:lnTo>
                    <a:pt x="1403311" y="321716"/>
                  </a:lnTo>
                  <a:lnTo>
                    <a:pt x="1403007" y="320446"/>
                  </a:lnTo>
                  <a:lnTo>
                    <a:pt x="1394828" y="314096"/>
                  </a:lnTo>
                  <a:lnTo>
                    <a:pt x="1394066" y="310286"/>
                  </a:lnTo>
                  <a:lnTo>
                    <a:pt x="1396352" y="311556"/>
                  </a:lnTo>
                  <a:lnTo>
                    <a:pt x="1396593" y="311556"/>
                  </a:lnTo>
                  <a:lnTo>
                    <a:pt x="1401902" y="315366"/>
                  </a:lnTo>
                  <a:lnTo>
                    <a:pt x="1407972" y="315366"/>
                  </a:lnTo>
                  <a:lnTo>
                    <a:pt x="1407109" y="312826"/>
                  </a:lnTo>
                  <a:lnTo>
                    <a:pt x="1411566" y="309016"/>
                  </a:lnTo>
                  <a:lnTo>
                    <a:pt x="1409992" y="317906"/>
                  </a:lnTo>
                  <a:lnTo>
                    <a:pt x="1416329" y="314096"/>
                  </a:lnTo>
                  <a:lnTo>
                    <a:pt x="1419504" y="316636"/>
                  </a:lnTo>
                  <a:lnTo>
                    <a:pt x="1419847" y="314096"/>
                  </a:lnTo>
                  <a:lnTo>
                    <a:pt x="1420520" y="309016"/>
                  </a:lnTo>
                  <a:lnTo>
                    <a:pt x="1420850" y="306476"/>
                  </a:lnTo>
                  <a:lnTo>
                    <a:pt x="1424368" y="310286"/>
                  </a:lnTo>
                  <a:lnTo>
                    <a:pt x="1431493" y="309016"/>
                  </a:lnTo>
                  <a:lnTo>
                    <a:pt x="1431493" y="291299"/>
                  </a:lnTo>
                  <a:lnTo>
                    <a:pt x="1392770" y="302666"/>
                  </a:lnTo>
                  <a:lnTo>
                    <a:pt x="1389075" y="301396"/>
                  </a:lnTo>
                  <a:lnTo>
                    <a:pt x="1378254" y="296316"/>
                  </a:lnTo>
                  <a:lnTo>
                    <a:pt x="1370406" y="288696"/>
                  </a:lnTo>
                  <a:lnTo>
                    <a:pt x="1369009" y="284886"/>
                  </a:lnTo>
                  <a:lnTo>
                    <a:pt x="1368082" y="282346"/>
                  </a:lnTo>
                  <a:lnTo>
                    <a:pt x="1368628" y="278536"/>
                  </a:lnTo>
                  <a:lnTo>
                    <a:pt x="1377124" y="289966"/>
                  </a:lnTo>
                  <a:lnTo>
                    <a:pt x="1376400" y="283616"/>
                  </a:lnTo>
                  <a:lnTo>
                    <a:pt x="1375067" y="278536"/>
                  </a:lnTo>
                  <a:lnTo>
                    <a:pt x="1374406" y="275996"/>
                  </a:lnTo>
                  <a:lnTo>
                    <a:pt x="1384173" y="292506"/>
                  </a:lnTo>
                  <a:lnTo>
                    <a:pt x="1386014" y="286156"/>
                  </a:lnTo>
                  <a:lnTo>
                    <a:pt x="1392732" y="296316"/>
                  </a:lnTo>
                  <a:lnTo>
                    <a:pt x="1392161" y="291236"/>
                  </a:lnTo>
                  <a:lnTo>
                    <a:pt x="1393532" y="289966"/>
                  </a:lnTo>
                  <a:lnTo>
                    <a:pt x="1398333" y="292506"/>
                  </a:lnTo>
                  <a:lnTo>
                    <a:pt x="1401076" y="289966"/>
                  </a:lnTo>
                  <a:lnTo>
                    <a:pt x="1402448" y="288696"/>
                  </a:lnTo>
                  <a:lnTo>
                    <a:pt x="1396568" y="286156"/>
                  </a:lnTo>
                  <a:lnTo>
                    <a:pt x="1393634" y="284886"/>
                  </a:lnTo>
                  <a:lnTo>
                    <a:pt x="1386446" y="278536"/>
                  </a:lnTo>
                  <a:lnTo>
                    <a:pt x="1385303" y="275996"/>
                  </a:lnTo>
                  <a:lnTo>
                    <a:pt x="1384731" y="274726"/>
                  </a:lnTo>
                  <a:lnTo>
                    <a:pt x="1387348" y="269646"/>
                  </a:lnTo>
                  <a:lnTo>
                    <a:pt x="1389545" y="273456"/>
                  </a:lnTo>
                  <a:lnTo>
                    <a:pt x="1395590" y="279806"/>
                  </a:lnTo>
                  <a:lnTo>
                    <a:pt x="1394282" y="269646"/>
                  </a:lnTo>
                  <a:lnTo>
                    <a:pt x="1401699" y="275996"/>
                  </a:lnTo>
                  <a:lnTo>
                    <a:pt x="1400378" y="269646"/>
                  </a:lnTo>
                  <a:lnTo>
                    <a:pt x="1399857" y="267106"/>
                  </a:lnTo>
                  <a:lnTo>
                    <a:pt x="1410741" y="265836"/>
                  </a:lnTo>
                  <a:lnTo>
                    <a:pt x="1394866" y="260756"/>
                  </a:lnTo>
                  <a:lnTo>
                    <a:pt x="1394180" y="259486"/>
                  </a:lnTo>
                  <a:lnTo>
                    <a:pt x="1397304" y="258216"/>
                  </a:lnTo>
                  <a:lnTo>
                    <a:pt x="1389392" y="255676"/>
                  </a:lnTo>
                  <a:lnTo>
                    <a:pt x="1385443" y="254406"/>
                  </a:lnTo>
                  <a:lnTo>
                    <a:pt x="1377530" y="251866"/>
                  </a:lnTo>
                  <a:lnTo>
                    <a:pt x="1374559" y="248056"/>
                  </a:lnTo>
                  <a:lnTo>
                    <a:pt x="1369618" y="241706"/>
                  </a:lnTo>
                  <a:lnTo>
                    <a:pt x="1368526" y="236626"/>
                  </a:lnTo>
                  <a:lnTo>
                    <a:pt x="1371180" y="237896"/>
                  </a:lnTo>
                  <a:lnTo>
                    <a:pt x="1379702" y="248056"/>
                  </a:lnTo>
                  <a:lnTo>
                    <a:pt x="1380045" y="245516"/>
                  </a:lnTo>
                  <a:lnTo>
                    <a:pt x="1379486" y="241706"/>
                  </a:lnTo>
                  <a:lnTo>
                    <a:pt x="1380744" y="241706"/>
                  </a:lnTo>
                  <a:lnTo>
                    <a:pt x="1382852" y="244246"/>
                  </a:lnTo>
                  <a:lnTo>
                    <a:pt x="1387614" y="249326"/>
                  </a:lnTo>
                  <a:lnTo>
                    <a:pt x="1387246" y="242976"/>
                  </a:lnTo>
                  <a:lnTo>
                    <a:pt x="1389621" y="242976"/>
                  </a:lnTo>
                  <a:lnTo>
                    <a:pt x="1396504" y="246786"/>
                  </a:lnTo>
                  <a:lnTo>
                    <a:pt x="1394752" y="242976"/>
                  </a:lnTo>
                  <a:lnTo>
                    <a:pt x="1394167" y="241706"/>
                  </a:lnTo>
                  <a:lnTo>
                    <a:pt x="1403057" y="237896"/>
                  </a:lnTo>
                  <a:lnTo>
                    <a:pt x="1391361" y="236626"/>
                  </a:lnTo>
                  <a:lnTo>
                    <a:pt x="1385100" y="235356"/>
                  </a:lnTo>
                  <a:lnTo>
                    <a:pt x="1389126" y="232816"/>
                  </a:lnTo>
                  <a:lnTo>
                    <a:pt x="1383512" y="231546"/>
                  </a:lnTo>
                  <a:lnTo>
                    <a:pt x="1380693" y="231546"/>
                  </a:lnTo>
                  <a:lnTo>
                    <a:pt x="1375067" y="229006"/>
                  </a:lnTo>
                  <a:lnTo>
                    <a:pt x="1369136" y="223926"/>
                  </a:lnTo>
                  <a:lnTo>
                    <a:pt x="1369415" y="221386"/>
                  </a:lnTo>
                  <a:lnTo>
                    <a:pt x="1376718" y="222656"/>
                  </a:lnTo>
                  <a:lnTo>
                    <a:pt x="1375422" y="221386"/>
                  </a:lnTo>
                  <a:lnTo>
                    <a:pt x="1370228" y="216306"/>
                  </a:lnTo>
                  <a:lnTo>
                    <a:pt x="1366329" y="212496"/>
                  </a:lnTo>
                  <a:lnTo>
                    <a:pt x="1372260" y="212496"/>
                  </a:lnTo>
                  <a:lnTo>
                    <a:pt x="1380147" y="216306"/>
                  </a:lnTo>
                  <a:lnTo>
                    <a:pt x="1380185" y="212496"/>
                  </a:lnTo>
                  <a:lnTo>
                    <a:pt x="1380210" y="208686"/>
                  </a:lnTo>
                  <a:lnTo>
                    <a:pt x="1386370" y="204876"/>
                  </a:lnTo>
                  <a:lnTo>
                    <a:pt x="1370393" y="204876"/>
                  </a:lnTo>
                  <a:lnTo>
                    <a:pt x="1365669" y="202336"/>
                  </a:lnTo>
                  <a:lnTo>
                    <a:pt x="1363306" y="201066"/>
                  </a:lnTo>
                  <a:lnTo>
                    <a:pt x="1363586" y="201066"/>
                  </a:lnTo>
                  <a:lnTo>
                    <a:pt x="1363700" y="199796"/>
                  </a:lnTo>
                  <a:lnTo>
                    <a:pt x="1363980" y="198526"/>
                  </a:lnTo>
                  <a:lnTo>
                    <a:pt x="1373860" y="202336"/>
                  </a:lnTo>
                  <a:lnTo>
                    <a:pt x="1372971" y="197256"/>
                  </a:lnTo>
                  <a:lnTo>
                    <a:pt x="1380667" y="199796"/>
                  </a:lnTo>
                  <a:lnTo>
                    <a:pt x="1379816" y="197256"/>
                  </a:lnTo>
                  <a:lnTo>
                    <a:pt x="1378966" y="194716"/>
                  </a:lnTo>
                  <a:lnTo>
                    <a:pt x="1380439" y="192176"/>
                  </a:lnTo>
                  <a:lnTo>
                    <a:pt x="1384109" y="185826"/>
                  </a:lnTo>
                  <a:lnTo>
                    <a:pt x="1368755" y="192176"/>
                  </a:lnTo>
                  <a:lnTo>
                    <a:pt x="1362443" y="189636"/>
                  </a:lnTo>
                  <a:lnTo>
                    <a:pt x="1364780" y="184556"/>
                  </a:lnTo>
                  <a:lnTo>
                    <a:pt x="1371180" y="184556"/>
                  </a:lnTo>
                  <a:lnTo>
                    <a:pt x="1369644" y="182016"/>
                  </a:lnTo>
                  <a:lnTo>
                    <a:pt x="1372311" y="178206"/>
                  </a:lnTo>
                  <a:lnTo>
                    <a:pt x="1374101" y="175666"/>
                  </a:lnTo>
                  <a:lnTo>
                    <a:pt x="1364348" y="178206"/>
                  </a:lnTo>
                  <a:lnTo>
                    <a:pt x="1362544" y="175666"/>
                  </a:lnTo>
                  <a:lnTo>
                    <a:pt x="1364475" y="171856"/>
                  </a:lnTo>
                  <a:lnTo>
                    <a:pt x="1365758" y="169316"/>
                  </a:lnTo>
                  <a:lnTo>
                    <a:pt x="1363472" y="171856"/>
                  </a:lnTo>
                  <a:lnTo>
                    <a:pt x="1360157" y="168046"/>
                  </a:lnTo>
                  <a:lnTo>
                    <a:pt x="1360385" y="151536"/>
                  </a:lnTo>
                  <a:lnTo>
                    <a:pt x="1358442" y="150266"/>
                  </a:lnTo>
                  <a:lnTo>
                    <a:pt x="1357274" y="154076"/>
                  </a:lnTo>
                  <a:lnTo>
                    <a:pt x="1357096" y="164236"/>
                  </a:lnTo>
                  <a:lnTo>
                    <a:pt x="1353921" y="169316"/>
                  </a:lnTo>
                  <a:lnTo>
                    <a:pt x="1348841" y="169316"/>
                  </a:lnTo>
                  <a:lnTo>
                    <a:pt x="1353807" y="173126"/>
                  </a:lnTo>
                  <a:lnTo>
                    <a:pt x="1354836" y="178206"/>
                  </a:lnTo>
                  <a:lnTo>
                    <a:pt x="1340713" y="174396"/>
                  </a:lnTo>
                  <a:lnTo>
                    <a:pt x="1346365" y="180746"/>
                  </a:lnTo>
                  <a:lnTo>
                    <a:pt x="1344790" y="185826"/>
                  </a:lnTo>
                  <a:lnTo>
                    <a:pt x="1350060" y="184556"/>
                  </a:lnTo>
                  <a:lnTo>
                    <a:pt x="1353794" y="184556"/>
                  </a:lnTo>
                  <a:lnTo>
                    <a:pt x="1353197" y="188366"/>
                  </a:lnTo>
                  <a:lnTo>
                    <a:pt x="1349286" y="189636"/>
                  </a:lnTo>
                  <a:lnTo>
                    <a:pt x="1346720" y="188366"/>
                  </a:lnTo>
                  <a:lnTo>
                    <a:pt x="1348270" y="192176"/>
                  </a:lnTo>
                  <a:lnTo>
                    <a:pt x="1351445" y="193446"/>
                  </a:lnTo>
                  <a:lnTo>
                    <a:pt x="1347749" y="194716"/>
                  </a:lnTo>
                  <a:lnTo>
                    <a:pt x="1338605" y="190906"/>
                  </a:lnTo>
                  <a:lnTo>
                    <a:pt x="1330375" y="187096"/>
                  </a:lnTo>
                  <a:lnTo>
                    <a:pt x="1333601" y="195986"/>
                  </a:lnTo>
                  <a:lnTo>
                    <a:pt x="1330045" y="198526"/>
                  </a:lnTo>
                  <a:lnTo>
                    <a:pt x="1333588" y="198526"/>
                  </a:lnTo>
                  <a:lnTo>
                    <a:pt x="1330820" y="204876"/>
                  </a:lnTo>
                  <a:lnTo>
                    <a:pt x="1340700" y="199796"/>
                  </a:lnTo>
                  <a:lnTo>
                    <a:pt x="1340675" y="204876"/>
                  </a:lnTo>
                  <a:lnTo>
                    <a:pt x="1348041" y="202336"/>
                  </a:lnTo>
                  <a:lnTo>
                    <a:pt x="1348663" y="204876"/>
                  </a:lnTo>
                  <a:lnTo>
                    <a:pt x="1349629" y="207416"/>
                  </a:lnTo>
                  <a:lnTo>
                    <a:pt x="1343494" y="209956"/>
                  </a:lnTo>
                  <a:lnTo>
                    <a:pt x="1330121" y="209956"/>
                  </a:lnTo>
                  <a:lnTo>
                    <a:pt x="1334465" y="213766"/>
                  </a:lnTo>
                  <a:lnTo>
                    <a:pt x="1331531" y="220116"/>
                  </a:lnTo>
                  <a:lnTo>
                    <a:pt x="1340878" y="216306"/>
                  </a:lnTo>
                  <a:lnTo>
                    <a:pt x="1340954" y="221386"/>
                  </a:lnTo>
                  <a:lnTo>
                    <a:pt x="1335265" y="225196"/>
                  </a:lnTo>
                  <a:lnTo>
                    <a:pt x="1345577" y="223926"/>
                  </a:lnTo>
                  <a:lnTo>
                    <a:pt x="1348409" y="225196"/>
                  </a:lnTo>
                  <a:lnTo>
                    <a:pt x="1343304" y="231546"/>
                  </a:lnTo>
                  <a:lnTo>
                    <a:pt x="1326680" y="239166"/>
                  </a:lnTo>
                  <a:lnTo>
                    <a:pt x="1311173" y="239166"/>
                  </a:lnTo>
                  <a:lnTo>
                    <a:pt x="1315923" y="245516"/>
                  </a:lnTo>
                  <a:lnTo>
                    <a:pt x="1309916" y="253136"/>
                  </a:lnTo>
                  <a:lnTo>
                    <a:pt x="1322006" y="248056"/>
                  </a:lnTo>
                  <a:lnTo>
                    <a:pt x="1321587" y="251866"/>
                  </a:lnTo>
                  <a:lnTo>
                    <a:pt x="1314869" y="262026"/>
                  </a:lnTo>
                  <a:lnTo>
                    <a:pt x="1320952" y="256946"/>
                  </a:lnTo>
                  <a:lnTo>
                    <a:pt x="1331366" y="248056"/>
                  </a:lnTo>
                  <a:lnTo>
                    <a:pt x="1331976" y="255676"/>
                  </a:lnTo>
                  <a:lnTo>
                    <a:pt x="1332395" y="259486"/>
                  </a:lnTo>
                  <a:lnTo>
                    <a:pt x="1337411" y="254406"/>
                  </a:lnTo>
                  <a:lnTo>
                    <a:pt x="1338211" y="263296"/>
                  </a:lnTo>
                  <a:lnTo>
                    <a:pt x="1345539" y="255676"/>
                  </a:lnTo>
                  <a:lnTo>
                    <a:pt x="1344714" y="259486"/>
                  </a:lnTo>
                  <a:lnTo>
                    <a:pt x="1343012" y="263296"/>
                  </a:lnTo>
                  <a:lnTo>
                    <a:pt x="1336586" y="268376"/>
                  </a:lnTo>
                  <a:lnTo>
                    <a:pt x="1327772" y="272186"/>
                  </a:lnTo>
                  <a:lnTo>
                    <a:pt x="1322235" y="273456"/>
                  </a:lnTo>
                  <a:lnTo>
                    <a:pt x="1318552" y="274726"/>
                  </a:lnTo>
                  <a:lnTo>
                    <a:pt x="1302473" y="279806"/>
                  </a:lnTo>
                  <a:lnTo>
                    <a:pt x="1307592" y="282346"/>
                  </a:lnTo>
                  <a:lnTo>
                    <a:pt x="1307045" y="288696"/>
                  </a:lnTo>
                  <a:lnTo>
                    <a:pt x="1315745" y="284886"/>
                  </a:lnTo>
                  <a:lnTo>
                    <a:pt x="1305674" y="295046"/>
                  </a:lnTo>
                  <a:lnTo>
                    <a:pt x="1312011" y="292506"/>
                  </a:lnTo>
                  <a:lnTo>
                    <a:pt x="1315173" y="289966"/>
                  </a:lnTo>
                  <a:lnTo>
                    <a:pt x="1321511" y="287426"/>
                  </a:lnTo>
                  <a:lnTo>
                    <a:pt x="1322578" y="293776"/>
                  </a:lnTo>
                  <a:lnTo>
                    <a:pt x="1324584" y="287426"/>
                  </a:lnTo>
                  <a:lnTo>
                    <a:pt x="1325384" y="284886"/>
                  </a:lnTo>
                  <a:lnTo>
                    <a:pt x="1326578" y="281076"/>
                  </a:lnTo>
                  <a:lnTo>
                    <a:pt x="1329423" y="284886"/>
                  </a:lnTo>
                  <a:lnTo>
                    <a:pt x="1329817" y="288696"/>
                  </a:lnTo>
                  <a:lnTo>
                    <a:pt x="1332636" y="288696"/>
                  </a:lnTo>
                  <a:lnTo>
                    <a:pt x="1337627" y="281076"/>
                  </a:lnTo>
                  <a:lnTo>
                    <a:pt x="1339354" y="279806"/>
                  </a:lnTo>
                  <a:lnTo>
                    <a:pt x="1341983" y="278536"/>
                  </a:lnTo>
                  <a:lnTo>
                    <a:pt x="1336763" y="283616"/>
                  </a:lnTo>
                  <a:lnTo>
                    <a:pt x="1337462" y="286156"/>
                  </a:lnTo>
                  <a:lnTo>
                    <a:pt x="1338821" y="284886"/>
                  </a:lnTo>
                  <a:lnTo>
                    <a:pt x="1339710" y="284886"/>
                  </a:lnTo>
                  <a:lnTo>
                    <a:pt x="1339202" y="285648"/>
                  </a:lnTo>
                  <a:lnTo>
                    <a:pt x="1339202" y="325526"/>
                  </a:lnTo>
                  <a:lnTo>
                    <a:pt x="1338529" y="328066"/>
                  </a:lnTo>
                  <a:lnTo>
                    <a:pt x="1333969" y="335686"/>
                  </a:lnTo>
                  <a:lnTo>
                    <a:pt x="1328026" y="342036"/>
                  </a:lnTo>
                  <a:lnTo>
                    <a:pt x="1325778" y="347116"/>
                  </a:lnTo>
                  <a:lnTo>
                    <a:pt x="1329334" y="347116"/>
                  </a:lnTo>
                  <a:lnTo>
                    <a:pt x="1328648" y="350583"/>
                  </a:lnTo>
                  <a:lnTo>
                    <a:pt x="1328648" y="368706"/>
                  </a:lnTo>
                  <a:lnTo>
                    <a:pt x="1324368" y="375056"/>
                  </a:lnTo>
                  <a:lnTo>
                    <a:pt x="1322666" y="376682"/>
                  </a:lnTo>
                  <a:lnTo>
                    <a:pt x="1322666" y="438556"/>
                  </a:lnTo>
                  <a:lnTo>
                    <a:pt x="1320571" y="442366"/>
                  </a:lnTo>
                  <a:lnTo>
                    <a:pt x="1315491" y="441096"/>
                  </a:lnTo>
                  <a:lnTo>
                    <a:pt x="1322666" y="438556"/>
                  </a:lnTo>
                  <a:lnTo>
                    <a:pt x="1322666" y="376682"/>
                  </a:lnTo>
                  <a:lnTo>
                    <a:pt x="1317701" y="381406"/>
                  </a:lnTo>
                  <a:lnTo>
                    <a:pt x="1315212" y="382651"/>
                  </a:lnTo>
                  <a:lnTo>
                    <a:pt x="1315212" y="433476"/>
                  </a:lnTo>
                  <a:lnTo>
                    <a:pt x="1314424" y="441096"/>
                  </a:lnTo>
                  <a:lnTo>
                    <a:pt x="1312735" y="439826"/>
                  </a:lnTo>
                  <a:lnTo>
                    <a:pt x="1315212" y="433476"/>
                  </a:lnTo>
                  <a:lnTo>
                    <a:pt x="1315212" y="382651"/>
                  </a:lnTo>
                  <a:lnTo>
                    <a:pt x="1312583" y="383946"/>
                  </a:lnTo>
                  <a:lnTo>
                    <a:pt x="1310982" y="383260"/>
                  </a:lnTo>
                  <a:lnTo>
                    <a:pt x="1310982" y="415696"/>
                  </a:lnTo>
                  <a:lnTo>
                    <a:pt x="1303972" y="422046"/>
                  </a:lnTo>
                  <a:lnTo>
                    <a:pt x="1299984" y="423316"/>
                  </a:lnTo>
                  <a:lnTo>
                    <a:pt x="1295730" y="419506"/>
                  </a:lnTo>
                  <a:lnTo>
                    <a:pt x="1295361" y="418236"/>
                  </a:lnTo>
                  <a:lnTo>
                    <a:pt x="1294638" y="415696"/>
                  </a:lnTo>
                  <a:lnTo>
                    <a:pt x="1293901" y="413156"/>
                  </a:lnTo>
                  <a:lnTo>
                    <a:pt x="1292809" y="409346"/>
                  </a:lnTo>
                  <a:lnTo>
                    <a:pt x="1292440" y="408076"/>
                  </a:lnTo>
                  <a:lnTo>
                    <a:pt x="1295628" y="406806"/>
                  </a:lnTo>
                  <a:lnTo>
                    <a:pt x="1295654" y="408076"/>
                  </a:lnTo>
                  <a:lnTo>
                    <a:pt x="1296212" y="406806"/>
                  </a:lnTo>
                  <a:lnTo>
                    <a:pt x="1299756" y="413156"/>
                  </a:lnTo>
                  <a:lnTo>
                    <a:pt x="1297698" y="414426"/>
                  </a:lnTo>
                  <a:lnTo>
                    <a:pt x="1300175" y="413156"/>
                  </a:lnTo>
                  <a:lnTo>
                    <a:pt x="1304391" y="419506"/>
                  </a:lnTo>
                  <a:lnTo>
                    <a:pt x="1305013" y="413156"/>
                  </a:lnTo>
                  <a:lnTo>
                    <a:pt x="1305255" y="410616"/>
                  </a:lnTo>
                  <a:lnTo>
                    <a:pt x="1305699" y="410616"/>
                  </a:lnTo>
                  <a:lnTo>
                    <a:pt x="1307998" y="416966"/>
                  </a:lnTo>
                  <a:lnTo>
                    <a:pt x="1310093" y="413156"/>
                  </a:lnTo>
                  <a:lnTo>
                    <a:pt x="1310982" y="415696"/>
                  </a:lnTo>
                  <a:lnTo>
                    <a:pt x="1310982" y="383260"/>
                  </a:lnTo>
                  <a:lnTo>
                    <a:pt x="1309636" y="382676"/>
                  </a:lnTo>
                  <a:lnTo>
                    <a:pt x="1297825" y="377596"/>
                  </a:lnTo>
                  <a:lnTo>
                    <a:pt x="1283754" y="362356"/>
                  </a:lnTo>
                  <a:lnTo>
                    <a:pt x="1287627" y="359816"/>
                  </a:lnTo>
                  <a:lnTo>
                    <a:pt x="1292733" y="366166"/>
                  </a:lnTo>
                  <a:lnTo>
                    <a:pt x="1291996" y="359816"/>
                  </a:lnTo>
                  <a:lnTo>
                    <a:pt x="1291704" y="357276"/>
                  </a:lnTo>
                  <a:lnTo>
                    <a:pt x="1292656" y="352196"/>
                  </a:lnTo>
                  <a:lnTo>
                    <a:pt x="1295234" y="354736"/>
                  </a:lnTo>
                  <a:lnTo>
                    <a:pt x="1299057" y="362356"/>
                  </a:lnTo>
                  <a:lnTo>
                    <a:pt x="1301635" y="367436"/>
                  </a:lnTo>
                  <a:lnTo>
                    <a:pt x="1304823" y="358546"/>
                  </a:lnTo>
                  <a:lnTo>
                    <a:pt x="1305344" y="356006"/>
                  </a:lnTo>
                  <a:lnTo>
                    <a:pt x="1305864" y="357276"/>
                  </a:lnTo>
                  <a:lnTo>
                    <a:pt x="1306664" y="357276"/>
                  </a:lnTo>
                  <a:lnTo>
                    <a:pt x="1310055" y="361086"/>
                  </a:lnTo>
                  <a:lnTo>
                    <a:pt x="1309585" y="362356"/>
                  </a:lnTo>
                  <a:lnTo>
                    <a:pt x="1311503" y="362356"/>
                  </a:lnTo>
                  <a:lnTo>
                    <a:pt x="1316266" y="366166"/>
                  </a:lnTo>
                  <a:lnTo>
                    <a:pt x="1299349" y="373786"/>
                  </a:lnTo>
                  <a:lnTo>
                    <a:pt x="1306322" y="373786"/>
                  </a:lnTo>
                  <a:lnTo>
                    <a:pt x="1305953" y="380136"/>
                  </a:lnTo>
                  <a:lnTo>
                    <a:pt x="1310309" y="375056"/>
                  </a:lnTo>
                  <a:lnTo>
                    <a:pt x="1314310" y="372516"/>
                  </a:lnTo>
                  <a:lnTo>
                    <a:pt x="1313802" y="378866"/>
                  </a:lnTo>
                  <a:lnTo>
                    <a:pt x="1317371" y="377596"/>
                  </a:lnTo>
                  <a:lnTo>
                    <a:pt x="1323809" y="372516"/>
                  </a:lnTo>
                  <a:lnTo>
                    <a:pt x="1328648" y="368706"/>
                  </a:lnTo>
                  <a:lnTo>
                    <a:pt x="1328648" y="350583"/>
                  </a:lnTo>
                  <a:lnTo>
                    <a:pt x="1328077" y="353466"/>
                  </a:lnTo>
                  <a:lnTo>
                    <a:pt x="1319314" y="364896"/>
                  </a:lnTo>
                  <a:lnTo>
                    <a:pt x="1317117" y="366166"/>
                  </a:lnTo>
                  <a:lnTo>
                    <a:pt x="1314272" y="358546"/>
                  </a:lnTo>
                  <a:lnTo>
                    <a:pt x="1315669" y="356006"/>
                  </a:lnTo>
                  <a:lnTo>
                    <a:pt x="1317066" y="353466"/>
                  </a:lnTo>
                  <a:lnTo>
                    <a:pt x="1321689" y="356006"/>
                  </a:lnTo>
                  <a:lnTo>
                    <a:pt x="1321574" y="353466"/>
                  </a:lnTo>
                  <a:lnTo>
                    <a:pt x="1325181" y="356006"/>
                  </a:lnTo>
                  <a:lnTo>
                    <a:pt x="1324698" y="353466"/>
                  </a:lnTo>
                  <a:lnTo>
                    <a:pt x="1324457" y="352196"/>
                  </a:lnTo>
                  <a:lnTo>
                    <a:pt x="1323263" y="345846"/>
                  </a:lnTo>
                  <a:lnTo>
                    <a:pt x="1326095" y="343306"/>
                  </a:lnTo>
                  <a:lnTo>
                    <a:pt x="1328928" y="340766"/>
                  </a:lnTo>
                  <a:lnTo>
                    <a:pt x="1324356" y="339496"/>
                  </a:lnTo>
                  <a:lnTo>
                    <a:pt x="1325918" y="336956"/>
                  </a:lnTo>
                  <a:lnTo>
                    <a:pt x="1326984" y="335686"/>
                  </a:lnTo>
                  <a:lnTo>
                    <a:pt x="1329055" y="338226"/>
                  </a:lnTo>
                  <a:lnTo>
                    <a:pt x="1330896" y="335686"/>
                  </a:lnTo>
                  <a:lnTo>
                    <a:pt x="1331823" y="334416"/>
                  </a:lnTo>
                  <a:lnTo>
                    <a:pt x="1337360" y="326796"/>
                  </a:lnTo>
                  <a:lnTo>
                    <a:pt x="1339202" y="325526"/>
                  </a:lnTo>
                  <a:lnTo>
                    <a:pt x="1339202" y="285648"/>
                  </a:lnTo>
                  <a:lnTo>
                    <a:pt x="1336268" y="289966"/>
                  </a:lnTo>
                  <a:lnTo>
                    <a:pt x="1329982" y="294017"/>
                  </a:lnTo>
                  <a:lnTo>
                    <a:pt x="1329982" y="314096"/>
                  </a:lnTo>
                  <a:lnTo>
                    <a:pt x="1325422" y="321716"/>
                  </a:lnTo>
                  <a:lnTo>
                    <a:pt x="1319110" y="326796"/>
                  </a:lnTo>
                  <a:lnTo>
                    <a:pt x="1311338" y="331876"/>
                  </a:lnTo>
                  <a:lnTo>
                    <a:pt x="1305344" y="334416"/>
                  </a:lnTo>
                  <a:lnTo>
                    <a:pt x="1291348" y="333146"/>
                  </a:lnTo>
                  <a:lnTo>
                    <a:pt x="1283576" y="329336"/>
                  </a:lnTo>
                  <a:lnTo>
                    <a:pt x="1283030" y="326796"/>
                  </a:lnTo>
                  <a:lnTo>
                    <a:pt x="1284947" y="325526"/>
                  </a:lnTo>
                  <a:lnTo>
                    <a:pt x="1290955" y="325526"/>
                  </a:lnTo>
                  <a:lnTo>
                    <a:pt x="1288580" y="322986"/>
                  </a:lnTo>
                  <a:lnTo>
                    <a:pt x="1286205" y="320446"/>
                  </a:lnTo>
                  <a:lnTo>
                    <a:pt x="1284897" y="319176"/>
                  </a:lnTo>
                  <a:lnTo>
                    <a:pt x="1285913" y="316636"/>
                  </a:lnTo>
                  <a:lnTo>
                    <a:pt x="1297698" y="317906"/>
                  </a:lnTo>
                  <a:lnTo>
                    <a:pt x="1296466" y="316636"/>
                  </a:lnTo>
                  <a:lnTo>
                    <a:pt x="1292758" y="312826"/>
                  </a:lnTo>
                  <a:lnTo>
                    <a:pt x="1291742" y="310286"/>
                  </a:lnTo>
                  <a:lnTo>
                    <a:pt x="1294206" y="309016"/>
                  </a:lnTo>
                  <a:lnTo>
                    <a:pt x="1300924" y="311556"/>
                  </a:lnTo>
                  <a:lnTo>
                    <a:pt x="1305674" y="314096"/>
                  </a:lnTo>
                  <a:lnTo>
                    <a:pt x="1304353" y="311556"/>
                  </a:lnTo>
                  <a:lnTo>
                    <a:pt x="1306512" y="311556"/>
                  </a:lnTo>
                  <a:lnTo>
                    <a:pt x="1304886" y="319176"/>
                  </a:lnTo>
                  <a:lnTo>
                    <a:pt x="1309979" y="314096"/>
                  </a:lnTo>
                  <a:lnTo>
                    <a:pt x="1312964" y="312826"/>
                  </a:lnTo>
                  <a:lnTo>
                    <a:pt x="1311236" y="320446"/>
                  </a:lnTo>
                  <a:lnTo>
                    <a:pt x="1314919" y="317906"/>
                  </a:lnTo>
                  <a:lnTo>
                    <a:pt x="1317193" y="312826"/>
                  </a:lnTo>
                  <a:lnTo>
                    <a:pt x="1318323" y="310286"/>
                  </a:lnTo>
                  <a:lnTo>
                    <a:pt x="1320050" y="319176"/>
                  </a:lnTo>
                  <a:lnTo>
                    <a:pt x="1325930" y="311556"/>
                  </a:lnTo>
                  <a:lnTo>
                    <a:pt x="1328559" y="310286"/>
                  </a:lnTo>
                  <a:lnTo>
                    <a:pt x="1329982" y="314096"/>
                  </a:lnTo>
                  <a:lnTo>
                    <a:pt x="1329982" y="294017"/>
                  </a:lnTo>
                  <a:lnTo>
                    <a:pt x="1328381" y="295046"/>
                  </a:lnTo>
                  <a:lnTo>
                    <a:pt x="1303286" y="310286"/>
                  </a:lnTo>
                  <a:lnTo>
                    <a:pt x="1302334" y="309016"/>
                  </a:lnTo>
                  <a:lnTo>
                    <a:pt x="1300429" y="306476"/>
                  </a:lnTo>
                  <a:lnTo>
                    <a:pt x="1299476" y="305206"/>
                  </a:lnTo>
                  <a:lnTo>
                    <a:pt x="1298524" y="303936"/>
                  </a:lnTo>
                  <a:lnTo>
                    <a:pt x="1309814" y="300126"/>
                  </a:lnTo>
                  <a:lnTo>
                    <a:pt x="1294498" y="297586"/>
                  </a:lnTo>
                  <a:lnTo>
                    <a:pt x="1284782" y="293776"/>
                  </a:lnTo>
                  <a:lnTo>
                    <a:pt x="1282661" y="292506"/>
                  </a:lnTo>
                  <a:lnTo>
                    <a:pt x="1282585" y="291236"/>
                  </a:lnTo>
                  <a:lnTo>
                    <a:pt x="1283982" y="289966"/>
                  </a:lnTo>
                  <a:lnTo>
                    <a:pt x="1284693" y="289966"/>
                  </a:lnTo>
                  <a:lnTo>
                    <a:pt x="1286090" y="288696"/>
                  </a:lnTo>
                  <a:lnTo>
                    <a:pt x="1292263" y="288696"/>
                  </a:lnTo>
                  <a:lnTo>
                    <a:pt x="1296720" y="289966"/>
                  </a:lnTo>
                  <a:lnTo>
                    <a:pt x="1296187" y="288696"/>
                  </a:lnTo>
                  <a:lnTo>
                    <a:pt x="1295120" y="286156"/>
                  </a:lnTo>
                  <a:lnTo>
                    <a:pt x="1292987" y="281076"/>
                  </a:lnTo>
                  <a:lnTo>
                    <a:pt x="1300594" y="281076"/>
                  </a:lnTo>
                  <a:lnTo>
                    <a:pt x="1299870" y="279806"/>
                  </a:lnTo>
                  <a:lnTo>
                    <a:pt x="1297711" y="275996"/>
                  </a:lnTo>
                  <a:lnTo>
                    <a:pt x="1298232" y="274726"/>
                  </a:lnTo>
                  <a:lnTo>
                    <a:pt x="1300302" y="269646"/>
                  </a:lnTo>
                  <a:lnTo>
                    <a:pt x="1294206" y="272186"/>
                  </a:lnTo>
                  <a:lnTo>
                    <a:pt x="1290142" y="274726"/>
                  </a:lnTo>
                  <a:lnTo>
                    <a:pt x="1287538" y="273456"/>
                  </a:lnTo>
                  <a:lnTo>
                    <a:pt x="1284922" y="272186"/>
                  </a:lnTo>
                  <a:lnTo>
                    <a:pt x="1280604" y="273456"/>
                  </a:lnTo>
                  <a:lnTo>
                    <a:pt x="1278890" y="270916"/>
                  </a:lnTo>
                  <a:lnTo>
                    <a:pt x="1282115" y="267106"/>
                  </a:lnTo>
                  <a:lnTo>
                    <a:pt x="1288224" y="267106"/>
                  </a:lnTo>
                  <a:lnTo>
                    <a:pt x="1286916" y="264566"/>
                  </a:lnTo>
                  <a:lnTo>
                    <a:pt x="1287043" y="262026"/>
                  </a:lnTo>
                  <a:lnTo>
                    <a:pt x="1288707" y="259486"/>
                  </a:lnTo>
                  <a:lnTo>
                    <a:pt x="1289532" y="258216"/>
                  </a:lnTo>
                  <a:lnTo>
                    <a:pt x="1283208" y="259486"/>
                  </a:lnTo>
                  <a:lnTo>
                    <a:pt x="1278394" y="259486"/>
                  </a:lnTo>
                  <a:lnTo>
                    <a:pt x="1277543" y="256946"/>
                  </a:lnTo>
                  <a:lnTo>
                    <a:pt x="1277975" y="251866"/>
                  </a:lnTo>
                  <a:lnTo>
                    <a:pt x="1282687" y="242976"/>
                  </a:lnTo>
                  <a:lnTo>
                    <a:pt x="1280210" y="242976"/>
                  </a:lnTo>
                  <a:lnTo>
                    <a:pt x="1276883" y="240436"/>
                  </a:lnTo>
                  <a:lnTo>
                    <a:pt x="1276946" y="227736"/>
                  </a:lnTo>
                  <a:lnTo>
                    <a:pt x="1275803" y="225196"/>
                  </a:lnTo>
                  <a:lnTo>
                    <a:pt x="1273619" y="226466"/>
                  </a:lnTo>
                  <a:lnTo>
                    <a:pt x="1274013" y="237896"/>
                  </a:lnTo>
                  <a:lnTo>
                    <a:pt x="1272895" y="241706"/>
                  </a:lnTo>
                  <a:lnTo>
                    <a:pt x="1267866" y="241706"/>
                  </a:lnTo>
                  <a:lnTo>
                    <a:pt x="1273302" y="255676"/>
                  </a:lnTo>
                  <a:lnTo>
                    <a:pt x="1272260" y="259486"/>
                  </a:lnTo>
                  <a:lnTo>
                    <a:pt x="1258112" y="256946"/>
                  </a:lnTo>
                  <a:lnTo>
                    <a:pt x="1265224" y="263296"/>
                  </a:lnTo>
                  <a:lnTo>
                    <a:pt x="1264767" y="265836"/>
                  </a:lnTo>
                  <a:lnTo>
                    <a:pt x="1264488" y="268376"/>
                  </a:lnTo>
                  <a:lnTo>
                    <a:pt x="1268158" y="267106"/>
                  </a:lnTo>
                  <a:lnTo>
                    <a:pt x="1271066" y="267106"/>
                  </a:lnTo>
                  <a:lnTo>
                    <a:pt x="1272184" y="270916"/>
                  </a:lnTo>
                  <a:lnTo>
                    <a:pt x="1267294" y="274726"/>
                  </a:lnTo>
                  <a:lnTo>
                    <a:pt x="1247495" y="269646"/>
                  </a:lnTo>
                  <a:lnTo>
                    <a:pt x="1250937" y="273456"/>
                  </a:lnTo>
                  <a:lnTo>
                    <a:pt x="1248879" y="278536"/>
                  </a:lnTo>
                  <a:lnTo>
                    <a:pt x="1255077" y="275996"/>
                  </a:lnTo>
                  <a:lnTo>
                    <a:pt x="1249870" y="284886"/>
                  </a:lnTo>
                  <a:lnTo>
                    <a:pt x="1256830" y="282346"/>
                  </a:lnTo>
                  <a:lnTo>
                    <a:pt x="1261452" y="279806"/>
                  </a:lnTo>
                  <a:lnTo>
                    <a:pt x="1257515" y="288696"/>
                  </a:lnTo>
                  <a:lnTo>
                    <a:pt x="1263967" y="286156"/>
                  </a:lnTo>
                  <a:lnTo>
                    <a:pt x="1268056" y="286156"/>
                  </a:lnTo>
                  <a:lnTo>
                    <a:pt x="1266088" y="289966"/>
                  </a:lnTo>
                  <a:lnTo>
                    <a:pt x="1263789" y="292506"/>
                  </a:lnTo>
                  <a:lnTo>
                    <a:pt x="1253896" y="295046"/>
                  </a:lnTo>
                  <a:lnTo>
                    <a:pt x="1240650" y="295046"/>
                  </a:lnTo>
                  <a:lnTo>
                    <a:pt x="1248676" y="301396"/>
                  </a:lnTo>
                  <a:lnTo>
                    <a:pt x="1244422" y="307746"/>
                  </a:lnTo>
                  <a:lnTo>
                    <a:pt x="1254569" y="305206"/>
                  </a:lnTo>
                  <a:lnTo>
                    <a:pt x="1251064" y="314096"/>
                  </a:lnTo>
                  <a:lnTo>
                    <a:pt x="1265682" y="306476"/>
                  </a:lnTo>
                  <a:lnTo>
                    <a:pt x="1267472" y="306476"/>
                  </a:lnTo>
                  <a:lnTo>
                    <a:pt x="1267663" y="309016"/>
                  </a:lnTo>
                  <a:lnTo>
                    <a:pt x="1264196" y="312826"/>
                  </a:lnTo>
                  <a:lnTo>
                    <a:pt x="1261872" y="316636"/>
                  </a:lnTo>
                  <a:lnTo>
                    <a:pt x="1252131" y="324256"/>
                  </a:lnTo>
                  <a:lnTo>
                    <a:pt x="1259166" y="322986"/>
                  </a:lnTo>
                  <a:lnTo>
                    <a:pt x="1257515" y="329336"/>
                  </a:lnTo>
                  <a:lnTo>
                    <a:pt x="1263535" y="325526"/>
                  </a:lnTo>
                  <a:lnTo>
                    <a:pt x="1265986" y="325526"/>
                  </a:lnTo>
                  <a:lnTo>
                    <a:pt x="1265567" y="329336"/>
                  </a:lnTo>
                  <a:lnTo>
                    <a:pt x="1262710" y="331508"/>
                  </a:lnTo>
                  <a:lnTo>
                    <a:pt x="1262710" y="353466"/>
                  </a:lnTo>
                  <a:lnTo>
                    <a:pt x="1262570" y="361086"/>
                  </a:lnTo>
                  <a:lnTo>
                    <a:pt x="1259395" y="368134"/>
                  </a:lnTo>
                  <a:lnTo>
                    <a:pt x="1259395" y="413156"/>
                  </a:lnTo>
                  <a:lnTo>
                    <a:pt x="1258125" y="412851"/>
                  </a:lnTo>
                  <a:lnTo>
                    <a:pt x="1258125" y="419506"/>
                  </a:lnTo>
                  <a:lnTo>
                    <a:pt x="1257693" y="422046"/>
                  </a:lnTo>
                  <a:lnTo>
                    <a:pt x="1255471" y="424586"/>
                  </a:lnTo>
                  <a:lnTo>
                    <a:pt x="1252435" y="420776"/>
                  </a:lnTo>
                  <a:lnTo>
                    <a:pt x="1255687" y="420776"/>
                  </a:lnTo>
                  <a:lnTo>
                    <a:pt x="1256106" y="418236"/>
                  </a:lnTo>
                  <a:lnTo>
                    <a:pt x="1258125" y="419506"/>
                  </a:lnTo>
                  <a:lnTo>
                    <a:pt x="1258125" y="412851"/>
                  </a:lnTo>
                  <a:lnTo>
                    <a:pt x="1254163" y="411886"/>
                  </a:lnTo>
                  <a:lnTo>
                    <a:pt x="1255572" y="409346"/>
                  </a:lnTo>
                  <a:lnTo>
                    <a:pt x="1258709" y="410616"/>
                  </a:lnTo>
                  <a:lnTo>
                    <a:pt x="1259395" y="413156"/>
                  </a:lnTo>
                  <a:lnTo>
                    <a:pt x="1259395" y="368134"/>
                  </a:lnTo>
                  <a:lnTo>
                    <a:pt x="1257414" y="372516"/>
                  </a:lnTo>
                  <a:lnTo>
                    <a:pt x="1250137" y="377596"/>
                  </a:lnTo>
                  <a:lnTo>
                    <a:pt x="1239266" y="374573"/>
                  </a:lnTo>
                  <a:lnTo>
                    <a:pt x="1239266" y="447446"/>
                  </a:lnTo>
                  <a:lnTo>
                    <a:pt x="1231214" y="449986"/>
                  </a:lnTo>
                  <a:lnTo>
                    <a:pt x="1230858" y="448716"/>
                  </a:lnTo>
                  <a:lnTo>
                    <a:pt x="1233932" y="448716"/>
                  </a:lnTo>
                  <a:lnTo>
                    <a:pt x="1229804" y="439826"/>
                  </a:lnTo>
                  <a:lnTo>
                    <a:pt x="1229207" y="438556"/>
                  </a:lnTo>
                  <a:lnTo>
                    <a:pt x="1142987" y="438556"/>
                  </a:lnTo>
                  <a:lnTo>
                    <a:pt x="1142987" y="467766"/>
                  </a:lnTo>
                  <a:lnTo>
                    <a:pt x="1139723" y="469036"/>
                  </a:lnTo>
                  <a:lnTo>
                    <a:pt x="1139164" y="469036"/>
                  </a:lnTo>
                  <a:lnTo>
                    <a:pt x="1138428" y="467766"/>
                  </a:lnTo>
                  <a:lnTo>
                    <a:pt x="1137678" y="466496"/>
                  </a:lnTo>
                  <a:lnTo>
                    <a:pt x="1137958" y="465226"/>
                  </a:lnTo>
                  <a:lnTo>
                    <a:pt x="1138072" y="463956"/>
                  </a:lnTo>
                  <a:lnTo>
                    <a:pt x="1138351" y="462686"/>
                  </a:lnTo>
                  <a:lnTo>
                    <a:pt x="1140129" y="462686"/>
                  </a:lnTo>
                  <a:lnTo>
                    <a:pt x="1142987" y="467766"/>
                  </a:lnTo>
                  <a:lnTo>
                    <a:pt x="1142987" y="438556"/>
                  </a:lnTo>
                  <a:lnTo>
                    <a:pt x="1070190" y="438556"/>
                  </a:lnTo>
                  <a:lnTo>
                    <a:pt x="1068666" y="438556"/>
                  </a:lnTo>
                  <a:lnTo>
                    <a:pt x="1066965" y="439826"/>
                  </a:lnTo>
                  <a:lnTo>
                    <a:pt x="1064323" y="437286"/>
                  </a:lnTo>
                  <a:lnTo>
                    <a:pt x="1059053" y="432206"/>
                  </a:lnTo>
                  <a:lnTo>
                    <a:pt x="1058456" y="428396"/>
                  </a:lnTo>
                  <a:lnTo>
                    <a:pt x="1061656" y="428396"/>
                  </a:lnTo>
                  <a:lnTo>
                    <a:pt x="1063231" y="433476"/>
                  </a:lnTo>
                  <a:lnTo>
                    <a:pt x="1068628" y="430936"/>
                  </a:lnTo>
                  <a:lnTo>
                    <a:pt x="1068781" y="430936"/>
                  </a:lnTo>
                  <a:lnTo>
                    <a:pt x="1064488" y="434746"/>
                  </a:lnTo>
                  <a:lnTo>
                    <a:pt x="1069327" y="433476"/>
                  </a:lnTo>
                  <a:lnTo>
                    <a:pt x="1069403" y="434746"/>
                  </a:lnTo>
                  <a:lnTo>
                    <a:pt x="1066723" y="434746"/>
                  </a:lnTo>
                  <a:lnTo>
                    <a:pt x="1069886" y="437286"/>
                  </a:lnTo>
                  <a:lnTo>
                    <a:pt x="1070025" y="437883"/>
                  </a:lnTo>
                  <a:lnTo>
                    <a:pt x="1070483" y="437883"/>
                  </a:lnTo>
                  <a:lnTo>
                    <a:pt x="1228890" y="437883"/>
                  </a:lnTo>
                  <a:lnTo>
                    <a:pt x="1228623" y="437286"/>
                  </a:lnTo>
                  <a:lnTo>
                    <a:pt x="1226845" y="433476"/>
                  </a:lnTo>
                  <a:lnTo>
                    <a:pt x="1228966" y="434746"/>
                  </a:lnTo>
                  <a:lnTo>
                    <a:pt x="1228991" y="433476"/>
                  </a:lnTo>
                  <a:lnTo>
                    <a:pt x="1229042" y="430936"/>
                  </a:lnTo>
                  <a:lnTo>
                    <a:pt x="1229080" y="428396"/>
                  </a:lnTo>
                  <a:lnTo>
                    <a:pt x="1229131" y="425856"/>
                  </a:lnTo>
                  <a:lnTo>
                    <a:pt x="1232255" y="438556"/>
                  </a:lnTo>
                  <a:lnTo>
                    <a:pt x="1232992" y="442366"/>
                  </a:lnTo>
                  <a:lnTo>
                    <a:pt x="1237107" y="441096"/>
                  </a:lnTo>
                  <a:lnTo>
                    <a:pt x="1238592" y="439826"/>
                  </a:lnTo>
                  <a:lnTo>
                    <a:pt x="1238872" y="442366"/>
                  </a:lnTo>
                  <a:lnTo>
                    <a:pt x="1237970" y="443636"/>
                  </a:lnTo>
                  <a:lnTo>
                    <a:pt x="1238999" y="443636"/>
                  </a:lnTo>
                  <a:lnTo>
                    <a:pt x="1239266" y="447446"/>
                  </a:lnTo>
                  <a:lnTo>
                    <a:pt x="1239266" y="374573"/>
                  </a:lnTo>
                  <a:lnTo>
                    <a:pt x="1237957" y="374205"/>
                  </a:lnTo>
                  <a:lnTo>
                    <a:pt x="1237957" y="390296"/>
                  </a:lnTo>
                  <a:lnTo>
                    <a:pt x="1236649" y="392836"/>
                  </a:lnTo>
                  <a:lnTo>
                    <a:pt x="1235760" y="394106"/>
                  </a:lnTo>
                  <a:lnTo>
                    <a:pt x="1228420" y="396646"/>
                  </a:lnTo>
                  <a:lnTo>
                    <a:pt x="1223276" y="394106"/>
                  </a:lnTo>
                  <a:lnTo>
                    <a:pt x="1220711" y="392836"/>
                  </a:lnTo>
                  <a:lnTo>
                    <a:pt x="1218133" y="391566"/>
                  </a:lnTo>
                  <a:lnTo>
                    <a:pt x="1215593" y="387756"/>
                  </a:lnTo>
                  <a:lnTo>
                    <a:pt x="1213904" y="385216"/>
                  </a:lnTo>
                  <a:lnTo>
                    <a:pt x="1221028" y="387756"/>
                  </a:lnTo>
                  <a:lnTo>
                    <a:pt x="1222794" y="385216"/>
                  </a:lnTo>
                  <a:lnTo>
                    <a:pt x="1224546" y="382676"/>
                  </a:lnTo>
                  <a:lnTo>
                    <a:pt x="1225892" y="392836"/>
                  </a:lnTo>
                  <a:lnTo>
                    <a:pt x="1229080" y="390296"/>
                  </a:lnTo>
                  <a:lnTo>
                    <a:pt x="1235417" y="394106"/>
                  </a:lnTo>
                  <a:lnTo>
                    <a:pt x="1234833" y="390296"/>
                  </a:lnTo>
                  <a:lnTo>
                    <a:pt x="1234630" y="389026"/>
                  </a:lnTo>
                  <a:lnTo>
                    <a:pt x="1237957" y="390296"/>
                  </a:lnTo>
                  <a:lnTo>
                    <a:pt x="1237957" y="374205"/>
                  </a:lnTo>
                  <a:lnTo>
                    <a:pt x="1231925" y="372516"/>
                  </a:lnTo>
                  <a:lnTo>
                    <a:pt x="1213700" y="367436"/>
                  </a:lnTo>
                  <a:lnTo>
                    <a:pt x="1211326" y="363626"/>
                  </a:lnTo>
                  <a:lnTo>
                    <a:pt x="1218222" y="361086"/>
                  </a:lnTo>
                  <a:lnTo>
                    <a:pt x="1215351" y="358546"/>
                  </a:lnTo>
                  <a:lnTo>
                    <a:pt x="1209611" y="353466"/>
                  </a:lnTo>
                  <a:lnTo>
                    <a:pt x="1211567" y="349656"/>
                  </a:lnTo>
                  <a:lnTo>
                    <a:pt x="1214539" y="348386"/>
                  </a:lnTo>
                  <a:lnTo>
                    <a:pt x="1215783" y="357276"/>
                  </a:lnTo>
                  <a:lnTo>
                    <a:pt x="1218933" y="352196"/>
                  </a:lnTo>
                  <a:lnTo>
                    <a:pt x="1224026" y="359816"/>
                  </a:lnTo>
                  <a:lnTo>
                    <a:pt x="1224661" y="354736"/>
                  </a:lnTo>
                  <a:lnTo>
                    <a:pt x="1230807" y="356006"/>
                  </a:lnTo>
                  <a:lnTo>
                    <a:pt x="1227734" y="358546"/>
                  </a:lnTo>
                  <a:lnTo>
                    <a:pt x="1241958" y="352196"/>
                  </a:lnTo>
                  <a:lnTo>
                    <a:pt x="1241310" y="356006"/>
                  </a:lnTo>
                  <a:lnTo>
                    <a:pt x="1237284" y="366166"/>
                  </a:lnTo>
                  <a:lnTo>
                    <a:pt x="1244942" y="361086"/>
                  </a:lnTo>
                  <a:lnTo>
                    <a:pt x="1247825" y="369976"/>
                  </a:lnTo>
                  <a:lnTo>
                    <a:pt x="1250848" y="361086"/>
                  </a:lnTo>
                  <a:lnTo>
                    <a:pt x="1252143" y="357276"/>
                  </a:lnTo>
                  <a:lnTo>
                    <a:pt x="1253655" y="354736"/>
                  </a:lnTo>
                  <a:lnTo>
                    <a:pt x="1257490" y="359816"/>
                  </a:lnTo>
                  <a:lnTo>
                    <a:pt x="1259890" y="354736"/>
                  </a:lnTo>
                  <a:lnTo>
                    <a:pt x="1261097" y="352196"/>
                  </a:lnTo>
                  <a:lnTo>
                    <a:pt x="1262710" y="353466"/>
                  </a:lnTo>
                  <a:lnTo>
                    <a:pt x="1262710" y="331508"/>
                  </a:lnTo>
                  <a:lnTo>
                    <a:pt x="1262214" y="331876"/>
                  </a:lnTo>
                  <a:lnTo>
                    <a:pt x="1247508" y="336956"/>
                  </a:lnTo>
                  <a:lnTo>
                    <a:pt x="1239240" y="335330"/>
                  </a:lnTo>
                  <a:lnTo>
                    <a:pt x="1239240" y="344576"/>
                  </a:lnTo>
                  <a:lnTo>
                    <a:pt x="1237678" y="347116"/>
                  </a:lnTo>
                  <a:lnTo>
                    <a:pt x="1231112" y="354736"/>
                  </a:lnTo>
                  <a:lnTo>
                    <a:pt x="1228331" y="352196"/>
                  </a:lnTo>
                  <a:lnTo>
                    <a:pt x="1224153" y="348386"/>
                  </a:lnTo>
                  <a:lnTo>
                    <a:pt x="1222756" y="347116"/>
                  </a:lnTo>
                  <a:lnTo>
                    <a:pt x="1222209" y="345846"/>
                  </a:lnTo>
                  <a:lnTo>
                    <a:pt x="1221105" y="343306"/>
                  </a:lnTo>
                  <a:lnTo>
                    <a:pt x="1225562" y="344576"/>
                  </a:lnTo>
                  <a:lnTo>
                    <a:pt x="1225003" y="345846"/>
                  </a:lnTo>
                  <a:lnTo>
                    <a:pt x="1224191" y="347116"/>
                  </a:lnTo>
                  <a:lnTo>
                    <a:pt x="1228344" y="345846"/>
                  </a:lnTo>
                  <a:lnTo>
                    <a:pt x="1235786" y="348386"/>
                  </a:lnTo>
                  <a:lnTo>
                    <a:pt x="1233817" y="345846"/>
                  </a:lnTo>
                  <a:lnTo>
                    <a:pt x="1232839" y="344576"/>
                  </a:lnTo>
                  <a:lnTo>
                    <a:pt x="1236218" y="343306"/>
                  </a:lnTo>
                  <a:lnTo>
                    <a:pt x="1239240" y="344576"/>
                  </a:lnTo>
                  <a:lnTo>
                    <a:pt x="1239240" y="335330"/>
                  </a:lnTo>
                  <a:lnTo>
                    <a:pt x="1215237" y="330606"/>
                  </a:lnTo>
                  <a:lnTo>
                    <a:pt x="1210957" y="328066"/>
                  </a:lnTo>
                  <a:lnTo>
                    <a:pt x="1204531" y="324256"/>
                  </a:lnTo>
                  <a:lnTo>
                    <a:pt x="1206004" y="319176"/>
                  </a:lnTo>
                  <a:lnTo>
                    <a:pt x="1210614" y="326796"/>
                  </a:lnTo>
                  <a:lnTo>
                    <a:pt x="1215097" y="324256"/>
                  </a:lnTo>
                  <a:lnTo>
                    <a:pt x="1220419" y="326796"/>
                  </a:lnTo>
                  <a:lnTo>
                    <a:pt x="1219009" y="324256"/>
                  </a:lnTo>
                  <a:lnTo>
                    <a:pt x="1214767" y="316636"/>
                  </a:lnTo>
                  <a:lnTo>
                    <a:pt x="1220825" y="321716"/>
                  </a:lnTo>
                  <a:lnTo>
                    <a:pt x="1222590" y="319176"/>
                  </a:lnTo>
                  <a:lnTo>
                    <a:pt x="1223784" y="317906"/>
                  </a:lnTo>
                  <a:lnTo>
                    <a:pt x="1230071" y="319176"/>
                  </a:lnTo>
                  <a:lnTo>
                    <a:pt x="1228712" y="317906"/>
                  </a:lnTo>
                  <a:lnTo>
                    <a:pt x="1227353" y="316636"/>
                  </a:lnTo>
                  <a:lnTo>
                    <a:pt x="1225994" y="315366"/>
                  </a:lnTo>
                  <a:lnTo>
                    <a:pt x="1221905" y="311556"/>
                  </a:lnTo>
                  <a:lnTo>
                    <a:pt x="1228255" y="309016"/>
                  </a:lnTo>
                  <a:lnTo>
                    <a:pt x="1223200" y="305206"/>
                  </a:lnTo>
                  <a:lnTo>
                    <a:pt x="1221511" y="303936"/>
                  </a:lnTo>
                  <a:lnTo>
                    <a:pt x="1229855" y="305206"/>
                  </a:lnTo>
                  <a:lnTo>
                    <a:pt x="1225753" y="302666"/>
                  </a:lnTo>
                  <a:lnTo>
                    <a:pt x="1228648" y="298856"/>
                  </a:lnTo>
                  <a:lnTo>
                    <a:pt x="1207858" y="303936"/>
                  </a:lnTo>
                  <a:lnTo>
                    <a:pt x="1201318" y="298856"/>
                  </a:lnTo>
                  <a:lnTo>
                    <a:pt x="1205560" y="300126"/>
                  </a:lnTo>
                  <a:lnTo>
                    <a:pt x="1205534" y="298856"/>
                  </a:lnTo>
                  <a:lnTo>
                    <a:pt x="1205509" y="297586"/>
                  </a:lnTo>
                  <a:lnTo>
                    <a:pt x="1205445" y="295046"/>
                  </a:lnTo>
                  <a:lnTo>
                    <a:pt x="1210132" y="297586"/>
                  </a:lnTo>
                  <a:lnTo>
                    <a:pt x="1209560" y="295046"/>
                  </a:lnTo>
                  <a:lnTo>
                    <a:pt x="1208976" y="292506"/>
                  </a:lnTo>
                  <a:lnTo>
                    <a:pt x="1216075" y="289966"/>
                  </a:lnTo>
                  <a:lnTo>
                    <a:pt x="1208684" y="288696"/>
                  </a:lnTo>
                  <a:lnTo>
                    <a:pt x="1201127" y="284886"/>
                  </a:lnTo>
                  <a:lnTo>
                    <a:pt x="1209979" y="282346"/>
                  </a:lnTo>
                  <a:lnTo>
                    <a:pt x="1207084" y="279806"/>
                  </a:lnTo>
                  <a:lnTo>
                    <a:pt x="1210995" y="277266"/>
                  </a:lnTo>
                  <a:lnTo>
                    <a:pt x="1208392" y="275996"/>
                  </a:lnTo>
                  <a:lnTo>
                    <a:pt x="1200569" y="272186"/>
                  </a:lnTo>
                  <a:lnTo>
                    <a:pt x="1204442" y="269646"/>
                  </a:lnTo>
                  <a:lnTo>
                    <a:pt x="1200111" y="267106"/>
                  </a:lnTo>
                  <a:lnTo>
                    <a:pt x="1197965" y="260756"/>
                  </a:lnTo>
                  <a:lnTo>
                    <a:pt x="1197660" y="249326"/>
                  </a:lnTo>
                  <a:lnTo>
                    <a:pt x="1196073" y="246786"/>
                  </a:lnTo>
                  <a:lnTo>
                    <a:pt x="1194917" y="253136"/>
                  </a:lnTo>
                  <a:lnTo>
                    <a:pt x="1193647" y="267106"/>
                  </a:lnTo>
                  <a:lnTo>
                    <a:pt x="1187678" y="270916"/>
                  </a:lnTo>
                  <a:lnTo>
                    <a:pt x="1193812" y="275996"/>
                  </a:lnTo>
                  <a:lnTo>
                    <a:pt x="1184452" y="274726"/>
                  </a:lnTo>
                  <a:lnTo>
                    <a:pt x="1187754" y="278536"/>
                  </a:lnTo>
                  <a:lnTo>
                    <a:pt x="1184313" y="279806"/>
                  </a:lnTo>
                  <a:lnTo>
                    <a:pt x="1178674" y="277266"/>
                  </a:lnTo>
                  <a:lnTo>
                    <a:pt x="1183500" y="283616"/>
                  </a:lnTo>
                  <a:lnTo>
                    <a:pt x="1178242" y="287426"/>
                  </a:lnTo>
                  <a:lnTo>
                    <a:pt x="1186103" y="288696"/>
                  </a:lnTo>
                  <a:lnTo>
                    <a:pt x="1178928" y="291236"/>
                  </a:lnTo>
                  <a:lnTo>
                    <a:pt x="1174496" y="293776"/>
                  </a:lnTo>
                  <a:lnTo>
                    <a:pt x="1180833" y="295046"/>
                  </a:lnTo>
                  <a:lnTo>
                    <a:pt x="1178356" y="298856"/>
                  </a:lnTo>
                  <a:lnTo>
                    <a:pt x="1185405" y="297586"/>
                  </a:lnTo>
                  <a:lnTo>
                    <a:pt x="1185443" y="302666"/>
                  </a:lnTo>
                  <a:lnTo>
                    <a:pt x="1192809" y="297586"/>
                  </a:lnTo>
                  <a:lnTo>
                    <a:pt x="1188402" y="305206"/>
                  </a:lnTo>
                  <a:lnTo>
                    <a:pt x="1169822" y="297586"/>
                  </a:lnTo>
                  <a:lnTo>
                    <a:pt x="1173962" y="303936"/>
                  </a:lnTo>
                  <a:lnTo>
                    <a:pt x="1168387" y="303936"/>
                  </a:lnTo>
                  <a:lnTo>
                    <a:pt x="1172806" y="306476"/>
                  </a:lnTo>
                  <a:lnTo>
                    <a:pt x="1174305" y="310286"/>
                  </a:lnTo>
                  <a:lnTo>
                    <a:pt x="1166241" y="310286"/>
                  </a:lnTo>
                  <a:lnTo>
                    <a:pt x="1171892" y="315366"/>
                  </a:lnTo>
                  <a:lnTo>
                    <a:pt x="1171498" y="320446"/>
                  </a:lnTo>
                  <a:lnTo>
                    <a:pt x="1178915" y="315366"/>
                  </a:lnTo>
                  <a:lnTo>
                    <a:pt x="1178826" y="319176"/>
                  </a:lnTo>
                  <a:lnTo>
                    <a:pt x="1186853" y="319176"/>
                  </a:lnTo>
                  <a:lnTo>
                    <a:pt x="1181696" y="320675"/>
                  </a:lnTo>
                  <a:lnTo>
                    <a:pt x="1181696" y="358546"/>
                  </a:lnTo>
                  <a:lnTo>
                    <a:pt x="1179487" y="363626"/>
                  </a:lnTo>
                  <a:lnTo>
                    <a:pt x="1172603" y="367436"/>
                  </a:lnTo>
                  <a:lnTo>
                    <a:pt x="1172603" y="363626"/>
                  </a:lnTo>
                  <a:lnTo>
                    <a:pt x="1177150" y="361086"/>
                  </a:lnTo>
                  <a:lnTo>
                    <a:pt x="1181696" y="358546"/>
                  </a:lnTo>
                  <a:lnTo>
                    <a:pt x="1181696" y="320675"/>
                  </a:lnTo>
                  <a:lnTo>
                    <a:pt x="1164869" y="325526"/>
                  </a:lnTo>
                  <a:lnTo>
                    <a:pt x="1168488" y="329336"/>
                  </a:lnTo>
                  <a:lnTo>
                    <a:pt x="1166672" y="333146"/>
                  </a:lnTo>
                  <a:lnTo>
                    <a:pt x="1180731" y="328066"/>
                  </a:lnTo>
                  <a:lnTo>
                    <a:pt x="1177759" y="331876"/>
                  </a:lnTo>
                  <a:lnTo>
                    <a:pt x="1180515" y="333146"/>
                  </a:lnTo>
                  <a:lnTo>
                    <a:pt x="1177480" y="334416"/>
                  </a:lnTo>
                  <a:lnTo>
                    <a:pt x="1151724" y="339496"/>
                  </a:lnTo>
                  <a:lnTo>
                    <a:pt x="1159560" y="344576"/>
                  </a:lnTo>
                  <a:lnTo>
                    <a:pt x="1159433" y="347116"/>
                  </a:lnTo>
                  <a:lnTo>
                    <a:pt x="1162570" y="345846"/>
                  </a:lnTo>
                  <a:lnTo>
                    <a:pt x="1157820" y="352196"/>
                  </a:lnTo>
                  <a:lnTo>
                    <a:pt x="1164412" y="349656"/>
                  </a:lnTo>
                  <a:lnTo>
                    <a:pt x="1165085" y="353466"/>
                  </a:lnTo>
                  <a:lnTo>
                    <a:pt x="1167244" y="349656"/>
                  </a:lnTo>
                  <a:lnTo>
                    <a:pt x="1167955" y="348386"/>
                  </a:lnTo>
                  <a:lnTo>
                    <a:pt x="1172679" y="347116"/>
                  </a:lnTo>
                  <a:lnTo>
                    <a:pt x="1168387" y="353466"/>
                  </a:lnTo>
                  <a:lnTo>
                    <a:pt x="1170355" y="353466"/>
                  </a:lnTo>
                  <a:lnTo>
                    <a:pt x="1166990" y="356400"/>
                  </a:lnTo>
                  <a:lnTo>
                    <a:pt x="1166990" y="394106"/>
                  </a:lnTo>
                  <a:lnTo>
                    <a:pt x="1164742" y="399186"/>
                  </a:lnTo>
                  <a:lnTo>
                    <a:pt x="1163840" y="400456"/>
                  </a:lnTo>
                  <a:lnTo>
                    <a:pt x="1147279" y="408076"/>
                  </a:lnTo>
                  <a:lnTo>
                    <a:pt x="1143076" y="408076"/>
                  </a:lnTo>
                  <a:lnTo>
                    <a:pt x="1136205" y="402996"/>
                  </a:lnTo>
                  <a:lnTo>
                    <a:pt x="1131062" y="399186"/>
                  </a:lnTo>
                  <a:lnTo>
                    <a:pt x="1130401" y="397916"/>
                  </a:lnTo>
                  <a:lnTo>
                    <a:pt x="1128407" y="394106"/>
                  </a:lnTo>
                  <a:lnTo>
                    <a:pt x="1133398" y="396646"/>
                  </a:lnTo>
                  <a:lnTo>
                    <a:pt x="1134884" y="394106"/>
                  </a:lnTo>
                  <a:lnTo>
                    <a:pt x="1135634" y="392836"/>
                  </a:lnTo>
                  <a:lnTo>
                    <a:pt x="1139329" y="399186"/>
                  </a:lnTo>
                  <a:lnTo>
                    <a:pt x="1142034" y="395376"/>
                  </a:lnTo>
                  <a:lnTo>
                    <a:pt x="1143901" y="401726"/>
                  </a:lnTo>
                  <a:lnTo>
                    <a:pt x="1147927" y="402996"/>
                  </a:lnTo>
                  <a:lnTo>
                    <a:pt x="1148867" y="400456"/>
                  </a:lnTo>
                  <a:lnTo>
                    <a:pt x="1151915" y="397916"/>
                  </a:lnTo>
                  <a:lnTo>
                    <a:pt x="1154531" y="399186"/>
                  </a:lnTo>
                  <a:lnTo>
                    <a:pt x="1153909" y="397916"/>
                  </a:lnTo>
                  <a:lnTo>
                    <a:pt x="1153274" y="396646"/>
                  </a:lnTo>
                  <a:lnTo>
                    <a:pt x="1155268" y="395376"/>
                  </a:lnTo>
                  <a:lnTo>
                    <a:pt x="1157262" y="394106"/>
                  </a:lnTo>
                  <a:lnTo>
                    <a:pt x="1157833" y="394106"/>
                  </a:lnTo>
                  <a:lnTo>
                    <a:pt x="1159078" y="401726"/>
                  </a:lnTo>
                  <a:lnTo>
                    <a:pt x="1166990" y="394106"/>
                  </a:lnTo>
                  <a:lnTo>
                    <a:pt x="1166990" y="356400"/>
                  </a:lnTo>
                  <a:lnTo>
                    <a:pt x="1161592" y="361086"/>
                  </a:lnTo>
                  <a:lnTo>
                    <a:pt x="1159205" y="359816"/>
                  </a:lnTo>
                  <a:lnTo>
                    <a:pt x="1150975" y="356006"/>
                  </a:lnTo>
                  <a:lnTo>
                    <a:pt x="1154201" y="364896"/>
                  </a:lnTo>
                  <a:lnTo>
                    <a:pt x="1150645" y="366166"/>
                  </a:lnTo>
                  <a:lnTo>
                    <a:pt x="1154188" y="367436"/>
                  </a:lnTo>
                  <a:lnTo>
                    <a:pt x="1151420" y="373786"/>
                  </a:lnTo>
                  <a:lnTo>
                    <a:pt x="1161288" y="367436"/>
                  </a:lnTo>
                  <a:lnTo>
                    <a:pt x="1161275" y="373786"/>
                  </a:lnTo>
                  <a:lnTo>
                    <a:pt x="1165326" y="372516"/>
                  </a:lnTo>
                  <a:lnTo>
                    <a:pt x="1166685" y="373786"/>
                  </a:lnTo>
                  <a:lnTo>
                    <a:pt x="1164666" y="376326"/>
                  </a:lnTo>
                  <a:lnTo>
                    <a:pt x="1141285" y="378866"/>
                  </a:lnTo>
                  <a:lnTo>
                    <a:pt x="1145946" y="382676"/>
                  </a:lnTo>
                  <a:lnTo>
                    <a:pt x="1142847" y="385216"/>
                  </a:lnTo>
                  <a:lnTo>
                    <a:pt x="1150378" y="386486"/>
                  </a:lnTo>
                  <a:lnTo>
                    <a:pt x="1152512" y="387756"/>
                  </a:lnTo>
                  <a:lnTo>
                    <a:pt x="1152131" y="389026"/>
                  </a:lnTo>
                  <a:lnTo>
                    <a:pt x="1153033" y="387756"/>
                  </a:lnTo>
                  <a:lnTo>
                    <a:pt x="1153909" y="389026"/>
                  </a:lnTo>
                  <a:lnTo>
                    <a:pt x="1150086" y="391566"/>
                  </a:lnTo>
                  <a:lnTo>
                    <a:pt x="1149426" y="390296"/>
                  </a:lnTo>
                  <a:lnTo>
                    <a:pt x="1137945" y="382676"/>
                  </a:lnTo>
                  <a:lnTo>
                    <a:pt x="1132205" y="378866"/>
                  </a:lnTo>
                  <a:lnTo>
                    <a:pt x="1129360" y="371246"/>
                  </a:lnTo>
                  <a:lnTo>
                    <a:pt x="1136243" y="376326"/>
                  </a:lnTo>
                  <a:lnTo>
                    <a:pt x="1140142" y="373786"/>
                  </a:lnTo>
                  <a:lnTo>
                    <a:pt x="1145514" y="375056"/>
                  </a:lnTo>
                  <a:lnTo>
                    <a:pt x="1144651" y="373786"/>
                  </a:lnTo>
                  <a:lnTo>
                    <a:pt x="1142936" y="371246"/>
                  </a:lnTo>
                  <a:lnTo>
                    <a:pt x="1141209" y="368706"/>
                  </a:lnTo>
                  <a:lnTo>
                    <a:pt x="1140345" y="367436"/>
                  </a:lnTo>
                  <a:lnTo>
                    <a:pt x="1138313" y="366166"/>
                  </a:lnTo>
                  <a:lnTo>
                    <a:pt x="1132230" y="362356"/>
                  </a:lnTo>
                  <a:lnTo>
                    <a:pt x="1119809" y="350926"/>
                  </a:lnTo>
                  <a:lnTo>
                    <a:pt x="1119212" y="347116"/>
                  </a:lnTo>
                  <a:lnTo>
                    <a:pt x="1122413" y="347116"/>
                  </a:lnTo>
                  <a:lnTo>
                    <a:pt x="1123988" y="352196"/>
                  </a:lnTo>
                  <a:lnTo>
                    <a:pt x="1129385" y="348386"/>
                  </a:lnTo>
                  <a:lnTo>
                    <a:pt x="1130947" y="357276"/>
                  </a:lnTo>
                  <a:lnTo>
                    <a:pt x="1133271" y="353466"/>
                  </a:lnTo>
                  <a:lnTo>
                    <a:pt x="1140104" y="357276"/>
                  </a:lnTo>
                  <a:lnTo>
                    <a:pt x="1139786" y="353466"/>
                  </a:lnTo>
                  <a:lnTo>
                    <a:pt x="1140841" y="353466"/>
                  </a:lnTo>
                  <a:lnTo>
                    <a:pt x="1141539" y="352196"/>
                  </a:lnTo>
                  <a:lnTo>
                    <a:pt x="1146695" y="353466"/>
                  </a:lnTo>
                  <a:lnTo>
                    <a:pt x="1146606" y="352196"/>
                  </a:lnTo>
                  <a:lnTo>
                    <a:pt x="1146416" y="349656"/>
                  </a:lnTo>
                  <a:lnTo>
                    <a:pt x="1144104" y="348386"/>
                  </a:lnTo>
                  <a:lnTo>
                    <a:pt x="1141793" y="347116"/>
                  </a:lnTo>
                  <a:lnTo>
                    <a:pt x="1130249" y="340766"/>
                  </a:lnTo>
                  <a:lnTo>
                    <a:pt x="1129855" y="339496"/>
                  </a:lnTo>
                  <a:lnTo>
                    <a:pt x="1129461" y="338226"/>
                  </a:lnTo>
                  <a:lnTo>
                    <a:pt x="1132509" y="338226"/>
                  </a:lnTo>
                  <a:lnTo>
                    <a:pt x="1119416" y="326796"/>
                  </a:lnTo>
                  <a:lnTo>
                    <a:pt x="1122984" y="326796"/>
                  </a:lnTo>
                  <a:lnTo>
                    <a:pt x="1126947" y="329336"/>
                  </a:lnTo>
                  <a:lnTo>
                    <a:pt x="1126388" y="326796"/>
                  </a:lnTo>
                  <a:lnTo>
                    <a:pt x="1125283" y="321716"/>
                  </a:lnTo>
                  <a:lnTo>
                    <a:pt x="1134300" y="326796"/>
                  </a:lnTo>
                  <a:lnTo>
                    <a:pt x="1133767" y="321716"/>
                  </a:lnTo>
                  <a:lnTo>
                    <a:pt x="1133627" y="320446"/>
                  </a:lnTo>
                  <a:lnTo>
                    <a:pt x="1138910" y="320446"/>
                  </a:lnTo>
                  <a:lnTo>
                    <a:pt x="1133805" y="316636"/>
                  </a:lnTo>
                  <a:lnTo>
                    <a:pt x="1125156" y="314096"/>
                  </a:lnTo>
                  <a:lnTo>
                    <a:pt x="1116279" y="309016"/>
                  </a:lnTo>
                  <a:lnTo>
                    <a:pt x="1118158" y="305206"/>
                  </a:lnTo>
                  <a:lnTo>
                    <a:pt x="1124877" y="311556"/>
                  </a:lnTo>
                  <a:lnTo>
                    <a:pt x="1125829" y="305206"/>
                  </a:lnTo>
                  <a:lnTo>
                    <a:pt x="1126020" y="303936"/>
                  </a:lnTo>
                  <a:lnTo>
                    <a:pt x="1131900" y="311556"/>
                  </a:lnTo>
                  <a:lnTo>
                    <a:pt x="1129906" y="303936"/>
                  </a:lnTo>
                  <a:lnTo>
                    <a:pt x="1139037" y="307746"/>
                  </a:lnTo>
                  <a:lnTo>
                    <a:pt x="1137031" y="303936"/>
                  </a:lnTo>
                  <a:lnTo>
                    <a:pt x="1135684" y="301396"/>
                  </a:lnTo>
                  <a:lnTo>
                    <a:pt x="1141285" y="301396"/>
                  </a:lnTo>
                  <a:lnTo>
                    <a:pt x="1123340" y="295046"/>
                  </a:lnTo>
                  <a:lnTo>
                    <a:pt x="1116164" y="292506"/>
                  </a:lnTo>
                  <a:lnTo>
                    <a:pt x="1122387" y="289966"/>
                  </a:lnTo>
                  <a:lnTo>
                    <a:pt x="1115072" y="283616"/>
                  </a:lnTo>
                  <a:lnTo>
                    <a:pt x="1112151" y="281076"/>
                  </a:lnTo>
                  <a:lnTo>
                    <a:pt x="1126096" y="286156"/>
                  </a:lnTo>
                  <a:lnTo>
                    <a:pt x="1123581" y="282346"/>
                  </a:lnTo>
                  <a:lnTo>
                    <a:pt x="1125893" y="281076"/>
                  </a:lnTo>
                  <a:lnTo>
                    <a:pt x="1128204" y="279806"/>
                  </a:lnTo>
                  <a:lnTo>
                    <a:pt x="1114310" y="273456"/>
                  </a:lnTo>
                  <a:lnTo>
                    <a:pt x="1119035" y="268376"/>
                  </a:lnTo>
                  <a:lnTo>
                    <a:pt x="1112710" y="265836"/>
                  </a:lnTo>
                  <a:lnTo>
                    <a:pt x="1113586" y="262026"/>
                  </a:lnTo>
                  <a:lnTo>
                    <a:pt x="1109510" y="259486"/>
                  </a:lnTo>
                  <a:lnTo>
                    <a:pt x="1110869" y="258216"/>
                  </a:lnTo>
                  <a:lnTo>
                    <a:pt x="1108684" y="254406"/>
                  </a:lnTo>
                  <a:lnTo>
                    <a:pt x="1107338" y="244246"/>
                  </a:lnTo>
                  <a:lnTo>
                    <a:pt x="1105458" y="255676"/>
                  </a:lnTo>
                  <a:lnTo>
                    <a:pt x="1103007" y="258216"/>
                  </a:lnTo>
                  <a:lnTo>
                    <a:pt x="1104379" y="262026"/>
                  </a:lnTo>
                  <a:lnTo>
                    <a:pt x="1102067" y="263296"/>
                  </a:lnTo>
                  <a:lnTo>
                    <a:pt x="1100924" y="263296"/>
                  </a:lnTo>
                  <a:lnTo>
                    <a:pt x="1098613" y="264566"/>
                  </a:lnTo>
                  <a:lnTo>
                    <a:pt x="1099324" y="267106"/>
                  </a:lnTo>
                  <a:lnTo>
                    <a:pt x="1091374" y="269646"/>
                  </a:lnTo>
                  <a:lnTo>
                    <a:pt x="1103109" y="272186"/>
                  </a:lnTo>
                  <a:lnTo>
                    <a:pt x="1087208" y="279806"/>
                  </a:lnTo>
                  <a:lnTo>
                    <a:pt x="1089660" y="281076"/>
                  </a:lnTo>
                  <a:lnTo>
                    <a:pt x="1090866" y="282346"/>
                  </a:lnTo>
                  <a:lnTo>
                    <a:pt x="1093304" y="283616"/>
                  </a:lnTo>
                  <a:lnTo>
                    <a:pt x="1089850" y="287426"/>
                  </a:lnTo>
                  <a:lnTo>
                    <a:pt x="1095857" y="284886"/>
                  </a:lnTo>
                  <a:lnTo>
                    <a:pt x="1101445" y="283616"/>
                  </a:lnTo>
                  <a:lnTo>
                    <a:pt x="1096606" y="287426"/>
                  </a:lnTo>
                  <a:lnTo>
                    <a:pt x="1090180" y="288696"/>
                  </a:lnTo>
                  <a:lnTo>
                    <a:pt x="1087056" y="292506"/>
                  </a:lnTo>
                  <a:lnTo>
                    <a:pt x="1094346" y="292506"/>
                  </a:lnTo>
                  <a:lnTo>
                    <a:pt x="1091399" y="296316"/>
                  </a:lnTo>
                  <a:lnTo>
                    <a:pt x="1096860" y="295046"/>
                  </a:lnTo>
                  <a:lnTo>
                    <a:pt x="1098727" y="297586"/>
                  </a:lnTo>
                  <a:lnTo>
                    <a:pt x="1090891" y="302666"/>
                  </a:lnTo>
                  <a:lnTo>
                    <a:pt x="1073632" y="310286"/>
                  </a:lnTo>
                  <a:lnTo>
                    <a:pt x="1081252" y="310286"/>
                  </a:lnTo>
                  <a:lnTo>
                    <a:pt x="1078826" y="314096"/>
                  </a:lnTo>
                  <a:lnTo>
                    <a:pt x="1086027" y="311556"/>
                  </a:lnTo>
                  <a:lnTo>
                    <a:pt x="1085583" y="314096"/>
                  </a:lnTo>
                  <a:lnTo>
                    <a:pt x="1085265" y="316636"/>
                  </a:lnTo>
                  <a:lnTo>
                    <a:pt x="1090409" y="311556"/>
                  </a:lnTo>
                  <a:lnTo>
                    <a:pt x="1094981" y="310286"/>
                  </a:lnTo>
                  <a:lnTo>
                    <a:pt x="1092911" y="315366"/>
                  </a:lnTo>
                  <a:lnTo>
                    <a:pt x="1083652" y="320446"/>
                  </a:lnTo>
                  <a:lnTo>
                    <a:pt x="1078572" y="322986"/>
                  </a:lnTo>
                  <a:lnTo>
                    <a:pt x="1082357" y="325526"/>
                  </a:lnTo>
                  <a:lnTo>
                    <a:pt x="1074115" y="330606"/>
                  </a:lnTo>
                  <a:lnTo>
                    <a:pt x="1082548" y="330606"/>
                  </a:lnTo>
                  <a:lnTo>
                    <a:pt x="1080249" y="333146"/>
                  </a:lnTo>
                  <a:lnTo>
                    <a:pt x="1068552" y="338226"/>
                  </a:lnTo>
                  <a:lnTo>
                    <a:pt x="1062164" y="342036"/>
                  </a:lnTo>
                  <a:lnTo>
                    <a:pt x="1070851" y="342036"/>
                  </a:lnTo>
                  <a:lnTo>
                    <a:pt x="1070876" y="348386"/>
                  </a:lnTo>
                  <a:lnTo>
                    <a:pt x="1078776" y="340766"/>
                  </a:lnTo>
                  <a:lnTo>
                    <a:pt x="1079271" y="347116"/>
                  </a:lnTo>
                  <a:lnTo>
                    <a:pt x="1085024" y="342036"/>
                  </a:lnTo>
                  <a:lnTo>
                    <a:pt x="1087869" y="340766"/>
                  </a:lnTo>
                  <a:lnTo>
                    <a:pt x="1090701" y="339496"/>
                  </a:lnTo>
                  <a:lnTo>
                    <a:pt x="1085989" y="345821"/>
                  </a:lnTo>
                  <a:lnTo>
                    <a:pt x="1085989" y="382676"/>
                  </a:lnTo>
                  <a:lnTo>
                    <a:pt x="1081532" y="388531"/>
                  </a:lnTo>
                  <a:lnTo>
                    <a:pt x="1081532" y="420776"/>
                  </a:lnTo>
                  <a:lnTo>
                    <a:pt x="1080782" y="420776"/>
                  </a:lnTo>
                  <a:lnTo>
                    <a:pt x="1077264" y="422046"/>
                  </a:lnTo>
                  <a:lnTo>
                    <a:pt x="1073505" y="424586"/>
                  </a:lnTo>
                  <a:lnTo>
                    <a:pt x="1071245" y="423164"/>
                  </a:lnTo>
                  <a:lnTo>
                    <a:pt x="1071245" y="437286"/>
                  </a:lnTo>
                  <a:lnTo>
                    <a:pt x="1070610" y="437603"/>
                  </a:lnTo>
                  <a:lnTo>
                    <a:pt x="1070749" y="437286"/>
                  </a:lnTo>
                  <a:lnTo>
                    <a:pt x="1071245" y="437286"/>
                  </a:lnTo>
                  <a:lnTo>
                    <a:pt x="1071245" y="423164"/>
                  </a:lnTo>
                  <a:lnTo>
                    <a:pt x="1069492" y="422046"/>
                  </a:lnTo>
                  <a:lnTo>
                    <a:pt x="1069098" y="420776"/>
                  </a:lnTo>
                  <a:lnTo>
                    <a:pt x="1068705" y="419506"/>
                  </a:lnTo>
                  <a:lnTo>
                    <a:pt x="1071753" y="419506"/>
                  </a:lnTo>
                  <a:lnTo>
                    <a:pt x="1068997" y="418236"/>
                  </a:lnTo>
                  <a:lnTo>
                    <a:pt x="1069581" y="415696"/>
                  </a:lnTo>
                  <a:lnTo>
                    <a:pt x="1072057" y="416966"/>
                  </a:lnTo>
                  <a:lnTo>
                    <a:pt x="1073543" y="422046"/>
                  </a:lnTo>
                  <a:lnTo>
                    <a:pt x="1077074" y="418236"/>
                  </a:lnTo>
                  <a:lnTo>
                    <a:pt x="1080566" y="419506"/>
                  </a:lnTo>
                  <a:lnTo>
                    <a:pt x="1081532" y="420776"/>
                  </a:lnTo>
                  <a:lnTo>
                    <a:pt x="1081532" y="388531"/>
                  </a:lnTo>
                  <a:lnTo>
                    <a:pt x="1077277" y="394106"/>
                  </a:lnTo>
                  <a:lnTo>
                    <a:pt x="1069962" y="397916"/>
                  </a:lnTo>
                  <a:lnTo>
                    <a:pt x="1069530" y="397827"/>
                  </a:lnTo>
                  <a:lnTo>
                    <a:pt x="1069530" y="405536"/>
                  </a:lnTo>
                  <a:lnTo>
                    <a:pt x="1069492" y="406806"/>
                  </a:lnTo>
                  <a:lnTo>
                    <a:pt x="1065707" y="408076"/>
                  </a:lnTo>
                  <a:lnTo>
                    <a:pt x="1064539" y="402996"/>
                  </a:lnTo>
                  <a:lnTo>
                    <a:pt x="1069530" y="405536"/>
                  </a:lnTo>
                  <a:lnTo>
                    <a:pt x="1069530" y="397827"/>
                  </a:lnTo>
                  <a:lnTo>
                    <a:pt x="1064387" y="396646"/>
                  </a:lnTo>
                  <a:lnTo>
                    <a:pt x="1055522" y="390296"/>
                  </a:lnTo>
                  <a:lnTo>
                    <a:pt x="1057402" y="387756"/>
                  </a:lnTo>
                  <a:lnTo>
                    <a:pt x="1064120" y="392836"/>
                  </a:lnTo>
                  <a:lnTo>
                    <a:pt x="1064882" y="387756"/>
                  </a:lnTo>
                  <a:lnTo>
                    <a:pt x="1065263" y="385216"/>
                  </a:lnTo>
                  <a:lnTo>
                    <a:pt x="1071143" y="392836"/>
                  </a:lnTo>
                  <a:lnTo>
                    <a:pt x="1069314" y="386486"/>
                  </a:lnTo>
                  <a:lnTo>
                    <a:pt x="1069594" y="386486"/>
                  </a:lnTo>
                  <a:lnTo>
                    <a:pt x="1078293" y="389026"/>
                  </a:lnTo>
                  <a:lnTo>
                    <a:pt x="1076947" y="386486"/>
                  </a:lnTo>
                  <a:lnTo>
                    <a:pt x="1076274" y="385216"/>
                  </a:lnTo>
                  <a:lnTo>
                    <a:pt x="1074928" y="382676"/>
                  </a:lnTo>
                  <a:lnTo>
                    <a:pt x="1080528" y="383946"/>
                  </a:lnTo>
                  <a:lnTo>
                    <a:pt x="1077849" y="382676"/>
                  </a:lnTo>
                  <a:lnTo>
                    <a:pt x="1080693" y="380136"/>
                  </a:lnTo>
                  <a:lnTo>
                    <a:pt x="1084008" y="373786"/>
                  </a:lnTo>
                  <a:lnTo>
                    <a:pt x="1084681" y="372516"/>
                  </a:lnTo>
                  <a:lnTo>
                    <a:pt x="1085342" y="371246"/>
                  </a:lnTo>
                  <a:lnTo>
                    <a:pt x="1082179" y="383946"/>
                  </a:lnTo>
                  <a:lnTo>
                    <a:pt x="1085989" y="382676"/>
                  </a:lnTo>
                  <a:lnTo>
                    <a:pt x="1085989" y="345821"/>
                  </a:lnTo>
                  <a:lnTo>
                    <a:pt x="1085024" y="347116"/>
                  </a:lnTo>
                  <a:lnTo>
                    <a:pt x="1083741" y="352196"/>
                  </a:lnTo>
                  <a:lnTo>
                    <a:pt x="1079906" y="356006"/>
                  </a:lnTo>
                  <a:lnTo>
                    <a:pt x="1077264" y="357835"/>
                  </a:lnTo>
                  <a:lnTo>
                    <a:pt x="1077264" y="382676"/>
                  </a:lnTo>
                  <a:lnTo>
                    <a:pt x="1073188" y="380136"/>
                  </a:lnTo>
                  <a:lnTo>
                    <a:pt x="1075080" y="377596"/>
                  </a:lnTo>
                  <a:lnTo>
                    <a:pt x="1077264" y="382676"/>
                  </a:lnTo>
                  <a:lnTo>
                    <a:pt x="1077264" y="357835"/>
                  </a:lnTo>
                  <a:lnTo>
                    <a:pt x="1068857" y="363626"/>
                  </a:lnTo>
                  <a:lnTo>
                    <a:pt x="1068514" y="363816"/>
                  </a:lnTo>
                  <a:lnTo>
                    <a:pt x="1068514" y="373786"/>
                  </a:lnTo>
                  <a:lnTo>
                    <a:pt x="1065847" y="377596"/>
                  </a:lnTo>
                  <a:lnTo>
                    <a:pt x="1061339" y="376326"/>
                  </a:lnTo>
                  <a:lnTo>
                    <a:pt x="1068514" y="373786"/>
                  </a:lnTo>
                  <a:lnTo>
                    <a:pt x="1068514" y="363816"/>
                  </a:lnTo>
                  <a:lnTo>
                    <a:pt x="1064272" y="366166"/>
                  </a:lnTo>
                  <a:lnTo>
                    <a:pt x="1062824" y="363626"/>
                  </a:lnTo>
                  <a:lnTo>
                    <a:pt x="1067447" y="362356"/>
                  </a:lnTo>
                  <a:lnTo>
                    <a:pt x="1062507" y="360108"/>
                  </a:lnTo>
                  <a:lnTo>
                    <a:pt x="1062507" y="367436"/>
                  </a:lnTo>
                  <a:lnTo>
                    <a:pt x="1061237" y="367893"/>
                  </a:lnTo>
                  <a:lnTo>
                    <a:pt x="1061237" y="376326"/>
                  </a:lnTo>
                  <a:lnTo>
                    <a:pt x="1055408" y="373786"/>
                  </a:lnTo>
                  <a:lnTo>
                    <a:pt x="1057198" y="372516"/>
                  </a:lnTo>
                  <a:lnTo>
                    <a:pt x="1060310" y="372516"/>
                  </a:lnTo>
                  <a:lnTo>
                    <a:pt x="1061237" y="376326"/>
                  </a:lnTo>
                  <a:lnTo>
                    <a:pt x="1061237" y="367893"/>
                  </a:lnTo>
                  <a:lnTo>
                    <a:pt x="1058913" y="368706"/>
                  </a:lnTo>
                  <a:lnTo>
                    <a:pt x="1054404" y="364896"/>
                  </a:lnTo>
                  <a:lnTo>
                    <a:pt x="1051394" y="362356"/>
                  </a:lnTo>
                  <a:lnTo>
                    <a:pt x="1062507" y="367436"/>
                  </a:lnTo>
                  <a:lnTo>
                    <a:pt x="1062507" y="360108"/>
                  </a:lnTo>
                  <a:lnTo>
                    <a:pt x="1053553" y="356006"/>
                  </a:lnTo>
                  <a:lnTo>
                    <a:pt x="1058291" y="350926"/>
                  </a:lnTo>
                  <a:lnTo>
                    <a:pt x="1051953" y="347116"/>
                  </a:lnTo>
                  <a:lnTo>
                    <a:pt x="1052830" y="343306"/>
                  </a:lnTo>
                  <a:lnTo>
                    <a:pt x="1048753" y="340766"/>
                  </a:lnTo>
                  <a:lnTo>
                    <a:pt x="1050112" y="339496"/>
                  </a:lnTo>
                  <a:lnTo>
                    <a:pt x="1047927" y="336956"/>
                  </a:lnTo>
                  <a:lnTo>
                    <a:pt x="1046581" y="325526"/>
                  </a:lnTo>
                  <a:lnTo>
                    <a:pt x="1044702" y="336956"/>
                  </a:lnTo>
                  <a:lnTo>
                    <a:pt x="1042250" y="340766"/>
                  </a:lnTo>
                  <a:lnTo>
                    <a:pt x="1043622" y="344576"/>
                  </a:lnTo>
                  <a:lnTo>
                    <a:pt x="1041311" y="344576"/>
                  </a:lnTo>
                  <a:lnTo>
                    <a:pt x="1040168" y="345846"/>
                  </a:lnTo>
                  <a:lnTo>
                    <a:pt x="1037856" y="345846"/>
                  </a:lnTo>
                  <a:lnTo>
                    <a:pt x="1038567" y="349656"/>
                  </a:lnTo>
                  <a:lnTo>
                    <a:pt x="1030617" y="352196"/>
                  </a:lnTo>
                  <a:lnTo>
                    <a:pt x="1042352" y="354736"/>
                  </a:lnTo>
                  <a:lnTo>
                    <a:pt x="1026452" y="361086"/>
                  </a:lnTo>
                  <a:lnTo>
                    <a:pt x="1032548" y="364896"/>
                  </a:lnTo>
                  <a:lnTo>
                    <a:pt x="1029093" y="368706"/>
                  </a:lnTo>
                  <a:lnTo>
                    <a:pt x="1035100" y="366166"/>
                  </a:lnTo>
                  <a:lnTo>
                    <a:pt x="1040688" y="364896"/>
                  </a:lnTo>
                  <a:lnTo>
                    <a:pt x="1035850" y="368706"/>
                  </a:lnTo>
                  <a:lnTo>
                    <a:pt x="1029423" y="371246"/>
                  </a:lnTo>
                  <a:lnTo>
                    <a:pt x="1026299" y="373786"/>
                  </a:lnTo>
                  <a:lnTo>
                    <a:pt x="1033589" y="373786"/>
                  </a:lnTo>
                  <a:lnTo>
                    <a:pt x="1030643" y="378866"/>
                  </a:lnTo>
                  <a:lnTo>
                    <a:pt x="1036116" y="376326"/>
                  </a:lnTo>
                  <a:lnTo>
                    <a:pt x="1037971" y="378866"/>
                  </a:lnTo>
                  <a:lnTo>
                    <a:pt x="1030147" y="383946"/>
                  </a:lnTo>
                  <a:lnTo>
                    <a:pt x="1012875" y="391566"/>
                  </a:lnTo>
                  <a:lnTo>
                    <a:pt x="1020495" y="391566"/>
                  </a:lnTo>
                  <a:lnTo>
                    <a:pt x="1018070" y="395376"/>
                  </a:lnTo>
                  <a:lnTo>
                    <a:pt x="1025271" y="392836"/>
                  </a:lnTo>
                  <a:lnTo>
                    <a:pt x="1024826" y="395376"/>
                  </a:lnTo>
                  <a:lnTo>
                    <a:pt x="1024509" y="397916"/>
                  </a:lnTo>
                  <a:lnTo>
                    <a:pt x="1032281" y="392836"/>
                  </a:lnTo>
                  <a:lnTo>
                    <a:pt x="1034224" y="391566"/>
                  </a:lnTo>
                  <a:lnTo>
                    <a:pt x="1032154" y="396646"/>
                  </a:lnTo>
                  <a:lnTo>
                    <a:pt x="1022883" y="402996"/>
                  </a:lnTo>
                  <a:lnTo>
                    <a:pt x="1017828" y="404266"/>
                  </a:lnTo>
                  <a:lnTo>
                    <a:pt x="1021600" y="408076"/>
                  </a:lnTo>
                  <a:lnTo>
                    <a:pt x="1013371" y="411886"/>
                  </a:lnTo>
                  <a:lnTo>
                    <a:pt x="1021791" y="411886"/>
                  </a:lnTo>
                  <a:lnTo>
                    <a:pt x="1019492" y="415696"/>
                  </a:lnTo>
                  <a:lnTo>
                    <a:pt x="1007795" y="419506"/>
                  </a:lnTo>
                  <a:lnTo>
                    <a:pt x="1001395" y="423316"/>
                  </a:lnTo>
                  <a:lnTo>
                    <a:pt x="1010094" y="423316"/>
                  </a:lnTo>
                  <a:lnTo>
                    <a:pt x="1010119" y="429666"/>
                  </a:lnTo>
                  <a:lnTo>
                    <a:pt x="1018019" y="423316"/>
                  </a:lnTo>
                  <a:lnTo>
                    <a:pt x="1018514" y="428396"/>
                  </a:lnTo>
                  <a:lnTo>
                    <a:pt x="1029944" y="420776"/>
                  </a:lnTo>
                  <a:lnTo>
                    <a:pt x="1024267" y="429666"/>
                  </a:lnTo>
                  <a:lnTo>
                    <a:pt x="1022985" y="433476"/>
                  </a:lnTo>
                  <a:lnTo>
                    <a:pt x="1019771" y="437286"/>
                  </a:lnTo>
                  <a:lnTo>
                    <a:pt x="1018870" y="429666"/>
                  </a:lnTo>
                  <a:lnTo>
                    <a:pt x="1017422" y="438556"/>
                  </a:lnTo>
                  <a:lnTo>
                    <a:pt x="1008113" y="444906"/>
                  </a:lnTo>
                  <a:lnTo>
                    <a:pt x="996797" y="451256"/>
                  </a:lnTo>
                  <a:lnTo>
                    <a:pt x="995426" y="455066"/>
                  </a:lnTo>
                  <a:lnTo>
                    <a:pt x="999553" y="453796"/>
                  </a:lnTo>
                  <a:lnTo>
                    <a:pt x="1000506" y="457606"/>
                  </a:lnTo>
                  <a:lnTo>
                    <a:pt x="1004506" y="456336"/>
                  </a:lnTo>
                  <a:lnTo>
                    <a:pt x="1006716" y="456336"/>
                  </a:lnTo>
                  <a:lnTo>
                    <a:pt x="1002728" y="463956"/>
                  </a:lnTo>
                  <a:lnTo>
                    <a:pt x="998740" y="465226"/>
                  </a:lnTo>
                  <a:lnTo>
                    <a:pt x="1000963" y="466496"/>
                  </a:lnTo>
                  <a:lnTo>
                    <a:pt x="999883" y="469036"/>
                  </a:lnTo>
                  <a:lnTo>
                    <a:pt x="1002220" y="467766"/>
                  </a:lnTo>
                  <a:lnTo>
                    <a:pt x="1004836" y="469036"/>
                  </a:lnTo>
                  <a:lnTo>
                    <a:pt x="1001382" y="472846"/>
                  </a:lnTo>
                  <a:lnTo>
                    <a:pt x="1007389" y="470306"/>
                  </a:lnTo>
                  <a:lnTo>
                    <a:pt x="1012977" y="469036"/>
                  </a:lnTo>
                  <a:lnTo>
                    <a:pt x="1008138" y="472846"/>
                  </a:lnTo>
                  <a:lnTo>
                    <a:pt x="1001712" y="475386"/>
                  </a:lnTo>
                  <a:lnTo>
                    <a:pt x="998588" y="477926"/>
                  </a:lnTo>
                  <a:lnTo>
                    <a:pt x="1005878" y="477926"/>
                  </a:lnTo>
                  <a:lnTo>
                    <a:pt x="1002944" y="483006"/>
                  </a:lnTo>
                  <a:lnTo>
                    <a:pt x="1008405" y="480466"/>
                  </a:lnTo>
                  <a:lnTo>
                    <a:pt x="1010259" y="483006"/>
                  </a:lnTo>
                  <a:lnTo>
                    <a:pt x="1006513" y="485444"/>
                  </a:lnTo>
                  <a:lnTo>
                    <a:pt x="1006513" y="495706"/>
                  </a:lnTo>
                  <a:lnTo>
                    <a:pt x="1004443" y="500786"/>
                  </a:lnTo>
                  <a:lnTo>
                    <a:pt x="996708" y="506095"/>
                  </a:lnTo>
                  <a:lnTo>
                    <a:pt x="996708" y="532536"/>
                  </a:lnTo>
                  <a:lnTo>
                    <a:pt x="996556" y="533806"/>
                  </a:lnTo>
                  <a:lnTo>
                    <a:pt x="995273" y="537616"/>
                  </a:lnTo>
                  <a:lnTo>
                    <a:pt x="994168" y="538886"/>
                  </a:lnTo>
                  <a:lnTo>
                    <a:pt x="990307" y="536346"/>
                  </a:lnTo>
                  <a:lnTo>
                    <a:pt x="984516" y="532536"/>
                  </a:lnTo>
                  <a:lnTo>
                    <a:pt x="988936" y="528726"/>
                  </a:lnTo>
                  <a:lnTo>
                    <a:pt x="990104" y="529996"/>
                  </a:lnTo>
                  <a:lnTo>
                    <a:pt x="990574" y="529996"/>
                  </a:lnTo>
                  <a:lnTo>
                    <a:pt x="990803" y="532536"/>
                  </a:lnTo>
                  <a:lnTo>
                    <a:pt x="994003" y="529996"/>
                  </a:lnTo>
                  <a:lnTo>
                    <a:pt x="994676" y="532536"/>
                  </a:lnTo>
                  <a:lnTo>
                    <a:pt x="996708" y="532536"/>
                  </a:lnTo>
                  <a:lnTo>
                    <a:pt x="996708" y="506095"/>
                  </a:lnTo>
                  <a:lnTo>
                    <a:pt x="995184" y="507136"/>
                  </a:lnTo>
                  <a:lnTo>
                    <a:pt x="990104" y="508406"/>
                  </a:lnTo>
                  <a:lnTo>
                    <a:pt x="992390" y="510946"/>
                  </a:lnTo>
                  <a:lnTo>
                    <a:pt x="993889" y="512216"/>
                  </a:lnTo>
                  <a:lnTo>
                    <a:pt x="989825" y="513486"/>
                  </a:lnTo>
                  <a:lnTo>
                    <a:pt x="982980" y="509676"/>
                  </a:lnTo>
                  <a:lnTo>
                    <a:pt x="980135" y="502056"/>
                  </a:lnTo>
                  <a:lnTo>
                    <a:pt x="987018" y="507136"/>
                  </a:lnTo>
                  <a:lnTo>
                    <a:pt x="990917" y="504596"/>
                  </a:lnTo>
                  <a:lnTo>
                    <a:pt x="996302" y="505866"/>
                  </a:lnTo>
                  <a:lnTo>
                    <a:pt x="995349" y="504596"/>
                  </a:lnTo>
                  <a:lnTo>
                    <a:pt x="993444" y="502056"/>
                  </a:lnTo>
                  <a:lnTo>
                    <a:pt x="991539" y="499516"/>
                  </a:lnTo>
                  <a:lnTo>
                    <a:pt x="997572" y="496976"/>
                  </a:lnTo>
                  <a:lnTo>
                    <a:pt x="996810" y="502056"/>
                  </a:lnTo>
                  <a:lnTo>
                    <a:pt x="1001941" y="496976"/>
                  </a:lnTo>
                  <a:lnTo>
                    <a:pt x="1006513" y="495706"/>
                  </a:lnTo>
                  <a:lnTo>
                    <a:pt x="1006513" y="485444"/>
                  </a:lnTo>
                  <a:lnTo>
                    <a:pt x="1002436" y="488086"/>
                  </a:lnTo>
                  <a:lnTo>
                    <a:pt x="992797" y="492518"/>
                  </a:lnTo>
                  <a:lnTo>
                    <a:pt x="992797" y="495706"/>
                  </a:lnTo>
                  <a:lnTo>
                    <a:pt x="991006" y="499516"/>
                  </a:lnTo>
                  <a:lnTo>
                    <a:pt x="986434" y="495706"/>
                  </a:lnTo>
                  <a:lnTo>
                    <a:pt x="992797" y="495706"/>
                  </a:lnTo>
                  <a:lnTo>
                    <a:pt x="992797" y="492518"/>
                  </a:lnTo>
                  <a:lnTo>
                    <a:pt x="985824" y="495706"/>
                  </a:lnTo>
                  <a:lnTo>
                    <a:pt x="983005" y="494436"/>
                  </a:lnTo>
                  <a:lnTo>
                    <a:pt x="980516" y="491896"/>
                  </a:lnTo>
                  <a:lnTo>
                    <a:pt x="970584" y="481736"/>
                  </a:lnTo>
                  <a:lnTo>
                    <a:pt x="969987" y="477926"/>
                  </a:lnTo>
                  <a:lnTo>
                    <a:pt x="973188" y="477926"/>
                  </a:lnTo>
                  <a:lnTo>
                    <a:pt x="974763" y="483006"/>
                  </a:lnTo>
                  <a:lnTo>
                    <a:pt x="980160" y="479196"/>
                  </a:lnTo>
                  <a:lnTo>
                    <a:pt x="981722" y="488086"/>
                  </a:lnTo>
                  <a:lnTo>
                    <a:pt x="984046" y="484276"/>
                  </a:lnTo>
                  <a:lnTo>
                    <a:pt x="990879" y="488086"/>
                  </a:lnTo>
                  <a:lnTo>
                    <a:pt x="990561" y="485546"/>
                  </a:lnTo>
                  <a:lnTo>
                    <a:pt x="991438" y="484276"/>
                  </a:lnTo>
                  <a:lnTo>
                    <a:pt x="992314" y="483006"/>
                  </a:lnTo>
                  <a:lnTo>
                    <a:pt x="997483" y="484276"/>
                  </a:lnTo>
                  <a:lnTo>
                    <a:pt x="995832" y="483006"/>
                  </a:lnTo>
                  <a:lnTo>
                    <a:pt x="990904" y="479196"/>
                  </a:lnTo>
                  <a:lnTo>
                    <a:pt x="989253" y="477926"/>
                  </a:lnTo>
                  <a:lnTo>
                    <a:pt x="981024" y="471576"/>
                  </a:lnTo>
                  <a:lnTo>
                    <a:pt x="980236" y="469036"/>
                  </a:lnTo>
                  <a:lnTo>
                    <a:pt x="983297" y="469036"/>
                  </a:lnTo>
                  <a:lnTo>
                    <a:pt x="970191" y="457606"/>
                  </a:lnTo>
                  <a:lnTo>
                    <a:pt x="973759" y="457606"/>
                  </a:lnTo>
                  <a:lnTo>
                    <a:pt x="977722" y="460146"/>
                  </a:lnTo>
                  <a:lnTo>
                    <a:pt x="977176" y="457606"/>
                  </a:lnTo>
                  <a:lnTo>
                    <a:pt x="976071" y="452526"/>
                  </a:lnTo>
                  <a:lnTo>
                    <a:pt x="985075" y="457606"/>
                  </a:lnTo>
                  <a:lnTo>
                    <a:pt x="984542" y="452526"/>
                  </a:lnTo>
                  <a:lnTo>
                    <a:pt x="984402" y="451256"/>
                  </a:lnTo>
                  <a:lnTo>
                    <a:pt x="989685" y="451256"/>
                  </a:lnTo>
                  <a:lnTo>
                    <a:pt x="975931" y="444906"/>
                  </a:lnTo>
                  <a:lnTo>
                    <a:pt x="967054" y="439826"/>
                  </a:lnTo>
                  <a:lnTo>
                    <a:pt x="968933" y="436016"/>
                  </a:lnTo>
                  <a:lnTo>
                    <a:pt x="975652" y="442366"/>
                  </a:lnTo>
                  <a:lnTo>
                    <a:pt x="976604" y="436016"/>
                  </a:lnTo>
                  <a:lnTo>
                    <a:pt x="976795" y="434746"/>
                  </a:lnTo>
                  <a:lnTo>
                    <a:pt x="982675" y="442366"/>
                  </a:lnTo>
                  <a:lnTo>
                    <a:pt x="980681" y="436016"/>
                  </a:lnTo>
                  <a:lnTo>
                    <a:pt x="989825" y="438556"/>
                  </a:lnTo>
                  <a:lnTo>
                    <a:pt x="988479" y="436016"/>
                  </a:lnTo>
                  <a:lnTo>
                    <a:pt x="987806" y="434746"/>
                  </a:lnTo>
                  <a:lnTo>
                    <a:pt x="986459" y="432206"/>
                  </a:lnTo>
                  <a:lnTo>
                    <a:pt x="992060" y="433476"/>
                  </a:lnTo>
                  <a:lnTo>
                    <a:pt x="989368" y="432206"/>
                  </a:lnTo>
                  <a:lnTo>
                    <a:pt x="981303" y="428396"/>
                  </a:lnTo>
                  <a:lnTo>
                    <a:pt x="974128" y="425856"/>
                  </a:lnTo>
                  <a:lnTo>
                    <a:pt x="966952" y="423316"/>
                  </a:lnTo>
                  <a:lnTo>
                    <a:pt x="970673" y="422046"/>
                  </a:lnTo>
                  <a:lnTo>
                    <a:pt x="973162" y="420776"/>
                  </a:lnTo>
                  <a:lnTo>
                    <a:pt x="965847" y="414426"/>
                  </a:lnTo>
                  <a:lnTo>
                    <a:pt x="962926" y="411886"/>
                  </a:lnTo>
                  <a:lnTo>
                    <a:pt x="976871" y="416966"/>
                  </a:lnTo>
                  <a:lnTo>
                    <a:pt x="974356" y="413156"/>
                  </a:lnTo>
                  <a:lnTo>
                    <a:pt x="978979" y="411886"/>
                  </a:lnTo>
                  <a:lnTo>
                    <a:pt x="965098" y="404266"/>
                  </a:lnTo>
                  <a:lnTo>
                    <a:pt x="969822" y="399186"/>
                  </a:lnTo>
                  <a:lnTo>
                    <a:pt x="963485" y="396646"/>
                  </a:lnTo>
                  <a:lnTo>
                    <a:pt x="964361" y="392836"/>
                  </a:lnTo>
                  <a:lnTo>
                    <a:pt x="960285" y="390296"/>
                  </a:lnTo>
                  <a:lnTo>
                    <a:pt x="961644" y="389026"/>
                  </a:lnTo>
                  <a:lnTo>
                    <a:pt x="959459" y="386486"/>
                  </a:lnTo>
                  <a:lnTo>
                    <a:pt x="958113" y="375056"/>
                  </a:lnTo>
                  <a:lnTo>
                    <a:pt x="956246" y="386486"/>
                  </a:lnTo>
                  <a:lnTo>
                    <a:pt x="953782" y="390296"/>
                  </a:lnTo>
                  <a:lnTo>
                    <a:pt x="955154" y="392836"/>
                  </a:lnTo>
                  <a:lnTo>
                    <a:pt x="949401" y="395376"/>
                  </a:lnTo>
                  <a:lnTo>
                    <a:pt x="950099" y="397916"/>
                  </a:lnTo>
                  <a:lnTo>
                    <a:pt x="942149" y="400456"/>
                  </a:lnTo>
                  <a:lnTo>
                    <a:pt x="953884" y="404266"/>
                  </a:lnTo>
                  <a:lnTo>
                    <a:pt x="937983" y="410616"/>
                  </a:lnTo>
                  <a:lnTo>
                    <a:pt x="944079" y="414426"/>
                  </a:lnTo>
                  <a:lnTo>
                    <a:pt x="940625" y="418236"/>
                  </a:lnTo>
                  <a:lnTo>
                    <a:pt x="946632" y="415696"/>
                  </a:lnTo>
                  <a:lnTo>
                    <a:pt x="952220" y="414426"/>
                  </a:lnTo>
                  <a:lnTo>
                    <a:pt x="947381" y="418236"/>
                  </a:lnTo>
                  <a:lnTo>
                    <a:pt x="943533" y="419506"/>
                  </a:lnTo>
                  <a:lnTo>
                    <a:pt x="940955" y="420776"/>
                  </a:lnTo>
                  <a:lnTo>
                    <a:pt x="937831" y="423316"/>
                  </a:lnTo>
                  <a:lnTo>
                    <a:pt x="945121" y="423316"/>
                  </a:lnTo>
                  <a:lnTo>
                    <a:pt x="942187" y="428396"/>
                  </a:lnTo>
                  <a:lnTo>
                    <a:pt x="947648" y="425856"/>
                  </a:lnTo>
                  <a:lnTo>
                    <a:pt x="949502" y="428396"/>
                  </a:lnTo>
                  <a:lnTo>
                    <a:pt x="941679" y="433476"/>
                  </a:lnTo>
                  <a:lnTo>
                    <a:pt x="924407" y="441096"/>
                  </a:lnTo>
                  <a:lnTo>
                    <a:pt x="932027" y="441096"/>
                  </a:lnTo>
                  <a:lnTo>
                    <a:pt x="929601" y="444906"/>
                  </a:lnTo>
                  <a:lnTo>
                    <a:pt x="936815" y="442366"/>
                  </a:lnTo>
                  <a:lnTo>
                    <a:pt x="936040" y="447446"/>
                  </a:lnTo>
                  <a:lnTo>
                    <a:pt x="941184" y="442366"/>
                  </a:lnTo>
                  <a:lnTo>
                    <a:pt x="945756" y="441096"/>
                  </a:lnTo>
                  <a:lnTo>
                    <a:pt x="943686" y="446176"/>
                  </a:lnTo>
                  <a:lnTo>
                    <a:pt x="941476" y="447700"/>
                  </a:lnTo>
                  <a:lnTo>
                    <a:pt x="941476" y="470306"/>
                  </a:lnTo>
                  <a:lnTo>
                    <a:pt x="936764" y="477685"/>
                  </a:lnTo>
                  <a:lnTo>
                    <a:pt x="936764" y="514756"/>
                  </a:lnTo>
                  <a:lnTo>
                    <a:pt x="932192" y="519836"/>
                  </a:lnTo>
                  <a:lnTo>
                    <a:pt x="931964" y="519506"/>
                  </a:lnTo>
                  <a:lnTo>
                    <a:pt x="931964" y="519836"/>
                  </a:lnTo>
                  <a:lnTo>
                    <a:pt x="928052" y="524916"/>
                  </a:lnTo>
                  <a:lnTo>
                    <a:pt x="925906" y="526186"/>
                  </a:lnTo>
                  <a:lnTo>
                    <a:pt x="921067" y="521919"/>
                  </a:lnTo>
                  <a:lnTo>
                    <a:pt x="921067" y="532536"/>
                  </a:lnTo>
                  <a:lnTo>
                    <a:pt x="920496" y="536346"/>
                  </a:lnTo>
                  <a:lnTo>
                    <a:pt x="920013" y="536346"/>
                  </a:lnTo>
                  <a:lnTo>
                    <a:pt x="918019" y="535076"/>
                  </a:lnTo>
                  <a:lnTo>
                    <a:pt x="917016" y="533806"/>
                  </a:lnTo>
                  <a:lnTo>
                    <a:pt x="915022" y="532536"/>
                  </a:lnTo>
                  <a:lnTo>
                    <a:pt x="921067" y="532536"/>
                  </a:lnTo>
                  <a:lnTo>
                    <a:pt x="921067" y="521919"/>
                  </a:lnTo>
                  <a:lnTo>
                    <a:pt x="920153" y="521106"/>
                  </a:lnTo>
                  <a:lnTo>
                    <a:pt x="922121" y="521106"/>
                  </a:lnTo>
                  <a:lnTo>
                    <a:pt x="919886" y="517296"/>
                  </a:lnTo>
                  <a:lnTo>
                    <a:pt x="921105" y="516026"/>
                  </a:lnTo>
                  <a:lnTo>
                    <a:pt x="922553" y="516026"/>
                  </a:lnTo>
                  <a:lnTo>
                    <a:pt x="925423" y="521106"/>
                  </a:lnTo>
                  <a:lnTo>
                    <a:pt x="926096" y="517296"/>
                  </a:lnTo>
                  <a:lnTo>
                    <a:pt x="931964" y="519836"/>
                  </a:lnTo>
                  <a:lnTo>
                    <a:pt x="931964" y="519506"/>
                  </a:lnTo>
                  <a:lnTo>
                    <a:pt x="930490" y="517296"/>
                  </a:lnTo>
                  <a:lnTo>
                    <a:pt x="929640" y="516026"/>
                  </a:lnTo>
                  <a:lnTo>
                    <a:pt x="927938" y="513486"/>
                  </a:lnTo>
                  <a:lnTo>
                    <a:pt x="931075" y="514756"/>
                  </a:lnTo>
                  <a:lnTo>
                    <a:pt x="931011" y="513486"/>
                  </a:lnTo>
                  <a:lnTo>
                    <a:pt x="930960" y="512216"/>
                  </a:lnTo>
                  <a:lnTo>
                    <a:pt x="932637" y="510946"/>
                  </a:lnTo>
                  <a:lnTo>
                    <a:pt x="934326" y="509676"/>
                  </a:lnTo>
                  <a:lnTo>
                    <a:pt x="932954" y="516026"/>
                  </a:lnTo>
                  <a:lnTo>
                    <a:pt x="936764" y="514756"/>
                  </a:lnTo>
                  <a:lnTo>
                    <a:pt x="936764" y="477685"/>
                  </a:lnTo>
                  <a:lnTo>
                    <a:pt x="935799" y="479196"/>
                  </a:lnTo>
                  <a:lnTo>
                    <a:pt x="934516" y="483006"/>
                  </a:lnTo>
                  <a:lnTo>
                    <a:pt x="930681" y="486816"/>
                  </a:lnTo>
                  <a:lnTo>
                    <a:pt x="923290" y="491896"/>
                  </a:lnTo>
                  <a:lnTo>
                    <a:pt x="917562" y="490423"/>
                  </a:lnTo>
                  <a:lnTo>
                    <a:pt x="917562" y="529996"/>
                  </a:lnTo>
                  <a:lnTo>
                    <a:pt x="913930" y="532536"/>
                  </a:lnTo>
                  <a:lnTo>
                    <a:pt x="911034" y="531266"/>
                  </a:lnTo>
                  <a:lnTo>
                    <a:pt x="908812" y="526186"/>
                  </a:lnTo>
                  <a:lnTo>
                    <a:pt x="917562" y="529996"/>
                  </a:lnTo>
                  <a:lnTo>
                    <a:pt x="917562" y="490423"/>
                  </a:lnTo>
                  <a:lnTo>
                    <a:pt x="903655" y="486816"/>
                  </a:lnTo>
                  <a:lnTo>
                    <a:pt x="911694" y="486816"/>
                  </a:lnTo>
                  <a:lnTo>
                    <a:pt x="911644" y="484276"/>
                  </a:lnTo>
                  <a:lnTo>
                    <a:pt x="911593" y="483006"/>
                  </a:lnTo>
                  <a:lnTo>
                    <a:pt x="919010" y="488086"/>
                  </a:lnTo>
                  <a:lnTo>
                    <a:pt x="918845" y="486816"/>
                  </a:lnTo>
                  <a:lnTo>
                    <a:pt x="918616" y="483006"/>
                  </a:lnTo>
                  <a:lnTo>
                    <a:pt x="924267" y="477926"/>
                  </a:lnTo>
                  <a:lnTo>
                    <a:pt x="923188" y="477926"/>
                  </a:lnTo>
                  <a:lnTo>
                    <a:pt x="929551" y="472846"/>
                  </a:lnTo>
                  <a:lnTo>
                    <a:pt x="930046" y="477926"/>
                  </a:lnTo>
                  <a:lnTo>
                    <a:pt x="935799" y="472846"/>
                  </a:lnTo>
                  <a:lnTo>
                    <a:pt x="941476" y="470306"/>
                  </a:lnTo>
                  <a:lnTo>
                    <a:pt x="941476" y="447700"/>
                  </a:lnTo>
                  <a:lnTo>
                    <a:pt x="934427" y="452526"/>
                  </a:lnTo>
                  <a:lnTo>
                    <a:pt x="929360" y="453796"/>
                  </a:lnTo>
                  <a:lnTo>
                    <a:pt x="933132" y="456336"/>
                  </a:lnTo>
                  <a:lnTo>
                    <a:pt x="924902" y="461416"/>
                  </a:lnTo>
                  <a:lnTo>
                    <a:pt x="933323" y="461416"/>
                  </a:lnTo>
                  <a:lnTo>
                    <a:pt x="931024" y="465226"/>
                  </a:lnTo>
                  <a:lnTo>
                    <a:pt x="921639" y="468287"/>
                  </a:lnTo>
                  <a:lnTo>
                    <a:pt x="921639" y="472846"/>
                  </a:lnTo>
                  <a:lnTo>
                    <a:pt x="921639" y="477926"/>
                  </a:lnTo>
                  <a:lnTo>
                    <a:pt x="916216" y="477926"/>
                  </a:lnTo>
                  <a:lnTo>
                    <a:pt x="917702" y="474116"/>
                  </a:lnTo>
                  <a:lnTo>
                    <a:pt x="919568" y="472846"/>
                  </a:lnTo>
                  <a:lnTo>
                    <a:pt x="921639" y="472846"/>
                  </a:lnTo>
                  <a:lnTo>
                    <a:pt x="921639" y="468287"/>
                  </a:lnTo>
                  <a:lnTo>
                    <a:pt x="919327" y="469036"/>
                  </a:lnTo>
                  <a:lnTo>
                    <a:pt x="917067" y="470306"/>
                  </a:lnTo>
                  <a:lnTo>
                    <a:pt x="920686" y="465226"/>
                  </a:lnTo>
                  <a:lnTo>
                    <a:pt x="902106" y="472846"/>
                  </a:lnTo>
                  <a:lnTo>
                    <a:pt x="898956" y="466496"/>
                  </a:lnTo>
                  <a:lnTo>
                    <a:pt x="897699" y="463956"/>
                  </a:lnTo>
                  <a:lnTo>
                    <a:pt x="905065" y="470306"/>
                  </a:lnTo>
                  <a:lnTo>
                    <a:pt x="905103" y="465226"/>
                  </a:lnTo>
                  <a:lnTo>
                    <a:pt x="912164" y="466496"/>
                  </a:lnTo>
                  <a:lnTo>
                    <a:pt x="911415" y="465226"/>
                  </a:lnTo>
                  <a:lnTo>
                    <a:pt x="910666" y="463956"/>
                  </a:lnTo>
                  <a:lnTo>
                    <a:pt x="909688" y="462686"/>
                  </a:lnTo>
                  <a:lnTo>
                    <a:pt x="913485" y="461416"/>
                  </a:lnTo>
                  <a:lnTo>
                    <a:pt x="916025" y="461416"/>
                  </a:lnTo>
                  <a:lnTo>
                    <a:pt x="911580" y="458876"/>
                  </a:lnTo>
                  <a:lnTo>
                    <a:pt x="904405" y="456336"/>
                  </a:lnTo>
                  <a:lnTo>
                    <a:pt x="909129" y="455066"/>
                  </a:lnTo>
                  <a:lnTo>
                    <a:pt x="912266" y="455066"/>
                  </a:lnTo>
                  <a:lnTo>
                    <a:pt x="907008" y="451256"/>
                  </a:lnTo>
                  <a:lnTo>
                    <a:pt x="909904" y="447446"/>
                  </a:lnTo>
                  <a:lnTo>
                    <a:pt x="911834" y="444906"/>
                  </a:lnTo>
                  <a:lnTo>
                    <a:pt x="908443" y="446176"/>
                  </a:lnTo>
                  <a:lnTo>
                    <a:pt x="906195" y="447446"/>
                  </a:lnTo>
                  <a:lnTo>
                    <a:pt x="902754" y="446176"/>
                  </a:lnTo>
                  <a:lnTo>
                    <a:pt x="904951" y="443636"/>
                  </a:lnTo>
                  <a:lnTo>
                    <a:pt x="906056" y="442366"/>
                  </a:lnTo>
                  <a:lnTo>
                    <a:pt x="896696" y="443636"/>
                  </a:lnTo>
                  <a:lnTo>
                    <a:pt x="902830" y="437286"/>
                  </a:lnTo>
                  <a:lnTo>
                    <a:pt x="896861" y="434746"/>
                  </a:lnTo>
                  <a:lnTo>
                    <a:pt x="895591" y="420776"/>
                  </a:lnTo>
                  <a:lnTo>
                    <a:pt x="894435" y="414426"/>
                  </a:lnTo>
                  <a:lnTo>
                    <a:pt x="892848" y="416966"/>
                  </a:lnTo>
                  <a:lnTo>
                    <a:pt x="892556" y="428396"/>
                  </a:lnTo>
                  <a:lnTo>
                    <a:pt x="890397" y="434746"/>
                  </a:lnTo>
                  <a:lnTo>
                    <a:pt x="886079" y="437286"/>
                  </a:lnTo>
                  <a:lnTo>
                    <a:pt x="889939" y="439826"/>
                  </a:lnTo>
                  <a:lnTo>
                    <a:pt x="879525" y="444906"/>
                  </a:lnTo>
                  <a:lnTo>
                    <a:pt x="883424" y="447446"/>
                  </a:lnTo>
                  <a:lnTo>
                    <a:pt x="880541" y="449986"/>
                  </a:lnTo>
                  <a:lnTo>
                    <a:pt x="889381" y="452526"/>
                  </a:lnTo>
                  <a:lnTo>
                    <a:pt x="881837" y="456336"/>
                  </a:lnTo>
                  <a:lnTo>
                    <a:pt x="874433" y="457606"/>
                  </a:lnTo>
                  <a:lnTo>
                    <a:pt x="881532" y="460146"/>
                  </a:lnTo>
                  <a:lnTo>
                    <a:pt x="880376" y="465226"/>
                  </a:lnTo>
                  <a:lnTo>
                    <a:pt x="885063" y="462686"/>
                  </a:lnTo>
                  <a:lnTo>
                    <a:pt x="884948" y="467766"/>
                  </a:lnTo>
                  <a:lnTo>
                    <a:pt x="889190" y="466496"/>
                  </a:lnTo>
                  <a:lnTo>
                    <a:pt x="882650" y="471576"/>
                  </a:lnTo>
                  <a:lnTo>
                    <a:pt x="874331" y="469036"/>
                  </a:lnTo>
                  <a:lnTo>
                    <a:pt x="870165" y="469036"/>
                  </a:lnTo>
                  <a:lnTo>
                    <a:pt x="861860" y="466496"/>
                  </a:lnTo>
                  <a:lnTo>
                    <a:pt x="864768" y="470306"/>
                  </a:lnTo>
                  <a:lnTo>
                    <a:pt x="860653" y="472846"/>
                  </a:lnTo>
                  <a:lnTo>
                    <a:pt x="868997" y="471576"/>
                  </a:lnTo>
                  <a:lnTo>
                    <a:pt x="862266" y="476656"/>
                  </a:lnTo>
                  <a:lnTo>
                    <a:pt x="868616" y="479196"/>
                  </a:lnTo>
                  <a:lnTo>
                    <a:pt x="860437" y="486816"/>
                  </a:lnTo>
                  <a:lnTo>
                    <a:pt x="866724" y="484276"/>
                  </a:lnTo>
                  <a:lnTo>
                    <a:pt x="869696" y="489356"/>
                  </a:lnTo>
                  <a:lnTo>
                    <a:pt x="875753" y="484276"/>
                  </a:lnTo>
                  <a:lnTo>
                    <a:pt x="870089" y="494436"/>
                  </a:lnTo>
                  <a:lnTo>
                    <a:pt x="875411" y="491896"/>
                  </a:lnTo>
                  <a:lnTo>
                    <a:pt x="879894" y="494436"/>
                  </a:lnTo>
                  <a:lnTo>
                    <a:pt x="881430" y="491896"/>
                  </a:lnTo>
                  <a:lnTo>
                    <a:pt x="884504" y="486816"/>
                  </a:lnTo>
                  <a:lnTo>
                    <a:pt x="885977" y="491896"/>
                  </a:lnTo>
                  <a:lnTo>
                    <a:pt x="875271" y="498246"/>
                  </a:lnTo>
                  <a:lnTo>
                    <a:pt x="856691" y="502056"/>
                  </a:lnTo>
                  <a:lnTo>
                    <a:pt x="858151" y="504596"/>
                  </a:lnTo>
                  <a:lnTo>
                    <a:pt x="849350" y="505866"/>
                  </a:lnTo>
                  <a:lnTo>
                    <a:pt x="858494" y="510946"/>
                  </a:lnTo>
                  <a:lnTo>
                    <a:pt x="854722" y="516026"/>
                  </a:lnTo>
                  <a:lnTo>
                    <a:pt x="869403" y="510946"/>
                  </a:lnTo>
                  <a:lnTo>
                    <a:pt x="858850" y="523646"/>
                  </a:lnTo>
                  <a:lnTo>
                    <a:pt x="865847" y="522376"/>
                  </a:lnTo>
                  <a:lnTo>
                    <a:pt x="866482" y="527456"/>
                  </a:lnTo>
                  <a:lnTo>
                    <a:pt x="869873" y="522376"/>
                  </a:lnTo>
                  <a:lnTo>
                    <a:pt x="871575" y="519836"/>
                  </a:lnTo>
                  <a:lnTo>
                    <a:pt x="874725" y="524916"/>
                  </a:lnTo>
                  <a:lnTo>
                    <a:pt x="875233" y="521106"/>
                  </a:lnTo>
                  <a:lnTo>
                    <a:pt x="875461" y="519836"/>
                  </a:lnTo>
                  <a:lnTo>
                    <a:pt x="875969" y="516026"/>
                  </a:lnTo>
                  <a:lnTo>
                    <a:pt x="878941" y="517296"/>
                  </a:lnTo>
                  <a:lnTo>
                    <a:pt x="880897" y="521106"/>
                  </a:lnTo>
                  <a:lnTo>
                    <a:pt x="872299" y="528726"/>
                  </a:lnTo>
                  <a:lnTo>
                    <a:pt x="879182" y="531266"/>
                  </a:lnTo>
                  <a:lnTo>
                    <a:pt x="876808" y="535076"/>
                  </a:lnTo>
                  <a:lnTo>
                    <a:pt x="876604" y="535139"/>
                  </a:lnTo>
                  <a:lnTo>
                    <a:pt x="876604" y="552856"/>
                  </a:lnTo>
                  <a:lnTo>
                    <a:pt x="872375" y="559206"/>
                  </a:lnTo>
                  <a:lnTo>
                    <a:pt x="858951" y="565556"/>
                  </a:lnTo>
                  <a:lnTo>
                    <a:pt x="850430" y="561746"/>
                  </a:lnTo>
                  <a:lnTo>
                    <a:pt x="849744" y="561746"/>
                  </a:lnTo>
                  <a:lnTo>
                    <a:pt x="852868" y="560476"/>
                  </a:lnTo>
                  <a:lnTo>
                    <a:pt x="846594" y="558063"/>
                  </a:lnTo>
                  <a:lnTo>
                    <a:pt x="846594" y="576986"/>
                  </a:lnTo>
                  <a:lnTo>
                    <a:pt x="841235" y="578256"/>
                  </a:lnTo>
                  <a:lnTo>
                    <a:pt x="840295" y="575716"/>
                  </a:lnTo>
                  <a:lnTo>
                    <a:pt x="842911" y="571906"/>
                  </a:lnTo>
                  <a:lnTo>
                    <a:pt x="845121" y="574446"/>
                  </a:lnTo>
                  <a:lnTo>
                    <a:pt x="846594" y="576986"/>
                  </a:lnTo>
                  <a:lnTo>
                    <a:pt x="846594" y="558063"/>
                  </a:lnTo>
                  <a:lnTo>
                    <a:pt x="846277" y="557936"/>
                  </a:lnTo>
                  <a:lnTo>
                    <a:pt x="841997" y="556285"/>
                  </a:lnTo>
                  <a:lnTo>
                    <a:pt x="852665" y="550316"/>
                  </a:lnTo>
                  <a:lnTo>
                    <a:pt x="850328" y="559206"/>
                  </a:lnTo>
                  <a:lnTo>
                    <a:pt x="856678" y="552856"/>
                  </a:lnTo>
                  <a:lnTo>
                    <a:pt x="855738" y="557936"/>
                  </a:lnTo>
                  <a:lnTo>
                    <a:pt x="855091" y="561746"/>
                  </a:lnTo>
                  <a:lnTo>
                    <a:pt x="861441" y="557936"/>
                  </a:lnTo>
                  <a:lnTo>
                    <a:pt x="864616" y="560476"/>
                  </a:lnTo>
                  <a:lnTo>
                    <a:pt x="864958" y="557936"/>
                  </a:lnTo>
                  <a:lnTo>
                    <a:pt x="865632" y="552856"/>
                  </a:lnTo>
                  <a:lnTo>
                    <a:pt x="865974" y="550316"/>
                  </a:lnTo>
                  <a:lnTo>
                    <a:pt x="869480" y="555396"/>
                  </a:lnTo>
                  <a:lnTo>
                    <a:pt x="876604" y="552856"/>
                  </a:lnTo>
                  <a:lnTo>
                    <a:pt x="876604" y="535139"/>
                  </a:lnTo>
                  <a:lnTo>
                    <a:pt x="849757" y="542696"/>
                  </a:lnTo>
                  <a:lnTo>
                    <a:pt x="858621" y="538886"/>
                  </a:lnTo>
                  <a:lnTo>
                    <a:pt x="846924" y="538886"/>
                  </a:lnTo>
                  <a:lnTo>
                    <a:pt x="844715" y="537997"/>
                  </a:lnTo>
                  <a:lnTo>
                    <a:pt x="844715" y="549046"/>
                  </a:lnTo>
                  <a:lnTo>
                    <a:pt x="841552" y="556120"/>
                  </a:lnTo>
                  <a:lnTo>
                    <a:pt x="833107" y="552856"/>
                  </a:lnTo>
                  <a:lnTo>
                    <a:pt x="830846" y="550316"/>
                  </a:lnTo>
                  <a:lnTo>
                    <a:pt x="827405" y="546468"/>
                  </a:lnTo>
                  <a:lnTo>
                    <a:pt x="827405" y="584606"/>
                  </a:lnTo>
                  <a:lnTo>
                    <a:pt x="826960" y="584606"/>
                  </a:lnTo>
                  <a:lnTo>
                    <a:pt x="826528" y="585876"/>
                  </a:lnTo>
                  <a:lnTo>
                    <a:pt x="826084" y="588416"/>
                  </a:lnTo>
                  <a:lnTo>
                    <a:pt x="825474" y="588416"/>
                  </a:lnTo>
                  <a:lnTo>
                    <a:pt x="823645" y="584606"/>
                  </a:lnTo>
                  <a:lnTo>
                    <a:pt x="824204" y="580796"/>
                  </a:lnTo>
                  <a:lnTo>
                    <a:pt x="827405" y="584606"/>
                  </a:lnTo>
                  <a:lnTo>
                    <a:pt x="827405" y="546468"/>
                  </a:lnTo>
                  <a:lnTo>
                    <a:pt x="825182" y="543966"/>
                  </a:lnTo>
                  <a:lnTo>
                    <a:pt x="824090" y="538886"/>
                  </a:lnTo>
                  <a:lnTo>
                    <a:pt x="826757" y="538886"/>
                  </a:lnTo>
                  <a:lnTo>
                    <a:pt x="835279" y="550316"/>
                  </a:lnTo>
                  <a:lnTo>
                    <a:pt x="835609" y="547776"/>
                  </a:lnTo>
                  <a:lnTo>
                    <a:pt x="835063" y="543966"/>
                  </a:lnTo>
                  <a:lnTo>
                    <a:pt x="836320" y="542696"/>
                  </a:lnTo>
                  <a:lnTo>
                    <a:pt x="838263" y="546506"/>
                  </a:lnTo>
                  <a:lnTo>
                    <a:pt x="838720" y="546506"/>
                  </a:lnTo>
                  <a:lnTo>
                    <a:pt x="843178" y="551586"/>
                  </a:lnTo>
                  <a:lnTo>
                    <a:pt x="843000" y="547776"/>
                  </a:lnTo>
                  <a:lnTo>
                    <a:pt x="844715" y="549046"/>
                  </a:lnTo>
                  <a:lnTo>
                    <a:pt x="844715" y="537997"/>
                  </a:lnTo>
                  <a:lnTo>
                    <a:pt x="840663" y="536346"/>
                  </a:lnTo>
                  <a:lnTo>
                    <a:pt x="844702" y="535076"/>
                  </a:lnTo>
                  <a:lnTo>
                    <a:pt x="830656" y="531266"/>
                  </a:lnTo>
                  <a:lnTo>
                    <a:pt x="824712" y="526186"/>
                  </a:lnTo>
                  <a:lnTo>
                    <a:pt x="824852" y="524916"/>
                  </a:lnTo>
                  <a:lnTo>
                    <a:pt x="824979" y="523646"/>
                  </a:lnTo>
                  <a:lnTo>
                    <a:pt x="832281" y="523646"/>
                  </a:lnTo>
                  <a:lnTo>
                    <a:pt x="826350" y="518566"/>
                  </a:lnTo>
                  <a:lnTo>
                    <a:pt x="821893" y="514756"/>
                  </a:lnTo>
                  <a:lnTo>
                    <a:pt x="827824" y="514756"/>
                  </a:lnTo>
                  <a:lnTo>
                    <a:pt x="835710" y="518566"/>
                  </a:lnTo>
                  <a:lnTo>
                    <a:pt x="835736" y="514756"/>
                  </a:lnTo>
                  <a:lnTo>
                    <a:pt x="835774" y="510946"/>
                  </a:lnTo>
                  <a:lnTo>
                    <a:pt x="841933" y="507136"/>
                  </a:lnTo>
                  <a:lnTo>
                    <a:pt x="825969" y="505866"/>
                  </a:lnTo>
                  <a:lnTo>
                    <a:pt x="822426" y="504596"/>
                  </a:lnTo>
                  <a:lnTo>
                    <a:pt x="818883" y="503326"/>
                  </a:lnTo>
                  <a:lnTo>
                    <a:pt x="819543" y="500786"/>
                  </a:lnTo>
                  <a:lnTo>
                    <a:pt x="829424" y="504596"/>
                  </a:lnTo>
                  <a:lnTo>
                    <a:pt x="828763" y="500786"/>
                  </a:lnTo>
                  <a:lnTo>
                    <a:pt x="828548" y="499516"/>
                  </a:lnTo>
                  <a:lnTo>
                    <a:pt x="836231" y="500786"/>
                  </a:lnTo>
                  <a:lnTo>
                    <a:pt x="834542" y="495706"/>
                  </a:lnTo>
                  <a:lnTo>
                    <a:pt x="836256" y="493166"/>
                  </a:lnTo>
                  <a:lnTo>
                    <a:pt x="839685" y="488086"/>
                  </a:lnTo>
                  <a:lnTo>
                    <a:pt x="830465" y="491896"/>
                  </a:lnTo>
                  <a:lnTo>
                    <a:pt x="824318" y="493166"/>
                  </a:lnTo>
                  <a:lnTo>
                    <a:pt x="818019" y="491896"/>
                  </a:lnTo>
                  <a:lnTo>
                    <a:pt x="820343" y="486816"/>
                  </a:lnTo>
                  <a:lnTo>
                    <a:pt x="826744" y="485546"/>
                  </a:lnTo>
                  <a:lnTo>
                    <a:pt x="825207" y="483006"/>
                  </a:lnTo>
                  <a:lnTo>
                    <a:pt x="826985" y="480466"/>
                  </a:lnTo>
                  <a:lnTo>
                    <a:pt x="829665" y="476656"/>
                  </a:lnTo>
                  <a:lnTo>
                    <a:pt x="819912" y="480466"/>
                  </a:lnTo>
                  <a:lnTo>
                    <a:pt x="818108" y="476656"/>
                  </a:lnTo>
                  <a:lnTo>
                    <a:pt x="820534" y="472846"/>
                  </a:lnTo>
                  <a:lnTo>
                    <a:pt x="821334" y="471576"/>
                  </a:lnTo>
                  <a:lnTo>
                    <a:pt x="819035" y="472846"/>
                  </a:lnTo>
                  <a:lnTo>
                    <a:pt x="815721" y="470306"/>
                  </a:lnTo>
                  <a:lnTo>
                    <a:pt x="815949" y="453796"/>
                  </a:lnTo>
                  <a:lnTo>
                    <a:pt x="814006" y="452526"/>
                  </a:lnTo>
                  <a:lnTo>
                    <a:pt x="812838" y="456336"/>
                  </a:lnTo>
                  <a:lnTo>
                    <a:pt x="812660" y="466496"/>
                  </a:lnTo>
                  <a:lnTo>
                    <a:pt x="809485" y="470306"/>
                  </a:lnTo>
                  <a:lnTo>
                    <a:pt x="804405" y="470306"/>
                  </a:lnTo>
                  <a:lnTo>
                    <a:pt x="809383" y="475386"/>
                  </a:lnTo>
                  <a:lnTo>
                    <a:pt x="810399" y="480466"/>
                  </a:lnTo>
                  <a:lnTo>
                    <a:pt x="796277" y="476656"/>
                  </a:lnTo>
                  <a:lnTo>
                    <a:pt x="801928" y="481736"/>
                  </a:lnTo>
                  <a:lnTo>
                    <a:pt x="800366" y="488086"/>
                  </a:lnTo>
                  <a:lnTo>
                    <a:pt x="805624" y="485546"/>
                  </a:lnTo>
                  <a:lnTo>
                    <a:pt x="809358" y="486816"/>
                  </a:lnTo>
                  <a:lnTo>
                    <a:pt x="808774" y="490626"/>
                  </a:lnTo>
                  <a:lnTo>
                    <a:pt x="802297" y="490626"/>
                  </a:lnTo>
                  <a:lnTo>
                    <a:pt x="803833" y="493166"/>
                  </a:lnTo>
                  <a:lnTo>
                    <a:pt x="806996" y="495706"/>
                  </a:lnTo>
                  <a:lnTo>
                    <a:pt x="803325" y="495706"/>
                  </a:lnTo>
                  <a:lnTo>
                    <a:pt x="794169" y="493166"/>
                  </a:lnTo>
                  <a:lnTo>
                    <a:pt x="785952" y="489356"/>
                  </a:lnTo>
                  <a:lnTo>
                    <a:pt x="789165" y="498246"/>
                  </a:lnTo>
                  <a:lnTo>
                    <a:pt x="785622" y="499516"/>
                  </a:lnTo>
                  <a:lnTo>
                    <a:pt x="789152" y="499516"/>
                  </a:lnTo>
                  <a:lnTo>
                    <a:pt x="786384" y="507136"/>
                  </a:lnTo>
                  <a:lnTo>
                    <a:pt x="796251" y="500786"/>
                  </a:lnTo>
                  <a:lnTo>
                    <a:pt x="796251" y="507136"/>
                  </a:lnTo>
                  <a:lnTo>
                    <a:pt x="803605" y="504596"/>
                  </a:lnTo>
                  <a:lnTo>
                    <a:pt x="805192" y="509676"/>
                  </a:lnTo>
                  <a:lnTo>
                    <a:pt x="799058" y="512216"/>
                  </a:lnTo>
                  <a:lnTo>
                    <a:pt x="785685" y="512216"/>
                  </a:lnTo>
                  <a:lnTo>
                    <a:pt x="790028" y="516026"/>
                  </a:lnTo>
                  <a:lnTo>
                    <a:pt x="788873" y="518566"/>
                  </a:lnTo>
                  <a:lnTo>
                    <a:pt x="787107" y="521106"/>
                  </a:lnTo>
                  <a:lnTo>
                    <a:pt x="796442" y="518566"/>
                  </a:lnTo>
                  <a:lnTo>
                    <a:pt x="796518" y="522376"/>
                  </a:lnTo>
                  <a:lnTo>
                    <a:pt x="790829" y="526186"/>
                  </a:lnTo>
                  <a:lnTo>
                    <a:pt x="801408" y="524916"/>
                  </a:lnTo>
                  <a:lnTo>
                    <a:pt x="803973" y="527456"/>
                  </a:lnTo>
                  <a:lnTo>
                    <a:pt x="798880" y="533806"/>
                  </a:lnTo>
                  <a:lnTo>
                    <a:pt x="782256" y="540156"/>
                  </a:lnTo>
                  <a:lnTo>
                    <a:pt x="766762" y="541426"/>
                  </a:lnTo>
                  <a:lnTo>
                    <a:pt x="771486" y="547776"/>
                  </a:lnTo>
                  <a:lnTo>
                    <a:pt x="765492" y="555396"/>
                  </a:lnTo>
                  <a:lnTo>
                    <a:pt x="777582" y="550316"/>
                  </a:lnTo>
                  <a:lnTo>
                    <a:pt x="777163" y="554126"/>
                  </a:lnTo>
                  <a:lnTo>
                    <a:pt x="770445" y="564286"/>
                  </a:lnTo>
                  <a:lnTo>
                    <a:pt x="776528" y="559206"/>
                  </a:lnTo>
                  <a:lnTo>
                    <a:pt x="778408" y="563016"/>
                  </a:lnTo>
                  <a:lnTo>
                    <a:pt x="784809" y="559206"/>
                  </a:lnTo>
                  <a:lnTo>
                    <a:pt x="786942" y="557936"/>
                  </a:lnTo>
                  <a:lnTo>
                    <a:pt x="787971" y="561746"/>
                  </a:lnTo>
                  <a:lnTo>
                    <a:pt x="791730" y="557936"/>
                  </a:lnTo>
                  <a:lnTo>
                    <a:pt x="792988" y="556666"/>
                  </a:lnTo>
                  <a:lnTo>
                    <a:pt x="793788" y="564286"/>
                  </a:lnTo>
                  <a:lnTo>
                    <a:pt x="801116" y="557936"/>
                  </a:lnTo>
                  <a:lnTo>
                    <a:pt x="800277" y="561746"/>
                  </a:lnTo>
                  <a:lnTo>
                    <a:pt x="798588" y="565556"/>
                  </a:lnTo>
                  <a:lnTo>
                    <a:pt x="797547" y="566178"/>
                  </a:lnTo>
                  <a:lnTo>
                    <a:pt x="797547" y="579526"/>
                  </a:lnTo>
                  <a:lnTo>
                    <a:pt x="792327" y="585876"/>
                  </a:lnTo>
                  <a:lnTo>
                    <a:pt x="793038" y="587146"/>
                  </a:lnTo>
                  <a:lnTo>
                    <a:pt x="795286" y="587146"/>
                  </a:lnTo>
                  <a:lnTo>
                    <a:pt x="791845" y="590956"/>
                  </a:lnTo>
                  <a:lnTo>
                    <a:pt x="788873" y="593496"/>
                  </a:lnTo>
                  <a:lnTo>
                    <a:pt x="787742" y="590956"/>
                  </a:lnTo>
                  <a:lnTo>
                    <a:pt x="787171" y="590956"/>
                  </a:lnTo>
                  <a:lnTo>
                    <a:pt x="789203" y="588416"/>
                  </a:lnTo>
                  <a:lnTo>
                    <a:pt x="793191" y="583336"/>
                  </a:lnTo>
                  <a:lnTo>
                    <a:pt x="797547" y="579526"/>
                  </a:lnTo>
                  <a:lnTo>
                    <a:pt x="797547" y="566178"/>
                  </a:lnTo>
                  <a:lnTo>
                    <a:pt x="792149" y="569366"/>
                  </a:lnTo>
                  <a:lnTo>
                    <a:pt x="785164" y="573405"/>
                  </a:lnTo>
                  <a:lnTo>
                    <a:pt x="785164" y="588416"/>
                  </a:lnTo>
                  <a:lnTo>
                    <a:pt x="783742" y="587146"/>
                  </a:lnTo>
                  <a:lnTo>
                    <a:pt x="780923" y="589686"/>
                  </a:lnTo>
                  <a:lnTo>
                    <a:pt x="781100" y="587146"/>
                  </a:lnTo>
                  <a:lnTo>
                    <a:pt x="781443" y="585876"/>
                  </a:lnTo>
                  <a:lnTo>
                    <a:pt x="782142" y="583336"/>
                  </a:lnTo>
                  <a:lnTo>
                    <a:pt x="784999" y="587146"/>
                  </a:lnTo>
                  <a:lnTo>
                    <a:pt x="785164" y="588416"/>
                  </a:lnTo>
                  <a:lnTo>
                    <a:pt x="785164" y="573405"/>
                  </a:lnTo>
                  <a:lnTo>
                    <a:pt x="783336" y="574446"/>
                  </a:lnTo>
                  <a:lnTo>
                    <a:pt x="777824" y="575970"/>
                  </a:lnTo>
                  <a:lnTo>
                    <a:pt x="777824" y="593496"/>
                  </a:lnTo>
                  <a:lnTo>
                    <a:pt x="776884" y="594766"/>
                  </a:lnTo>
                  <a:lnTo>
                    <a:pt x="776363" y="596201"/>
                  </a:lnTo>
                  <a:lnTo>
                    <a:pt x="773226" y="606196"/>
                  </a:lnTo>
                  <a:lnTo>
                    <a:pt x="772820" y="604926"/>
                  </a:lnTo>
                  <a:lnTo>
                    <a:pt x="770394" y="597306"/>
                  </a:lnTo>
                  <a:lnTo>
                    <a:pt x="769988" y="596036"/>
                  </a:lnTo>
                  <a:lnTo>
                    <a:pt x="766762" y="594766"/>
                  </a:lnTo>
                  <a:lnTo>
                    <a:pt x="777074" y="589686"/>
                  </a:lnTo>
                  <a:lnTo>
                    <a:pt x="777824" y="593496"/>
                  </a:lnTo>
                  <a:lnTo>
                    <a:pt x="777824" y="575970"/>
                  </a:lnTo>
                  <a:lnTo>
                    <a:pt x="774128" y="576986"/>
                  </a:lnTo>
                  <a:lnTo>
                    <a:pt x="771321" y="577545"/>
                  </a:lnTo>
                  <a:lnTo>
                    <a:pt x="771321" y="587146"/>
                  </a:lnTo>
                  <a:lnTo>
                    <a:pt x="767283" y="590956"/>
                  </a:lnTo>
                  <a:lnTo>
                    <a:pt x="765276" y="593496"/>
                  </a:lnTo>
                  <a:lnTo>
                    <a:pt x="762850" y="595782"/>
                  </a:lnTo>
                  <a:lnTo>
                    <a:pt x="762850" y="596201"/>
                  </a:lnTo>
                  <a:lnTo>
                    <a:pt x="762673" y="597306"/>
                  </a:lnTo>
                  <a:lnTo>
                    <a:pt x="762469" y="597306"/>
                  </a:lnTo>
                  <a:lnTo>
                    <a:pt x="761669" y="597014"/>
                  </a:lnTo>
                  <a:lnTo>
                    <a:pt x="762850" y="596201"/>
                  </a:lnTo>
                  <a:lnTo>
                    <a:pt x="762850" y="595782"/>
                  </a:lnTo>
                  <a:lnTo>
                    <a:pt x="744855" y="584606"/>
                  </a:lnTo>
                  <a:lnTo>
                    <a:pt x="757593" y="592226"/>
                  </a:lnTo>
                  <a:lnTo>
                    <a:pt x="756843" y="588416"/>
                  </a:lnTo>
                  <a:lnTo>
                    <a:pt x="762863" y="587146"/>
                  </a:lnTo>
                  <a:lnTo>
                    <a:pt x="762609" y="590956"/>
                  </a:lnTo>
                  <a:lnTo>
                    <a:pt x="771321" y="587146"/>
                  </a:lnTo>
                  <a:lnTo>
                    <a:pt x="771321" y="577545"/>
                  </a:lnTo>
                  <a:lnTo>
                    <a:pt x="767676" y="578256"/>
                  </a:lnTo>
                  <a:lnTo>
                    <a:pt x="767092" y="577545"/>
                  </a:lnTo>
                  <a:lnTo>
                    <a:pt x="767092" y="578256"/>
                  </a:lnTo>
                  <a:lnTo>
                    <a:pt x="761047" y="580796"/>
                  </a:lnTo>
                  <a:lnTo>
                    <a:pt x="758037" y="582066"/>
                  </a:lnTo>
                  <a:lnTo>
                    <a:pt x="763168" y="583336"/>
                  </a:lnTo>
                  <a:lnTo>
                    <a:pt x="762990" y="585876"/>
                  </a:lnTo>
                  <a:lnTo>
                    <a:pt x="761187" y="584606"/>
                  </a:lnTo>
                  <a:lnTo>
                    <a:pt x="755777" y="580796"/>
                  </a:lnTo>
                  <a:lnTo>
                    <a:pt x="757732" y="579526"/>
                  </a:lnTo>
                  <a:lnTo>
                    <a:pt x="754519" y="575716"/>
                  </a:lnTo>
                  <a:lnTo>
                    <a:pt x="753452" y="574446"/>
                  </a:lnTo>
                  <a:lnTo>
                    <a:pt x="758164" y="575716"/>
                  </a:lnTo>
                  <a:lnTo>
                    <a:pt x="761047" y="580796"/>
                  </a:lnTo>
                  <a:lnTo>
                    <a:pt x="761707" y="575716"/>
                  </a:lnTo>
                  <a:lnTo>
                    <a:pt x="767092" y="578256"/>
                  </a:lnTo>
                  <a:lnTo>
                    <a:pt x="767092" y="577545"/>
                  </a:lnTo>
                  <a:lnTo>
                    <a:pt x="765619" y="575716"/>
                  </a:lnTo>
                  <a:lnTo>
                    <a:pt x="764578" y="574446"/>
                  </a:lnTo>
                  <a:lnTo>
                    <a:pt x="763549" y="573176"/>
                  </a:lnTo>
                  <a:lnTo>
                    <a:pt x="766699" y="574446"/>
                  </a:lnTo>
                  <a:lnTo>
                    <a:pt x="766648" y="573176"/>
                  </a:lnTo>
                  <a:lnTo>
                    <a:pt x="766559" y="570636"/>
                  </a:lnTo>
                  <a:lnTo>
                    <a:pt x="769696" y="569366"/>
                  </a:lnTo>
                  <a:lnTo>
                    <a:pt x="774407" y="565556"/>
                  </a:lnTo>
                  <a:lnTo>
                    <a:pt x="748652" y="561746"/>
                  </a:lnTo>
                  <a:lnTo>
                    <a:pt x="745617" y="559206"/>
                  </a:lnTo>
                  <a:lnTo>
                    <a:pt x="748360" y="559206"/>
                  </a:lnTo>
                  <a:lnTo>
                    <a:pt x="747166" y="557936"/>
                  </a:lnTo>
                  <a:lnTo>
                    <a:pt x="746582" y="556666"/>
                  </a:lnTo>
                  <a:lnTo>
                    <a:pt x="745388" y="555396"/>
                  </a:lnTo>
                  <a:lnTo>
                    <a:pt x="751014" y="556666"/>
                  </a:lnTo>
                  <a:lnTo>
                    <a:pt x="753821" y="557936"/>
                  </a:lnTo>
                  <a:lnTo>
                    <a:pt x="759447" y="559206"/>
                  </a:lnTo>
                  <a:lnTo>
                    <a:pt x="757631" y="555396"/>
                  </a:lnTo>
                  <a:lnTo>
                    <a:pt x="761250" y="551586"/>
                  </a:lnTo>
                  <a:lnTo>
                    <a:pt x="739279" y="546506"/>
                  </a:lnTo>
                  <a:lnTo>
                    <a:pt x="747293" y="545236"/>
                  </a:lnTo>
                  <a:lnTo>
                    <a:pt x="747217" y="542696"/>
                  </a:lnTo>
                  <a:lnTo>
                    <a:pt x="754621" y="547776"/>
                  </a:lnTo>
                  <a:lnTo>
                    <a:pt x="754240" y="542696"/>
                  </a:lnTo>
                  <a:lnTo>
                    <a:pt x="757618" y="538886"/>
                  </a:lnTo>
                  <a:lnTo>
                    <a:pt x="759891" y="537616"/>
                  </a:lnTo>
                  <a:lnTo>
                    <a:pt x="751814" y="536346"/>
                  </a:lnTo>
                  <a:lnTo>
                    <a:pt x="753313" y="533806"/>
                  </a:lnTo>
                  <a:lnTo>
                    <a:pt x="757732" y="529996"/>
                  </a:lnTo>
                  <a:lnTo>
                    <a:pt x="752170" y="529996"/>
                  </a:lnTo>
                  <a:lnTo>
                    <a:pt x="756310" y="524916"/>
                  </a:lnTo>
                  <a:lnTo>
                    <a:pt x="737717" y="531266"/>
                  </a:lnTo>
                  <a:lnTo>
                    <a:pt x="734783" y="526186"/>
                  </a:lnTo>
                  <a:lnTo>
                    <a:pt x="733323" y="523646"/>
                  </a:lnTo>
                  <a:lnTo>
                    <a:pt x="740689" y="528726"/>
                  </a:lnTo>
                  <a:lnTo>
                    <a:pt x="740702" y="524916"/>
                  </a:lnTo>
                  <a:lnTo>
                    <a:pt x="747776" y="524916"/>
                  </a:lnTo>
                  <a:lnTo>
                    <a:pt x="746531" y="523646"/>
                  </a:lnTo>
                  <a:lnTo>
                    <a:pt x="745286" y="522376"/>
                  </a:lnTo>
                  <a:lnTo>
                    <a:pt x="751624" y="519836"/>
                  </a:lnTo>
                  <a:lnTo>
                    <a:pt x="747204" y="518566"/>
                  </a:lnTo>
                  <a:lnTo>
                    <a:pt x="740016" y="516026"/>
                  </a:lnTo>
                  <a:lnTo>
                    <a:pt x="747877" y="514756"/>
                  </a:lnTo>
                  <a:lnTo>
                    <a:pt x="742619" y="510946"/>
                  </a:lnTo>
                  <a:lnTo>
                    <a:pt x="745515" y="507136"/>
                  </a:lnTo>
                  <a:lnTo>
                    <a:pt x="747445" y="504596"/>
                  </a:lnTo>
                  <a:lnTo>
                    <a:pt x="741794" y="507136"/>
                  </a:lnTo>
                  <a:lnTo>
                    <a:pt x="738365" y="505866"/>
                  </a:lnTo>
                  <a:lnTo>
                    <a:pt x="740029" y="503326"/>
                  </a:lnTo>
                  <a:lnTo>
                    <a:pt x="741680" y="500786"/>
                  </a:lnTo>
                  <a:lnTo>
                    <a:pt x="732307" y="503326"/>
                  </a:lnTo>
                  <a:lnTo>
                    <a:pt x="738428" y="496976"/>
                  </a:lnTo>
                  <a:lnTo>
                    <a:pt x="732472" y="494436"/>
                  </a:lnTo>
                  <a:lnTo>
                    <a:pt x="731215" y="479196"/>
                  </a:lnTo>
                  <a:lnTo>
                    <a:pt x="730059" y="474116"/>
                  </a:lnTo>
                  <a:lnTo>
                    <a:pt x="728472" y="476656"/>
                  </a:lnTo>
                  <a:lnTo>
                    <a:pt x="728154" y="488086"/>
                  </a:lnTo>
                  <a:lnTo>
                    <a:pt x="726020" y="493166"/>
                  </a:lnTo>
                  <a:lnTo>
                    <a:pt x="721677" y="496976"/>
                  </a:lnTo>
                  <a:lnTo>
                    <a:pt x="725563" y="499516"/>
                  </a:lnTo>
                  <a:lnTo>
                    <a:pt x="715124" y="503326"/>
                  </a:lnTo>
                  <a:lnTo>
                    <a:pt x="719035" y="505866"/>
                  </a:lnTo>
                  <a:lnTo>
                    <a:pt x="717308" y="508406"/>
                  </a:lnTo>
                  <a:lnTo>
                    <a:pt x="716140" y="508406"/>
                  </a:lnTo>
                  <a:lnTo>
                    <a:pt x="721448" y="510946"/>
                  </a:lnTo>
                  <a:lnTo>
                    <a:pt x="724992" y="510946"/>
                  </a:lnTo>
                  <a:lnTo>
                    <a:pt x="717448" y="516026"/>
                  </a:lnTo>
                  <a:lnTo>
                    <a:pt x="710044" y="516026"/>
                  </a:lnTo>
                  <a:lnTo>
                    <a:pt x="717156" y="519836"/>
                  </a:lnTo>
                  <a:lnTo>
                    <a:pt x="716000" y="524916"/>
                  </a:lnTo>
                  <a:lnTo>
                    <a:pt x="720674" y="522376"/>
                  </a:lnTo>
                  <a:lnTo>
                    <a:pt x="720559" y="527456"/>
                  </a:lnTo>
                  <a:lnTo>
                    <a:pt x="724814" y="526186"/>
                  </a:lnTo>
                  <a:lnTo>
                    <a:pt x="718261" y="531266"/>
                  </a:lnTo>
                  <a:lnTo>
                    <a:pt x="697458" y="524916"/>
                  </a:lnTo>
                  <a:lnTo>
                    <a:pt x="700366" y="528726"/>
                  </a:lnTo>
                  <a:lnTo>
                    <a:pt x="696264" y="532536"/>
                  </a:lnTo>
                  <a:lnTo>
                    <a:pt x="704608" y="531266"/>
                  </a:lnTo>
                  <a:lnTo>
                    <a:pt x="697877" y="536346"/>
                  </a:lnTo>
                  <a:lnTo>
                    <a:pt x="704227" y="537616"/>
                  </a:lnTo>
                  <a:lnTo>
                    <a:pt x="696061" y="546506"/>
                  </a:lnTo>
                  <a:lnTo>
                    <a:pt x="702348" y="543966"/>
                  </a:lnTo>
                  <a:lnTo>
                    <a:pt x="705307" y="549046"/>
                  </a:lnTo>
                  <a:lnTo>
                    <a:pt x="710145" y="543966"/>
                  </a:lnTo>
                  <a:lnTo>
                    <a:pt x="711352" y="542696"/>
                  </a:lnTo>
                  <a:lnTo>
                    <a:pt x="705700" y="554126"/>
                  </a:lnTo>
                  <a:lnTo>
                    <a:pt x="711034" y="550316"/>
                  </a:lnTo>
                  <a:lnTo>
                    <a:pt x="712812" y="551586"/>
                  </a:lnTo>
                  <a:lnTo>
                    <a:pt x="713727" y="552856"/>
                  </a:lnTo>
                  <a:lnTo>
                    <a:pt x="715505" y="554126"/>
                  </a:lnTo>
                  <a:lnTo>
                    <a:pt x="717486" y="550316"/>
                  </a:lnTo>
                  <a:lnTo>
                    <a:pt x="720115" y="545236"/>
                  </a:lnTo>
                  <a:lnTo>
                    <a:pt x="721588" y="551586"/>
                  </a:lnTo>
                  <a:lnTo>
                    <a:pt x="710882" y="557936"/>
                  </a:lnTo>
                  <a:lnTo>
                    <a:pt x="692302" y="561746"/>
                  </a:lnTo>
                  <a:lnTo>
                    <a:pt x="693775" y="564286"/>
                  </a:lnTo>
                  <a:lnTo>
                    <a:pt x="684961" y="564286"/>
                  </a:lnTo>
                  <a:lnTo>
                    <a:pt x="694093" y="570636"/>
                  </a:lnTo>
                  <a:lnTo>
                    <a:pt x="690346" y="574446"/>
                  </a:lnTo>
                  <a:lnTo>
                    <a:pt x="705015" y="570636"/>
                  </a:lnTo>
                  <a:lnTo>
                    <a:pt x="703376" y="574446"/>
                  </a:lnTo>
                  <a:lnTo>
                    <a:pt x="694474" y="582066"/>
                  </a:lnTo>
                  <a:lnTo>
                    <a:pt x="701459" y="580796"/>
                  </a:lnTo>
                  <a:lnTo>
                    <a:pt x="702094" y="585876"/>
                  </a:lnTo>
                  <a:lnTo>
                    <a:pt x="705485" y="580796"/>
                  </a:lnTo>
                  <a:lnTo>
                    <a:pt x="707186" y="578256"/>
                  </a:lnTo>
                  <a:lnTo>
                    <a:pt x="710349" y="583336"/>
                  </a:lnTo>
                  <a:lnTo>
                    <a:pt x="711161" y="578256"/>
                  </a:lnTo>
                  <a:lnTo>
                    <a:pt x="711568" y="575716"/>
                  </a:lnTo>
                  <a:lnTo>
                    <a:pt x="714552" y="575716"/>
                  </a:lnTo>
                  <a:lnTo>
                    <a:pt x="716521" y="580796"/>
                  </a:lnTo>
                  <a:lnTo>
                    <a:pt x="711352" y="584606"/>
                  </a:lnTo>
                  <a:lnTo>
                    <a:pt x="707898" y="588416"/>
                  </a:lnTo>
                  <a:lnTo>
                    <a:pt x="714794" y="590956"/>
                  </a:lnTo>
                  <a:lnTo>
                    <a:pt x="712419" y="594766"/>
                  </a:lnTo>
                  <a:lnTo>
                    <a:pt x="692302" y="600024"/>
                  </a:lnTo>
                  <a:lnTo>
                    <a:pt x="692302" y="611276"/>
                  </a:lnTo>
                  <a:lnTo>
                    <a:pt x="690702" y="620166"/>
                  </a:lnTo>
                  <a:lnTo>
                    <a:pt x="692061" y="620166"/>
                  </a:lnTo>
                  <a:lnTo>
                    <a:pt x="691527" y="622477"/>
                  </a:lnTo>
                  <a:lnTo>
                    <a:pt x="688644" y="620153"/>
                  </a:lnTo>
                  <a:lnTo>
                    <a:pt x="687679" y="617626"/>
                  </a:lnTo>
                  <a:lnTo>
                    <a:pt x="688695" y="618896"/>
                  </a:lnTo>
                  <a:lnTo>
                    <a:pt x="687844" y="616356"/>
                  </a:lnTo>
                  <a:lnTo>
                    <a:pt x="692302" y="611276"/>
                  </a:lnTo>
                  <a:lnTo>
                    <a:pt x="692302" y="600024"/>
                  </a:lnTo>
                  <a:lnTo>
                    <a:pt x="676300" y="604202"/>
                  </a:lnTo>
                  <a:lnTo>
                    <a:pt x="676300" y="614667"/>
                  </a:lnTo>
                  <a:lnTo>
                    <a:pt x="675894" y="614984"/>
                  </a:lnTo>
                  <a:lnTo>
                    <a:pt x="674941" y="614616"/>
                  </a:lnTo>
                  <a:lnTo>
                    <a:pt x="674789" y="613816"/>
                  </a:lnTo>
                  <a:lnTo>
                    <a:pt x="676300" y="614667"/>
                  </a:lnTo>
                  <a:lnTo>
                    <a:pt x="676300" y="604202"/>
                  </a:lnTo>
                  <a:lnTo>
                    <a:pt x="673493" y="604926"/>
                  </a:lnTo>
                  <a:lnTo>
                    <a:pt x="669798" y="604926"/>
                  </a:lnTo>
                  <a:lnTo>
                    <a:pt x="667956" y="604075"/>
                  </a:lnTo>
                  <a:lnTo>
                    <a:pt x="666445" y="601014"/>
                  </a:lnTo>
                  <a:lnTo>
                    <a:pt x="663270" y="601014"/>
                  </a:lnTo>
                  <a:lnTo>
                    <a:pt x="663092" y="601789"/>
                  </a:lnTo>
                  <a:lnTo>
                    <a:pt x="658977" y="599846"/>
                  </a:lnTo>
                  <a:lnTo>
                    <a:pt x="651141" y="592226"/>
                  </a:lnTo>
                  <a:lnTo>
                    <a:pt x="649744" y="588416"/>
                  </a:lnTo>
                  <a:lnTo>
                    <a:pt x="648804" y="585876"/>
                  </a:lnTo>
                  <a:lnTo>
                    <a:pt x="649363" y="582066"/>
                  </a:lnTo>
                  <a:lnTo>
                    <a:pt x="657847" y="592226"/>
                  </a:lnTo>
                  <a:lnTo>
                    <a:pt x="657123" y="587146"/>
                  </a:lnTo>
                  <a:lnTo>
                    <a:pt x="655980" y="582066"/>
                  </a:lnTo>
                  <a:lnTo>
                    <a:pt x="655701" y="580796"/>
                  </a:lnTo>
                  <a:lnTo>
                    <a:pt x="655129" y="578256"/>
                  </a:lnTo>
                  <a:lnTo>
                    <a:pt x="664895" y="594766"/>
                  </a:lnTo>
                  <a:lnTo>
                    <a:pt x="666737" y="589686"/>
                  </a:lnTo>
                  <a:lnTo>
                    <a:pt x="673455" y="599846"/>
                  </a:lnTo>
                  <a:lnTo>
                    <a:pt x="672871" y="594766"/>
                  </a:lnTo>
                  <a:lnTo>
                    <a:pt x="674255" y="593496"/>
                  </a:lnTo>
                  <a:lnTo>
                    <a:pt x="679069" y="594766"/>
                  </a:lnTo>
                  <a:lnTo>
                    <a:pt x="681126" y="593496"/>
                  </a:lnTo>
                  <a:lnTo>
                    <a:pt x="683171" y="592226"/>
                  </a:lnTo>
                  <a:lnTo>
                    <a:pt x="679653" y="590956"/>
                  </a:lnTo>
                  <a:lnTo>
                    <a:pt x="677011" y="589686"/>
                  </a:lnTo>
                  <a:lnTo>
                    <a:pt x="674357" y="588416"/>
                  </a:lnTo>
                  <a:lnTo>
                    <a:pt x="667181" y="580796"/>
                  </a:lnTo>
                  <a:lnTo>
                    <a:pt x="665454" y="578256"/>
                  </a:lnTo>
                  <a:lnTo>
                    <a:pt x="668070" y="573176"/>
                  </a:lnTo>
                  <a:lnTo>
                    <a:pt x="670280" y="576986"/>
                  </a:lnTo>
                  <a:lnTo>
                    <a:pt x="676313" y="583336"/>
                  </a:lnTo>
                  <a:lnTo>
                    <a:pt x="675157" y="573176"/>
                  </a:lnTo>
                  <a:lnTo>
                    <a:pt x="675017" y="571906"/>
                  </a:lnTo>
                  <a:lnTo>
                    <a:pt x="682434" y="578256"/>
                  </a:lnTo>
                  <a:lnTo>
                    <a:pt x="681113" y="571906"/>
                  </a:lnTo>
                  <a:lnTo>
                    <a:pt x="680580" y="569366"/>
                  </a:lnTo>
                  <a:lnTo>
                    <a:pt x="691464" y="569366"/>
                  </a:lnTo>
                  <a:lnTo>
                    <a:pt x="675589" y="563016"/>
                  </a:lnTo>
                  <a:lnTo>
                    <a:pt x="674916" y="563016"/>
                  </a:lnTo>
                  <a:lnTo>
                    <a:pt x="678027" y="561746"/>
                  </a:lnTo>
                  <a:lnTo>
                    <a:pt x="671436" y="559206"/>
                  </a:lnTo>
                  <a:lnTo>
                    <a:pt x="668147" y="557936"/>
                  </a:lnTo>
                  <a:lnTo>
                    <a:pt x="658253" y="554126"/>
                  </a:lnTo>
                  <a:lnTo>
                    <a:pt x="655993" y="551586"/>
                  </a:lnTo>
                  <a:lnTo>
                    <a:pt x="650341" y="545236"/>
                  </a:lnTo>
                  <a:lnTo>
                    <a:pt x="649262" y="540156"/>
                  </a:lnTo>
                  <a:lnTo>
                    <a:pt x="651903" y="540156"/>
                  </a:lnTo>
                  <a:lnTo>
                    <a:pt x="660425" y="551586"/>
                  </a:lnTo>
                  <a:lnTo>
                    <a:pt x="660755" y="549046"/>
                  </a:lnTo>
                  <a:lnTo>
                    <a:pt x="660209" y="545236"/>
                  </a:lnTo>
                  <a:lnTo>
                    <a:pt x="661466" y="543966"/>
                  </a:lnTo>
                  <a:lnTo>
                    <a:pt x="663575" y="547776"/>
                  </a:lnTo>
                  <a:lnTo>
                    <a:pt x="668350" y="552856"/>
                  </a:lnTo>
                  <a:lnTo>
                    <a:pt x="667969" y="546506"/>
                  </a:lnTo>
                  <a:lnTo>
                    <a:pt x="670344" y="546506"/>
                  </a:lnTo>
                  <a:lnTo>
                    <a:pt x="677214" y="550316"/>
                  </a:lnTo>
                  <a:lnTo>
                    <a:pt x="675817" y="546506"/>
                  </a:lnTo>
                  <a:lnTo>
                    <a:pt x="674890" y="543966"/>
                  </a:lnTo>
                  <a:lnTo>
                    <a:pt x="683780" y="540156"/>
                  </a:lnTo>
                  <a:lnTo>
                    <a:pt x="672071" y="540156"/>
                  </a:lnTo>
                  <a:lnTo>
                    <a:pt x="665835" y="538886"/>
                  </a:lnTo>
                  <a:lnTo>
                    <a:pt x="669861" y="536346"/>
                  </a:lnTo>
                  <a:lnTo>
                    <a:pt x="655802" y="532536"/>
                  </a:lnTo>
                  <a:lnTo>
                    <a:pt x="649871" y="527456"/>
                  </a:lnTo>
                  <a:lnTo>
                    <a:pt x="650138" y="524916"/>
                  </a:lnTo>
                  <a:lnTo>
                    <a:pt x="657440" y="524916"/>
                  </a:lnTo>
                  <a:lnTo>
                    <a:pt x="653275" y="521106"/>
                  </a:lnTo>
                  <a:lnTo>
                    <a:pt x="651205" y="519836"/>
                  </a:lnTo>
                  <a:lnTo>
                    <a:pt x="647039" y="516026"/>
                  </a:lnTo>
                  <a:lnTo>
                    <a:pt x="652983" y="516026"/>
                  </a:lnTo>
                  <a:lnTo>
                    <a:pt x="660869" y="519836"/>
                  </a:lnTo>
                  <a:lnTo>
                    <a:pt x="660895" y="516026"/>
                  </a:lnTo>
                  <a:lnTo>
                    <a:pt x="660920" y="512216"/>
                  </a:lnTo>
                  <a:lnTo>
                    <a:pt x="667092" y="508406"/>
                  </a:lnTo>
                  <a:lnTo>
                    <a:pt x="651116" y="508406"/>
                  </a:lnTo>
                  <a:lnTo>
                    <a:pt x="646404" y="505866"/>
                  </a:lnTo>
                  <a:lnTo>
                    <a:pt x="644042" y="504596"/>
                  </a:lnTo>
                  <a:lnTo>
                    <a:pt x="644702" y="502056"/>
                  </a:lnTo>
                  <a:lnTo>
                    <a:pt x="654583" y="505866"/>
                  </a:lnTo>
                  <a:lnTo>
                    <a:pt x="653923" y="502056"/>
                  </a:lnTo>
                  <a:lnTo>
                    <a:pt x="653694" y="500786"/>
                  </a:lnTo>
                  <a:lnTo>
                    <a:pt x="661377" y="502056"/>
                  </a:lnTo>
                  <a:lnTo>
                    <a:pt x="660958" y="500786"/>
                  </a:lnTo>
                  <a:lnTo>
                    <a:pt x="659701" y="496976"/>
                  </a:lnTo>
                  <a:lnTo>
                    <a:pt x="660565" y="495706"/>
                  </a:lnTo>
                  <a:lnTo>
                    <a:pt x="664845" y="489356"/>
                  </a:lnTo>
                  <a:lnTo>
                    <a:pt x="649478" y="495706"/>
                  </a:lnTo>
                  <a:lnTo>
                    <a:pt x="643166" y="493166"/>
                  </a:lnTo>
                  <a:lnTo>
                    <a:pt x="644575" y="489356"/>
                  </a:lnTo>
                  <a:lnTo>
                    <a:pt x="645490" y="488086"/>
                  </a:lnTo>
                  <a:lnTo>
                    <a:pt x="651903" y="486816"/>
                  </a:lnTo>
                  <a:lnTo>
                    <a:pt x="650354" y="485546"/>
                  </a:lnTo>
                  <a:lnTo>
                    <a:pt x="652589" y="481736"/>
                  </a:lnTo>
                  <a:lnTo>
                    <a:pt x="654812" y="477926"/>
                  </a:lnTo>
                  <a:lnTo>
                    <a:pt x="645071" y="481736"/>
                  </a:lnTo>
                  <a:lnTo>
                    <a:pt x="643267" y="477926"/>
                  </a:lnTo>
                  <a:lnTo>
                    <a:pt x="645680" y="474116"/>
                  </a:lnTo>
                  <a:lnTo>
                    <a:pt x="646480" y="472846"/>
                  </a:lnTo>
                  <a:lnTo>
                    <a:pt x="644182" y="474116"/>
                  </a:lnTo>
                  <a:lnTo>
                    <a:pt x="642531" y="472846"/>
                  </a:lnTo>
                  <a:lnTo>
                    <a:pt x="640880" y="471576"/>
                  </a:lnTo>
                  <a:lnTo>
                    <a:pt x="641096" y="455066"/>
                  </a:lnTo>
                  <a:lnTo>
                    <a:pt x="639152" y="453796"/>
                  </a:lnTo>
                  <a:lnTo>
                    <a:pt x="638009" y="457606"/>
                  </a:lnTo>
                  <a:lnTo>
                    <a:pt x="637819" y="467766"/>
                  </a:lnTo>
                  <a:lnTo>
                    <a:pt x="634631" y="472846"/>
                  </a:lnTo>
                  <a:lnTo>
                    <a:pt x="629551" y="471576"/>
                  </a:lnTo>
                  <a:lnTo>
                    <a:pt x="634542" y="476656"/>
                  </a:lnTo>
                  <a:lnTo>
                    <a:pt x="635546" y="481736"/>
                  </a:lnTo>
                  <a:lnTo>
                    <a:pt x="621436" y="477926"/>
                  </a:lnTo>
                  <a:lnTo>
                    <a:pt x="627087" y="483006"/>
                  </a:lnTo>
                  <a:lnTo>
                    <a:pt x="625525" y="489356"/>
                  </a:lnTo>
                  <a:lnTo>
                    <a:pt x="630783" y="488086"/>
                  </a:lnTo>
                  <a:lnTo>
                    <a:pt x="634517" y="488086"/>
                  </a:lnTo>
                  <a:lnTo>
                    <a:pt x="633920" y="491896"/>
                  </a:lnTo>
                  <a:lnTo>
                    <a:pt x="627443" y="491896"/>
                  </a:lnTo>
                  <a:lnTo>
                    <a:pt x="628980" y="495706"/>
                  </a:lnTo>
                  <a:lnTo>
                    <a:pt x="632167" y="496976"/>
                  </a:lnTo>
                  <a:lnTo>
                    <a:pt x="628472" y="496976"/>
                  </a:lnTo>
                  <a:lnTo>
                    <a:pt x="619328" y="494436"/>
                  </a:lnTo>
                  <a:lnTo>
                    <a:pt x="611098" y="490626"/>
                  </a:lnTo>
                  <a:lnTo>
                    <a:pt x="614324" y="499516"/>
                  </a:lnTo>
                  <a:lnTo>
                    <a:pt x="610768" y="500786"/>
                  </a:lnTo>
                  <a:lnTo>
                    <a:pt x="614311" y="502056"/>
                  </a:lnTo>
                  <a:lnTo>
                    <a:pt x="611543" y="508406"/>
                  </a:lnTo>
                  <a:lnTo>
                    <a:pt x="621423" y="502056"/>
                  </a:lnTo>
                  <a:lnTo>
                    <a:pt x="621411" y="508406"/>
                  </a:lnTo>
                  <a:lnTo>
                    <a:pt x="628764" y="505866"/>
                  </a:lnTo>
                  <a:lnTo>
                    <a:pt x="630351" y="510946"/>
                  </a:lnTo>
                  <a:lnTo>
                    <a:pt x="624217" y="513486"/>
                  </a:lnTo>
                  <a:lnTo>
                    <a:pt x="610857" y="513486"/>
                  </a:lnTo>
                  <a:lnTo>
                    <a:pt x="613448" y="516026"/>
                  </a:lnTo>
                  <a:lnTo>
                    <a:pt x="615200" y="517296"/>
                  </a:lnTo>
                  <a:lnTo>
                    <a:pt x="612267" y="523646"/>
                  </a:lnTo>
                  <a:lnTo>
                    <a:pt x="621601" y="519836"/>
                  </a:lnTo>
                  <a:lnTo>
                    <a:pt x="621665" y="523646"/>
                  </a:lnTo>
                  <a:lnTo>
                    <a:pt x="615988" y="527456"/>
                  </a:lnTo>
                  <a:lnTo>
                    <a:pt x="626300" y="527456"/>
                  </a:lnTo>
                  <a:lnTo>
                    <a:pt x="629132" y="528726"/>
                  </a:lnTo>
                  <a:lnTo>
                    <a:pt x="624039" y="535076"/>
                  </a:lnTo>
                  <a:lnTo>
                    <a:pt x="607415" y="542696"/>
                  </a:lnTo>
                  <a:lnTo>
                    <a:pt x="591908" y="542696"/>
                  </a:lnTo>
                  <a:lnTo>
                    <a:pt x="596646" y="549046"/>
                  </a:lnTo>
                  <a:lnTo>
                    <a:pt x="590638" y="556666"/>
                  </a:lnTo>
                  <a:lnTo>
                    <a:pt x="602742" y="551586"/>
                  </a:lnTo>
                  <a:lnTo>
                    <a:pt x="602322" y="555396"/>
                  </a:lnTo>
                  <a:lnTo>
                    <a:pt x="595604" y="565556"/>
                  </a:lnTo>
                  <a:lnTo>
                    <a:pt x="601687" y="560476"/>
                  </a:lnTo>
                  <a:lnTo>
                    <a:pt x="612089" y="551586"/>
                  </a:lnTo>
                  <a:lnTo>
                    <a:pt x="613117" y="563016"/>
                  </a:lnTo>
                  <a:lnTo>
                    <a:pt x="618134" y="557936"/>
                  </a:lnTo>
                  <a:lnTo>
                    <a:pt x="618629" y="563016"/>
                  </a:lnTo>
                  <a:lnTo>
                    <a:pt x="618934" y="566826"/>
                  </a:lnTo>
                  <a:lnTo>
                    <a:pt x="626275" y="559206"/>
                  </a:lnTo>
                  <a:lnTo>
                    <a:pt x="599274" y="578256"/>
                  </a:lnTo>
                  <a:lnTo>
                    <a:pt x="583196" y="583336"/>
                  </a:lnTo>
                  <a:lnTo>
                    <a:pt x="588327" y="585876"/>
                  </a:lnTo>
                  <a:lnTo>
                    <a:pt x="587768" y="592226"/>
                  </a:lnTo>
                  <a:lnTo>
                    <a:pt x="596480" y="588416"/>
                  </a:lnTo>
                  <a:lnTo>
                    <a:pt x="592442" y="592226"/>
                  </a:lnTo>
                  <a:lnTo>
                    <a:pt x="590435" y="594766"/>
                  </a:lnTo>
                  <a:lnTo>
                    <a:pt x="586397" y="598576"/>
                  </a:lnTo>
                  <a:lnTo>
                    <a:pt x="602234" y="590956"/>
                  </a:lnTo>
                  <a:lnTo>
                    <a:pt x="603300" y="597306"/>
                  </a:lnTo>
                  <a:lnTo>
                    <a:pt x="605307" y="590956"/>
                  </a:lnTo>
                  <a:lnTo>
                    <a:pt x="606107" y="588416"/>
                  </a:lnTo>
                  <a:lnTo>
                    <a:pt x="607301" y="584606"/>
                  </a:lnTo>
                  <a:lnTo>
                    <a:pt x="610146" y="588416"/>
                  </a:lnTo>
                  <a:lnTo>
                    <a:pt x="610552" y="592226"/>
                  </a:lnTo>
                  <a:lnTo>
                    <a:pt x="613359" y="592226"/>
                  </a:lnTo>
                  <a:lnTo>
                    <a:pt x="618350" y="584606"/>
                  </a:lnTo>
                  <a:lnTo>
                    <a:pt x="622693" y="580796"/>
                  </a:lnTo>
                  <a:lnTo>
                    <a:pt x="617486" y="587146"/>
                  </a:lnTo>
                  <a:lnTo>
                    <a:pt x="618197" y="589686"/>
                  </a:lnTo>
                  <a:lnTo>
                    <a:pt x="620445" y="588416"/>
                  </a:lnTo>
                  <a:lnTo>
                    <a:pt x="616991" y="592226"/>
                  </a:lnTo>
                  <a:lnTo>
                    <a:pt x="610704" y="597306"/>
                  </a:lnTo>
                  <a:lnTo>
                    <a:pt x="610704" y="617626"/>
                  </a:lnTo>
                  <a:lnTo>
                    <a:pt x="606158" y="623976"/>
                  </a:lnTo>
                  <a:lnTo>
                    <a:pt x="603211" y="627786"/>
                  </a:lnTo>
                  <a:lnTo>
                    <a:pt x="601027" y="623976"/>
                  </a:lnTo>
                  <a:lnTo>
                    <a:pt x="598055" y="620166"/>
                  </a:lnTo>
                  <a:lnTo>
                    <a:pt x="596557" y="618896"/>
                  </a:lnTo>
                  <a:lnTo>
                    <a:pt x="597801" y="616356"/>
                  </a:lnTo>
                  <a:lnTo>
                    <a:pt x="599059" y="613816"/>
                  </a:lnTo>
                  <a:lnTo>
                    <a:pt x="600786" y="622706"/>
                  </a:lnTo>
                  <a:lnTo>
                    <a:pt x="606666" y="615086"/>
                  </a:lnTo>
                  <a:lnTo>
                    <a:pt x="609295" y="613816"/>
                  </a:lnTo>
                  <a:lnTo>
                    <a:pt x="610704" y="617626"/>
                  </a:lnTo>
                  <a:lnTo>
                    <a:pt x="610704" y="597306"/>
                  </a:lnTo>
                  <a:lnTo>
                    <a:pt x="609117" y="598576"/>
                  </a:lnTo>
                  <a:lnTo>
                    <a:pt x="593686" y="607949"/>
                  </a:lnTo>
                  <a:lnTo>
                    <a:pt x="593686" y="616356"/>
                  </a:lnTo>
                  <a:lnTo>
                    <a:pt x="593229" y="617626"/>
                  </a:lnTo>
                  <a:lnTo>
                    <a:pt x="591362" y="617626"/>
                  </a:lnTo>
                  <a:lnTo>
                    <a:pt x="589495" y="620166"/>
                  </a:lnTo>
                  <a:lnTo>
                    <a:pt x="587654" y="623976"/>
                  </a:lnTo>
                  <a:lnTo>
                    <a:pt x="585965" y="632866"/>
                  </a:lnTo>
                  <a:lnTo>
                    <a:pt x="582599" y="622706"/>
                  </a:lnTo>
                  <a:lnTo>
                    <a:pt x="580910" y="627786"/>
                  </a:lnTo>
                  <a:lnTo>
                    <a:pt x="578662" y="632866"/>
                  </a:lnTo>
                  <a:lnTo>
                    <a:pt x="576389" y="635406"/>
                  </a:lnTo>
                  <a:lnTo>
                    <a:pt x="576033" y="634136"/>
                  </a:lnTo>
                  <a:lnTo>
                    <a:pt x="574624" y="629056"/>
                  </a:lnTo>
                  <a:lnTo>
                    <a:pt x="574268" y="627786"/>
                  </a:lnTo>
                  <a:lnTo>
                    <a:pt x="572858" y="622706"/>
                  </a:lnTo>
                  <a:lnTo>
                    <a:pt x="571538" y="623976"/>
                  </a:lnTo>
                  <a:lnTo>
                    <a:pt x="570204" y="627786"/>
                  </a:lnTo>
                  <a:lnTo>
                    <a:pt x="569620" y="627113"/>
                  </a:lnTo>
                  <a:lnTo>
                    <a:pt x="569620" y="629056"/>
                  </a:lnTo>
                  <a:lnTo>
                    <a:pt x="568159" y="632866"/>
                  </a:lnTo>
                  <a:lnTo>
                    <a:pt x="567423" y="634136"/>
                  </a:lnTo>
                  <a:lnTo>
                    <a:pt x="567207" y="634136"/>
                  </a:lnTo>
                  <a:lnTo>
                    <a:pt x="564299" y="632866"/>
                  </a:lnTo>
                  <a:lnTo>
                    <a:pt x="563753" y="630326"/>
                  </a:lnTo>
                  <a:lnTo>
                    <a:pt x="565658" y="629056"/>
                  </a:lnTo>
                  <a:lnTo>
                    <a:pt x="569620" y="629056"/>
                  </a:lnTo>
                  <a:lnTo>
                    <a:pt x="569620" y="627113"/>
                  </a:lnTo>
                  <a:lnTo>
                    <a:pt x="566928" y="623976"/>
                  </a:lnTo>
                  <a:lnTo>
                    <a:pt x="565619" y="621436"/>
                  </a:lnTo>
                  <a:lnTo>
                    <a:pt x="566623" y="620166"/>
                  </a:lnTo>
                  <a:lnTo>
                    <a:pt x="578421" y="621436"/>
                  </a:lnTo>
                  <a:lnTo>
                    <a:pt x="577189" y="620166"/>
                  </a:lnTo>
                  <a:lnTo>
                    <a:pt x="573481" y="616356"/>
                  </a:lnTo>
                  <a:lnTo>
                    <a:pt x="572477" y="612546"/>
                  </a:lnTo>
                  <a:lnTo>
                    <a:pt x="574929" y="612546"/>
                  </a:lnTo>
                  <a:lnTo>
                    <a:pt x="581647" y="615086"/>
                  </a:lnTo>
                  <a:lnTo>
                    <a:pt x="586397" y="616356"/>
                  </a:lnTo>
                  <a:lnTo>
                    <a:pt x="585089" y="615086"/>
                  </a:lnTo>
                  <a:lnTo>
                    <a:pt x="587248" y="615086"/>
                  </a:lnTo>
                  <a:lnTo>
                    <a:pt x="585609" y="622706"/>
                  </a:lnTo>
                  <a:lnTo>
                    <a:pt x="590702" y="617626"/>
                  </a:lnTo>
                  <a:lnTo>
                    <a:pt x="593686" y="616356"/>
                  </a:lnTo>
                  <a:lnTo>
                    <a:pt x="593686" y="607949"/>
                  </a:lnTo>
                  <a:lnTo>
                    <a:pt x="584009" y="613816"/>
                  </a:lnTo>
                  <a:lnTo>
                    <a:pt x="583057" y="612546"/>
                  </a:lnTo>
                  <a:lnTo>
                    <a:pt x="580199" y="608736"/>
                  </a:lnTo>
                  <a:lnTo>
                    <a:pt x="579247" y="607466"/>
                  </a:lnTo>
                  <a:lnTo>
                    <a:pt x="590537" y="603656"/>
                  </a:lnTo>
                  <a:lnTo>
                    <a:pt x="575221" y="601116"/>
                  </a:lnTo>
                  <a:lnTo>
                    <a:pt x="565505" y="597306"/>
                  </a:lnTo>
                  <a:lnTo>
                    <a:pt x="563384" y="596036"/>
                  </a:lnTo>
                  <a:lnTo>
                    <a:pt x="563308" y="594766"/>
                  </a:lnTo>
                  <a:lnTo>
                    <a:pt x="566813" y="592226"/>
                  </a:lnTo>
                  <a:lnTo>
                    <a:pt x="572985" y="592226"/>
                  </a:lnTo>
                  <a:lnTo>
                    <a:pt x="577443" y="593496"/>
                  </a:lnTo>
                  <a:lnTo>
                    <a:pt x="576910" y="592226"/>
                  </a:lnTo>
                  <a:lnTo>
                    <a:pt x="575843" y="589686"/>
                  </a:lnTo>
                  <a:lnTo>
                    <a:pt x="573709" y="584606"/>
                  </a:lnTo>
                  <a:lnTo>
                    <a:pt x="581317" y="584606"/>
                  </a:lnTo>
                  <a:lnTo>
                    <a:pt x="580593" y="583336"/>
                  </a:lnTo>
                  <a:lnTo>
                    <a:pt x="578434" y="579526"/>
                  </a:lnTo>
                  <a:lnTo>
                    <a:pt x="578866" y="578256"/>
                  </a:lnTo>
                  <a:lnTo>
                    <a:pt x="579297" y="576986"/>
                  </a:lnTo>
                  <a:lnTo>
                    <a:pt x="581025" y="571906"/>
                  </a:lnTo>
                  <a:lnTo>
                    <a:pt x="570865" y="576986"/>
                  </a:lnTo>
                  <a:lnTo>
                    <a:pt x="565645" y="575716"/>
                  </a:lnTo>
                  <a:lnTo>
                    <a:pt x="561327" y="576986"/>
                  </a:lnTo>
                  <a:lnTo>
                    <a:pt x="559625" y="574446"/>
                  </a:lnTo>
                  <a:lnTo>
                    <a:pt x="562038" y="570636"/>
                  </a:lnTo>
                  <a:lnTo>
                    <a:pt x="562838" y="569366"/>
                  </a:lnTo>
                  <a:lnTo>
                    <a:pt x="568947" y="570636"/>
                  </a:lnTo>
                  <a:lnTo>
                    <a:pt x="568515" y="569366"/>
                  </a:lnTo>
                  <a:lnTo>
                    <a:pt x="567639" y="566826"/>
                  </a:lnTo>
                  <a:lnTo>
                    <a:pt x="567766" y="565556"/>
                  </a:lnTo>
                  <a:lnTo>
                    <a:pt x="569429" y="563016"/>
                  </a:lnTo>
                  <a:lnTo>
                    <a:pt x="570268" y="561746"/>
                  </a:lnTo>
                  <a:lnTo>
                    <a:pt x="563930" y="563016"/>
                  </a:lnTo>
                  <a:lnTo>
                    <a:pt x="559130" y="563016"/>
                  </a:lnTo>
                  <a:lnTo>
                    <a:pt x="558266" y="560476"/>
                  </a:lnTo>
                  <a:lnTo>
                    <a:pt x="558711" y="555396"/>
                  </a:lnTo>
                  <a:lnTo>
                    <a:pt x="560590" y="551586"/>
                  </a:lnTo>
                  <a:lnTo>
                    <a:pt x="561543" y="549046"/>
                  </a:lnTo>
                  <a:lnTo>
                    <a:pt x="563422" y="546506"/>
                  </a:lnTo>
                  <a:lnTo>
                    <a:pt x="560946" y="546506"/>
                  </a:lnTo>
                  <a:lnTo>
                    <a:pt x="557606" y="542696"/>
                  </a:lnTo>
                  <a:lnTo>
                    <a:pt x="557669" y="529996"/>
                  </a:lnTo>
                  <a:lnTo>
                    <a:pt x="556526" y="528726"/>
                  </a:lnTo>
                  <a:lnTo>
                    <a:pt x="554342" y="529996"/>
                  </a:lnTo>
                  <a:lnTo>
                    <a:pt x="554736" y="541426"/>
                  </a:lnTo>
                  <a:lnTo>
                    <a:pt x="553618" y="545236"/>
                  </a:lnTo>
                  <a:lnTo>
                    <a:pt x="548589" y="545236"/>
                  </a:lnTo>
                  <a:lnTo>
                    <a:pt x="554024" y="557936"/>
                  </a:lnTo>
                  <a:lnTo>
                    <a:pt x="552970" y="563016"/>
                  </a:lnTo>
                  <a:lnTo>
                    <a:pt x="538848" y="560476"/>
                  </a:lnTo>
                  <a:lnTo>
                    <a:pt x="545934" y="566826"/>
                  </a:lnTo>
                  <a:lnTo>
                    <a:pt x="545198" y="571906"/>
                  </a:lnTo>
                  <a:lnTo>
                    <a:pt x="548894" y="570636"/>
                  </a:lnTo>
                  <a:lnTo>
                    <a:pt x="551789" y="570636"/>
                  </a:lnTo>
                  <a:lnTo>
                    <a:pt x="552907" y="573176"/>
                  </a:lnTo>
                  <a:lnTo>
                    <a:pt x="548017" y="578256"/>
                  </a:lnTo>
                  <a:lnTo>
                    <a:pt x="528218" y="571906"/>
                  </a:lnTo>
                  <a:lnTo>
                    <a:pt x="531660" y="575716"/>
                  </a:lnTo>
                  <a:lnTo>
                    <a:pt x="529590" y="580796"/>
                  </a:lnTo>
                  <a:lnTo>
                    <a:pt x="535813" y="579526"/>
                  </a:lnTo>
                  <a:lnTo>
                    <a:pt x="530606" y="588416"/>
                  </a:lnTo>
                  <a:lnTo>
                    <a:pt x="542175" y="583336"/>
                  </a:lnTo>
                  <a:lnTo>
                    <a:pt x="538226" y="590956"/>
                  </a:lnTo>
                  <a:lnTo>
                    <a:pt x="544690" y="589686"/>
                  </a:lnTo>
                  <a:lnTo>
                    <a:pt x="548779" y="589686"/>
                  </a:lnTo>
                  <a:lnTo>
                    <a:pt x="546823" y="593496"/>
                  </a:lnTo>
                  <a:lnTo>
                    <a:pt x="544512" y="596036"/>
                  </a:lnTo>
                  <a:lnTo>
                    <a:pt x="534619" y="598576"/>
                  </a:lnTo>
                  <a:lnTo>
                    <a:pt x="521373" y="598576"/>
                  </a:lnTo>
                  <a:lnTo>
                    <a:pt x="529399" y="604926"/>
                  </a:lnTo>
                  <a:lnTo>
                    <a:pt x="525145" y="611276"/>
                  </a:lnTo>
                  <a:lnTo>
                    <a:pt x="535305" y="608736"/>
                  </a:lnTo>
                  <a:lnTo>
                    <a:pt x="531787" y="616356"/>
                  </a:lnTo>
                  <a:lnTo>
                    <a:pt x="546392" y="608736"/>
                  </a:lnTo>
                  <a:lnTo>
                    <a:pt x="548195" y="608736"/>
                  </a:lnTo>
                  <a:lnTo>
                    <a:pt x="548386" y="611276"/>
                  </a:lnTo>
                  <a:lnTo>
                    <a:pt x="544906" y="616356"/>
                  </a:lnTo>
                  <a:lnTo>
                    <a:pt x="542607" y="620166"/>
                  </a:lnTo>
                  <a:lnTo>
                    <a:pt x="532853" y="626516"/>
                  </a:lnTo>
                  <a:lnTo>
                    <a:pt x="539889" y="626516"/>
                  </a:lnTo>
                  <a:lnTo>
                    <a:pt x="538226" y="632866"/>
                  </a:lnTo>
                  <a:lnTo>
                    <a:pt x="544271" y="629056"/>
                  </a:lnTo>
                  <a:lnTo>
                    <a:pt x="546684" y="629056"/>
                  </a:lnTo>
                  <a:lnTo>
                    <a:pt x="545325" y="632866"/>
                  </a:lnTo>
                  <a:lnTo>
                    <a:pt x="542937" y="635406"/>
                  </a:lnTo>
                  <a:lnTo>
                    <a:pt x="538607" y="636676"/>
                  </a:lnTo>
                  <a:lnTo>
                    <a:pt x="536854" y="635406"/>
                  </a:lnTo>
                  <a:lnTo>
                    <a:pt x="533387" y="627786"/>
                  </a:lnTo>
                  <a:lnTo>
                    <a:pt x="528866" y="632866"/>
                  </a:lnTo>
                  <a:lnTo>
                    <a:pt x="524306" y="635406"/>
                  </a:lnTo>
                  <a:lnTo>
                    <a:pt x="519760" y="629056"/>
                  </a:lnTo>
                  <a:lnTo>
                    <a:pt x="515188" y="630326"/>
                  </a:lnTo>
                  <a:lnTo>
                    <a:pt x="510679" y="635406"/>
                  </a:lnTo>
                  <a:lnTo>
                    <a:pt x="509765" y="634136"/>
                  </a:lnTo>
                  <a:lnTo>
                    <a:pt x="506120" y="629056"/>
                  </a:lnTo>
                  <a:lnTo>
                    <a:pt x="504634" y="627786"/>
                  </a:lnTo>
                  <a:lnTo>
                    <a:pt x="503135" y="626516"/>
                  </a:lnTo>
                  <a:lnTo>
                    <a:pt x="501789" y="624801"/>
                  </a:lnTo>
                  <a:lnTo>
                    <a:pt x="503021" y="622706"/>
                  </a:lnTo>
                  <a:lnTo>
                    <a:pt x="504507" y="620166"/>
                  </a:lnTo>
                  <a:lnTo>
                    <a:pt x="510794" y="622706"/>
                  </a:lnTo>
                  <a:lnTo>
                    <a:pt x="508063" y="620166"/>
                  </a:lnTo>
                  <a:lnTo>
                    <a:pt x="506704" y="618896"/>
                  </a:lnTo>
                  <a:lnTo>
                    <a:pt x="502615" y="615086"/>
                  </a:lnTo>
                  <a:lnTo>
                    <a:pt x="508965" y="612546"/>
                  </a:lnTo>
                  <a:lnTo>
                    <a:pt x="502234" y="607466"/>
                  </a:lnTo>
                  <a:lnTo>
                    <a:pt x="510578" y="608736"/>
                  </a:lnTo>
                  <a:lnTo>
                    <a:pt x="506476" y="604926"/>
                  </a:lnTo>
                  <a:lnTo>
                    <a:pt x="509384" y="602386"/>
                  </a:lnTo>
                  <a:lnTo>
                    <a:pt x="498513" y="605053"/>
                  </a:lnTo>
                  <a:lnTo>
                    <a:pt x="498513" y="622706"/>
                  </a:lnTo>
                  <a:lnTo>
                    <a:pt x="497166" y="622706"/>
                  </a:lnTo>
                  <a:lnTo>
                    <a:pt x="495490" y="620166"/>
                  </a:lnTo>
                  <a:lnTo>
                    <a:pt x="498513" y="622706"/>
                  </a:lnTo>
                  <a:lnTo>
                    <a:pt x="498513" y="605053"/>
                  </a:lnTo>
                  <a:lnTo>
                    <a:pt x="488594" y="607466"/>
                  </a:lnTo>
                  <a:lnTo>
                    <a:pt x="482041" y="602386"/>
                  </a:lnTo>
                  <a:lnTo>
                    <a:pt x="486283" y="603656"/>
                  </a:lnTo>
                  <a:lnTo>
                    <a:pt x="486257" y="602386"/>
                  </a:lnTo>
                  <a:lnTo>
                    <a:pt x="486194" y="599846"/>
                  </a:lnTo>
                  <a:lnTo>
                    <a:pt x="486168" y="598576"/>
                  </a:lnTo>
                  <a:lnTo>
                    <a:pt x="490842" y="601116"/>
                  </a:lnTo>
                  <a:lnTo>
                    <a:pt x="490270" y="598576"/>
                  </a:lnTo>
                  <a:lnTo>
                    <a:pt x="489699" y="596036"/>
                  </a:lnTo>
                  <a:lnTo>
                    <a:pt x="496798" y="593496"/>
                  </a:lnTo>
                  <a:lnTo>
                    <a:pt x="489407" y="592226"/>
                  </a:lnTo>
                  <a:lnTo>
                    <a:pt x="481863" y="588416"/>
                  </a:lnTo>
                  <a:lnTo>
                    <a:pt x="490702" y="585876"/>
                  </a:lnTo>
                  <a:lnTo>
                    <a:pt x="487819" y="583336"/>
                  </a:lnTo>
                  <a:lnTo>
                    <a:pt x="491718" y="579526"/>
                  </a:lnTo>
                  <a:lnTo>
                    <a:pt x="481291" y="575716"/>
                  </a:lnTo>
                  <a:lnTo>
                    <a:pt x="485165" y="573176"/>
                  </a:lnTo>
                  <a:lnTo>
                    <a:pt x="480834" y="570636"/>
                  </a:lnTo>
                  <a:lnTo>
                    <a:pt x="478688" y="564286"/>
                  </a:lnTo>
                  <a:lnTo>
                    <a:pt x="478383" y="552856"/>
                  </a:lnTo>
                  <a:lnTo>
                    <a:pt x="476783" y="550316"/>
                  </a:lnTo>
                  <a:lnTo>
                    <a:pt x="475640" y="556666"/>
                  </a:lnTo>
                  <a:lnTo>
                    <a:pt x="474383" y="570636"/>
                  </a:lnTo>
                  <a:lnTo>
                    <a:pt x="470789" y="571906"/>
                  </a:lnTo>
                  <a:lnTo>
                    <a:pt x="468414" y="573176"/>
                  </a:lnTo>
                  <a:lnTo>
                    <a:pt x="474548" y="579526"/>
                  </a:lnTo>
                  <a:lnTo>
                    <a:pt x="465175" y="578256"/>
                  </a:lnTo>
                  <a:lnTo>
                    <a:pt x="468477" y="582066"/>
                  </a:lnTo>
                  <a:lnTo>
                    <a:pt x="465048" y="583336"/>
                  </a:lnTo>
                  <a:lnTo>
                    <a:pt x="459397" y="580796"/>
                  </a:lnTo>
                  <a:lnTo>
                    <a:pt x="464223" y="587146"/>
                  </a:lnTo>
                  <a:lnTo>
                    <a:pt x="458965" y="590956"/>
                  </a:lnTo>
                  <a:lnTo>
                    <a:pt x="466839" y="592226"/>
                  </a:lnTo>
                  <a:lnTo>
                    <a:pt x="459638" y="594766"/>
                  </a:lnTo>
                  <a:lnTo>
                    <a:pt x="455218" y="597306"/>
                  </a:lnTo>
                  <a:lnTo>
                    <a:pt x="461556" y="598576"/>
                  </a:lnTo>
                  <a:lnTo>
                    <a:pt x="459066" y="602386"/>
                  </a:lnTo>
                  <a:lnTo>
                    <a:pt x="466140" y="601116"/>
                  </a:lnTo>
                  <a:lnTo>
                    <a:pt x="466153" y="606196"/>
                  </a:lnTo>
                  <a:lnTo>
                    <a:pt x="472059" y="601116"/>
                  </a:lnTo>
                  <a:lnTo>
                    <a:pt x="473532" y="599846"/>
                  </a:lnTo>
                  <a:lnTo>
                    <a:pt x="469125" y="607466"/>
                  </a:lnTo>
                  <a:lnTo>
                    <a:pt x="450545" y="601116"/>
                  </a:lnTo>
                  <a:lnTo>
                    <a:pt x="454672" y="606196"/>
                  </a:lnTo>
                  <a:lnTo>
                    <a:pt x="449122" y="606196"/>
                  </a:lnTo>
                  <a:lnTo>
                    <a:pt x="453529" y="610006"/>
                  </a:lnTo>
                  <a:lnTo>
                    <a:pt x="455028" y="612546"/>
                  </a:lnTo>
                  <a:lnTo>
                    <a:pt x="446963" y="613816"/>
                  </a:lnTo>
                  <a:lnTo>
                    <a:pt x="452615" y="618896"/>
                  </a:lnTo>
                  <a:lnTo>
                    <a:pt x="452221" y="623976"/>
                  </a:lnTo>
                  <a:lnTo>
                    <a:pt x="459638" y="618896"/>
                  </a:lnTo>
                  <a:lnTo>
                    <a:pt x="459549" y="622706"/>
                  </a:lnTo>
                  <a:lnTo>
                    <a:pt x="467296" y="622706"/>
                  </a:lnTo>
                  <a:lnTo>
                    <a:pt x="457898" y="625246"/>
                  </a:lnTo>
                  <a:lnTo>
                    <a:pt x="457212" y="625246"/>
                  </a:lnTo>
                  <a:lnTo>
                    <a:pt x="454901" y="626046"/>
                  </a:lnTo>
                  <a:lnTo>
                    <a:pt x="454901" y="634136"/>
                  </a:lnTo>
                  <a:lnTo>
                    <a:pt x="453961" y="637946"/>
                  </a:lnTo>
                  <a:lnTo>
                    <a:pt x="453034" y="640486"/>
                  </a:lnTo>
                  <a:lnTo>
                    <a:pt x="452843" y="639216"/>
                  </a:lnTo>
                  <a:lnTo>
                    <a:pt x="452107" y="634136"/>
                  </a:lnTo>
                  <a:lnTo>
                    <a:pt x="454901" y="634136"/>
                  </a:lnTo>
                  <a:lnTo>
                    <a:pt x="454901" y="626046"/>
                  </a:lnTo>
                  <a:lnTo>
                    <a:pt x="449757" y="627786"/>
                  </a:lnTo>
                  <a:lnTo>
                    <a:pt x="448500" y="622706"/>
                  </a:lnTo>
                  <a:lnTo>
                    <a:pt x="447255" y="620166"/>
                  </a:lnTo>
                  <a:lnTo>
                    <a:pt x="446024" y="621436"/>
                  </a:lnTo>
                  <a:lnTo>
                    <a:pt x="444792" y="629056"/>
                  </a:lnTo>
                  <a:lnTo>
                    <a:pt x="442417" y="636676"/>
                  </a:lnTo>
                  <a:lnTo>
                    <a:pt x="439978" y="639216"/>
                  </a:lnTo>
                  <a:lnTo>
                    <a:pt x="438277" y="632866"/>
                  </a:lnTo>
                  <a:lnTo>
                    <a:pt x="437603" y="630326"/>
                  </a:lnTo>
                  <a:lnTo>
                    <a:pt x="435825" y="629056"/>
                  </a:lnTo>
                  <a:lnTo>
                    <a:pt x="434035" y="625246"/>
                  </a:lnTo>
                  <a:lnTo>
                    <a:pt x="432244" y="626516"/>
                  </a:lnTo>
                  <a:lnTo>
                    <a:pt x="430453" y="632866"/>
                  </a:lnTo>
                  <a:lnTo>
                    <a:pt x="428663" y="618896"/>
                  </a:lnTo>
                  <a:lnTo>
                    <a:pt x="426910" y="618896"/>
                  </a:lnTo>
                  <a:lnTo>
                    <a:pt x="425119" y="626516"/>
                  </a:lnTo>
                  <a:lnTo>
                    <a:pt x="423265" y="636676"/>
                  </a:lnTo>
                  <a:lnTo>
                    <a:pt x="421005" y="646836"/>
                  </a:lnTo>
                  <a:lnTo>
                    <a:pt x="419735" y="641756"/>
                  </a:lnTo>
                  <a:lnTo>
                    <a:pt x="418769" y="637946"/>
                  </a:lnTo>
                  <a:lnTo>
                    <a:pt x="418452" y="636676"/>
                  </a:lnTo>
                  <a:lnTo>
                    <a:pt x="416064" y="632866"/>
                  </a:lnTo>
                  <a:lnTo>
                    <a:pt x="414286" y="637946"/>
                  </a:lnTo>
                  <a:lnTo>
                    <a:pt x="412496" y="635406"/>
                  </a:lnTo>
                  <a:lnTo>
                    <a:pt x="410705" y="631596"/>
                  </a:lnTo>
                  <a:lnTo>
                    <a:pt x="408914" y="637946"/>
                  </a:lnTo>
                  <a:lnTo>
                    <a:pt x="400151" y="630326"/>
                  </a:lnTo>
                  <a:lnTo>
                    <a:pt x="403707" y="630326"/>
                  </a:lnTo>
                  <a:lnTo>
                    <a:pt x="406095" y="631596"/>
                  </a:lnTo>
                  <a:lnTo>
                    <a:pt x="407670" y="632866"/>
                  </a:lnTo>
                  <a:lnTo>
                    <a:pt x="407123" y="630326"/>
                  </a:lnTo>
                  <a:lnTo>
                    <a:pt x="406019" y="625246"/>
                  </a:lnTo>
                  <a:lnTo>
                    <a:pt x="415023" y="630326"/>
                  </a:lnTo>
                  <a:lnTo>
                    <a:pt x="414489" y="625246"/>
                  </a:lnTo>
                  <a:lnTo>
                    <a:pt x="414350" y="623976"/>
                  </a:lnTo>
                  <a:lnTo>
                    <a:pt x="419633" y="623976"/>
                  </a:lnTo>
                  <a:lnTo>
                    <a:pt x="414540" y="620166"/>
                  </a:lnTo>
                  <a:lnTo>
                    <a:pt x="411060" y="618896"/>
                  </a:lnTo>
                  <a:lnTo>
                    <a:pt x="409346" y="618896"/>
                  </a:lnTo>
                  <a:lnTo>
                    <a:pt x="405866" y="617626"/>
                  </a:lnTo>
                  <a:lnTo>
                    <a:pt x="397002" y="612546"/>
                  </a:lnTo>
                  <a:lnTo>
                    <a:pt x="398881" y="608736"/>
                  </a:lnTo>
                  <a:lnTo>
                    <a:pt x="405612" y="615086"/>
                  </a:lnTo>
                  <a:lnTo>
                    <a:pt x="406552" y="608736"/>
                  </a:lnTo>
                  <a:lnTo>
                    <a:pt x="406742" y="607466"/>
                  </a:lnTo>
                  <a:lnTo>
                    <a:pt x="412635" y="615086"/>
                  </a:lnTo>
                  <a:lnTo>
                    <a:pt x="410641" y="607466"/>
                  </a:lnTo>
                  <a:lnTo>
                    <a:pt x="419773" y="611276"/>
                  </a:lnTo>
                  <a:lnTo>
                    <a:pt x="417753" y="607466"/>
                  </a:lnTo>
                  <a:lnTo>
                    <a:pt x="416407" y="604926"/>
                  </a:lnTo>
                  <a:lnTo>
                    <a:pt x="422008" y="604926"/>
                  </a:lnTo>
                  <a:lnTo>
                    <a:pt x="404063" y="598576"/>
                  </a:lnTo>
                  <a:lnTo>
                    <a:pt x="396887" y="596036"/>
                  </a:lnTo>
                  <a:lnTo>
                    <a:pt x="403123" y="592226"/>
                  </a:lnTo>
                  <a:lnTo>
                    <a:pt x="396963" y="588416"/>
                  </a:lnTo>
                  <a:lnTo>
                    <a:pt x="395605" y="587146"/>
                  </a:lnTo>
                  <a:lnTo>
                    <a:pt x="392874" y="584606"/>
                  </a:lnTo>
                  <a:lnTo>
                    <a:pt x="398449" y="587146"/>
                  </a:lnTo>
                  <a:lnTo>
                    <a:pt x="406819" y="589686"/>
                  </a:lnTo>
                  <a:lnTo>
                    <a:pt x="404304" y="584606"/>
                  </a:lnTo>
                  <a:lnTo>
                    <a:pt x="408940" y="583336"/>
                  </a:lnTo>
                  <a:lnTo>
                    <a:pt x="395046" y="576986"/>
                  </a:lnTo>
                  <a:lnTo>
                    <a:pt x="399770" y="571906"/>
                  </a:lnTo>
                  <a:lnTo>
                    <a:pt x="393433" y="568096"/>
                  </a:lnTo>
                  <a:lnTo>
                    <a:pt x="394322" y="565556"/>
                  </a:lnTo>
                  <a:lnTo>
                    <a:pt x="390245" y="561746"/>
                  </a:lnTo>
                  <a:lnTo>
                    <a:pt x="391591" y="560476"/>
                  </a:lnTo>
                  <a:lnTo>
                    <a:pt x="389407" y="557936"/>
                  </a:lnTo>
                  <a:lnTo>
                    <a:pt x="388061" y="546506"/>
                  </a:lnTo>
                  <a:lnTo>
                    <a:pt x="386194" y="559206"/>
                  </a:lnTo>
                  <a:lnTo>
                    <a:pt x="383730" y="561746"/>
                  </a:lnTo>
                  <a:lnTo>
                    <a:pt x="385114" y="565556"/>
                  </a:lnTo>
                  <a:lnTo>
                    <a:pt x="379349" y="568096"/>
                  </a:lnTo>
                  <a:lnTo>
                    <a:pt x="380034" y="570636"/>
                  </a:lnTo>
                  <a:lnTo>
                    <a:pt x="372084" y="573176"/>
                  </a:lnTo>
                  <a:lnTo>
                    <a:pt x="383844" y="575716"/>
                  </a:lnTo>
                  <a:lnTo>
                    <a:pt x="367944" y="583336"/>
                  </a:lnTo>
                  <a:lnTo>
                    <a:pt x="374027" y="585876"/>
                  </a:lnTo>
                  <a:lnTo>
                    <a:pt x="370586" y="589686"/>
                  </a:lnTo>
                  <a:lnTo>
                    <a:pt x="376593" y="588416"/>
                  </a:lnTo>
                  <a:lnTo>
                    <a:pt x="382168" y="587146"/>
                  </a:lnTo>
                  <a:lnTo>
                    <a:pt x="377342" y="589686"/>
                  </a:lnTo>
                  <a:lnTo>
                    <a:pt x="370903" y="592226"/>
                  </a:lnTo>
                  <a:lnTo>
                    <a:pt x="367779" y="596036"/>
                  </a:lnTo>
                  <a:lnTo>
                    <a:pt x="375069" y="596036"/>
                  </a:lnTo>
                  <a:lnTo>
                    <a:pt x="372135" y="599846"/>
                  </a:lnTo>
                  <a:lnTo>
                    <a:pt x="377596" y="598576"/>
                  </a:lnTo>
                  <a:lnTo>
                    <a:pt x="379463" y="601116"/>
                  </a:lnTo>
                  <a:lnTo>
                    <a:pt x="376313" y="602386"/>
                  </a:lnTo>
                  <a:lnTo>
                    <a:pt x="371627" y="606196"/>
                  </a:lnTo>
                  <a:lnTo>
                    <a:pt x="354355" y="613816"/>
                  </a:lnTo>
                  <a:lnTo>
                    <a:pt x="361975" y="613816"/>
                  </a:lnTo>
                  <a:lnTo>
                    <a:pt x="360997" y="615086"/>
                  </a:lnTo>
                  <a:lnTo>
                    <a:pt x="360527" y="616356"/>
                  </a:lnTo>
                  <a:lnTo>
                    <a:pt x="359549" y="617626"/>
                  </a:lnTo>
                  <a:lnTo>
                    <a:pt x="366763" y="613816"/>
                  </a:lnTo>
                  <a:lnTo>
                    <a:pt x="366001" y="620166"/>
                  </a:lnTo>
                  <a:lnTo>
                    <a:pt x="371132" y="613816"/>
                  </a:lnTo>
                  <a:lnTo>
                    <a:pt x="375704" y="613816"/>
                  </a:lnTo>
                  <a:lnTo>
                    <a:pt x="373634" y="618896"/>
                  </a:lnTo>
                  <a:lnTo>
                    <a:pt x="364375" y="623976"/>
                  </a:lnTo>
                  <a:lnTo>
                    <a:pt x="363270" y="624535"/>
                  </a:lnTo>
                  <a:lnTo>
                    <a:pt x="363270" y="634136"/>
                  </a:lnTo>
                  <a:lnTo>
                    <a:pt x="360972" y="636676"/>
                  </a:lnTo>
                  <a:lnTo>
                    <a:pt x="356743" y="637946"/>
                  </a:lnTo>
                  <a:lnTo>
                    <a:pt x="355117" y="634136"/>
                  </a:lnTo>
                  <a:lnTo>
                    <a:pt x="363270" y="634136"/>
                  </a:lnTo>
                  <a:lnTo>
                    <a:pt x="363270" y="624535"/>
                  </a:lnTo>
                  <a:lnTo>
                    <a:pt x="359308" y="626516"/>
                  </a:lnTo>
                  <a:lnTo>
                    <a:pt x="363080" y="629056"/>
                  </a:lnTo>
                  <a:lnTo>
                    <a:pt x="355053" y="634009"/>
                  </a:lnTo>
                  <a:lnTo>
                    <a:pt x="353479" y="630326"/>
                  </a:lnTo>
                  <a:lnTo>
                    <a:pt x="351828" y="640486"/>
                  </a:lnTo>
                  <a:lnTo>
                    <a:pt x="349859" y="641756"/>
                  </a:lnTo>
                  <a:lnTo>
                    <a:pt x="346583" y="637946"/>
                  </a:lnTo>
                  <a:lnTo>
                    <a:pt x="343306" y="640486"/>
                  </a:lnTo>
                  <a:lnTo>
                    <a:pt x="340017" y="644296"/>
                  </a:lnTo>
                  <a:lnTo>
                    <a:pt x="336715" y="646836"/>
                  </a:lnTo>
                  <a:lnTo>
                    <a:pt x="334403" y="646836"/>
                  </a:lnTo>
                  <a:lnTo>
                    <a:pt x="333248" y="648106"/>
                  </a:lnTo>
                  <a:lnTo>
                    <a:pt x="333565" y="646836"/>
                  </a:lnTo>
                  <a:lnTo>
                    <a:pt x="329476" y="644296"/>
                  </a:lnTo>
                  <a:lnTo>
                    <a:pt x="330835" y="643026"/>
                  </a:lnTo>
                  <a:lnTo>
                    <a:pt x="328650" y="639216"/>
                  </a:lnTo>
                  <a:lnTo>
                    <a:pt x="327304" y="629056"/>
                  </a:lnTo>
                  <a:lnTo>
                    <a:pt x="325437" y="640486"/>
                  </a:lnTo>
                  <a:lnTo>
                    <a:pt x="322973" y="643026"/>
                  </a:lnTo>
                  <a:lnTo>
                    <a:pt x="324358" y="646836"/>
                  </a:lnTo>
                  <a:lnTo>
                    <a:pt x="322110" y="648106"/>
                  </a:lnTo>
                  <a:lnTo>
                    <a:pt x="320357" y="644296"/>
                  </a:lnTo>
                  <a:lnTo>
                    <a:pt x="316814" y="651916"/>
                  </a:lnTo>
                  <a:lnTo>
                    <a:pt x="315061" y="650646"/>
                  </a:lnTo>
                  <a:lnTo>
                    <a:pt x="313220" y="645566"/>
                  </a:lnTo>
                  <a:lnTo>
                    <a:pt x="311404" y="636676"/>
                  </a:lnTo>
                  <a:lnTo>
                    <a:pt x="309600" y="635406"/>
                  </a:lnTo>
                  <a:lnTo>
                    <a:pt x="307784" y="650646"/>
                  </a:lnTo>
                  <a:lnTo>
                    <a:pt x="304177" y="637946"/>
                  </a:lnTo>
                  <a:lnTo>
                    <a:pt x="300570" y="634136"/>
                  </a:lnTo>
                  <a:lnTo>
                    <a:pt x="296951" y="637946"/>
                  </a:lnTo>
                  <a:lnTo>
                    <a:pt x="293319" y="650646"/>
                  </a:lnTo>
                  <a:lnTo>
                    <a:pt x="291515" y="641756"/>
                  </a:lnTo>
                  <a:lnTo>
                    <a:pt x="289737" y="635406"/>
                  </a:lnTo>
                  <a:lnTo>
                    <a:pt x="287947" y="635406"/>
                  </a:lnTo>
                  <a:lnTo>
                    <a:pt x="286143" y="650646"/>
                  </a:lnTo>
                  <a:lnTo>
                    <a:pt x="284327" y="649376"/>
                  </a:lnTo>
                  <a:lnTo>
                    <a:pt x="282498" y="646836"/>
                  </a:lnTo>
                  <a:lnTo>
                    <a:pt x="280682" y="648106"/>
                  </a:lnTo>
                  <a:lnTo>
                    <a:pt x="278866" y="654456"/>
                  </a:lnTo>
                  <a:lnTo>
                    <a:pt x="276517" y="654456"/>
                  </a:lnTo>
                  <a:lnTo>
                    <a:pt x="274104" y="651916"/>
                  </a:lnTo>
                  <a:lnTo>
                    <a:pt x="271665" y="656996"/>
                  </a:lnTo>
                  <a:lnTo>
                    <a:pt x="269862" y="655726"/>
                  </a:lnTo>
                  <a:lnTo>
                    <a:pt x="268071" y="651916"/>
                  </a:lnTo>
                  <a:lnTo>
                    <a:pt x="266268" y="650646"/>
                  </a:lnTo>
                  <a:lnTo>
                    <a:pt x="264439" y="658266"/>
                  </a:lnTo>
                  <a:lnTo>
                    <a:pt x="262089" y="665886"/>
                  </a:lnTo>
                  <a:lnTo>
                    <a:pt x="259638" y="658266"/>
                  </a:lnTo>
                  <a:lnTo>
                    <a:pt x="257251" y="658266"/>
                  </a:lnTo>
                  <a:lnTo>
                    <a:pt x="254863" y="667156"/>
                  </a:lnTo>
                  <a:lnTo>
                    <a:pt x="252437" y="663346"/>
                  </a:lnTo>
                  <a:lnTo>
                    <a:pt x="251244" y="660806"/>
                  </a:lnTo>
                  <a:lnTo>
                    <a:pt x="250050" y="658266"/>
                  </a:lnTo>
                  <a:lnTo>
                    <a:pt x="245249" y="660806"/>
                  </a:lnTo>
                  <a:lnTo>
                    <a:pt x="240398" y="658266"/>
                  </a:lnTo>
                  <a:lnTo>
                    <a:pt x="235635" y="660806"/>
                  </a:lnTo>
                  <a:lnTo>
                    <a:pt x="230822" y="667156"/>
                  </a:lnTo>
                  <a:lnTo>
                    <a:pt x="226021" y="662076"/>
                  </a:lnTo>
                  <a:lnTo>
                    <a:pt x="221284" y="662076"/>
                  </a:lnTo>
                  <a:lnTo>
                    <a:pt x="220484" y="660806"/>
                  </a:lnTo>
                  <a:lnTo>
                    <a:pt x="219684" y="659536"/>
                  </a:lnTo>
                  <a:lnTo>
                    <a:pt x="216484" y="654456"/>
                  </a:lnTo>
                  <a:lnTo>
                    <a:pt x="211721" y="659536"/>
                  </a:lnTo>
                  <a:lnTo>
                    <a:pt x="206921" y="658266"/>
                  </a:lnTo>
                  <a:lnTo>
                    <a:pt x="205092" y="660806"/>
                  </a:lnTo>
                  <a:lnTo>
                    <a:pt x="203238" y="655726"/>
                  </a:lnTo>
                  <a:lnTo>
                    <a:pt x="201434" y="651916"/>
                  </a:lnTo>
                  <a:lnTo>
                    <a:pt x="199771" y="656996"/>
                  </a:lnTo>
                  <a:lnTo>
                    <a:pt x="197840" y="668426"/>
                  </a:lnTo>
                  <a:lnTo>
                    <a:pt x="196075" y="673506"/>
                  </a:lnTo>
                  <a:lnTo>
                    <a:pt x="194348" y="672236"/>
                  </a:lnTo>
                  <a:lnTo>
                    <a:pt x="194068" y="670966"/>
                  </a:lnTo>
                  <a:lnTo>
                    <a:pt x="192608" y="664616"/>
                  </a:lnTo>
                  <a:lnTo>
                    <a:pt x="192125" y="662076"/>
                  </a:lnTo>
                  <a:lnTo>
                    <a:pt x="190195" y="651916"/>
                  </a:lnTo>
                  <a:lnTo>
                    <a:pt x="187845" y="655726"/>
                  </a:lnTo>
                  <a:lnTo>
                    <a:pt x="185496" y="662076"/>
                  </a:lnTo>
                  <a:lnTo>
                    <a:pt x="183680" y="653186"/>
                  </a:lnTo>
                  <a:lnTo>
                    <a:pt x="181876" y="651916"/>
                  </a:lnTo>
                  <a:lnTo>
                    <a:pt x="180098" y="655726"/>
                  </a:lnTo>
                  <a:lnTo>
                    <a:pt x="178308" y="665886"/>
                  </a:lnTo>
                  <a:lnTo>
                    <a:pt x="173596" y="670966"/>
                  </a:lnTo>
                  <a:lnTo>
                    <a:pt x="168783" y="669696"/>
                  </a:lnTo>
                  <a:lnTo>
                    <a:pt x="164096" y="667156"/>
                  </a:lnTo>
                  <a:lnTo>
                    <a:pt x="160540" y="672236"/>
                  </a:lnTo>
                  <a:lnTo>
                    <a:pt x="153466" y="665886"/>
                  </a:lnTo>
                  <a:lnTo>
                    <a:pt x="149923" y="670966"/>
                  </a:lnTo>
                  <a:lnTo>
                    <a:pt x="145199" y="679856"/>
                  </a:lnTo>
                  <a:lnTo>
                    <a:pt x="139306" y="673506"/>
                  </a:lnTo>
                  <a:lnTo>
                    <a:pt x="135801" y="669696"/>
                  </a:lnTo>
                  <a:lnTo>
                    <a:pt x="135483" y="668426"/>
                  </a:lnTo>
                  <a:lnTo>
                    <a:pt x="132918" y="658266"/>
                  </a:lnTo>
                  <a:lnTo>
                    <a:pt x="130035" y="663346"/>
                  </a:lnTo>
                  <a:lnTo>
                    <a:pt x="127215" y="668426"/>
                  </a:lnTo>
                  <a:lnTo>
                    <a:pt x="125056" y="662076"/>
                  </a:lnTo>
                  <a:lnTo>
                    <a:pt x="122923" y="659536"/>
                  </a:lnTo>
                  <a:lnTo>
                    <a:pt x="120815" y="660806"/>
                  </a:lnTo>
                  <a:lnTo>
                    <a:pt x="118745" y="669696"/>
                  </a:lnTo>
                  <a:lnTo>
                    <a:pt x="116611" y="659536"/>
                  </a:lnTo>
                  <a:lnTo>
                    <a:pt x="114503" y="665886"/>
                  </a:lnTo>
                  <a:lnTo>
                    <a:pt x="112382" y="673506"/>
                  </a:lnTo>
                  <a:lnTo>
                    <a:pt x="110248" y="672236"/>
                  </a:lnTo>
                  <a:lnTo>
                    <a:pt x="108178" y="678586"/>
                  </a:lnTo>
                  <a:lnTo>
                    <a:pt x="106095" y="682396"/>
                  </a:lnTo>
                  <a:lnTo>
                    <a:pt x="104013" y="681126"/>
                  </a:lnTo>
                  <a:lnTo>
                    <a:pt x="103720" y="679856"/>
                  </a:lnTo>
                  <a:lnTo>
                    <a:pt x="101942" y="672236"/>
                  </a:lnTo>
                  <a:lnTo>
                    <a:pt x="99174" y="679856"/>
                  </a:lnTo>
                  <a:lnTo>
                    <a:pt x="96418" y="677316"/>
                  </a:lnTo>
                  <a:lnTo>
                    <a:pt x="95034" y="674776"/>
                  </a:lnTo>
                  <a:lnTo>
                    <a:pt x="93649" y="672236"/>
                  </a:lnTo>
                  <a:lnTo>
                    <a:pt x="90893" y="674776"/>
                  </a:lnTo>
                  <a:lnTo>
                    <a:pt x="88163" y="669696"/>
                  </a:lnTo>
                  <a:lnTo>
                    <a:pt x="85471" y="672236"/>
                  </a:lnTo>
                  <a:lnTo>
                    <a:pt x="83426" y="673506"/>
                  </a:lnTo>
                  <a:lnTo>
                    <a:pt x="81394" y="676046"/>
                  </a:lnTo>
                  <a:lnTo>
                    <a:pt x="79349" y="677316"/>
                  </a:lnTo>
                  <a:lnTo>
                    <a:pt x="77990" y="674776"/>
                  </a:lnTo>
                  <a:lnTo>
                    <a:pt x="77304" y="673506"/>
                  </a:lnTo>
                  <a:lnTo>
                    <a:pt x="75323" y="667156"/>
                  </a:lnTo>
                  <a:lnTo>
                    <a:pt x="73329" y="662076"/>
                  </a:lnTo>
                  <a:lnTo>
                    <a:pt x="71310" y="663346"/>
                  </a:lnTo>
                  <a:lnTo>
                    <a:pt x="69278" y="674776"/>
                  </a:lnTo>
                  <a:lnTo>
                    <a:pt x="66649" y="669696"/>
                  </a:lnTo>
                  <a:lnTo>
                    <a:pt x="63969" y="670966"/>
                  </a:lnTo>
                  <a:lnTo>
                    <a:pt x="61302" y="678586"/>
                  </a:lnTo>
                  <a:lnTo>
                    <a:pt x="59321" y="686206"/>
                  </a:lnTo>
                  <a:lnTo>
                    <a:pt x="57340" y="683666"/>
                  </a:lnTo>
                  <a:lnTo>
                    <a:pt x="56845" y="682396"/>
                  </a:lnTo>
                  <a:lnTo>
                    <a:pt x="55854" y="679856"/>
                  </a:lnTo>
                  <a:lnTo>
                    <a:pt x="55359" y="678586"/>
                  </a:lnTo>
                  <a:lnTo>
                    <a:pt x="53390" y="677316"/>
                  </a:lnTo>
                  <a:lnTo>
                    <a:pt x="51422" y="679856"/>
                  </a:lnTo>
                  <a:lnTo>
                    <a:pt x="47523" y="674776"/>
                  </a:lnTo>
                  <a:lnTo>
                    <a:pt x="45580" y="678586"/>
                  </a:lnTo>
                  <a:lnTo>
                    <a:pt x="43611" y="682396"/>
                  </a:lnTo>
                  <a:lnTo>
                    <a:pt x="41668" y="679856"/>
                  </a:lnTo>
                  <a:lnTo>
                    <a:pt x="41173" y="678586"/>
                  </a:lnTo>
                  <a:lnTo>
                    <a:pt x="39712" y="674776"/>
                  </a:lnTo>
                  <a:lnTo>
                    <a:pt x="37757" y="674776"/>
                  </a:lnTo>
                  <a:lnTo>
                    <a:pt x="35839" y="678586"/>
                  </a:lnTo>
                  <a:lnTo>
                    <a:pt x="33909" y="673506"/>
                  </a:lnTo>
                  <a:lnTo>
                    <a:pt x="31965" y="669696"/>
                  </a:lnTo>
                  <a:lnTo>
                    <a:pt x="30022" y="674776"/>
                  </a:lnTo>
                  <a:lnTo>
                    <a:pt x="27520" y="679856"/>
                  </a:lnTo>
                  <a:lnTo>
                    <a:pt x="24955" y="672236"/>
                  </a:lnTo>
                  <a:lnTo>
                    <a:pt x="22415" y="676046"/>
                  </a:lnTo>
                  <a:lnTo>
                    <a:pt x="19913" y="683666"/>
                  </a:lnTo>
                  <a:lnTo>
                    <a:pt x="17360" y="688746"/>
                  </a:lnTo>
                  <a:lnTo>
                    <a:pt x="14808" y="677316"/>
                  </a:lnTo>
                  <a:lnTo>
                    <a:pt x="12966" y="676046"/>
                  </a:lnTo>
                  <a:lnTo>
                    <a:pt x="11099" y="672236"/>
                  </a:lnTo>
                  <a:lnTo>
                    <a:pt x="9232" y="669696"/>
                  </a:lnTo>
                  <a:lnTo>
                    <a:pt x="7366" y="674776"/>
                  </a:lnTo>
                  <a:lnTo>
                    <a:pt x="5486" y="677316"/>
                  </a:lnTo>
                  <a:lnTo>
                    <a:pt x="3632" y="672236"/>
                  </a:lnTo>
                  <a:lnTo>
                    <a:pt x="1778" y="669696"/>
                  </a:lnTo>
                  <a:lnTo>
                    <a:pt x="0" y="673506"/>
                  </a:lnTo>
                  <a:lnTo>
                    <a:pt x="0" y="742086"/>
                  </a:lnTo>
                  <a:lnTo>
                    <a:pt x="1838071" y="742086"/>
                  </a:lnTo>
                  <a:lnTo>
                    <a:pt x="1838071" y="711504"/>
                  </a:lnTo>
                  <a:lnTo>
                    <a:pt x="3131693" y="711504"/>
                  </a:lnTo>
                  <a:lnTo>
                    <a:pt x="3131693" y="162864"/>
                  </a:lnTo>
                  <a:lnTo>
                    <a:pt x="3128010" y="160324"/>
                  </a:lnTo>
                  <a:lnTo>
                    <a:pt x="3127438" y="159054"/>
                  </a:lnTo>
                  <a:lnTo>
                    <a:pt x="3129445" y="159054"/>
                  </a:lnTo>
                  <a:lnTo>
                    <a:pt x="3125825" y="155244"/>
                  </a:lnTo>
                  <a:lnTo>
                    <a:pt x="3131693" y="159054"/>
                  </a:lnTo>
                  <a:lnTo>
                    <a:pt x="3131693" y="155244"/>
                  </a:lnTo>
                  <a:lnTo>
                    <a:pt x="3131693" y="145084"/>
                  </a:lnTo>
                  <a:lnTo>
                    <a:pt x="3131693" y="143814"/>
                  </a:lnTo>
                  <a:lnTo>
                    <a:pt x="3131693" y="128574"/>
                  </a:lnTo>
                  <a:lnTo>
                    <a:pt x="3129242" y="128574"/>
                  </a:lnTo>
                  <a:lnTo>
                    <a:pt x="3126752" y="126034"/>
                  </a:lnTo>
                  <a:lnTo>
                    <a:pt x="3131693" y="127304"/>
                  </a:lnTo>
                  <a:lnTo>
                    <a:pt x="3131693" y="126034"/>
                  </a:lnTo>
                  <a:lnTo>
                    <a:pt x="3131693" y="119684"/>
                  </a:lnTo>
                  <a:lnTo>
                    <a:pt x="3128645" y="118414"/>
                  </a:lnTo>
                  <a:lnTo>
                    <a:pt x="3127337" y="115874"/>
                  </a:lnTo>
                  <a:lnTo>
                    <a:pt x="3128670" y="115874"/>
                  </a:lnTo>
                  <a:lnTo>
                    <a:pt x="3131693" y="118414"/>
                  </a:lnTo>
                  <a:lnTo>
                    <a:pt x="3131693" y="115874"/>
                  </a:lnTo>
                  <a:lnTo>
                    <a:pt x="3131693" y="101904"/>
                  </a:lnTo>
                  <a:lnTo>
                    <a:pt x="3131693" y="96824"/>
                  </a:lnTo>
                  <a:lnTo>
                    <a:pt x="3122803" y="100634"/>
                  </a:lnTo>
                  <a:lnTo>
                    <a:pt x="3119094" y="101904"/>
                  </a:lnTo>
                  <a:lnTo>
                    <a:pt x="3118751" y="100634"/>
                  </a:lnTo>
                  <a:lnTo>
                    <a:pt x="3116783" y="98094"/>
                  </a:lnTo>
                  <a:lnTo>
                    <a:pt x="3116745" y="95554"/>
                  </a:lnTo>
                  <a:lnTo>
                    <a:pt x="3119932" y="98094"/>
                  </a:lnTo>
                  <a:lnTo>
                    <a:pt x="3122066" y="99364"/>
                  </a:lnTo>
                  <a:lnTo>
                    <a:pt x="3122079" y="95554"/>
                  </a:lnTo>
                  <a:lnTo>
                    <a:pt x="3129153" y="95554"/>
                  </a:lnTo>
                  <a:lnTo>
                    <a:pt x="3128149" y="94284"/>
                  </a:lnTo>
                  <a:lnTo>
                    <a:pt x="3127667" y="94284"/>
                  </a:lnTo>
                  <a:lnTo>
                    <a:pt x="3126663" y="91744"/>
                  </a:lnTo>
                  <a:lnTo>
                    <a:pt x="3131693" y="90474"/>
                  </a:lnTo>
                  <a:close/>
                </a:path>
                <a:path w="5760085" h="742315">
                  <a:moveTo>
                    <a:pt x="5759983" y="54610"/>
                  </a:moveTo>
                  <a:lnTo>
                    <a:pt x="5745454" y="54610"/>
                  </a:lnTo>
                  <a:lnTo>
                    <a:pt x="5740743" y="52070"/>
                  </a:lnTo>
                  <a:lnTo>
                    <a:pt x="5738380" y="50800"/>
                  </a:lnTo>
                  <a:lnTo>
                    <a:pt x="5738711" y="49530"/>
                  </a:lnTo>
                  <a:lnTo>
                    <a:pt x="5739041" y="48260"/>
                  </a:lnTo>
                  <a:lnTo>
                    <a:pt x="5748921" y="52070"/>
                  </a:lnTo>
                  <a:lnTo>
                    <a:pt x="5748045" y="46990"/>
                  </a:lnTo>
                  <a:lnTo>
                    <a:pt x="5755716" y="48260"/>
                  </a:lnTo>
                  <a:lnTo>
                    <a:pt x="5755297" y="46990"/>
                  </a:lnTo>
                  <a:lnTo>
                    <a:pt x="5754040" y="43180"/>
                  </a:lnTo>
                  <a:lnTo>
                    <a:pt x="5754903" y="41910"/>
                  </a:lnTo>
                  <a:lnTo>
                    <a:pt x="5759183" y="35560"/>
                  </a:lnTo>
                  <a:lnTo>
                    <a:pt x="5743829" y="41910"/>
                  </a:lnTo>
                  <a:lnTo>
                    <a:pt x="5737504" y="39370"/>
                  </a:lnTo>
                  <a:lnTo>
                    <a:pt x="5739841" y="34290"/>
                  </a:lnTo>
                  <a:lnTo>
                    <a:pt x="5746242" y="34290"/>
                  </a:lnTo>
                  <a:lnTo>
                    <a:pt x="5744692" y="31750"/>
                  </a:lnTo>
                  <a:lnTo>
                    <a:pt x="5747372" y="27940"/>
                  </a:lnTo>
                  <a:lnTo>
                    <a:pt x="5749150" y="25400"/>
                  </a:lnTo>
                  <a:lnTo>
                    <a:pt x="5739409" y="27940"/>
                  </a:lnTo>
                  <a:lnTo>
                    <a:pt x="5737593" y="24130"/>
                  </a:lnTo>
                  <a:lnTo>
                    <a:pt x="5739206" y="21590"/>
                  </a:lnTo>
                  <a:lnTo>
                    <a:pt x="5740819" y="19050"/>
                  </a:lnTo>
                  <a:lnTo>
                    <a:pt x="5738533" y="21590"/>
                  </a:lnTo>
                  <a:lnTo>
                    <a:pt x="5735218" y="17780"/>
                  </a:lnTo>
                  <a:lnTo>
                    <a:pt x="5735447" y="1270"/>
                  </a:lnTo>
                  <a:lnTo>
                    <a:pt x="5733491" y="0"/>
                  </a:lnTo>
                  <a:lnTo>
                    <a:pt x="5732335" y="3810"/>
                  </a:lnTo>
                  <a:lnTo>
                    <a:pt x="5732157" y="13970"/>
                  </a:lnTo>
                  <a:lnTo>
                    <a:pt x="5728982" y="19050"/>
                  </a:lnTo>
                  <a:lnTo>
                    <a:pt x="5723890" y="19050"/>
                  </a:lnTo>
                  <a:lnTo>
                    <a:pt x="5728881" y="22860"/>
                  </a:lnTo>
                  <a:lnTo>
                    <a:pt x="5729884" y="27940"/>
                  </a:lnTo>
                  <a:lnTo>
                    <a:pt x="5715774" y="24130"/>
                  </a:lnTo>
                  <a:lnTo>
                    <a:pt x="5721426" y="30480"/>
                  </a:lnTo>
                  <a:lnTo>
                    <a:pt x="5719864" y="35560"/>
                  </a:lnTo>
                  <a:lnTo>
                    <a:pt x="5725122" y="34290"/>
                  </a:lnTo>
                  <a:lnTo>
                    <a:pt x="5728855" y="34290"/>
                  </a:lnTo>
                  <a:lnTo>
                    <a:pt x="5728513" y="36830"/>
                  </a:lnTo>
                  <a:lnTo>
                    <a:pt x="5728259" y="38100"/>
                  </a:lnTo>
                  <a:lnTo>
                    <a:pt x="5721782" y="38100"/>
                  </a:lnTo>
                  <a:lnTo>
                    <a:pt x="5723318" y="41910"/>
                  </a:lnTo>
                  <a:lnTo>
                    <a:pt x="5726506" y="43180"/>
                  </a:lnTo>
                  <a:lnTo>
                    <a:pt x="5722810" y="43180"/>
                  </a:lnTo>
                  <a:lnTo>
                    <a:pt x="5713666" y="40640"/>
                  </a:lnTo>
                  <a:lnTo>
                    <a:pt x="5705437" y="36830"/>
                  </a:lnTo>
                  <a:lnTo>
                    <a:pt x="5707367" y="41910"/>
                  </a:lnTo>
                  <a:lnTo>
                    <a:pt x="5708675" y="45720"/>
                  </a:lnTo>
                  <a:lnTo>
                    <a:pt x="5705106" y="48260"/>
                  </a:lnTo>
                  <a:lnTo>
                    <a:pt x="5708650" y="48260"/>
                  </a:lnTo>
                  <a:lnTo>
                    <a:pt x="5705881" y="54610"/>
                  </a:lnTo>
                  <a:lnTo>
                    <a:pt x="5715762" y="49530"/>
                  </a:lnTo>
                  <a:lnTo>
                    <a:pt x="5715749" y="54610"/>
                  </a:lnTo>
                  <a:lnTo>
                    <a:pt x="5723102" y="52070"/>
                  </a:lnTo>
                  <a:lnTo>
                    <a:pt x="5724690" y="57150"/>
                  </a:lnTo>
                  <a:lnTo>
                    <a:pt x="5718556" y="59690"/>
                  </a:lnTo>
                  <a:lnTo>
                    <a:pt x="5705195" y="59690"/>
                  </a:lnTo>
                  <a:lnTo>
                    <a:pt x="5709526" y="63500"/>
                  </a:lnTo>
                  <a:lnTo>
                    <a:pt x="5706605" y="69850"/>
                  </a:lnTo>
                  <a:lnTo>
                    <a:pt x="5715940" y="66040"/>
                  </a:lnTo>
                  <a:lnTo>
                    <a:pt x="5716003" y="69850"/>
                  </a:lnTo>
                  <a:lnTo>
                    <a:pt x="5710326" y="74930"/>
                  </a:lnTo>
                  <a:lnTo>
                    <a:pt x="5720905" y="72390"/>
                  </a:lnTo>
                  <a:lnTo>
                    <a:pt x="5723471" y="74930"/>
                  </a:lnTo>
                  <a:lnTo>
                    <a:pt x="5718378" y="81280"/>
                  </a:lnTo>
                  <a:lnTo>
                    <a:pt x="5701754" y="88900"/>
                  </a:lnTo>
                  <a:lnTo>
                    <a:pt x="5686247" y="88900"/>
                  </a:lnTo>
                  <a:lnTo>
                    <a:pt x="5690984" y="95250"/>
                  </a:lnTo>
                  <a:lnTo>
                    <a:pt x="5684977" y="102870"/>
                  </a:lnTo>
                  <a:lnTo>
                    <a:pt x="5697080" y="97790"/>
                  </a:lnTo>
                  <a:lnTo>
                    <a:pt x="5696661" y="101600"/>
                  </a:lnTo>
                  <a:lnTo>
                    <a:pt x="5689930" y="111760"/>
                  </a:lnTo>
                  <a:lnTo>
                    <a:pt x="5696026" y="106680"/>
                  </a:lnTo>
                  <a:lnTo>
                    <a:pt x="5697893" y="111760"/>
                  </a:lnTo>
                  <a:lnTo>
                    <a:pt x="5704725" y="106680"/>
                  </a:lnTo>
                  <a:lnTo>
                    <a:pt x="5706427" y="105410"/>
                  </a:lnTo>
                  <a:lnTo>
                    <a:pt x="5707456" y="109220"/>
                  </a:lnTo>
                  <a:lnTo>
                    <a:pt x="5709475" y="107950"/>
                  </a:lnTo>
                  <a:lnTo>
                    <a:pt x="5711482" y="105410"/>
                  </a:lnTo>
                  <a:lnTo>
                    <a:pt x="5712485" y="104140"/>
                  </a:lnTo>
                  <a:lnTo>
                    <a:pt x="5712790" y="107950"/>
                  </a:lnTo>
                  <a:lnTo>
                    <a:pt x="5712968" y="109220"/>
                  </a:lnTo>
                  <a:lnTo>
                    <a:pt x="5713273" y="113030"/>
                  </a:lnTo>
                  <a:lnTo>
                    <a:pt x="5720613" y="105410"/>
                  </a:lnTo>
                  <a:lnTo>
                    <a:pt x="5719775" y="109220"/>
                  </a:lnTo>
                  <a:lnTo>
                    <a:pt x="5718073" y="113030"/>
                  </a:lnTo>
                  <a:lnTo>
                    <a:pt x="5717032" y="113855"/>
                  </a:lnTo>
                  <a:lnTo>
                    <a:pt x="5717032" y="127000"/>
                  </a:lnTo>
                  <a:lnTo>
                    <a:pt x="5711825" y="133350"/>
                  </a:lnTo>
                  <a:lnTo>
                    <a:pt x="5712536" y="135890"/>
                  </a:lnTo>
                  <a:lnTo>
                    <a:pt x="5714784" y="134620"/>
                  </a:lnTo>
                  <a:lnTo>
                    <a:pt x="5714263" y="135204"/>
                  </a:lnTo>
                  <a:lnTo>
                    <a:pt x="5714263" y="175260"/>
                  </a:lnTo>
                  <a:lnTo>
                    <a:pt x="5713590" y="177800"/>
                  </a:lnTo>
                  <a:lnTo>
                    <a:pt x="5709031" y="185420"/>
                  </a:lnTo>
                  <a:lnTo>
                    <a:pt x="5703087" y="191770"/>
                  </a:lnTo>
                  <a:lnTo>
                    <a:pt x="5700954" y="196850"/>
                  </a:lnTo>
                  <a:lnTo>
                    <a:pt x="5697956" y="195580"/>
                  </a:lnTo>
                  <a:lnTo>
                    <a:pt x="5697283" y="195580"/>
                  </a:lnTo>
                  <a:lnTo>
                    <a:pt x="5697982" y="191770"/>
                  </a:lnTo>
                  <a:lnTo>
                    <a:pt x="5698744" y="190500"/>
                  </a:lnTo>
                  <a:lnTo>
                    <a:pt x="5702173" y="190500"/>
                  </a:lnTo>
                  <a:lnTo>
                    <a:pt x="5701703" y="187960"/>
                  </a:lnTo>
                  <a:lnTo>
                    <a:pt x="5704421" y="187960"/>
                  </a:lnTo>
                  <a:lnTo>
                    <a:pt x="5707037" y="186690"/>
                  </a:lnTo>
                  <a:lnTo>
                    <a:pt x="5705360" y="186690"/>
                  </a:lnTo>
                  <a:lnTo>
                    <a:pt x="5709780" y="180340"/>
                  </a:lnTo>
                  <a:lnTo>
                    <a:pt x="5712422" y="176530"/>
                  </a:lnTo>
                  <a:lnTo>
                    <a:pt x="5714263" y="175260"/>
                  </a:lnTo>
                  <a:lnTo>
                    <a:pt x="5714263" y="135204"/>
                  </a:lnTo>
                  <a:lnTo>
                    <a:pt x="5711342" y="138430"/>
                  </a:lnTo>
                  <a:lnTo>
                    <a:pt x="5705043" y="143510"/>
                  </a:lnTo>
                  <a:lnTo>
                    <a:pt x="5705043" y="163830"/>
                  </a:lnTo>
                  <a:lnTo>
                    <a:pt x="5701385" y="168910"/>
                  </a:lnTo>
                  <a:lnTo>
                    <a:pt x="5696750" y="166370"/>
                  </a:lnTo>
                  <a:lnTo>
                    <a:pt x="5701004" y="161290"/>
                  </a:lnTo>
                  <a:lnTo>
                    <a:pt x="5703633" y="160020"/>
                  </a:lnTo>
                  <a:lnTo>
                    <a:pt x="5705043" y="163830"/>
                  </a:lnTo>
                  <a:lnTo>
                    <a:pt x="5705043" y="143510"/>
                  </a:lnTo>
                  <a:lnTo>
                    <a:pt x="5703455" y="144780"/>
                  </a:lnTo>
                  <a:lnTo>
                    <a:pt x="5696712" y="148475"/>
                  </a:lnTo>
                  <a:lnTo>
                    <a:pt x="5696712" y="173990"/>
                  </a:lnTo>
                  <a:lnTo>
                    <a:pt x="5694172" y="176530"/>
                  </a:lnTo>
                  <a:lnTo>
                    <a:pt x="5688622" y="180340"/>
                  </a:lnTo>
                  <a:lnTo>
                    <a:pt x="5684469" y="177800"/>
                  </a:lnTo>
                  <a:lnTo>
                    <a:pt x="5680938" y="173990"/>
                  </a:lnTo>
                  <a:lnTo>
                    <a:pt x="5678627" y="168910"/>
                  </a:lnTo>
                  <a:lnTo>
                    <a:pt x="5686552" y="175260"/>
                  </a:lnTo>
                  <a:lnTo>
                    <a:pt x="5687631" y="168910"/>
                  </a:lnTo>
                  <a:lnTo>
                    <a:pt x="5688736" y="168910"/>
                  </a:lnTo>
                  <a:lnTo>
                    <a:pt x="5696712" y="173990"/>
                  </a:lnTo>
                  <a:lnTo>
                    <a:pt x="5696712" y="148475"/>
                  </a:lnTo>
                  <a:lnTo>
                    <a:pt x="5691835" y="151130"/>
                  </a:lnTo>
                  <a:lnTo>
                    <a:pt x="5680951" y="149860"/>
                  </a:lnTo>
                  <a:lnTo>
                    <a:pt x="5678932" y="148590"/>
                  </a:lnTo>
                  <a:lnTo>
                    <a:pt x="5682373" y="144780"/>
                  </a:lnTo>
                  <a:lnTo>
                    <a:pt x="5681510" y="144462"/>
                  </a:lnTo>
                  <a:lnTo>
                    <a:pt x="5687072" y="142240"/>
                  </a:lnTo>
                  <a:lnTo>
                    <a:pt x="5690235" y="139700"/>
                  </a:lnTo>
                  <a:lnTo>
                    <a:pt x="5696572" y="137160"/>
                  </a:lnTo>
                  <a:lnTo>
                    <a:pt x="5697639" y="143510"/>
                  </a:lnTo>
                  <a:lnTo>
                    <a:pt x="5700255" y="139700"/>
                  </a:lnTo>
                  <a:lnTo>
                    <a:pt x="5700420" y="137160"/>
                  </a:lnTo>
                  <a:lnTo>
                    <a:pt x="5700585" y="134620"/>
                  </a:lnTo>
                  <a:lnTo>
                    <a:pt x="5701639" y="130810"/>
                  </a:lnTo>
                  <a:lnTo>
                    <a:pt x="5704484" y="134620"/>
                  </a:lnTo>
                  <a:lnTo>
                    <a:pt x="5704891" y="138430"/>
                  </a:lnTo>
                  <a:lnTo>
                    <a:pt x="5707710" y="138430"/>
                  </a:lnTo>
                  <a:lnTo>
                    <a:pt x="5712688" y="130810"/>
                  </a:lnTo>
                  <a:lnTo>
                    <a:pt x="5717032" y="127000"/>
                  </a:lnTo>
                  <a:lnTo>
                    <a:pt x="5717032" y="113855"/>
                  </a:lnTo>
                  <a:lnTo>
                    <a:pt x="5711647" y="118110"/>
                  </a:lnTo>
                  <a:lnTo>
                    <a:pt x="5702833" y="121920"/>
                  </a:lnTo>
                  <a:lnTo>
                    <a:pt x="5693613" y="124460"/>
                  </a:lnTo>
                  <a:lnTo>
                    <a:pt x="5690819" y="125564"/>
                  </a:lnTo>
                  <a:lnTo>
                    <a:pt x="5690819" y="134620"/>
                  </a:lnTo>
                  <a:lnTo>
                    <a:pt x="5681167" y="144348"/>
                  </a:lnTo>
                  <a:lnTo>
                    <a:pt x="5675122" y="142240"/>
                  </a:lnTo>
                  <a:lnTo>
                    <a:pt x="5666143" y="138430"/>
                  </a:lnTo>
                  <a:lnTo>
                    <a:pt x="5663933" y="133350"/>
                  </a:lnTo>
                  <a:lnTo>
                    <a:pt x="5677090" y="139700"/>
                  </a:lnTo>
                  <a:lnTo>
                    <a:pt x="5676328" y="135890"/>
                  </a:lnTo>
                  <a:lnTo>
                    <a:pt x="5682348" y="135890"/>
                  </a:lnTo>
                  <a:lnTo>
                    <a:pt x="5682107" y="138430"/>
                  </a:lnTo>
                  <a:lnTo>
                    <a:pt x="5687923" y="135890"/>
                  </a:lnTo>
                  <a:lnTo>
                    <a:pt x="5690819" y="134620"/>
                  </a:lnTo>
                  <a:lnTo>
                    <a:pt x="5690819" y="125564"/>
                  </a:lnTo>
                  <a:lnTo>
                    <a:pt x="5687161" y="127000"/>
                  </a:lnTo>
                  <a:lnTo>
                    <a:pt x="5686590" y="126123"/>
                  </a:lnTo>
                  <a:lnTo>
                    <a:pt x="5686590" y="127000"/>
                  </a:lnTo>
                  <a:lnTo>
                    <a:pt x="5677535" y="129540"/>
                  </a:lnTo>
                  <a:lnTo>
                    <a:pt x="5682666" y="132080"/>
                  </a:lnTo>
                  <a:lnTo>
                    <a:pt x="5682475" y="133350"/>
                  </a:lnTo>
                  <a:lnTo>
                    <a:pt x="5675261" y="128270"/>
                  </a:lnTo>
                  <a:lnTo>
                    <a:pt x="5677230" y="127000"/>
                  </a:lnTo>
                  <a:lnTo>
                    <a:pt x="5674030" y="123190"/>
                  </a:lnTo>
                  <a:lnTo>
                    <a:pt x="5672950" y="121920"/>
                  </a:lnTo>
                  <a:lnTo>
                    <a:pt x="5677649" y="123190"/>
                  </a:lnTo>
                  <a:lnTo>
                    <a:pt x="5680532" y="128270"/>
                  </a:lnTo>
                  <a:lnTo>
                    <a:pt x="5681205" y="123190"/>
                  </a:lnTo>
                  <a:lnTo>
                    <a:pt x="5686590" y="127000"/>
                  </a:lnTo>
                  <a:lnTo>
                    <a:pt x="5686590" y="126123"/>
                  </a:lnTo>
                  <a:lnTo>
                    <a:pt x="5684698" y="123190"/>
                  </a:lnTo>
                  <a:lnTo>
                    <a:pt x="5683872" y="121920"/>
                  </a:lnTo>
                  <a:lnTo>
                    <a:pt x="5683047" y="120650"/>
                  </a:lnTo>
                  <a:lnTo>
                    <a:pt x="5686183" y="121920"/>
                  </a:lnTo>
                  <a:lnTo>
                    <a:pt x="5686145" y="120650"/>
                  </a:lnTo>
                  <a:lnTo>
                    <a:pt x="5686056" y="118110"/>
                  </a:lnTo>
                  <a:lnTo>
                    <a:pt x="5693892" y="114300"/>
                  </a:lnTo>
                  <a:lnTo>
                    <a:pt x="5668137" y="109220"/>
                  </a:lnTo>
                  <a:lnTo>
                    <a:pt x="5665101" y="107950"/>
                  </a:lnTo>
                  <a:lnTo>
                    <a:pt x="5667870" y="106680"/>
                  </a:lnTo>
                  <a:lnTo>
                    <a:pt x="5664886" y="102870"/>
                  </a:lnTo>
                  <a:lnTo>
                    <a:pt x="5678944" y="106680"/>
                  </a:lnTo>
                  <a:lnTo>
                    <a:pt x="5677128" y="102870"/>
                  </a:lnTo>
                  <a:lnTo>
                    <a:pt x="5680735" y="99060"/>
                  </a:lnTo>
                  <a:lnTo>
                    <a:pt x="5658777" y="93980"/>
                  </a:lnTo>
                  <a:lnTo>
                    <a:pt x="5666791" y="93980"/>
                  </a:lnTo>
                  <a:lnTo>
                    <a:pt x="5666765" y="92710"/>
                  </a:lnTo>
                  <a:lnTo>
                    <a:pt x="5666740" y="91440"/>
                  </a:lnTo>
                  <a:lnTo>
                    <a:pt x="5666702" y="90170"/>
                  </a:lnTo>
                  <a:lnTo>
                    <a:pt x="5674118" y="95250"/>
                  </a:lnTo>
                  <a:lnTo>
                    <a:pt x="5673725" y="90170"/>
                  </a:lnTo>
                  <a:lnTo>
                    <a:pt x="5679376" y="85090"/>
                  </a:lnTo>
                  <a:lnTo>
                    <a:pt x="5671312" y="83820"/>
                  </a:lnTo>
                  <a:lnTo>
                    <a:pt x="5672810" y="81280"/>
                  </a:lnTo>
                  <a:lnTo>
                    <a:pt x="5677230" y="77470"/>
                  </a:lnTo>
                  <a:lnTo>
                    <a:pt x="5671655" y="77470"/>
                  </a:lnTo>
                  <a:lnTo>
                    <a:pt x="5675808" y="72390"/>
                  </a:lnTo>
                  <a:lnTo>
                    <a:pt x="5657215" y="78740"/>
                  </a:lnTo>
                  <a:lnTo>
                    <a:pt x="5654281" y="73660"/>
                  </a:lnTo>
                  <a:lnTo>
                    <a:pt x="5652808" y="71120"/>
                  </a:lnTo>
                  <a:lnTo>
                    <a:pt x="5660187" y="77470"/>
                  </a:lnTo>
                  <a:lnTo>
                    <a:pt x="5660212" y="72390"/>
                  </a:lnTo>
                  <a:lnTo>
                    <a:pt x="5667273" y="73660"/>
                  </a:lnTo>
                  <a:lnTo>
                    <a:pt x="5666448" y="72390"/>
                  </a:lnTo>
                  <a:lnTo>
                    <a:pt x="5665622" y="71120"/>
                  </a:lnTo>
                  <a:lnTo>
                    <a:pt x="5664784" y="69850"/>
                  </a:lnTo>
                  <a:lnTo>
                    <a:pt x="5671134" y="68580"/>
                  </a:lnTo>
                  <a:lnTo>
                    <a:pt x="5666702" y="66040"/>
                  </a:lnTo>
                  <a:lnTo>
                    <a:pt x="5662384" y="64770"/>
                  </a:lnTo>
                  <a:lnTo>
                    <a:pt x="5659513" y="63500"/>
                  </a:lnTo>
                  <a:lnTo>
                    <a:pt x="5667375" y="62230"/>
                  </a:lnTo>
                  <a:lnTo>
                    <a:pt x="5662117" y="58420"/>
                  </a:lnTo>
                  <a:lnTo>
                    <a:pt x="5665025" y="54610"/>
                  </a:lnTo>
                  <a:lnTo>
                    <a:pt x="5666956" y="52070"/>
                  </a:lnTo>
                  <a:lnTo>
                    <a:pt x="5661304" y="54610"/>
                  </a:lnTo>
                  <a:lnTo>
                    <a:pt x="5657875" y="53340"/>
                  </a:lnTo>
                  <a:lnTo>
                    <a:pt x="5660085" y="50800"/>
                  </a:lnTo>
                  <a:lnTo>
                    <a:pt x="5661177" y="49530"/>
                  </a:lnTo>
                  <a:lnTo>
                    <a:pt x="5651805" y="50800"/>
                  </a:lnTo>
                  <a:lnTo>
                    <a:pt x="5657926" y="44450"/>
                  </a:lnTo>
                  <a:lnTo>
                    <a:pt x="5651970" y="41910"/>
                  </a:lnTo>
                  <a:lnTo>
                    <a:pt x="5650700" y="27940"/>
                  </a:lnTo>
                  <a:lnTo>
                    <a:pt x="5649557" y="21590"/>
                  </a:lnTo>
                  <a:lnTo>
                    <a:pt x="5648909" y="22860"/>
                  </a:lnTo>
                  <a:lnTo>
                    <a:pt x="5648604" y="22860"/>
                  </a:lnTo>
                  <a:lnTo>
                    <a:pt x="5647956" y="24130"/>
                  </a:lnTo>
                  <a:lnTo>
                    <a:pt x="5647652" y="35560"/>
                  </a:lnTo>
                  <a:lnTo>
                    <a:pt x="5645518" y="41910"/>
                  </a:lnTo>
                  <a:lnTo>
                    <a:pt x="5642902" y="43180"/>
                  </a:lnTo>
                  <a:lnTo>
                    <a:pt x="5641187" y="44450"/>
                  </a:lnTo>
                  <a:lnTo>
                    <a:pt x="5645048" y="46990"/>
                  </a:lnTo>
                  <a:lnTo>
                    <a:pt x="5634621" y="50800"/>
                  </a:lnTo>
                  <a:lnTo>
                    <a:pt x="5638533" y="54610"/>
                  </a:lnTo>
                  <a:lnTo>
                    <a:pt x="5635637" y="57150"/>
                  </a:lnTo>
                  <a:lnTo>
                    <a:pt x="5644489" y="59690"/>
                  </a:lnTo>
                  <a:lnTo>
                    <a:pt x="5636946" y="63500"/>
                  </a:lnTo>
                  <a:lnTo>
                    <a:pt x="5629541" y="64770"/>
                  </a:lnTo>
                  <a:lnTo>
                    <a:pt x="5636641" y="67310"/>
                  </a:lnTo>
                  <a:lnTo>
                    <a:pt x="5635498" y="72390"/>
                  </a:lnTo>
                  <a:lnTo>
                    <a:pt x="5640159" y="69850"/>
                  </a:lnTo>
                  <a:lnTo>
                    <a:pt x="5640057" y="74930"/>
                  </a:lnTo>
                  <a:lnTo>
                    <a:pt x="5644299" y="73660"/>
                  </a:lnTo>
                  <a:lnTo>
                    <a:pt x="5637758" y="78740"/>
                  </a:lnTo>
                  <a:lnTo>
                    <a:pt x="5616956" y="73660"/>
                  </a:lnTo>
                  <a:lnTo>
                    <a:pt x="5619864" y="76200"/>
                  </a:lnTo>
                  <a:lnTo>
                    <a:pt x="5615762" y="80010"/>
                  </a:lnTo>
                  <a:lnTo>
                    <a:pt x="5624093" y="78740"/>
                  </a:lnTo>
                  <a:lnTo>
                    <a:pt x="5617375" y="83820"/>
                  </a:lnTo>
                  <a:lnTo>
                    <a:pt x="5623725" y="86360"/>
                  </a:lnTo>
                  <a:lnTo>
                    <a:pt x="5615546" y="93980"/>
                  </a:lnTo>
                  <a:lnTo>
                    <a:pt x="5621845" y="91440"/>
                  </a:lnTo>
                  <a:lnTo>
                    <a:pt x="5624804" y="96520"/>
                  </a:lnTo>
                  <a:lnTo>
                    <a:pt x="5630837" y="91440"/>
                  </a:lnTo>
                  <a:lnTo>
                    <a:pt x="5627471" y="97790"/>
                  </a:lnTo>
                  <a:lnTo>
                    <a:pt x="5625198" y="101600"/>
                  </a:lnTo>
                  <a:lnTo>
                    <a:pt x="5630519" y="97790"/>
                  </a:lnTo>
                  <a:lnTo>
                    <a:pt x="5635015" y="101600"/>
                  </a:lnTo>
                  <a:lnTo>
                    <a:pt x="5636996" y="97790"/>
                  </a:lnTo>
                  <a:lnTo>
                    <a:pt x="5639613" y="92710"/>
                  </a:lnTo>
                  <a:lnTo>
                    <a:pt x="5641086" y="99060"/>
                  </a:lnTo>
                  <a:lnTo>
                    <a:pt x="5630380" y="105410"/>
                  </a:lnTo>
                  <a:lnTo>
                    <a:pt x="5611800" y="109220"/>
                  </a:lnTo>
                  <a:lnTo>
                    <a:pt x="5613260" y="111760"/>
                  </a:lnTo>
                  <a:lnTo>
                    <a:pt x="5604459" y="111760"/>
                  </a:lnTo>
                  <a:lnTo>
                    <a:pt x="5613578" y="118110"/>
                  </a:lnTo>
                  <a:lnTo>
                    <a:pt x="5609831" y="121920"/>
                  </a:lnTo>
                  <a:lnTo>
                    <a:pt x="5624500" y="118110"/>
                  </a:lnTo>
                  <a:lnTo>
                    <a:pt x="5622861" y="121920"/>
                  </a:lnTo>
                  <a:lnTo>
                    <a:pt x="5613959" y="129540"/>
                  </a:lnTo>
                  <a:lnTo>
                    <a:pt x="5620956" y="129540"/>
                  </a:lnTo>
                  <a:lnTo>
                    <a:pt x="5621579" y="134620"/>
                  </a:lnTo>
                  <a:lnTo>
                    <a:pt x="5626684" y="127000"/>
                  </a:lnTo>
                  <a:lnTo>
                    <a:pt x="5629834" y="130810"/>
                  </a:lnTo>
                  <a:lnTo>
                    <a:pt x="5630456" y="127000"/>
                  </a:lnTo>
                  <a:lnTo>
                    <a:pt x="5631065" y="123190"/>
                  </a:lnTo>
                  <a:lnTo>
                    <a:pt x="5634037" y="124460"/>
                  </a:lnTo>
                  <a:lnTo>
                    <a:pt x="5636006" y="128270"/>
                  </a:lnTo>
                  <a:lnTo>
                    <a:pt x="5627408" y="135890"/>
                  </a:lnTo>
                  <a:lnTo>
                    <a:pt x="5634291" y="138430"/>
                  </a:lnTo>
                  <a:lnTo>
                    <a:pt x="5631929" y="142240"/>
                  </a:lnTo>
                  <a:lnTo>
                    <a:pt x="5631713" y="142303"/>
                  </a:lnTo>
                  <a:lnTo>
                    <a:pt x="5631713" y="160020"/>
                  </a:lnTo>
                  <a:lnTo>
                    <a:pt x="5627471" y="166370"/>
                  </a:lnTo>
                  <a:lnTo>
                    <a:pt x="5621845" y="168757"/>
                  </a:lnTo>
                  <a:lnTo>
                    <a:pt x="5621845" y="271780"/>
                  </a:lnTo>
                  <a:lnTo>
                    <a:pt x="5618200" y="273050"/>
                  </a:lnTo>
                  <a:lnTo>
                    <a:pt x="5620118" y="267970"/>
                  </a:lnTo>
                  <a:lnTo>
                    <a:pt x="5621845" y="271780"/>
                  </a:lnTo>
                  <a:lnTo>
                    <a:pt x="5621845" y="168757"/>
                  </a:lnTo>
                  <a:lnTo>
                    <a:pt x="5618772" y="170065"/>
                  </a:lnTo>
                  <a:lnTo>
                    <a:pt x="5618772" y="208280"/>
                  </a:lnTo>
                  <a:lnTo>
                    <a:pt x="5611685" y="223520"/>
                  </a:lnTo>
                  <a:lnTo>
                    <a:pt x="5614771" y="223520"/>
                  </a:lnTo>
                  <a:lnTo>
                    <a:pt x="5613438" y="226060"/>
                  </a:lnTo>
                  <a:lnTo>
                    <a:pt x="5609958" y="227330"/>
                  </a:lnTo>
                  <a:lnTo>
                    <a:pt x="5605970" y="227330"/>
                  </a:lnTo>
                  <a:lnTo>
                    <a:pt x="5599239" y="226060"/>
                  </a:lnTo>
                  <a:lnTo>
                    <a:pt x="5600027" y="224790"/>
                  </a:lnTo>
                  <a:lnTo>
                    <a:pt x="5601601" y="222250"/>
                  </a:lnTo>
                  <a:lnTo>
                    <a:pt x="5603786" y="226060"/>
                  </a:lnTo>
                  <a:lnTo>
                    <a:pt x="5605399" y="222250"/>
                  </a:lnTo>
                  <a:lnTo>
                    <a:pt x="5606466" y="219710"/>
                  </a:lnTo>
                  <a:lnTo>
                    <a:pt x="5606897" y="215900"/>
                  </a:lnTo>
                  <a:lnTo>
                    <a:pt x="5607037" y="214630"/>
                  </a:lnTo>
                  <a:lnTo>
                    <a:pt x="5608510" y="215900"/>
                  </a:lnTo>
                  <a:lnTo>
                    <a:pt x="5612612" y="215900"/>
                  </a:lnTo>
                  <a:lnTo>
                    <a:pt x="5612955" y="214630"/>
                  </a:lnTo>
                  <a:lnTo>
                    <a:pt x="5614327" y="209550"/>
                  </a:lnTo>
                  <a:lnTo>
                    <a:pt x="5614886" y="207010"/>
                  </a:lnTo>
                  <a:lnTo>
                    <a:pt x="5615444" y="204470"/>
                  </a:lnTo>
                  <a:lnTo>
                    <a:pt x="5616575" y="204470"/>
                  </a:lnTo>
                  <a:lnTo>
                    <a:pt x="5616651" y="209550"/>
                  </a:lnTo>
                  <a:lnTo>
                    <a:pt x="5618772" y="208280"/>
                  </a:lnTo>
                  <a:lnTo>
                    <a:pt x="5618772" y="170065"/>
                  </a:lnTo>
                  <a:lnTo>
                    <a:pt x="5609514" y="173990"/>
                  </a:lnTo>
                  <a:lnTo>
                    <a:pt x="5613743" y="176530"/>
                  </a:lnTo>
                  <a:lnTo>
                    <a:pt x="5603799" y="182880"/>
                  </a:lnTo>
                  <a:lnTo>
                    <a:pt x="5596458" y="185051"/>
                  </a:lnTo>
                  <a:lnTo>
                    <a:pt x="5596458" y="217170"/>
                  </a:lnTo>
                  <a:lnTo>
                    <a:pt x="5596204" y="218440"/>
                  </a:lnTo>
                  <a:lnTo>
                    <a:pt x="5595150" y="224790"/>
                  </a:lnTo>
                  <a:lnTo>
                    <a:pt x="5589168" y="220980"/>
                  </a:lnTo>
                  <a:lnTo>
                    <a:pt x="5590210" y="219710"/>
                  </a:lnTo>
                  <a:lnTo>
                    <a:pt x="5592292" y="217170"/>
                  </a:lnTo>
                  <a:lnTo>
                    <a:pt x="5593321" y="215900"/>
                  </a:lnTo>
                  <a:lnTo>
                    <a:pt x="5596458" y="217170"/>
                  </a:lnTo>
                  <a:lnTo>
                    <a:pt x="5596458" y="185051"/>
                  </a:lnTo>
                  <a:lnTo>
                    <a:pt x="5590870" y="186690"/>
                  </a:lnTo>
                  <a:lnTo>
                    <a:pt x="5584126" y="182880"/>
                  </a:lnTo>
                  <a:lnTo>
                    <a:pt x="5579580" y="179997"/>
                  </a:lnTo>
                  <a:lnTo>
                    <a:pt x="5579580" y="205740"/>
                  </a:lnTo>
                  <a:lnTo>
                    <a:pt x="5577332" y="207010"/>
                  </a:lnTo>
                  <a:lnTo>
                    <a:pt x="5576570" y="203200"/>
                  </a:lnTo>
                  <a:lnTo>
                    <a:pt x="5578043" y="200660"/>
                  </a:lnTo>
                  <a:lnTo>
                    <a:pt x="5579580" y="205740"/>
                  </a:lnTo>
                  <a:lnTo>
                    <a:pt x="5579580" y="179997"/>
                  </a:lnTo>
                  <a:lnTo>
                    <a:pt x="5576125" y="177800"/>
                  </a:lnTo>
                  <a:lnTo>
                    <a:pt x="5575300" y="176530"/>
                  </a:lnTo>
                  <a:lnTo>
                    <a:pt x="5570321" y="168910"/>
                  </a:lnTo>
                  <a:lnTo>
                    <a:pt x="5568708" y="165100"/>
                  </a:lnTo>
                  <a:lnTo>
                    <a:pt x="5575300" y="172720"/>
                  </a:lnTo>
                  <a:lnTo>
                    <a:pt x="5578322" y="175260"/>
                  </a:lnTo>
                  <a:lnTo>
                    <a:pt x="5579288" y="172720"/>
                  </a:lnTo>
                  <a:lnTo>
                    <a:pt x="5585879" y="179070"/>
                  </a:lnTo>
                  <a:lnTo>
                    <a:pt x="5584939" y="175260"/>
                  </a:lnTo>
                  <a:lnTo>
                    <a:pt x="5584507" y="172720"/>
                  </a:lnTo>
                  <a:lnTo>
                    <a:pt x="5584291" y="171450"/>
                  </a:lnTo>
                  <a:lnTo>
                    <a:pt x="5581066" y="168910"/>
                  </a:lnTo>
                  <a:lnTo>
                    <a:pt x="5581967" y="165100"/>
                  </a:lnTo>
                  <a:lnTo>
                    <a:pt x="5588063" y="168910"/>
                  </a:lnTo>
                  <a:lnTo>
                    <a:pt x="5590883" y="176530"/>
                  </a:lnTo>
                  <a:lnTo>
                    <a:pt x="5593473" y="172720"/>
                  </a:lnTo>
                  <a:lnTo>
                    <a:pt x="5597741" y="180340"/>
                  </a:lnTo>
                  <a:lnTo>
                    <a:pt x="5600573" y="175260"/>
                  </a:lnTo>
                  <a:lnTo>
                    <a:pt x="5604726" y="177800"/>
                  </a:lnTo>
                  <a:lnTo>
                    <a:pt x="5604129" y="175260"/>
                  </a:lnTo>
                  <a:lnTo>
                    <a:pt x="5603532" y="172720"/>
                  </a:lnTo>
                  <a:lnTo>
                    <a:pt x="5603227" y="171450"/>
                  </a:lnTo>
                  <a:lnTo>
                    <a:pt x="5595048" y="165100"/>
                  </a:lnTo>
                  <a:lnTo>
                    <a:pt x="5594286" y="161290"/>
                  </a:lnTo>
                  <a:lnTo>
                    <a:pt x="5596572" y="162560"/>
                  </a:lnTo>
                  <a:lnTo>
                    <a:pt x="5596814" y="162560"/>
                  </a:lnTo>
                  <a:lnTo>
                    <a:pt x="5602135" y="166370"/>
                  </a:lnTo>
                  <a:lnTo>
                    <a:pt x="5608193" y="166370"/>
                  </a:lnTo>
                  <a:lnTo>
                    <a:pt x="5607329" y="163830"/>
                  </a:lnTo>
                  <a:lnTo>
                    <a:pt x="5611787" y="160020"/>
                  </a:lnTo>
                  <a:lnTo>
                    <a:pt x="5610212" y="168910"/>
                  </a:lnTo>
                  <a:lnTo>
                    <a:pt x="5616549" y="165100"/>
                  </a:lnTo>
                  <a:lnTo>
                    <a:pt x="5619724" y="167640"/>
                  </a:lnTo>
                  <a:lnTo>
                    <a:pt x="5620067" y="165100"/>
                  </a:lnTo>
                  <a:lnTo>
                    <a:pt x="5620740" y="160020"/>
                  </a:lnTo>
                  <a:lnTo>
                    <a:pt x="5621071" y="157480"/>
                  </a:lnTo>
                  <a:lnTo>
                    <a:pt x="5624588" y="161290"/>
                  </a:lnTo>
                  <a:lnTo>
                    <a:pt x="5631713" y="160020"/>
                  </a:lnTo>
                  <a:lnTo>
                    <a:pt x="5631713" y="142303"/>
                  </a:lnTo>
                  <a:lnTo>
                    <a:pt x="5592991" y="153670"/>
                  </a:lnTo>
                  <a:lnTo>
                    <a:pt x="5589295" y="152400"/>
                  </a:lnTo>
                  <a:lnTo>
                    <a:pt x="5578475" y="147320"/>
                  </a:lnTo>
                  <a:lnTo>
                    <a:pt x="5570626" y="139700"/>
                  </a:lnTo>
                  <a:lnTo>
                    <a:pt x="5569242" y="135890"/>
                  </a:lnTo>
                  <a:lnTo>
                    <a:pt x="5568302" y="133350"/>
                  </a:lnTo>
                  <a:lnTo>
                    <a:pt x="5568848" y="129540"/>
                  </a:lnTo>
                  <a:lnTo>
                    <a:pt x="5577344" y="140970"/>
                  </a:lnTo>
                  <a:lnTo>
                    <a:pt x="5576621" y="134620"/>
                  </a:lnTo>
                  <a:lnTo>
                    <a:pt x="5575300" y="129540"/>
                  </a:lnTo>
                  <a:lnTo>
                    <a:pt x="5574627" y="127000"/>
                  </a:lnTo>
                  <a:lnTo>
                    <a:pt x="5584393" y="143510"/>
                  </a:lnTo>
                  <a:lnTo>
                    <a:pt x="5586234" y="137160"/>
                  </a:lnTo>
                  <a:lnTo>
                    <a:pt x="5592953" y="147320"/>
                  </a:lnTo>
                  <a:lnTo>
                    <a:pt x="5592381" y="142240"/>
                  </a:lnTo>
                  <a:lnTo>
                    <a:pt x="5593753" y="140970"/>
                  </a:lnTo>
                  <a:lnTo>
                    <a:pt x="5598553" y="143510"/>
                  </a:lnTo>
                  <a:lnTo>
                    <a:pt x="5601297" y="140970"/>
                  </a:lnTo>
                  <a:lnTo>
                    <a:pt x="5602668" y="139700"/>
                  </a:lnTo>
                  <a:lnTo>
                    <a:pt x="5596801" y="137160"/>
                  </a:lnTo>
                  <a:lnTo>
                    <a:pt x="5593854" y="135890"/>
                  </a:lnTo>
                  <a:lnTo>
                    <a:pt x="5586666" y="129540"/>
                  </a:lnTo>
                  <a:lnTo>
                    <a:pt x="5585523" y="127000"/>
                  </a:lnTo>
                  <a:lnTo>
                    <a:pt x="5584939" y="125730"/>
                  </a:lnTo>
                  <a:lnTo>
                    <a:pt x="5587568" y="120650"/>
                  </a:lnTo>
                  <a:lnTo>
                    <a:pt x="5589765" y="124460"/>
                  </a:lnTo>
                  <a:lnTo>
                    <a:pt x="5595810" y="130810"/>
                  </a:lnTo>
                  <a:lnTo>
                    <a:pt x="5594502" y="120650"/>
                  </a:lnTo>
                  <a:lnTo>
                    <a:pt x="5601919" y="127000"/>
                  </a:lnTo>
                  <a:lnTo>
                    <a:pt x="5600611" y="120650"/>
                  </a:lnTo>
                  <a:lnTo>
                    <a:pt x="5600077" y="118110"/>
                  </a:lnTo>
                  <a:lnTo>
                    <a:pt x="5610961" y="116840"/>
                  </a:lnTo>
                  <a:lnTo>
                    <a:pt x="5595086" y="111760"/>
                  </a:lnTo>
                  <a:lnTo>
                    <a:pt x="5594401" y="110490"/>
                  </a:lnTo>
                  <a:lnTo>
                    <a:pt x="5597525" y="109220"/>
                  </a:lnTo>
                  <a:lnTo>
                    <a:pt x="5589625" y="106680"/>
                  </a:lnTo>
                  <a:lnTo>
                    <a:pt x="5585663" y="105410"/>
                  </a:lnTo>
                  <a:lnTo>
                    <a:pt x="5577751" y="102870"/>
                  </a:lnTo>
                  <a:lnTo>
                    <a:pt x="5574792" y="99060"/>
                  </a:lnTo>
                  <a:lnTo>
                    <a:pt x="5569839" y="92710"/>
                  </a:lnTo>
                  <a:lnTo>
                    <a:pt x="5568747" y="87630"/>
                  </a:lnTo>
                  <a:lnTo>
                    <a:pt x="5571401" y="88900"/>
                  </a:lnTo>
                  <a:lnTo>
                    <a:pt x="5579923" y="99060"/>
                  </a:lnTo>
                  <a:lnTo>
                    <a:pt x="5580265" y="96520"/>
                  </a:lnTo>
                  <a:lnTo>
                    <a:pt x="5579707" y="92710"/>
                  </a:lnTo>
                  <a:lnTo>
                    <a:pt x="5580964" y="92710"/>
                  </a:lnTo>
                  <a:lnTo>
                    <a:pt x="5583072" y="95250"/>
                  </a:lnTo>
                  <a:lnTo>
                    <a:pt x="5587835" y="100330"/>
                  </a:lnTo>
                  <a:lnTo>
                    <a:pt x="5587454" y="93980"/>
                  </a:lnTo>
                  <a:lnTo>
                    <a:pt x="5589841" y="93980"/>
                  </a:lnTo>
                  <a:lnTo>
                    <a:pt x="5596712" y="97790"/>
                  </a:lnTo>
                  <a:lnTo>
                    <a:pt x="5594972" y="93980"/>
                  </a:lnTo>
                  <a:lnTo>
                    <a:pt x="5594388" y="92710"/>
                  </a:lnTo>
                  <a:lnTo>
                    <a:pt x="5603278" y="88900"/>
                  </a:lnTo>
                  <a:lnTo>
                    <a:pt x="5591581" y="87630"/>
                  </a:lnTo>
                  <a:lnTo>
                    <a:pt x="5585320" y="86360"/>
                  </a:lnTo>
                  <a:lnTo>
                    <a:pt x="5589346" y="83820"/>
                  </a:lnTo>
                  <a:lnTo>
                    <a:pt x="5575287" y="80010"/>
                  </a:lnTo>
                  <a:lnTo>
                    <a:pt x="5569356" y="74930"/>
                  </a:lnTo>
                  <a:lnTo>
                    <a:pt x="5569636" y="72390"/>
                  </a:lnTo>
                  <a:lnTo>
                    <a:pt x="5576938" y="73660"/>
                  </a:lnTo>
                  <a:lnTo>
                    <a:pt x="5575643" y="72390"/>
                  </a:lnTo>
                  <a:lnTo>
                    <a:pt x="5570448" y="67310"/>
                  </a:lnTo>
                  <a:lnTo>
                    <a:pt x="5566549" y="63500"/>
                  </a:lnTo>
                  <a:lnTo>
                    <a:pt x="5572480" y="63500"/>
                  </a:lnTo>
                  <a:lnTo>
                    <a:pt x="5580367" y="67310"/>
                  </a:lnTo>
                  <a:lnTo>
                    <a:pt x="5580405" y="63500"/>
                  </a:lnTo>
                  <a:lnTo>
                    <a:pt x="5580431" y="59690"/>
                  </a:lnTo>
                  <a:lnTo>
                    <a:pt x="5586590" y="55880"/>
                  </a:lnTo>
                  <a:lnTo>
                    <a:pt x="5570613" y="55880"/>
                  </a:lnTo>
                  <a:lnTo>
                    <a:pt x="5565889" y="53340"/>
                  </a:lnTo>
                  <a:lnTo>
                    <a:pt x="5563527" y="52070"/>
                  </a:lnTo>
                  <a:lnTo>
                    <a:pt x="5563806" y="52070"/>
                  </a:lnTo>
                  <a:lnTo>
                    <a:pt x="5563921" y="50800"/>
                  </a:lnTo>
                  <a:lnTo>
                    <a:pt x="5564200" y="49530"/>
                  </a:lnTo>
                  <a:lnTo>
                    <a:pt x="5574081" y="53340"/>
                  </a:lnTo>
                  <a:lnTo>
                    <a:pt x="5573192" y="48260"/>
                  </a:lnTo>
                  <a:lnTo>
                    <a:pt x="5580888" y="50800"/>
                  </a:lnTo>
                  <a:lnTo>
                    <a:pt x="5580037" y="48260"/>
                  </a:lnTo>
                  <a:lnTo>
                    <a:pt x="5579186" y="45720"/>
                  </a:lnTo>
                  <a:lnTo>
                    <a:pt x="5580659" y="43180"/>
                  </a:lnTo>
                  <a:lnTo>
                    <a:pt x="5584329" y="36830"/>
                  </a:lnTo>
                  <a:lnTo>
                    <a:pt x="5568975" y="43180"/>
                  </a:lnTo>
                  <a:lnTo>
                    <a:pt x="5562663" y="40640"/>
                  </a:lnTo>
                  <a:lnTo>
                    <a:pt x="5565000" y="35560"/>
                  </a:lnTo>
                  <a:lnTo>
                    <a:pt x="5571401" y="35560"/>
                  </a:lnTo>
                  <a:lnTo>
                    <a:pt x="5569864" y="33020"/>
                  </a:lnTo>
                  <a:lnTo>
                    <a:pt x="5572531" y="29210"/>
                  </a:lnTo>
                  <a:lnTo>
                    <a:pt x="5574322" y="26670"/>
                  </a:lnTo>
                  <a:lnTo>
                    <a:pt x="5564568" y="29210"/>
                  </a:lnTo>
                  <a:lnTo>
                    <a:pt x="5562765" y="26670"/>
                  </a:lnTo>
                  <a:lnTo>
                    <a:pt x="5564695" y="22860"/>
                  </a:lnTo>
                  <a:lnTo>
                    <a:pt x="5565978" y="20320"/>
                  </a:lnTo>
                  <a:lnTo>
                    <a:pt x="5563692" y="22860"/>
                  </a:lnTo>
                  <a:lnTo>
                    <a:pt x="5560365" y="19050"/>
                  </a:lnTo>
                  <a:lnTo>
                    <a:pt x="5560606" y="2540"/>
                  </a:lnTo>
                  <a:lnTo>
                    <a:pt x="5558663" y="1270"/>
                  </a:lnTo>
                  <a:lnTo>
                    <a:pt x="5557494" y="5080"/>
                  </a:lnTo>
                  <a:lnTo>
                    <a:pt x="5557317" y="15240"/>
                  </a:lnTo>
                  <a:lnTo>
                    <a:pt x="5554142" y="20320"/>
                  </a:lnTo>
                  <a:lnTo>
                    <a:pt x="5549062" y="20320"/>
                  </a:lnTo>
                  <a:lnTo>
                    <a:pt x="5554027" y="24130"/>
                  </a:lnTo>
                  <a:lnTo>
                    <a:pt x="5555056" y="29210"/>
                  </a:lnTo>
                  <a:lnTo>
                    <a:pt x="5540934" y="25400"/>
                  </a:lnTo>
                  <a:lnTo>
                    <a:pt x="5546585" y="31750"/>
                  </a:lnTo>
                  <a:lnTo>
                    <a:pt x="5545010" y="36830"/>
                  </a:lnTo>
                  <a:lnTo>
                    <a:pt x="5550281" y="35560"/>
                  </a:lnTo>
                  <a:lnTo>
                    <a:pt x="5554015" y="35560"/>
                  </a:lnTo>
                  <a:lnTo>
                    <a:pt x="5553418" y="39370"/>
                  </a:lnTo>
                  <a:lnTo>
                    <a:pt x="5549506" y="40640"/>
                  </a:lnTo>
                  <a:lnTo>
                    <a:pt x="5546941" y="39370"/>
                  </a:lnTo>
                  <a:lnTo>
                    <a:pt x="5548490" y="43180"/>
                  </a:lnTo>
                  <a:lnTo>
                    <a:pt x="5551665" y="44450"/>
                  </a:lnTo>
                  <a:lnTo>
                    <a:pt x="5547969" y="45720"/>
                  </a:lnTo>
                  <a:lnTo>
                    <a:pt x="5538825" y="41910"/>
                  </a:lnTo>
                  <a:lnTo>
                    <a:pt x="5530596" y="38100"/>
                  </a:lnTo>
                  <a:lnTo>
                    <a:pt x="5533822" y="46990"/>
                  </a:lnTo>
                  <a:lnTo>
                    <a:pt x="5530266" y="49530"/>
                  </a:lnTo>
                  <a:lnTo>
                    <a:pt x="5533809" y="49530"/>
                  </a:lnTo>
                  <a:lnTo>
                    <a:pt x="5531040" y="55880"/>
                  </a:lnTo>
                  <a:lnTo>
                    <a:pt x="5540921" y="50800"/>
                  </a:lnTo>
                  <a:lnTo>
                    <a:pt x="5540895" y="55880"/>
                  </a:lnTo>
                  <a:lnTo>
                    <a:pt x="5548261" y="53340"/>
                  </a:lnTo>
                  <a:lnTo>
                    <a:pt x="5548884" y="55880"/>
                  </a:lnTo>
                  <a:lnTo>
                    <a:pt x="5549849" y="58420"/>
                  </a:lnTo>
                  <a:lnTo>
                    <a:pt x="5543715" y="60960"/>
                  </a:lnTo>
                  <a:lnTo>
                    <a:pt x="5530342" y="60960"/>
                  </a:lnTo>
                  <a:lnTo>
                    <a:pt x="5534685" y="64770"/>
                  </a:lnTo>
                  <a:lnTo>
                    <a:pt x="5531751" y="71120"/>
                  </a:lnTo>
                  <a:lnTo>
                    <a:pt x="5541099" y="67310"/>
                  </a:lnTo>
                  <a:lnTo>
                    <a:pt x="5541175" y="72390"/>
                  </a:lnTo>
                  <a:lnTo>
                    <a:pt x="5535485" y="76200"/>
                  </a:lnTo>
                  <a:lnTo>
                    <a:pt x="5545798" y="74930"/>
                  </a:lnTo>
                  <a:lnTo>
                    <a:pt x="5548630" y="76200"/>
                  </a:lnTo>
                  <a:lnTo>
                    <a:pt x="5543524" y="82550"/>
                  </a:lnTo>
                  <a:lnTo>
                    <a:pt x="5526900" y="90170"/>
                  </a:lnTo>
                  <a:lnTo>
                    <a:pt x="5511393" y="90170"/>
                  </a:lnTo>
                  <a:lnTo>
                    <a:pt x="5516143" y="96520"/>
                  </a:lnTo>
                  <a:lnTo>
                    <a:pt x="5510136" y="104140"/>
                  </a:lnTo>
                  <a:lnTo>
                    <a:pt x="5522226" y="99060"/>
                  </a:lnTo>
                  <a:lnTo>
                    <a:pt x="5521807" y="102870"/>
                  </a:lnTo>
                  <a:lnTo>
                    <a:pt x="5515089" y="113030"/>
                  </a:lnTo>
                  <a:lnTo>
                    <a:pt x="5521172" y="107950"/>
                  </a:lnTo>
                  <a:lnTo>
                    <a:pt x="5531586" y="99060"/>
                  </a:lnTo>
                  <a:lnTo>
                    <a:pt x="5532196" y="106680"/>
                  </a:lnTo>
                  <a:lnTo>
                    <a:pt x="5532615" y="110490"/>
                  </a:lnTo>
                  <a:lnTo>
                    <a:pt x="5537632" y="105410"/>
                  </a:lnTo>
                  <a:lnTo>
                    <a:pt x="5538432" y="114300"/>
                  </a:lnTo>
                  <a:lnTo>
                    <a:pt x="5545760" y="106680"/>
                  </a:lnTo>
                  <a:lnTo>
                    <a:pt x="5544934" y="110490"/>
                  </a:lnTo>
                  <a:lnTo>
                    <a:pt x="5543232" y="114300"/>
                  </a:lnTo>
                  <a:lnTo>
                    <a:pt x="5536806" y="119380"/>
                  </a:lnTo>
                  <a:lnTo>
                    <a:pt x="5527992" y="123190"/>
                  </a:lnTo>
                  <a:lnTo>
                    <a:pt x="5522455" y="124460"/>
                  </a:lnTo>
                  <a:lnTo>
                    <a:pt x="5518772" y="125730"/>
                  </a:lnTo>
                  <a:lnTo>
                    <a:pt x="5502694" y="130810"/>
                  </a:lnTo>
                  <a:lnTo>
                    <a:pt x="5507812" y="133350"/>
                  </a:lnTo>
                  <a:lnTo>
                    <a:pt x="5507266" y="139700"/>
                  </a:lnTo>
                  <a:lnTo>
                    <a:pt x="5515965" y="135890"/>
                  </a:lnTo>
                  <a:lnTo>
                    <a:pt x="5505894" y="146050"/>
                  </a:lnTo>
                  <a:lnTo>
                    <a:pt x="5512232" y="143510"/>
                  </a:lnTo>
                  <a:lnTo>
                    <a:pt x="5515394" y="140970"/>
                  </a:lnTo>
                  <a:lnTo>
                    <a:pt x="5521731" y="138430"/>
                  </a:lnTo>
                  <a:lnTo>
                    <a:pt x="5522798" y="144780"/>
                  </a:lnTo>
                  <a:lnTo>
                    <a:pt x="5524805" y="138430"/>
                  </a:lnTo>
                  <a:lnTo>
                    <a:pt x="5525605" y="135890"/>
                  </a:lnTo>
                  <a:lnTo>
                    <a:pt x="5526798" y="132080"/>
                  </a:lnTo>
                  <a:lnTo>
                    <a:pt x="5529643" y="135890"/>
                  </a:lnTo>
                  <a:lnTo>
                    <a:pt x="5530037" y="139700"/>
                  </a:lnTo>
                  <a:lnTo>
                    <a:pt x="5532856" y="139700"/>
                  </a:lnTo>
                  <a:lnTo>
                    <a:pt x="5537847" y="132080"/>
                  </a:lnTo>
                  <a:lnTo>
                    <a:pt x="5539575" y="130810"/>
                  </a:lnTo>
                  <a:lnTo>
                    <a:pt x="5542204" y="129540"/>
                  </a:lnTo>
                  <a:lnTo>
                    <a:pt x="5536984" y="134620"/>
                  </a:lnTo>
                  <a:lnTo>
                    <a:pt x="5537682" y="137160"/>
                  </a:lnTo>
                  <a:lnTo>
                    <a:pt x="5539041" y="135890"/>
                  </a:lnTo>
                  <a:lnTo>
                    <a:pt x="5539930" y="135890"/>
                  </a:lnTo>
                  <a:lnTo>
                    <a:pt x="5539422" y="136652"/>
                  </a:lnTo>
                  <a:lnTo>
                    <a:pt x="5539422" y="176530"/>
                  </a:lnTo>
                  <a:lnTo>
                    <a:pt x="5538749" y="179070"/>
                  </a:lnTo>
                  <a:lnTo>
                    <a:pt x="5534190" y="186690"/>
                  </a:lnTo>
                  <a:lnTo>
                    <a:pt x="5528246" y="193040"/>
                  </a:lnTo>
                  <a:lnTo>
                    <a:pt x="5525998" y="198120"/>
                  </a:lnTo>
                  <a:lnTo>
                    <a:pt x="5529554" y="198120"/>
                  </a:lnTo>
                  <a:lnTo>
                    <a:pt x="5528869" y="201587"/>
                  </a:lnTo>
                  <a:lnTo>
                    <a:pt x="5528869" y="219710"/>
                  </a:lnTo>
                  <a:lnTo>
                    <a:pt x="5524589" y="226060"/>
                  </a:lnTo>
                  <a:lnTo>
                    <a:pt x="5522887" y="227685"/>
                  </a:lnTo>
                  <a:lnTo>
                    <a:pt x="5522887" y="289560"/>
                  </a:lnTo>
                  <a:lnTo>
                    <a:pt x="5520791" y="293370"/>
                  </a:lnTo>
                  <a:lnTo>
                    <a:pt x="5515711" y="292100"/>
                  </a:lnTo>
                  <a:lnTo>
                    <a:pt x="5522887" y="289560"/>
                  </a:lnTo>
                  <a:lnTo>
                    <a:pt x="5522887" y="227685"/>
                  </a:lnTo>
                  <a:lnTo>
                    <a:pt x="5517921" y="232410"/>
                  </a:lnTo>
                  <a:lnTo>
                    <a:pt x="5515432" y="233654"/>
                  </a:lnTo>
                  <a:lnTo>
                    <a:pt x="5515432" y="284480"/>
                  </a:lnTo>
                  <a:lnTo>
                    <a:pt x="5514645" y="292100"/>
                  </a:lnTo>
                  <a:lnTo>
                    <a:pt x="5512955" y="290830"/>
                  </a:lnTo>
                  <a:lnTo>
                    <a:pt x="5515432" y="284480"/>
                  </a:lnTo>
                  <a:lnTo>
                    <a:pt x="5515432" y="233654"/>
                  </a:lnTo>
                  <a:lnTo>
                    <a:pt x="5512803" y="234950"/>
                  </a:lnTo>
                  <a:lnTo>
                    <a:pt x="5511203" y="234264"/>
                  </a:lnTo>
                  <a:lnTo>
                    <a:pt x="5511203" y="266700"/>
                  </a:lnTo>
                  <a:lnTo>
                    <a:pt x="5504192" y="273050"/>
                  </a:lnTo>
                  <a:lnTo>
                    <a:pt x="5500205" y="274320"/>
                  </a:lnTo>
                  <a:lnTo>
                    <a:pt x="5495950" y="270510"/>
                  </a:lnTo>
                  <a:lnTo>
                    <a:pt x="5495595" y="269240"/>
                  </a:lnTo>
                  <a:lnTo>
                    <a:pt x="5494858" y="266700"/>
                  </a:lnTo>
                  <a:lnTo>
                    <a:pt x="5494134" y="264160"/>
                  </a:lnTo>
                  <a:lnTo>
                    <a:pt x="5493029" y="260350"/>
                  </a:lnTo>
                  <a:lnTo>
                    <a:pt x="5492661" y="259080"/>
                  </a:lnTo>
                  <a:lnTo>
                    <a:pt x="5495849" y="257810"/>
                  </a:lnTo>
                  <a:lnTo>
                    <a:pt x="5495874" y="259080"/>
                  </a:lnTo>
                  <a:lnTo>
                    <a:pt x="5496433" y="257810"/>
                  </a:lnTo>
                  <a:lnTo>
                    <a:pt x="5499976" y="264160"/>
                  </a:lnTo>
                  <a:lnTo>
                    <a:pt x="5497919" y="265430"/>
                  </a:lnTo>
                  <a:lnTo>
                    <a:pt x="5500395" y="264160"/>
                  </a:lnTo>
                  <a:lnTo>
                    <a:pt x="5504612" y="270510"/>
                  </a:lnTo>
                  <a:lnTo>
                    <a:pt x="5505234" y="264160"/>
                  </a:lnTo>
                  <a:lnTo>
                    <a:pt x="5505475" y="261620"/>
                  </a:lnTo>
                  <a:lnTo>
                    <a:pt x="5505920" y="261620"/>
                  </a:lnTo>
                  <a:lnTo>
                    <a:pt x="5508218" y="267970"/>
                  </a:lnTo>
                  <a:lnTo>
                    <a:pt x="5510314" y="264160"/>
                  </a:lnTo>
                  <a:lnTo>
                    <a:pt x="5511203" y="266700"/>
                  </a:lnTo>
                  <a:lnTo>
                    <a:pt x="5511203" y="234264"/>
                  </a:lnTo>
                  <a:lnTo>
                    <a:pt x="5509857" y="233680"/>
                  </a:lnTo>
                  <a:lnTo>
                    <a:pt x="5498046" y="228600"/>
                  </a:lnTo>
                  <a:lnTo>
                    <a:pt x="5483974" y="213360"/>
                  </a:lnTo>
                  <a:lnTo>
                    <a:pt x="5487848" y="210820"/>
                  </a:lnTo>
                  <a:lnTo>
                    <a:pt x="5492953" y="217170"/>
                  </a:lnTo>
                  <a:lnTo>
                    <a:pt x="5492229" y="210820"/>
                  </a:lnTo>
                  <a:lnTo>
                    <a:pt x="5491924" y="208280"/>
                  </a:lnTo>
                  <a:lnTo>
                    <a:pt x="5492877" y="203200"/>
                  </a:lnTo>
                  <a:lnTo>
                    <a:pt x="5495455" y="205740"/>
                  </a:lnTo>
                  <a:lnTo>
                    <a:pt x="5499278" y="213360"/>
                  </a:lnTo>
                  <a:lnTo>
                    <a:pt x="5501856" y="218440"/>
                  </a:lnTo>
                  <a:lnTo>
                    <a:pt x="5505043" y="209550"/>
                  </a:lnTo>
                  <a:lnTo>
                    <a:pt x="5505564" y="207010"/>
                  </a:lnTo>
                  <a:lnTo>
                    <a:pt x="5506085" y="208280"/>
                  </a:lnTo>
                  <a:lnTo>
                    <a:pt x="5506885" y="208280"/>
                  </a:lnTo>
                  <a:lnTo>
                    <a:pt x="5510276" y="212090"/>
                  </a:lnTo>
                  <a:lnTo>
                    <a:pt x="5509806" y="213360"/>
                  </a:lnTo>
                  <a:lnTo>
                    <a:pt x="5511724" y="213360"/>
                  </a:lnTo>
                  <a:lnTo>
                    <a:pt x="5516486" y="217170"/>
                  </a:lnTo>
                  <a:lnTo>
                    <a:pt x="5499570" y="224790"/>
                  </a:lnTo>
                  <a:lnTo>
                    <a:pt x="5506542" y="224790"/>
                  </a:lnTo>
                  <a:lnTo>
                    <a:pt x="5506174" y="231140"/>
                  </a:lnTo>
                  <a:lnTo>
                    <a:pt x="5510530" y="226060"/>
                  </a:lnTo>
                  <a:lnTo>
                    <a:pt x="5514530" y="223520"/>
                  </a:lnTo>
                  <a:lnTo>
                    <a:pt x="5514022" y="229870"/>
                  </a:lnTo>
                  <a:lnTo>
                    <a:pt x="5517591" y="228600"/>
                  </a:lnTo>
                  <a:lnTo>
                    <a:pt x="5524043" y="223520"/>
                  </a:lnTo>
                  <a:lnTo>
                    <a:pt x="5528869" y="219710"/>
                  </a:lnTo>
                  <a:lnTo>
                    <a:pt x="5528869" y="201587"/>
                  </a:lnTo>
                  <a:lnTo>
                    <a:pt x="5528297" y="204470"/>
                  </a:lnTo>
                  <a:lnTo>
                    <a:pt x="5519534" y="215900"/>
                  </a:lnTo>
                  <a:lnTo>
                    <a:pt x="5517337" y="217170"/>
                  </a:lnTo>
                  <a:lnTo>
                    <a:pt x="5514492" y="209550"/>
                  </a:lnTo>
                  <a:lnTo>
                    <a:pt x="5515889" y="207010"/>
                  </a:lnTo>
                  <a:lnTo>
                    <a:pt x="5517286" y="204470"/>
                  </a:lnTo>
                  <a:lnTo>
                    <a:pt x="5521909" y="207010"/>
                  </a:lnTo>
                  <a:lnTo>
                    <a:pt x="5521795" y="204470"/>
                  </a:lnTo>
                  <a:lnTo>
                    <a:pt x="5525401" y="207010"/>
                  </a:lnTo>
                  <a:lnTo>
                    <a:pt x="5524932" y="204470"/>
                  </a:lnTo>
                  <a:lnTo>
                    <a:pt x="5524690" y="203200"/>
                  </a:lnTo>
                  <a:lnTo>
                    <a:pt x="5523484" y="196850"/>
                  </a:lnTo>
                  <a:lnTo>
                    <a:pt x="5526316" y="194310"/>
                  </a:lnTo>
                  <a:lnTo>
                    <a:pt x="5529148" y="191770"/>
                  </a:lnTo>
                  <a:lnTo>
                    <a:pt x="5524576" y="190500"/>
                  </a:lnTo>
                  <a:lnTo>
                    <a:pt x="5526329" y="187960"/>
                  </a:lnTo>
                  <a:lnTo>
                    <a:pt x="5527205" y="186690"/>
                  </a:lnTo>
                  <a:lnTo>
                    <a:pt x="5529275" y="189230"/>
                  </a:lnTo>
                  <a:lnTo>
                    <a:pt x="5531129" y="186690"/>
                  </a:lnTo>
                  <a:lnTo>
                    <a:pt x="5532044" y="185420"/>
                  </a:lnTo>
                  <a:lnTo>
                    <a:pt x="5537581" y="177800"/>
                  </a:lnTo>
                  <a:lnTo>
                    <a:pt x="5539422" y="176530"/>
                  </a:lnTo>
                  <a:lnTo>
                    <a:pt x="5539422" y="136652"/>
                  </a:lnTo>
                  <a:lnTo>
                    <a:pt x="5536489" y="140970"/>
                  </a:lnTo>
                  <a:lnTo>
                    <a:pt x="5530202" y="145021"/>
                  </a:lnTo>
                  <a:lnTo>
                    <a:pt x="5530202" y="165100"/>
                  </a:lnTo>
                  <a:lnTo>
                    <a:pt x="5525643" y="172720"/>
                  </a:lnTo>
                  <a:lnTo>
                    <a:pt x="5519331" y="177800"/>
                  </a:lnTo>
                  <a:lnTo>
                    <a:pt x="5511558" y="182880"/>
                  </a:lnTo>
                  <a:lnTo>
                    <a:pt x="5505564" y="185420"/>
                  </a:lnTo>
                  <a:lnTo>
                    <a:pt x="5491569" y="184150"/>
                  </a:lnTo>
                  <a:lnTo>
                    <a:pt x="5483796" y="180340"/>
                  </a:lnTo>
                  <a:lnTo>
                    <a:pt x="5483250" y="177800"/>
                  </a:lnTo>
                  <a:lnTo>
                    <a:pt x="5484025" y="176530"/>
                  </a:lnTo>
                  <a:lnTo>
                    <a:pt x="5491175" y="176530"/>
                  </a:lnTo>
                  <a:lnTo>
                    <a:pt x="5488800" y="173990"/>
                  </a:lnTo>
                  <a:lnTo>
                    <a:pt x="5486412" y="171450"/>
                  </a:lnTo>
                  <a:lnTo>
                    <a:pt x="5485117" y="170180"/>
                  </a:lnTo>
                  <a:lnTo>
                    <a:pt x="5486133" y="167640"/>
                  </a:lnTo>
                  <a:lnTo>
                    <a:pt x="5497919" y="168910"/>
                  </a:lnTo>
                  <a:lnTo>
                    <a:pt x="5496687" y="167640"/>
                  </a:lnTo>
                  <a:lnTo>
                    <a:pt x="5492978" y="163830"/>
                  </a:lnTo>
                  <a:lnTo>
                    <a:pt x="5491962" y="161290"/>
                  </a:lnTo>
                  <a:lnTo>
                    <a:pt x="5494426" y="160020"/>
                  </a:lnTo>
                  <a:lnTo>
                    <a:pt x="5501144" y="162560"/>
                  </a:lnTo>
                  <a:lnTo>
                    <a:pt x="5505907" y="165100"/>
                  </a:lnTo>
                  <a:lnTo>
                    <a:pt x="5504573" y="162560"/>
                  </a:lnTo>
                  <a:lnTo>
                    <a:pt x="5506732" y="162560"/>
                  </a:lnTo>
                  <a:lnTo>
                    <a:pt x="5505107" y="170180"/>
                  </a:lnTo>
                  <a:lnTo>
                    <a:pt x="5510200" y="165100"/>
                  </a:lnTo>
                  <a:lnTo>
                    <a:pt x="5513184" y="163830"/>
                  </a:lnTo>
                  <a:lnTo>
                    <a:pt x="5511457" y="171450"/>
                  </a:lnTo>
                  <a:lnTo>
                    <a:pt x="5515140" y="168910"/>
                  </a:lnTo>
                  <a:lnTo>
                    <a:pt x="5517413" y="163830"/>
                  </a:lnTo>
                  <a:lnTo>
                    <a:pt x="5518543" y="161290"/>
                  </a:lnTo>
                  <a:lnTo>
                    <a:pt x="5520271" y="170180"/>
                  </a:lnTo>
                  <a:lnTo>
                    <a:pt x="5526151" y="162560"/>
                  </a:lnTo>
                  <a:lnTo>
                    <a:pt x="5528780" y="161290"/>
                  </a:lnTo>
                  <a:lnTo>
                    <a:pt x="5530202" y="165100"/>
                  </a:lnTo>
                  <a:lnTo>
                    <a:pt x="5530202" y="145021"/>
                  </a:lnTo>
                  <a:lnTo>
                    <a:pt x="5528602" y="146050"/>
                  </a:lnTo>
                  <a:lnTo>
                    <a:pt x="5503507" y="161290"/>
                  </a:lnTo>
                  <a:lnTo>
                    <a:pt x="5502554" y="160020"/>
                  </a:lnTo>
                  <a:lnTo>
                    <a:pt x="5500649" y="157480"/>
                  </a:lnTo>
                  <a:lnTo>
                    <a:pt x="5499697" y="156210"/>
                  </a:lnTo>
                  <a:lnTo>
                    <a:pt x="5498744" y="154940"/>
                  </a:lnTo>
                  <a:lnTo>
                    <a:pt x="5510034" y="151130"/>
                  </a:lnTo>
                  <a:lnTo>
                    <a:pt x="5494718" y="148590"/>
                  </a:lnTo>
                  <a:lnTo>
                    <a:pt x="5485003" y="144780"/>
                  </a:lnTo>
                  <a:lnTo>
                    <a:pt x="5482882" y="143510"/>
                  </a:lnTo>
                  <a:lnTo>
                    <a:pt x="5482806" y="142240"/>
                  </a:lnTo>
                  <a:lnTo>
                    <a:pt x="5484203" y="140970"/>
                  </a:lnTo>
                  <a:lnTo>
                    <a:pt x="5484914" y="140970"/>
                  </a:lnTo>
                  <a:lnTo>
                    <a:pt x="5486311" y="139700"/>
                  </a:lnTo>
                  <a:lnTo>
                    <a:pt x="5492483" y="139700"/>
                  </a:lnTo>
                  <a:lnTo>
                    <a:pt x="5496941" y="140970"/>
                  </a:lnTo>
                  <a:lnTo>
                    <a:pt x="5496407" y="139700"/>
                  </a:lnTo>
                  <a:lnTo>
                    <a:pt x="5495341" y="137160"/>
                  </a:lnTo>
                  <a:lnTo>
                    <a:pt x="5493207" y="132080"/>
                  </a:lnTo>
                  <a:lnTo>
                    <a:pt x="5500814" y="132080"/>
                  </a:lnTo>
                  <a:lnTo>
                    <a:pt x="5500103" y="130810"/>
                  </a:lnTo>
                  <a:lnTo>
                    <a:pt x="5497931" y="127000"/>
                  </a:lnTo>
                  <a:lnTo>
                    <a:pt x="5498452" y="125730"/>
                  </a:lnTo>
                  <a:lnTo>
                    <a:pt x="5500522" y="120650"/>
                  </a:lnTo>
                  <a:lnTo>
                    <a:pt x="5494426" y="123190"/>
                  </a:lnTo>
                  <a:lnTo>
                    <a:pt x="5490362" y="125730"/>
                  </a:lnTo>
                  <a:lnTo>
                    <a:pt x="5487759" y="124460"/>
                  </a:lnTo>
                  <a:lnTo>
                    <a:pt x="5485142" y="123190"/>
                  </a:lnTo>
                  <a:lnTo>
                    <a:pt x="5480824" y="124460"/>
                  </a:lnTo>
                  <a:lnTo>
                    <a:pt x="5479110" y="121920"/>
                  </a:lnTo>
                  <a:lnTo>
                    <a:pt x="5482336" y="118110"/>
                  </a:lnTo>
                  <a:lnTo>
                    <a:pt x="5488444" y="118110"/>
                  </a:lnTo>
                  <a:lnTo>
                    <a:pt x="5487136" y="115570"/>
                  </a:lnTo>
                  <a:lnTo>
                    <a:pt x="5487263" y="113030"/>
                  </a:lnTo>
                  <a:lnTo>
                    <a:pt x="5488927" y="110490"/>
                  </a:lnTo>
                  <a:lnTo>
                    <a:pt x="5489753" y="109220"/>
                  </a:lnTo>
                  <a:lnTo>
                    <a:pt x="5483428" y="110490"/>
                  </a:lnTo>
                  <a:lnTo>
                    <a:pt x="5478615" y="110490"/>
                  </a:lnTo>
                  <a:lnTo>
                    <a:pt x="5477764" y="107950"/>
                  </a:lnTo>
                  <a:lnTo>
                    <a:pt x="5478196" y="102870"/>
                  </a:lnTo>
                  <a:lnTo>
                    <a:pt x="5482907" y="93980"/>
                  </a:lnTo>
                  <a:lnTo>
                    <a:pt x="5480431" y="93980"/>
                  </a:lnTo>
                  <a:lnTo>
                    <a:pt x="5477103" y="91440"/>
                  </a:lnTo>
                  <a:lnTo>
                    <a:pt x="5477167" y="78740"/>
                  </a:lnTo>
                  <a:lnTo>
                    <a:pt x="5476024" y="76200"/>
                  </a:lnTo>
                  <a:lnTo>
                    <a:pt x="5473839" y="77470"/>
                  </a:lnTo>
                  <a:lnTo>
                    <a:pt x="5474233" y="88900"/>
                  </a:lnTo>
                  <a:lnTo>
                    <a:pt x="5473116" y="92710"/>
                  </a:lnTo>
                  <a:lnTo>
                    <a:pt x="5468086" y="92710"/>
                  </a:lnTo>
                  <a:lnTo>
                    <a:pt x="5473522" y="106680"/>
                  </a:lnTo>
                  <a:lnTo>
                    <a:pt x="5472481" y="110490"/>
                  </a:lnTo>
                  <a:lnTo>
                    <a:pt x="5458333" y="107950"/>
                  </a:lnTo>
                  <a:lnTo>
                    <a:pt x="5465445" y="114300"/>
                  </a:lnTo>
                  <a:lnTo>
                    <a:pt x="5464988" y="116840"/>
                  </a:lnTo>
                  <a:lnTo>
                    <a:pt x="5464708" y="119380"/>
                  </a:lnTo>
                  <a:lnTo>
                    <a:pt x="5468378" y="118110"/>
                  </a:lnTo>
                  <a:lnTo>
                    <a:pt x="5471287" y="118110"/>
                  </a:lnTo>
                  <a:lnTo>
                    <a:pt x="5472404" y="121920"/>
                  </a:lnTo>
                  <a:lnTo>
                    <a:pt x="5467515" y="125730"/>
                  </a:lnTo>
                  <a:lnTo>
                    <a:pt x="5447716" y="120650"/>
                  </a:lnTo>
                  <a:lnTo>
                    <a:pt x="5451157" y="124460"/>
                  </a:lnTo>
                  <a:lnTo>
                    <a:pt x="5449100" y="129540"/>
                  </a:lnTo>
                  <a:lnTo>
                    <a:pt x="5455297" y="127000"/>
                  </a:lnTo>
                  <a:lnTo>
                    <a:pt x="5450090" y="135890"/>
                  </a:lnTo>
                  <a:lnTo>
                    <a:pt x="5457050" y="133350"/>
                  </a:lnTo>
                  <a:lnTo>
                    <a:pt x="5461673" y="130810"/>
                  </a:lnTo>
                  <a:lnTo>
                    <a:pt x="5457736" y="139700"/>
                  </a:lnTo>
                  <a:lnTo>
                    <a:pt x="5464187" y="137160"/>
                  </a:lnTo>
                  <a:lnTo>
                    <a:pt x="5468277" y="137160"/>
                  </a:lnTo>
                  <a:lnTo>
                    <a:pt x="5466308" y="140970"/>
                  </a:lnTo>
                  <a:lnTo>
                    <a:pt x="5464010" y="143510"/>
                  </a:lnTo>
                  <a:lnTo>
                    <a:pt x="5454116" y="146050"/>
                  </a:lnTo>
                  <a:lnTo>
                    <a:pt x="5440870" y="146050"/>
                  </a:lnTo>
                  <a:lnTo>
                    <a:pt x="5448897" y="152400"/>
                  </a:lnTo>
                  <a:lnTo>
                    <a:pt x="5444642" y="158750"/>
                  </a:lnTo>
                  <a:lnTo>
                    <a:pt x="5454789" y="156210"/>
                  </a:lnTo>
                  <a:lnTo>
                    <a:pt x="5453380" y="160020"/>
                  </a:lnTo>
                  <a:lnTo>
                    <a:pt x="5452694" y="161290"/>
                  </a:lnTo>
                  <a:lnTo>
                    <a:pt x="5451284" y="165100"/>
                  </a:lnTo>
                  <a:lnTo>
                    <a:pt x="5465902" y="157480"/>
                  </a:lnTo>
                  <a:lnTo>
                    <a:pt x="5467693" y="157480"/>
                  </a:lnTo>
                  <a:lnTo>
                    <a:pt x="5467883" y="160020"/>
                  </a:lnTo>
                  <a:lnTo>
                    <a:pt x="5464416" y="163830"/>
                  </a:lnTo>
                  <a:lnTo>
                    <a:pt x="5462092" y="167640"/>
                  </a:lnTo>
                  <a:lnTo>
                    <a:pt x="5452351" y="175260"/>
                  </a:lnTo>
                  <a:lnTo>
                    <a:pt x="5459387" y="173990"/>
                  </a:lnTo>
                  <a:lnTo>
                    <a:pt x="5457736" y="180340"/>
                  </a:lnTo>
                  <a:lnTo>
                    <a:pt x="5463756" y="176530"/>
                  </a:lnTo>
                  <a:lnTo>
                    <a:pt x="5466207" y="176530"/>
                  </a:lnTo>
                  <a:lnTo>
                    <a:pt x="5465800" y="180340"/>
                  </a:lnTo>
                  <a:lnTo>
                    <a:pt x="5462930" y="182511"/>
                  </a:lnTo>
                  <a:lnTo>
                    <a:pt x="5462930" y="204470"/>
                  </a:lnTo>
                  <a:lnTo>
                    <a:pt x="5462790" y="212090"/>
                  </a:lnTo>
                  <a:lnTo>
                    <a:pt x="5459615" y="219138"/>
                  </a:lnTo>
                  <a:lnTo>
                    <a:pt x="5459615" y="264160"/>
                  </a:lnTo>
                  <a:lnTo>
                    <a:pt x="5458345" y="263855"/>
                  </a:lnTo>
                  <a:lnTo>
                    <a:pt x="5458345" y="270510"/>
                  </a:lnTo>
                  <a:lnTo>
                    <a:pt x="5457914" y="273050"/>
                  </a:lnTo>
                  <a:lnTo>
                    <a:pt x="5455691" y="275590"/>
                  </a:lnTo>
                  <a:lnTo>
                    <a:pt x="5452656" y="271780"/>
                  </a:lnTo>
                  <a:lnTo>
                    <a:pt x="5455894" y="271780"/>
                  </a:lnTo>
                  <a:lnTo>
                    <a:pt x="5456326" y="269240"/>
                  </a:lnTo>
                  <a:lnTo>
                    <a:pt x="5458345" y="270510"/>
                  </a:lnTo>
                  <a:lnTo>
                    <a:pt x="5458345" y="263855"/>
                  </a:lnTo>
                  <a:lnTo>
                    <a:pt x="5454383" y="262890"/>
                  </a:lnTo>
                  <a:lnTo>
                    <a:pt x="5455793" y="260350"/>
                  </a:lnTo>
                  <a:lnTo>
                    <a:pt x="5458930" y="261620"/>
                  </a:lnTo>
                  <a:lnTo>
                    <a:pt x="5459615" y="264160"/>
                  </a:lnTo>
                  <a:lnTo>
                    <a:pt x="5459615" y="219138"/>
                  </a:lnTo>
                  <a:lnTo>
                    <a:pt x="5457634" y="223520"/>
                  </a:lnTo>
                  <a:lnTo>
                    <a:pt x="5450357" y="228600"/>
                  </a:lnTo>
                  <a:lnTo>
                    <a:pt x="5439486" y="225577"/>
                  </a:lnTo>
                  <a:lnTo>
                    <a:pt x="5439486" y="298450"/>
                  </a:lnTo>
                  <a:lnTo>
                    <a:pt x="5431447" y="300990"/>
                  </a:lnTo>
                  <a:lnTo>
                    <a:pt x="5431079" y="299720"/>
                  </a:lnTo>
                  <a:lnTo>
                    <a:pt x="5434152" y="299720"/>
                  </a:lnTo>
                  <a:lnTo>
                    <a:pt x="5430024" y="290830"/>
                  </a:lnTo>
                  <a:lnTo>
                    <a:pt x="5429428" y="289560"/>
                  </a:lnTo>
                  <a:lnTo>
                    <a:pt x="5343207" y="289560"/>
                  </a:lnTo>
                  <a:lnTo>
                    <a:pt x="5343207" y="318770"/>
                  </a:lnTo>
                  <a:lnTo>
                    <a:pt x="5339943" y="320040"/>
                  </a:lnTo>
                  <a:lnTo>
                    <a:pt x="5339385" y="320040"/>
                  </a:lnTo>
                  <a:lnTo>
                    <a:pt x="5338648" y="318770"/>
                  </a:lnTo>
                  <a:lnTo>
                    <a:pt x="5337899" y="317500"/>
                  </a:lnTo>
                  <a:lnTo>
                    <a:pt x="5338178" y="316230"/>
                  </a:lnTo>
                  <a:lnTo>
                    <a:pt x="5338292" y="314960"/>
                  </a:lnTo>
                  <a:lnTo>
                    <a:pt x="5338572" y="313690"/>
                  </a:lnTo>
                  <a:lnTo>
                    <a:pt x="5340350" y="313690"/>
                  </a:lnTo>
                  <a:lnTo>
                    <a:pt x="5343207" y="318770"/>
                  </a:lnTo>
                  <a:lnTo>
                    <a:pt x="5343207" y="289560"/>
                  </a:lnTo>
                  <a:lnTo>
                    <a:pt x="5270411" y="289560"/>
                  </a:lnTo>
                  <a:lnTo>
                    <a:pt x="5268887" y="289560"/>
                  </a:lnTo>
                  <a:lnTo>
                    <a:pt x="5267185" y="290830"/>
                  </a:lnTo>
                  <a:lnTo>
                    <a:pt x="5264556" y="288290"/>
                  </a:lnTo>
                  <a:lnTo>
                    <a:pt x="5259273" y="283210"/>
                  </a:lnTo>
                  <a:lnTo>
                    <a:pt x="5258676" y="279400"/>
                  </a:lnTo>
                  <a:lnTo>
                    <a:pt x="5261876" y="279400"/>
                  </a:lnTo>
                  <a:lnTo>
                    <a:pt x="5263451" y="284480"/>
                  </a:lnTo>
                  <a:lnTo>
                    <a:pt x="5268849" y="281940"/>
                  </a:lnTo>
                  <a:lnTo>
                    <a:pt x="5269001" y="281940"/>
                  </a:lnTo>
                  <a:lnTo>
                    <a:pt x="5264709" y="285750"/>
                  </a:lnTo>
                  <a:lnTo>
                    <a:pt x="5269547" y="284480"/>
                  </a:lnTo>
                  <a:lnTo>
                    <a:pt x="5269623" y="285750"/>
                  </a:lnTo>
                  <a:lnTo>
                    <a:pt x="5266944" y="285750"/>
                  </a:lnTo>
                  <a:lnTo>
                    <a:pt x="5270106" y="288290"/>
                  </a:lnTo>
                  <a:lnTo>
                    <a:pt x="5270258" y="288886"/>
                  </a:lnTo>
                  <a:lnTo>
                    <a:pt x="5270703" y="288886"/>
                  </a:lnTo>
                  <a:lnTo>
                    <a:pt x="5429123" y="288886"/>
                  </a:lnTo>
                  <a:lnTo>
                    <a:pt x="5428843" y="288290"/>
                  </a:lnTo>
                  <a:lnTo>
                    <a:pt x="5427065" y="284480"/>
                  </a:lnTo>
                  <a:lnTo>
                    <a:pt x="5429186" y="285750"/>
                  </a:lnTo>
                  <a:lnTo>
                    <a:pt x="5429212" y="284480"/>
                  </a:lnTo>
                  <a:lnTo>
                    <a:pt x="5429262" y="281940"/>
                  </a:lnTo>
                  <a:lnTo>
                    <a:pt x="5429313" y="279400"/>
                  </a:lnTo>
                  <a:lnTo>
                    <a:pt x="5429351" y="276860"/>
                  </a:lnTo>
                  <a:lnTo>
                    <a:pt x="5432476" y="289560"/>
                  </a:lnTo>
                  <a:lnTo>
                    <a:pt x="5433212" y="293370"/>
                  </a:lnTo>
                  <a:lnTo>
                    <a:pt x="5437327" y="292100"/>
                  </a:lnTo>
                  <a:lnTo>
                    <a:pt x="5438813" y="290830"/>
                  </a:lnTo>
                  <a:lnTo>
                    <a:pt x="5439092" y="293370"/>
                  </a:lnTo>
                  <a:lnTo>
                    <a:pt x="5438191" y="294640"/>
                  </a:lnTo>
                  <a:lnTo>
                    <a:pt x="5439219" y="294640"/>
                  </a:lnTo>
                  <a:lnTo>
                    <a:pt x="5439486" y="298450"/>
                  </a:lnTo>
                  <a:lnTo>
                    <a:pt x="5439486" y="225577"/>
                  </a:lnTo>
                  <a:lnTo>
                    <a:pt x="5438178" y="225209"/>
                  </a:lnTo>
                  <a:lnTo>
                    <a:pt x="5438178" y="241300"/>
                  </a:lnTo>
                  <a:lnTo>
                    <a:pt x="5436870" y="243840"/>
                  </a:lnTo>
                  <a:lnTo>
                    <a:pt x="5435981" y="245110"/>
                  </a:lnTo>
                  <a:lnTo>
                    <a:pt x="5428640" y="247650"/>
                  </a:lnTo>
                  <a:lnTo>
                    <a:pt x="5423497" y="245110"/>
                  </a:lnTo>
                  <a:lnTo>
                    <a:pt x="5420931" y="243840"/>
                  </a:lnTo>
                  <a:lnTo>
                    <a:pt x="5418353" y="242570"/>
                  </a:lnTo>
                  <a:lnTo>
                    <a:pt x="5415826" y="238760"/>
                  </a:lnTo>
                  <a:lnTo>
                    <a:pt x="5414124" y="236220"/>
                  </a:lnTo>
                  <a:lnTo>
                    <a:pt x="5421249" y="238760"/>
                  </a:lnTo>
                  <a:lnTo>
                    <a:pt x="5423014" y="236220"/>
                  </a:lnTo>
                  <a:lnTo>
                    <a:pt x="5424767" y="233680"/>
                  </a:lnTo>
                  <a:lnTo>
                    <a:pt x="5426113" y="243840"/>
                  </a:lnTo>
                  <a:lnTo>
                    <a:pt x="5429301" y="241300"/>
                  </a:lnTo>
                  <a:lnTo>
                    <a:pt x="5435638" y="245110"/>
                  </a:lnTo>
                  <a:lnTo>
                    <a:pt x="5435054" y="241300"/>
                  </a:lnTo>
                  <a:lnTo>
                    <a:pt x="5434850" y="240030"/>
                  </a:lnTo>
                  <a:lnTo>
                    <a:pt x="5438178" y="241300"/>
                  </a:lnTo>
                  <a:lnTo>
                    <a:pt x="5438178" y="225209"/>
                  </a:lnTo>
                  <a:lnTo>
                    <a:pt x="5432145" y="223520"/>
                  </a:lnTo>
                  <a:lnTo>
                    <a:pt x="5413921" y="218440"/>
                  </a:lnTo>
                  <a:lnTo>
                    <a:pt x="5411546" y="214630"/>
                  </a:lnTo>
                  <a:lnTo>
                    <a:pt x="5418442" y="212090"/>
                  </a:lnTo>
                  <a:lnTo>
                    <a:pt x="5415572" y="209550"/>
                  </a:lnTo>
                  <a:lnTo>
                    <a:pt x="5409831" y="204470"/>
                  </a:lnTo>
                  <a:lnTo>
                    <a:pt x="5411787" y="200660"/>
                  </a:lnTo>
                  <a:lnTo>
                    <a:pt x="5414759" y="199390"/>
                  </a:lnTo>
                  <a:lnTo>
                    <a:pt x="5416004" y="208280"/>
                  </a:lnTo>
                  <a:lnTo>
                    <a:pt x="5419153" y="203200"/>
                  </a:lnTo>
                  <a:lnTo>
                    <a:pt x="5424246" y="210820"/>
                  </a:lnTo>
                  <a:lnTo>
                    <a:pt x="5424881" y="205740"/>
                  </a:lnTo>
                  <a:lnTo>
                    <a:pt x="5431028" y="207010"/>
                  </a:lnTo>
                  <a:lnTo>
                    <a:pt x="5427954" y="209550"/>
                  </a:lnTo>
                  <a:lnTo>
                    <a:pt x="5442178" y="203200"/>
                  </a:lnTo>
                  <a:lnTo>
                    <a:pt x="5441531" y="207010"/>
                  </a:lnTo>
                  <a:lnTo>
                    <a:pt x="5437505" y="217170"/>
                  </a:lnTo>
                  <a:lnTo>
                    <a:pt x="5445163" y="212090"/>
                  </a:lnTo>
                  <a:lnTo>
                    <a:pt x="5448046" y="220980"/>
                  </a:lnTo>
                  <a:lnTo>
                    <a:pt x="5451068" y="212090"/>
                  </a:lnTo>
                  <a:lnTo>
                    <a:pt x="5452364" y="208280"/>
                  </a:lnTo>
                  <a:lnTo>
                    <a:pt x="5453875" y="205740"/>
                  </a:lnTo>
                  <a:lnTo>
                    <a:pt x="5457710" y="210820"/>
                  </a:lnTo>
                  <a:lnTo>
                    <a:pt x="5460123" y="205740"/>
                  </a:lnTo>
                  <a:lnTo>
                    <a:pt x="5461317" y="203200"/>
                  </a:lnTo>
                  <a:lnTo>
                    <a:pt x="5462930" y="204470"/>
                  </a:lnTo>
                  <a:lnTo>
                    <a:pt x="5462930" y="182511"/>
                  </a:lnTo>
                  <a:lnTo>
                    <a:pt x="5462435" y="182880"/>
                  </a:lnTo>
                  <a:lnTo>
                    <a:pt x="5447728" y="187960"/>
                  </a:lnTo>
                  <a:lnTo>
                    <a:pt x="5439461" y="186334"/>
                  </a:lnTo>
                  <a:lnTo>
                    <a:pt x="5439461" y="195580"/>
                  </a:lnTo>
                  <a:lnTo>
                    <a:pt x="5437898" y="198120"/>
                  </a:lnTo>
                  <a:lnTo>
                    <a:pt x="5431333" y="205740"/>
                  </a:lnTo>
                  <a:lnTo>
                    <a:pt x="5428551" y="203200"/>
                  </a:lnTo>
                  <a:lnTo>
                    <a:pt x="5424373" y="199390"/>
                  </a:lnTo>
                  <a:lnTo>
                    <a:pt x="5422976" y="198120"/>
                  </a:lnTo>
                  <a:lnTo>
                    <a:pt x="5422430" y="196850"/>
                  </a:lnTo>
                  <a:lnTo>
                    <a:pt x="5421325" y="194310"/>
                  </a:lnTo>
                  <a:lnTo>
                    <a:pt x="5425783" y="195580"/>
                  </a:lnTo>
                  <a:lnTo>
                    <a:pt x="5424411" y="198120"/>
                  </a:lnTo>
                  <a:lnTo>
                    <a:pt x="5428564" y="196850"/>
                  </a:lnTo>
                  <a:lnTo>
                    <a:pt x="5436006" y="199390"/>
                  </a:lnTo>
                  <a:lnTo>
                    <a:pt x="5434050" y="196850"/>
                  </a:lnTo>
                  <a:lnTo>
                    <a:pt x="5433060" y="195580"/>
                  </a:lnTo>
                  <a:lnTo>
                    <a:pt x="5436438" y="194310"/>
                  </a:lnTo>
                  <a:lnTo>
                    <a:pt x="5439461" y="195580"/>
                  </a:lnTo>
                  <a:lnTo>
                    <a:pt x="5439461" y="186334"/>
                  </a:lnTo>
                  <a:lnTo>
                    <a:pt x="5415458" y="181610"/>
                  </a:lnTo>
                  <a:lnTo>
                    <a:pt x="5411178" y="179070"/>
                  </a:lnTo>
                  <a:lnTo>
                    <a:pt x="5404751" y="175260"/>
                  </a:lnTo>
                  <a:lnTo>
                    <a:pt x="5406225" y="170180"/>
                  </a:lnTo>
                  <a:lnTo>
                    <a:pt x="5410835" y="177800"/>
                  </a:lnTo>
                  <a:lnTo>
                    <a:pt x="5415318" y="175260"/>
                  </a:lnTo>
                  <a:lnTo>
                    <a:pt x="5420639" y="177800"/>
                  </a:lnTo>
                  <a:lnTo>
                    <a:pt x="5419229" y="175260"/>
                  </a:lnTo>
                  <a:lnTo>
                    <a:pt x="5414988" y="167640"/>
                  </a:lnTo>
                  <a:lnTo>
                    <a:pt x="5421046" y="172720"/>
                  </a:lnTo>
                  <a:lnTo>
                    <a:pt x="5422811" y="170180"/>
                  </a:lnTo>
                  <a:lnTo>
                    <a:pt x="5424005" y="168910"/>
                  </a:lnTo>
                  <a:lnTo>
                    <a:pt x="5430291" y="170180"/>
                  </a:lnTo>
                  <a:lnTo>
                    <a:pt x="5428932" y="168910"/>
                  </a:lnTo>
                  <a:lnTo>
                    <a:pt x="5427573" y="167640"/>
                  </a:lnTo>
                  <a:lnTo>
                    <a:pt x="5426214" y="166370"/>
                  </a:lnTo>
                  <a:lnTo>
                    <a:pt x="5422125" y="162560"/>
                  </a:lnTo>
                  <a:lnTo>
                    <a:pt x="5428475" y="160020"/>
                  </a:lnTo>
                  <a:lnTo>
                    <a:pt x="5423420" y="156210"/>
                  </a:lnTo>
                  <a:lnTo>
                    <a:pt x="5421731" y="154940"/>
                  </a:lnTo>
                  <a:lnTo>
                    <a:pt x="5430075" y="156210"/>
                  </a:lnTo>
                  <a:lnTo>
                    <a:pt x="5425973" y="153670"/>
                  </a:lnTo>
                  <a:lnTo>
                    <a:pt x="5428869" y="149860"/>
                  </a:lnTo>
                  <a:lnTo>
                    <a:pt x="5408079" y="154940"/>
                  </a:lnTo>
                  <a:lnTo>
                    <a:pt x="5401538" y="149860"/>
                  </a:lnTo>
                  <a:lnTo>
                    <a:pt x="5405780" y="151130"/>
                  </a:lnTo>
                  <a:lnTo>
                    <a:pt x="5405755" y="149860"/>
                  </a:lnTo>
                  <a:lnTo>
                    <a:pt x="5405729" y="148590"/>
                  </a:lnTo>
                  <a:lnTo>
                    <a:pt x="5405666" y="146050"/>
                  </a:lnTo>
                  <a:lnTo>
                    <a:pt x="5410352" y="148590"/>
                  </a:lnTo>
                  <a:lnTo>
                    <a:pt x="5409781" y="146050"/>
                  </a:lnTo>
                  <a:lnTo>
                    <a:pt x="5409196" y="143510"/>
                  </a:lnTo>
                  <a:lnTo>
                    <a:pt x="5416296" y="140970"/>
                  </a:lnTo>
                  <a:lnTo>
                    <a:pt x="5408904" y="139700"/>
                  </a:lnTo>
                  <a:lnTo>
                    <a:pt x="5401348" y="135890"/>
                  </a:lnTo>
                  <a:lnTo>
                    <a:pt x="5410200" y="133350"/>
                  </a:lnTo>
                  <a:lnTo>
                    <a:pt x="5407304" y="130810"/>
                  </a:lnTo>
                  <a:lnTo>
                    <a:pt x="5411216" y="128270"/>
                  </a:lnTo>
                  <a:lnTo>
                    <a:pt x="5408612" y="127000"/>
                  </a:lnTo>
                  <a:lnTo>
                    <a:pt x="5400789" y="123190"/>
                  </a:lnTo>
                  <a:lnTo>
                    <a:pt x="5404663" y="120650"/>
                  </a:lnTo>
                  <a:lnTo>
                    <a:pt x="5400332" y="118110"/>
                  </a:lnTo>
                  <a:lnTo>
                    <a:pt x="5398186" y="111760"/>
                  </a:lnTo>
                  <a:lnTo>
                    <a:pt x="5397881" y="100330"/>
                  </a:lnTo>
                  <a:lnTo>
                    <a:pt x="5396293" y="97790"/>
                  </a:lnTo>
                  <a:lnTo>
                    <a:pt x="5395138" y="104140"/>
                  </a:lnTo>
                  <a:lnTo>
                    <a:pt x="5393868" y="118110"/>
                  </a:lnTo>
                  <a:lnTo>
                    <a:pt x="5387899" y="121920"/>
                  </a:lnTo>
                  <a:lnTo>
                    <a:pt x="5394033" y="127000"/>
                  </a:lnTo>
                  <a:lnTo>
                    <a:pt x="5384673" y="125730"/>
                  </a:lnTo>
                  <a:lnTo>
                    <a:pt x="5387975" y="129540"/>
                  </a:lnTo>
                  <a:lnTo>
                    <a:pt x="5384533" y="130810"/>
                  </a:lnTo>
                  <a:lnTo>
                    <a:pt x="5378894" y="128270"/>
                  </a:lnTo>
                  <a:lnTo>
                    <a:pt x="5383720" y="134620"/>
                  </a:lnTo>
                  <a:lnTo>
                    <a:pt x="5378462" y="138430"/>
                  </a:lnTo>
                  <a:lnTo>
                    <a:pt x="5386336" y="139700"/>
                  </a:lnTo>
                  <a:lnTo>
                    <a:pt x="5382006" y="140970"/>
                  </a:lnTo>
                  <a:lnTo>
                    <a:pt x="5379148" y="142240"/>
                  </a:lnTo>
                  <a:lnTo>
                    <a:pt x="5374716" y="144780"/>
                  </a:lnTo>
                  <a:lnTo>
                    <a:pt x="5381053" y="146050"/>
                  </a:lnTo>
                  <a:lnTo>
                    <a:pt x="5378577" y="149860"/>
                  </a:lnTo>
                  <a:lnTo>
                    <a:pt x="5385625" y="148590"/>
                  </a:lnTo>
                  <a:lnTo>
                    <a:pt x="5385663" y="153670"/>
                  </a:lnTo>
                  <a:lnTo>
                    <a:pt x="5393029" y="148590"/>
                  </a:lnTo>
                  <a:lnTo>
                    <a:pt x="5388622" y="156210"/>
                  </a:lnTo>
                  <a:lnTo>
                    <a:pt x="5370042" y="148590"/>
                  </a:lnTo>
                  <a:lnTo>
                    <a:pt x="5374183" y="154940"/>
                  </a:lnTo>
                  <a:lnTo>
                    <a:pt x="5368607" y="154940"/>
                  </a:lnTo>
                  <a:lnTo>
                    <a:pt x="5373027" y="157480"/>
                  </a:lnTo>
                  <a:lnTo>
                    <a:pt x="5374525" y="161290"/>
                  </a:lnTo>
                  <a:lnTo>
                    <a:pt x="5366461" y="161290"/>
                  </a:lnTo>
                  <a:lnTo>
                    <a:pt x="5372112" y="166370"/>
                  </a:lnTo>
                  <a:lnTo>
                    <a:pt x="5371719" y="171450"/>
                  </a:lnTo>
                  <a:lnTo>
                    <a:pt x="5379136" y="166370"/>
                  </a:lnTo>
                  <a:lnTo>
                    <a:pt x="5379047" y="170180"/>
                  </a:lnTo>
                  <a:lnTo>
                    <a:pt x="5387073" y="170180"/>
                  </a:lnTo>
                  <a:lnTo>
                    <a:pt x="5381917" y="171678"/>
                  </a:lnTo>
                  <a:lnTo>
                    <a:pt x="5381917" y="209550"/>
                  </a:lnTo>
                  <a:lnTo>
                    <a:pt x="5379707" y="214630"/>
                  </a:lnTo>
                  <a:lnTo>
                    <a:pt x="5372824" y="218440"/>
                  </a:lnTo>
                  <a:lnTo>
                    <a:pt x="5372824" y="214630"/>
                  </a:lnTo>
                  <a:lnTo>
                    <a:pt x="5377370" y="212090"/>
                  </a:lnTo>
                  <a:lnTo>
                    <a:pt x="5381917" y="209550"/>
                  </a:lnTo>
                  <a:lnTo>
                    <a:pt x="5381917" y="171678"/>
                  </a:lnTo>
                  <a:lnTo>
                    <a:pt x="5365089" y="176530"/>
                  </a:lnTo>
                  <a:lnTo>
                    <a:pt x="5368709" y="180340"/>
                  </a:lnTo>
                  <a:lnTo>
                    <a:pt x="5366893" y="184150"/>
                  </a:lnTo>
                  <a:lnTo>
                    <a:pt x="5380964" y="179070"/>
                  </a:lnTo>
                  <a:lnTo>
                    <a:pt x="5377980" y="182880"/>
                  </a:lnTo>
                  <a:lnTo>
                    <a:pt x="5380736" y="184150"/>
                  </a:lnTo>
                  <a:lnTo>
                    <a:pt x="5377700" y="185420"/>
                  </a:lnTo>
                  <a:lnTo>
                    <a:pt x="5351945" y="190500"/>
                  </a:lnTo>
                  <a:lnTo>
                    <a:pt x="5359781" y="195580"/>
                  </a:lnTo>
                  <a:lnTo>
                    <a:pt x="5359654" y="198120"/>
                  </a:lnTo>
                  <a:lnTo>
                    <a:pt x="5362791" y="196850"/>
                  </a:lnTo>
                  <a:lnTo>
                    <a:pt x="5358041" y="203200"/>
                  </a:lnTo>
                  <a:lnTo>
                    <a:pt x="5364632" y="200660"/>
                  </a:lnTo>
                  <a:lnTo>
                    <a:pt x="5365305" y="204470"/>
                  </a:lnTo>
                  <a:lnTo>
                    <a:pt x="5367464" y="200660"/>
                  </a:lnTo>
                  <a:lnTo>
                    <a:pt x="5368175" y="199390"/>
                  </a:lnTo>
                  <a:lnTo>
                    <a:pt x="5372900" y="198120"/>
                  </a:lnTo>
                  <a:lnTo>
                    <a:pt x="5368607" y="204470"/>
                  </a:lnTo>
                  <a:lnTo>
                    <a:pt x="5370576" y="204470"/>
                  </a:lnTo>
                  <a:lnTo>
                    <a:pt x="5367210" y="207403"/>
                  </a:lnTo>
                  <a:lnTo>
                    <a:pt x="5367210" y="245110"/>
                  </a:lnTo>
                  <a:lnTo>
                    <a:pt x="5364962" y="250190"/>
                  </a:lnTo>
                  <a:lnTo>
                    <a:pt x="5364061" y="251460"/>
                  </a:lnTo>
                  <a:lnTo>
                    <a:pt x="5347500" y="259080"/>
                  </a:lnTo>
                  <a:lnTo>
                    <a:pt x="5343296" y="259080"/>
                  </a:lnTo>
                  <a:lnTo>
                    <a:pt x="5336438" y="254000"/>
                  </a:lnTo>
                  <a:lnTo>
                    <a:pt x="5331282" y="250190"/>
                  </a:lnTo>
                  <a:lnTo>
                    <a:pt x="5330622" y="248920"/>
                  </a:lnTo>
                  <a:lnTo>
                    <a:pt x="5328628" y="245110"/>
                  </a:lnTo>
                  <a:lnTo>
                    <a:pt x="5333619" y="247650"/>
                  </a:lnTo>
                  <a:lnTo>
                    <a:pt x="5335117" y="245110"/>
                  </a:lnTo>
                  <a:lnTo>
                    <a:pt x="5335854" y="243840"/>
                  </a:lnTo>
                  <a:lnTo>
                    <a:pt x="5339550" y="250190"/>
                  </a:lnTo>
                  <a:lnTo>
                    <a:pt x="5342255" y="246380"/>
                  </a:lnTo>
                  <a:lnTo>
                    <a:pt x="5344122" y="252730"/>
                  </a:lnTo>
                  <a:lnTo>
                    <a:pt x="5348148" y="254000"/>
                  </a:lnTo>
                  <a:lnTo>
                    <a:pt x="5349087" y="251460"/>
                  </a:lnTo>
                  <a:lnTo>
                    <a:pt x="5352135" y="248920"/>
                  </a:lnTo>
                  <a:lnTo>
                    <a:pt x="5354752" y="250190"/>
                  </a:lnTo>
                  <a:lnTo>
                    <a:pt x="5354129" y="248920"/>
                  </a:lnTo>
                  <a:lnTo>
                    <a:pt x="5353507" y="247650"/>
                  </a:lnTo>
                  <a:lnTo>
                    <a:pt x="5355501" y="246380"/>
                  </a:lnTo>
                  <a:lnTo>
                    <a:pt x="5357482" y="245110"/>
                  </a:lnTo>
                  <a:lnTo>
                    <a:pt x="5358054" y="245110"/>
                  </a:lnTo>
                  <a:lnTo>
                    <a:pt x="5359298" y="252730"/>
                  </a:lnTo>
                  <a:lnTo>
                    <a:pt x="5367210" y="245110"/>
                  </a:lnTo>
                  <a:lnTo>
                    <a:pt x="5367210" y="207403"/>
                  </a:lnTo>
                  <a:lnTo>
                    <a:pt x="5361813" y="212090"/>
                  </a:lnTo>
                  <a:lnTo>
                    <a:pt x="5359425" y="210820"/>
                  </a:lnTo>
                  <a:lnTo>
                    <a:pt x="5354485" y="208280"/>
                  </a:lnTo>
                  <a:lnTo>
                    <a:pt x="5351208" y="207010"/>
                  </a:lnTo>
                  <a:lnTo>
                    <a:pt x="5354421" y="215900"/>
                  </a:lnTo>
                  <a:lnTo>
                    <a:pt x="5350865" y="217170"/>
                  </a:lnTo>
                  <a:lnTo>
                    <a:pt x="5354396" y="218440"/>
                  </a:lnTo>
                  <a:lnTo>
                    <a:pt x="5351640" y="224790"/>
                  </a:lnTo>
                  <a:lnTo>
                    <a:pt x="5361508" y="218440"/>
                  </a:lnTo>
                  <a:lnTo>
                    <a:pt x="5361495" y="224790"/>
                  </a:lnTo>
                  <a:lnTo>
                    <a:pt x="5365547" y="223520"/>
                  </a:lnTo>
                  <a:lnTo>
                    <a:pt x="5366905" y="224790"/>
                  </a:lnTo>
                  <a:lnTo>
                    <a:pt x="5364886" y="227330"/>
                  </a:lnTo>
                  <a:lnTo>
                    <a:pt x="5341505" y="229870"/>
                  </a:lnTo>
                  <a:lnTo>
                    <a:pt x="5346166" y="233680"/>
                  </a:lnTo>
                  <a:lnTo>
                    <a:pt x="5343068" y="236220"/>
                  </a:lnTo>
                  <a:lnTo>
                    <a:pt x="5350599" y="237490"/>
                  </a:lnTo>
                  <a:lnTo>
                    <a:pt x="5352732" y="238760"/>
                  </a:lnTo>
                  <a:lnTo>
                    <a:pt x="5352351" y="240030"/>
                  </a:lnTo>
                  <a:lnTo>
                    <a:pt x="5353253" y="238760"/>
                  </a:lnTo>
                  <a:lnTo>
                    <a:pt x="5354129" y="240030"/>
                  </a:lnTo>
                  <a:lnTo>
                    <a:pt x="5350307" y="242570"/>
                  </a:lnTo>
                  <a:lnTo>
                    <a:pt x="5349646" y="241300"/>
                  </a:lnTo>
                  <a:lnTo>
                    <a:pt x="5338165" y="233680"/>
                  </a:lnTo>
                  <a:lnTo>
                    <a:pt x="5332425" y="229870"/>
                  </a:lnTo>
                  <a:lnTo>
                    <a:pt x="5329580" y="222250"/>
                  </a:lnTo>
                  <a:lnTo>
                    <a:pt x="5336464" y="227330"/>
                  </a:lnTo>
                  <a:lnTo>
                    <a:pt x="5340362" y="224790"/>
                  </a:lnTo>
                  <a:lnTo>
                    <a:pt x="5343588" y="224790"/>
                  </a:lnTo>
                  <a:lnTo>
                    <a:pt x="5345747" y="226060"/>
                  </a:lnTo>
                  <a:lnTo>
                    <a:pt x="5344884" y="224790"/>
                  </a:lnTo>
                  <a:lnTo>
                    <a:pt x="5343156" y="222250"/>
                  </a:lnTo>
                  <a:lnTo>
                    <a:pt x="5341429" y="219710"/>
                  </a:lnTo>
                  <a:lnTo>
                    <a:pt x="5340566" y="218440"/>
                  </a:lnTo>
                  <a:lnTo>
                    <a:pt x="5338546" y="217170"/>
                  </a:lnTo>
                  <a:lnTo>
                    <a:pt x="5332450" y="213360"/>
                  </a:lnTo>
                  <a:lnTo>
                    <a:pt x="5320030" y="201930"/>
                  </a:lnTo>
                  <a:lnTo>
                    <a:pt x="5319433" y="198120"/>
                  </a:lnTo>
                  <a:lnTo>
                    <a:pt x="5322633" y="198120"/>
                  </a:lnTo>
                  <a:lnTo>
                    <a:pt x="5324208" y="203200"/>
                  </a:lnTo>
                  <a:lnTo>
                    <a:pt x="5329606" y="199390"/>
                  </a:lnTo>
                  <a:lnTo>
                    <a:pt x="5331168" y="208280"/>
                  </a:lnTo>
                  <a:lnTo>
                    <a:pt x="5333492" y="204470"/>
                  </a:lnTo>
                  <a:lnTo>
                    <a:pt x="5340324" y="208280"/>
                  </a:lnTo>
                  <a:lnTo>
                    <a:pt x="5340007" y="204470"/>
                  </a:lnTo>
                  <a:lnTo>
                    <a:pt x="5341061" y="204470"/>
                  </a:lnTo>
                  <a:lnTo>
                    <a:pt x="5341759" y="203200"/>
                  </a:lnTo>
                  <a:lnTo>
                    <a:pt x="5346916" y="204470"/>
                  </a:lnTo>
                  <a:lnTo>
                    <a:pt x="5346827" y="203200"/>
                  </a:lnTo>
                  <a:lnTo>
                    <a:pt x="5346636" y="200660"/>
                  </a:lnTo>
                  <a:lnTo>
                    <a:pt x="5344338" y="199390"/>
                  </a:lnTo>
                  <a:lnTo>
                    <a:pt x="5342026" y="198120"/>
                  </a:lnTo>
                  <a:lnTo>
                    <a:pt x="5330469" y="191770"/>
                  </a:lnTo>
                  <a:lnTo>
                    <a:pt x="5330075" y="190500"/>
                  </a:lnTo>
                  <a:lnTo>
                    <a:pt x="5329682" y="189230"/>
                  </a:lnTo>
                  <a:lnTo>
                    <a:pt x="5332730" y="189230"/>
                  </a:lnTo>
                  <a:lnTo>
                    <a:pt x="5319636" y="177800"/>
                  </a:lnTo>
                  <a:lnTo>
                    <a:pt x="5323205" y="177800"/>
                  </a:lnTo>
                  <a:lnTo>
                    <a:pt x="5327167" y="180340"/>
                  </a:lnTo>
                  <a:lnTo>
                    <a:pt x="5326621" y="177800"/>
                  </a:lnTo>
                  <a:lnTo>
                    <a:pt x="5325503" y="172720"/>
                  </a:lnTo>
                  <a:lnTo>
                    <a:pt x="5334520" y="177800"/>
                  </a:lnTo>
                  <a:lnTo>
                    <a:pt x="5333987" y="172720"/>
                  </a:lnTo>
                  <a:lnTo>
                    <a:pt x="5333847" y="171450"/>
                  </a:lnTo>
                  <a:lnTo>
                    <a:pt x="5339131" y="171450"/>
                  </a:lnTo>
                  <a:lnTo>
                    <a:pt x="5334025" y="167640"/>
                  </a:lnTo>
                  <a:lnTo>
                    <a:pt x="5325376" y="165100"/>
                  </a:lnTo>
                  <a:lnTo>
                    <a:pt x="5316499" y="160020"/>
                  </a:lnTo>
                  <a:lnTo>
                    <a:pt x="5318379" y="156210"/>
                  </a:lnTo>
                  <a:lnTo>
                    <a:pt x="5325097" y="162560"/>
                  </a:lnTo>
                  <a:lnTo>
                    <a:pt x="5326050" y="156210"/>
                  </a:lnTo>
                  <a:lnTo>
                    <a:pt x="5326240" y="154940"/>
                  </a:lnTo>
                  <a:lnTo>
                    <a:pt x="5332120" y="162560"/>
                  </a:lnTo>
                  <a:lnTo>
                    <a:pt x="5330126" y="154940"/>
                  </a:lnTo>
                  <a:lnTo>
                    <a:pt x="5339258" y="158750"/>
                  </a:lnTo>
                  <a:lnTo>
                    <a:pt x="5337251" y="154940"/>
                  </a:lnTo>
                  <a:lnTo>
                    <a:pt x="5335905" y="152400"/>
                  </a:lnTo>
                  <a:lnTo>
                    <a:pt x="5341505" y="152400"/>
                  </a:lnTo>
                  <a:lnTo>
                    <a:pt x="5323573" y="146050"/>
                  </a:lnTo>
                  <a:lnTo>
                    <a:pt x="5316385" y="143510"/>
                  </a:lnTo>
                  <a:lnTo>
                    <a:pt x="5322608" y="140970"/>
                  </a:lnTo>
                  <a:lnTo>
                    <a:pt x="5315305" y="134620"/>
                  </a:lnTo>
                  <a:lnTo>
                    <a:pt x="5312372" y="132080"/>
                  </a:lnTo>
                  <a:lnTo>
                    <a:pt x="5326316" y="137160"/>
                  </a:lnTo>
                  <a:lnTo>
                    <a:pt x="5323802" y="133350"/>
                  </a:lnTo>
                  <a:lnTo>
                    <a:pt x="5326113" y="132080"/>
                  </a:lnTo>
                  <a:lnTo>
                    <a:pt x="5328424" y="130810"/>
                  </a:lnTo>
                  <a:lnTo>
                    <a:pt x="5314531" y="124460"/>
                  </a:lnTo>
                  <a:lnTo>
                    <a:pt x="5319255" y="119380"/>
                  </a:lnTo>
                  <a:lnTo>
                    <a:pt x="5312930" y="116840"/>
                  </a:lnTo>
                  <a:lnTo>
                    <a:pt x="5313807" y="113030"/>
                  </a:lnTo>
                  <a:lnTo>
                    <a:pt x="5309730" y="110490"/>
                  </a:lnTo>
                  <a:lnTo>
                    <a:pt x="5311089" y="109220"/>
                  </a:lnTo>
                  <a:lnTo>
                    <a:pt x="5308917" y="105410"/>
                  </a:lnTo>
                  <a:lnTo>
                    <a:pt x="5307558" y="95250"/>
                  </a:lnTo>
                  <a:lnTo>
                    <a:pt x="5305679" y="106680"/>
                  </a:lnTo>
                  <a:lnTo>
                    <a:pt x="5303228" y="109220"/>
                  </a:lnTo>
                  <a:lnTo>
                    <a:pt x="5304599" y="113030"/>
                  </a:lnTo>
                  <a:lnTo>
                    <a:pt x="5302288" y="114300"/>
                  </a:lnTo>
                  <a:lnTo>
                    <a:pt x="5301145" y="114300"/>
                  </a:lnTo>
                  <a:lnTo>
                    <a:pt x="5298846" y="115570"/>
                  </a:lnTo>
                  <a:lnTo>
                    <a:pt x="5299253" y="116840"/>
                  </a:lnTo>
                  <a:lnTo>
                    <a:pt x="5299545" y="118110"/>
                  </a:lnTo>
                  <a:lnTo>
                    <a:pt x="5291594" y="120650"/>
                  </a:lnTo>
                  <a:lnTo>
                    <a:pt x="5303329" y="123190"/>
                  </a:lnTo>
                  <a:lnTo>
                    <a:pt x="5287429" y="130810"/>
                  </a:lnTo>
                  <a:lnTo>
                    <a:pt x="5289880" y="132080"/>
                  </a:lnTo>
                  <a:lnTo>
                    <a:pt x="5291086" y="133350"/>
                  </a:lnTo>
                  <a:lnTo>
                    <a:pt x="5293525" y="134620"/>
                  </a:lnTo>
                  <a:lnTo>
                    <a:pt x="5290070" y="138430"/>
                  </a:lnTo>
                  <a:lnTo>
                    <a:pt x="5296078" y="135890"/>
                  </a:lnTo>
                  <a:lnTo>
                    <a:pt x="5301666" y="134620"/>
                  </a:lnTo>
                  <a:lnTo>
                    <a:pt x="5296827" y="138430"/>
                  </a:lnTo>
                  <a:lnTo>
                    <a:pt x="5290401" y="139700"/>
                  </a:lnTo>
                  <a:lnTo>
                    <a:pt x="5287276" y="143510"/>
                  </a:lnTo>
                  <a:lnTo>
                    <a:pt x="5294566" y="143510"/>
                  </a:lnTo>
                  <a:lnTo>
                    <a:pt x="5291620" y="147320"/>
                  </a:lnTo>
                  <a:lnTo>
                    <a:pt x="5297081" y="146050"/>
                  </a:lnTo>
                  <a:lnTo>
                    <a:pt x="5298948" y="148590"/>
                  </a:lnTo>
                  <a:lnTo>
                    <a:pt x="5291112" y="153670"/>
                  </a:lnTo>
                  <a:lnTo>
                    <a:pt x="5273853" y="161290"/>
                  </a:lnTo>
                  <a:lnTo>
                    <a:pt x="5281473" y="161290"/>
                  </a:lnTo>
                  <a:lnTo>
                    <a:pt x="5279047" y="165100"/>
                  </a:lnTo>
                  <a:lnTo>
                    <a:pt x="5286248" y="162560"/>
                  </a:lnTo>
                  <a:lnTo>
                    <a:pt x="5285803" y="165100"/>
                  </a:lnTo>
                  <a:lnTo>
                    <a:pt x="5285486" y="167640"/>
                  </a:lnTo>
                  <a:lnTo>
                    <a:pt x="5290629" y="162560"/>
                  </a:lnTo>
                  <a:lnTo>
                    <a:pt x="5295189" y="161290"/>
                  </a:lnTo>
                  <a:lnTo>
                    <a:pt x="5293131" y="166370"/>
                  </a:lnTo>
                  <a:lnTo>
                    <a:pt x="5287569" y="170180"/>
                  </a:lnTo>
                  <a:lnTo>
                    <a:pt x="5283860" y="171450"/>
                  </a:lnTo>
                  <a:lnTo>
                    <a:pt x="5278793" y="173990"/>
                  </a:lnTo>
                  <a:lnTo>
                    <a:pt x="5282577" y="176530"/>
                  </a:lnTo>
                  <a:lnTo>
                    <a:pt x="5274335" y="181610"/>
                  </a:lnTo>
                  <a:lnTo>
                    <a:pt x="5282768" y="181610"/>
                  </a:lnTo>
                  <a:lnTo>
                    <a:pt x="5280469" y="184150"/>
                  </a:lnTo>
                  <a:lnTo>
                    <a:pt x="5268773" y="189230"/>
                  </a:lnTo>
                  <a:lnTo>
                    <a:pt x="5262384" y="193040"/>
                  </a:lnTo>
                  <a:lnTo>
                    <a:pt x="5271071" y="193040"/>
                  </a:lnTo>
                  <a:lnTo>
                    <a:pt x="5271097" y="199390"/>
                  </a:lnTo>
                  <a:lnTo>
                    <a:pt x="5278996" y="191770"/>
                  </a:lnTo>
                  <a:lnTo>
                    <a:pt x="5279491" y="198120"/>
                  </a:lnTo>
                  <a:lnTo>
                    <a:pt x="5285244" y="193040"/>
                  </a:lnTo>
                  <a:lnTo>
                    <a:pt x="5288089" y="191770"/>
                  </a:lnTo>
                  <a:lnTo>
                    <a:pt x="5290921" y="190500"/>
                  </a:lnTo>
                  <a:lnTo>
                    <a:pt x="5286210" y="196824"/>
                  </a:lnTo>
                  <a:lnTo>
                    <a:pt x="5286210" y="233680"/>
                  </a:lnTo>
                  <a:lnTo>
                    <a:pt x="5281752" y="239534"/>
                  </a:lnTo>
                  <a:lnTo>
                    <a:pt x="5281752" y="271780"/>
                  </a:lnTo>
                  <a:lnTo>
                    <a:pt x="5280990" y="271780"/>
                  </a:lnTo>
                  <a:lnTo>
                    <a:pt x="5277485" y="273050"/>
                  </a:lnTo>
                  <a:lnTo>
                    <a:pt x="5273726" y="275590"/>
                  </a:lnTo>
                  <a:lnTo>
                    <a:pt x="5271465" y="274167"/>
                  </a:lnTo>
                  <a:lnTo>
                    <a:pt x="5271465" y="288290"/>
                  </a:lnTo>
                  <a:lnTo>
                    <a:pt x="5270843" y="288594"/>
                  </a:lnTo>
                  <a:lnTo>
                    <a:pt x="5270970" y="288290"/>
                  </a:lnTo>
                  <a:lnTo>
                    <a:pt x="5271465" y="288290"/>
                  </a:lnTo>
                  <a:lnTo>
                    <a:pt x="5271465" y="274167"/>
                  </a:lnTo>
                  <a:lnTo>
                    <a:pt x="5269712" y="273050"/>
                  </a:lnTo>
                  <a:lnTo>
                    <a:pt x="5269319" y="271780"/>
                  </a:lnTo>
                  <a:lnTo>
                    <a:pt x="5268925" y="270510"/>
                  </a:lnTo>
                  <a:lnTo>
                    <a:pt x="5271973" y="270510"/>
                  </a:lnTo>
                  <a:lnTo>
                    <a:pt x="5269217" y="269240"/>
                  </a:lnTo>
                  <a:lnTo>
                    <a:pt x="5269801" y="266700"/>
                  </a:lnTo>
                  <a:lnTo>
                    <a:pt x="5272278" y="267970"/>
                  </a:lnTo>
                  <a:lnTo>
                    <a:pt x="5273764" y="273050"/>
                  </a:lnTo>
                  <a:lnTo>
                    <a:pt x="5277294" y="269240"/>
                  </a:lnTo>
                  <a:lnTo>
                    <a:pt x="5280787" y="270510"/>
                  </a:lnTo>
                  <a:lnTo>
                    <a:pt x="5281752" y="271780"/>
                  </a:lnTo>
                  <a:lnTo>
                    <a:pt x="5281752" y="239534"/>
                  </a:lnTo>
                  <a:lnTo>
                    <a:pt x="5277497" y="245110"/>
                  </a:lnTo>
                  <a:lnTo>
                    <a:pt x="5270182" y="248920"/>
                  </a:lnTo>
                  <a:lnTo>
                    <a:pt x="5269750" y="248831"/>
                  </a:lnTo>
                  <a:lnTo>
                    <a:pt x="5269750" y="256540"/>
                  </a:lnTo>
                  <a:lnTo>
                    <a:pt x="5269712" y="257810"/>
                  </a:lnTo>
                  <a:lnTo>
                    <a:pt x="5265928" y="259080"/>
                  </a:lnTo>
                  <a:lnTo>
                    <a:pt x="5264759" y="254000"/>
                  </a:lnTo>
                  <a:lnTo>
                    <a:pt x="5269750" y="256540"/>
                  </a:lnTo>
                  <a:lnTo>
                    <a:pt x="5269750" y="248831"/>
                  </a:lnTo>
                  <a:lnTo>
                    <a:pt x="5264620" y="247650"/>
                  </a:lnTo>
                  <a:lnTo>
                    <a:pt x="5255742" y="241300"/>
                  </a:lnTo>
                  <a:lnTo>
                    <a:pt x="5257622" y="238760"/>
                  </a:lnTo>
                  <a:lnTo>
                    <a:pt x="5264340" y="243840"/>
                  </a:lnTo>
                  <a:lnTo>
                    <a:pt x="5265102" y="238760"/>
                  </a:lnTo>
                  <a:lnTo>
                    <a:pt x="5265483" y="236220"/>
                  </a:lnTo>
                  <a:lnTo>
                    <a:pt x="5271363" y="243840"/>
                  </a:lnTo>
                  <a:lnTo>
                    <a:pt x="5269535" y="237490"/>
                  </a:lnTo>
                  <a:lnTo>
                    <a:pt x="5269814" y="237490"/>
                  </a:lnTo>
                  <a:lnTo>
                    <a:pt x="5278513" y="240030"/>
                  </a:lnTo>
                  <a:lnTo>
                    <a:pt x="5277167" y="237490"/>
                  </a:lnTo>
                  <a:lnTo>
                    <a:pt x="5276494" y="236220"/>
                  </a:lnTo>
                  <a:lnTo>
                    <a:pt x="5275148" y="233680"/>
                  </a:lnTo>
                  <a:lnTo>
                    <a:pt x="5280749" y="234950"/>
                  </a:lnTo>
                  <a:lnTo>
                    <a:pt x="5278069" y="233680"/>
                  </a:lnTo>
                  <a:lnTo>
                    <a:pt x="5280914" y="231140"/>
                  </a:lnTo>
                  <a:lnTo>
                    <a:pt x="5284241" y="224790"/>
                  </a:lnTo>
                  <a:lnTo>
                    <a:pt x="5284902" y="223520"/>
                  </a:lnTo>
                  <a:lnTo>
                    <a:pt x="5285562" y="222250"/>
                  </a:lnTo>
                  <a:lnTo>
                    <a:pt x="5282387" y="234950"/>
                  </a:lnTo>
                  <a:lnTo>
                    <a:pt x="5286210" y="233680"/>
                  </a:lnTo>
                  <a:lnTo>
                    <a:pt x="5286210" y="196824"/>
                  </a:lnTo>
                  <a:lnTo>
                    <a:pt x="5285244" y="198120"/>
                  </a:lnTo>
                  <a:lnTo>
                    <a:pt x="5283962" y="203200"/>
                  </a:lnTo>
                  <a:lnTo>
                    <a:pt x="5280126" y="207010"/>
                  </a:lnTo>
                  <a:lnTo>
                    <a:pt x="5277485" y="208838"/>
                  </a:lnTo>
                  <a:lnTo>
                    <a:pt x="5277485" y="233680"/>
                  </a:lnTo>
                  <a:lnTo>
                    <a:pt x="5273408" y="231140"/>
                  </a:lnTo>
                  <a:lnTo>
                    <a:pt x="5275300" y="228600"/>
                  </a:lnTo>
                  <a:lnTo>
                    <a:pt x="5277485" y="233680"/>
                  </a:lnTo>
                  <a:lnTo>
                    <a:pt x="5277485" y="208838"/>
                  </a:lnTo>
                  <a:lnTo>
                    <a:pt x="5269077" y="214630"/>
                  </a:lnTo>
                  <a:lnTo>
                    <a:pt x="5268734" y="214820"/>
                  </a:lnTo>
                  <a:lnTo>
                    <a:pt x="5268734" y="224790"/>
                  </a:lnTo>
                  <a:lnTo>
                    <a:pt x="5266067" y="228600"/>
                  </a:lnTo>
                  <a:lnTo>
                    <a:pt x="5261559" y="227330"/>
                  </a:lnTo>
                  <a:lnTo>
                    <a:pt x="5268734" y="224790"/>
                  </a:lnTo>
                  <a:lnTo>
                    <a:pt x="5268734" y="214820"/>
                  </a:lnTo>
                  <a:lnTo>
                    <a:pt x="5264493" y="217170"/>
                  </a:lnTo>
                  <a:lnTo>
                    <a:pt x="5263045" y="214630"/>
                  </a:lnTo>
                  <a:lnTo>
                    <a:pt x="5267668" y="213360"/>
                  </a:lnTo>
                  <a:lnTo>
                    <a:pt x="5262727" y="211112"/>
                  </a:lnTo>
                  <a:lnTo>
                    <a:pt x="5262727" y="218440"/>
                  </a:lnTo>
                  <a:lnTo>
                    <a:pt x="5261457" y="218897"/>
                  </a:lnTo>
                  <a:lnTo>
                    <a:pt x="5261457" y="227330"/>
                  </a:lnTo>
                  <a:lnTo>
                    <a:pt x="5255628" y="224790"/>
                  </a:lnTo>
                  <a:lnTo>
                    <a:pt x="5257419" y="223520"/>
                  </a:lnTo>
                  <a:lnTo>
                    <a:pt x="5260530" y="223520"/>
                  </a:lnTo>
                  <a:lnTo>
                    <a:pt x="5261457" y="227330"/>
                  </a:lnTo>
                  <a:lnTo>
                    <a:pt x="5261457" y="218897"/>
                  </a:lnTo>
                  <a:lnTo>
                    <a:pt x="5259133" y="219710"/>
                  </a:lnTo>
                  <a:lnTo>
                    <a:pt x="5254625" y="215900"/>
                  </a:lnTo>
                  <a:lnTo>
                    <a:pt x="5251615" y="213360"/>
                  </a:lnTo>
                  <a:lnTo>
                    <a:pt x="5262727" y="218440"/>
                  </a:lnTo>
                  <a:lnTo>
                    <a:pt x="5262727" y="211112"/>
                  </a:lnTo>
                  <a:lnTo>
                    <a:pt x="5253787" y="207010"/>
                  </a:lnTo>
                  <a:lnTo>
                    <a:pt x="5258511" y="201930"/>
                  </a:lnTo>
                  <a:lnTo>
                    <a:pt x="5252174" y="198120"/>
                  </a:lnTo>
                  <a:lnTo>
                    <a:pt x="5253050" y="194310"/>
                  </a:lnTo>
                  <a:lnTo>
                    <a:pt x="5248973" y="191770"/>
                  </a:lnTo>
                  <a:lnTo>
                    <a:pt x="5250332" y="190500"/>
                  </a:lnTo>
                  <a:lnTo>
                    <a:pt x="5248148" y="187960"/>
                  </a:lnTo>
                  <a:lnTo>
                    <a:pt x="5246802" y="176530"/>
                  </a:lnTo>
                  <a:lnTo>
                    <a:pt x="5244922" y="187960"/>
                  </a:lnTo>
                  <a:lnTo>
                    <a:pt x="5242471" y="191770"/>
                  </a:lnTo>
                  <a:lnTo>
                    <a:pt x="5243842" y="195580"/>
                  </a:lnTo>
                  <a:lnTo>
                    <a:pt x="5241531" y="195580"/>
                  </a:lnTo>
                  <a:lnTo>
                    <a:pt x="5240388" y="196850"/>
                  </a:lnTo>
                  <a:lnTo>
                    <a:pt x="5238077" y="196850"/>
                  </a:lnTo>
                  <a:lnTo>
                    <a:pt x="5238788" y="200660"/>
                  </a:lnTo>
                  <a:lnTo>
                    <a:pt x="5230838" y="203200"/>
                  </a:lnTo>
                  <a:lnTo>
                    <a:pt x="5242572" y="205740"/>
                  </a:lnTo>
                  <a:lnTo>
                    <a:pt x="5226672" y="212090"/>
                  </a:lnTo>
                  <a:lnTo>
                    <a:pt x="5232768" y="215900"/>
                  </a:lnTo>
                  <a:lnTo>
                    <a:pt x="5229314" y="219710"/>
                  </a:lnTo>
                  <a:lnTo>
                    <a:pt x="5235321" y="217170"/>
                  </a:lnTo>
                  <a:lnTo>
                    <a:pt x="5240909" y="215900"/>
                  </a:lnTo>
                  <a:lnTo>
                    <a:pt x="5236070" y="219710"/>
                  </a:lnTo>
                  <a:lnTo>
                    <a:pt x="5229644" y="222250"/>
                  </a:lnTo>
                  <a:lnTo>
                    <a:pt x="5226520" y="224790"/>
                  </a:lnTo>
                  <a:lnTo>
                    <a:pt x="5233809" y="224790"/>
                  </a:lnTo>
                  <a:lnTo>
                    <a:pt x="5230863" y="229870"/>
                  </a:lnTo>
                  <a:lnTo>
                    <a:pt x="5236337" y="227330"/>
                  </a:lnTo>
                  <a:lnTo>
                    <a:pt x="5238191" y="229870"/>
                  </a:lnTo>
                  <a:lnTo>
                    <a:pt x="5230368" y="234950"/>
                  </a:lnTo>
                  <a:lnTo>
                    <a:pt x="5213096" y="242570"/>
                  </a:lnTo>
                  <a:lnTo>
                    <a:pt x="5220716" y="242570"/>
                  </a:lnTo>
                  <a:lnTo>
                    <a:pt x="5218290" y="246380"/>
                  </a:lnTo>
                  <a:lnTo>
                    <a:pt x="5225491" y="243840"/>
                  </a:lnTo>
                  <a:lnTo>
                    <a:pt x="5225046" y="246380"/>
                  </a:lnTo>
                  <a:lnTo>
                    <a:pt x="5224729" y="248920"/>
                  </a:lnTo>
                  <a:lnTo>
                    <a:pt x="5232501" y="243840"/>
                  </a:lnTo>
                  <a:lnTo>
                    <a:pt x="5234444" y="242570"/>
                  </a:lnTo>
                  <a:lnTo>
                    <a:pt x="5232374" y="247650"/>
                  </a:lnTo>
                  <a:lnTo>
                    <a:pt x="5223103" y="254000"/>
                  </a:lnTo>
                  <a:lnTo>
                    <a:pt x="5218049" y="255270"/>
                  </a:lnTo>
                  <a:lnTo>
                    <a:pt x="5221821" y="259080"/>
                  </a:lnTo>
                  <a:lnTo>
                    <a:pt x="5213591" y="262890"/>
                  </a:lnTo>
                  <a:lnTo>
                    <a:pt x="5222011" y="262890"/>
                  </a:lnTo>
                  <a:lnTo>
                    <a:pt x="5219712" y="266700"/>
                  </a:lnTo>
                  <a:lnTo>
                    <a:pt x="5208016" y="270510"/>
                  </a:lnTo>
                  <a:lnTo>
                    <a:pt x="5201628" y="274320"/>
                  </a:lnTo>
                  <a:lnTo>
                    <a:pt x="5210314" y="274320"/>
                  </a:lnTo>
                  <a:lnTo>
                    <a:pt x="5210340" y="280670"/>
                  </a:lnTo>
                  <a:lnTo>
                    <a:pt x="5218239" y="274320"/>
                  </a:lnTo>
                  <a:lnTo>
                    <a:pt x="5218735" y="279400"/>
                  </a:lnTo>
                  <a:lnTo>
                    <a:pt x="5230165" y="271780"/>
                  </a:lnTo>
                  <a:lnTo>
                    <a:pt x="5224488" y="280670"/>
                  </a:lnTo>
                  <a:lnTo>
                    <a:pt x="5223205" y="284480"/>
                  </a:lnTo>
                  <a:lnTo>
                    <a:pt x="5219979" y="288290"/>
                  </a:lnTo>
                  <a:lnTo>
                    <a:pt x="5219090" y="280670"/>
                  </a:lnTo>
                  <a:lnTo>
                    <a:pt x="5217642" y="289560"/>
                  </a:lnTo>
                  <a:lnTo>
                    <a:pt x="5208333" y="295910"/>
                  </a:lnTo>
                  <a:lnTo>
                    <a:pt x="5197018" y="302260"/>
                  </a:lnTo>
                  <a:lnTo>
                    <a:pt x="5195646" y="306070"/>
                  </a:lnTo>
                  <a:lnTo>
                    <a:pt x="5199773" y="304800"/>
                  </a:lnTo>
                  <a:lnTo>
                    <a:pt x="5200726" y="308610"/>
                  </a:lnTo>
                  <a:lnTo>
                    <a:pt x="5204726" y="307340"/>
                  </a:lnTo>
                  <a:lnTo>
                    <a:pt x="5206936" y="307340"/>
                  </a:lnTo>
                  <a:lnTo>
                    <a:pt x="5202948" y="314960"/>
                  </a:lnTo>
                  <a:lnTo>
                    <a:pt x="5198961" y="316230"/>
                  </a:lnTo>
                  <a:lnTo>
                    <a:pt x="5201183" y="317500"/>
                  </a:lnTo>
                  <a:lnTo>
                    <a:pt x="5200104" y="320040"/>
                  </a:lnTo>
                  <a:lnTo>
                    <a:pt x="5202440" y="318770"/>
                  </a:lnTo>
                  <a:lnTo>
                    <a:pt x="5205057" y="320040"/>
                  </a:lnTo>
                  <a:lnTo>
                    <a:pt x="5201602" y="323850"/>
                  </a:lnTo>
                  <a:lnTo>
                    <a:pt x="5207609" y="321310"/>
                  </a:lnTo>
                  <a:lnTo>
                    <a:pt x="5213197" y="320040"/>
                  </a:lnTo>
                  <a:lnTo>
                    <a:pt x="5208359" y="323850"/>
                  </a:lnTo>
                  <a:lnTo>
                    <a:pt x="5201932" y="326390"/>
                  </a:lnTo>
                  <a:lnTo>
                    <a:pt x="5198808" y="328930"/>
                  </a:lnTo>
                  <a:lnTo>
                    <a:pt x="5206098" y="328930"/>
                  </a:lnTo>
                  <a:lnTo>
                    <a:pt x="5203164" y="334010"/>
                  </a:lnTo>
                  <a:lnTo>
                    <a:pt x="5208625" y="331470"/>
                  </a:lnTo>
                  <a:lnTo>
                    <a:pt x="5210480" y="334010"/>
                  </a:lnTo>
                  <a:lnTo>
                    <a:pt x="5206733" y="336448"/>
                  </a:lnTo>
                  <a:lnTo>
                    <a:pt x="5206733" y="346710"/>
                  </a:lnTo>
                  <a:lnTo>
                    <a:pt x="5204663" y="351790"/>
                  </a:lnTo>
                  <a:lnTo>
                    <a:pt x="5196929" y="357098"/>
                  </a:lnTo>
                  <a:lnTo>
                    <a:pt x="5196929" y="383540"/>
                  </a:lnTo>
                  <a:lnTo>
                    <a:pt x="5196776" y="384810"/>
                  </a:lnTo>
                  <a:lnTo>
                    <a:pt x="5195506" y="388620"/>
                  </a:lnTo>
                  <a:lnTo>
                    <a:pt x="5194389" y="389890"/>
                  </a:lnTo>
                  <a:lnTo>
                    <a:pt x="5190528" y="387350"/>
                  </a:lnTo>
                  <a:lnTo>
                    <a:pt x="5184737" y="383540"/>
                  </a:lnTo>
                  <a:lnTo>
                    <a:pt x="5189156" y="379730"/>
                  </a:lnTo>
                  <a:lnTo>
                    <a:pt x="5190325" y="381000"/>
                  </a:lnTo>
                  <a:lnTo>
                    <a:pt x="5190795" y="381000"/>
                  </a:lnTo>
                  <a:lnTo>
                    <a:pt x="5191023" y="383540"/>
                  </a:lnTo>
                  <a:lnTo>
                    <a:pt x="5194224" y="381000"/>
                  </a:lnTo>
                  <a:lnTo>
                    <a:pt x="5194897" y="383540"/>
                  </a:lnTo>
                  <a:lnTo>
                    <a:pt x="5196929" y="383540"/>
                  </a:lnTo>
                  <a:lnTo>
                    <a:pt x="5196929" y="357098"/>
                  </a:lnTo>
                  <a:lnTo>
                    <a:pt x="5195405" y="358140"/>
                  </a:lnTo>
                  <a:lnTo>
                    <a:pt x="5190325" y="359410"/>
                  </a:lnTo>
                  <a:lnTo>
                    <a:pt x="5192611" y="361950"/>
                  </a:lnTo>
                  <a:lnTo>
                    <a:pt x="5194109" y="363220"/>
                  </a:lnTo>
                  <a:lnTo>
                    <a:pt x="5190045" y="364490"/>
                  </a:lnTo>
                  <a:lnTo>
                    <a:pt x="5183200" y="360680"/>
                  </a:lnTo>
                  <a:lnTo>
                    <a:pt x="5180355" y="353060"/>
                  </a:lnTo>
                  <a:lnTo>
                    <a:pt x="5187239" y="358140"/>
                  </a:lnTo>
                  <a:lnTo>
                    <a:pt x="5191137" y="355600"/>
                  </a:lnTo>
                  <a:lnTo>
                    <a:pt x="5196522" y="356870"/>
                  </a:lnTo>
                  <a:lnTo>
                    <a:pt x="5195570" y="355600"/>
                  </a:lnTo>
                  <a:lnTo>
                    <a:pt x="5193665" y="353060"/>
                  </a:lnTo>
                  <a:lnTo>
                    <a:pt x="5191760" y="350520"/>
                  </a:lnTo>
                  <a:lnTo>
                    <a:pt x="5197792" y="347980"/>
                  </a:lnTo>
                  <a:lnTo>
                    <a:pt x="5197030" y="353060"/>
                  </a:lnTo>
                  <a:lnTo>
                    <a:pt x="5202161" y="347980"/>
                  </a:lnTo>
                  <a:lnTo>
                    <a:pt x="5206733" y="346710"/>
                  </a:lnTo>
                  <a:lnTo>
                    <a:pt x="5206733" y="336448"/>
                  </a:lnTo>
                  <a:lnTo>
                    <a:pt x="5202656" y="339090"/>
                  </a:lnTo>
                  <a:lnTo>
                    <a:pt x="5193017" y="343522"/>
                  </a:lnTo>
                  <a:lnTo>
                    <a:pt x="5193017" y="346710"/>
                  </a:lnTo>
                  <a:lnTo>
                    <a:pt x="5191226" y="350520"/>
                  </a:lnTo>
                  <a:lnTo>
                    <a:pt x="5186654" y="346710"/>
                  </a:lnTo>
                  <a:lnTo>
                    <a:pt x="5193017" y="346710"/>
                  </a:lnTo>
                  <a:lnTo>
                    <a:pt x="5193017" y="343522"/>
                  </a:lnTo>
                  <a:lnTo>
                    <a:pt x="5186045" y="346710"/>
                  </a:lnTo>
                  <a:lnTo>
                    <a:pt x="5183225" y="345440"/>
                  </a:lnTo>
                  <a:lnTo>
                    <a:pt x="5180749" y="342900"/>
                  </a:lnTo>
                  <a:lnTo>
                    <a:pt x="5170805" y="332740"/>
                  </a:lnTo>
                  <a:lnTo>
                    <a:pt x="5170208" y="328930"/>
                  </a:lnTo>
                  <a:lnTo>
                    <a:pt x="5173408" y="328930"/>
                  </a:lnTo>
                  <a:lnTo>
                    <a:pt x="5174983" y="334010"/>
                  </a:lnTo>
                  <a:lnTo>
                    <a:pt x="5180381" y="330200"/>
                  </a:lnTo>
                  <a:lnTo>
                    <a:pt x="5181943" y="339090"/>
                  </a:lnTo>
                  <a:lnTo>
                    <a:pt x="5184267" y="335280"/>
                  </a:lnTo>
                  <a:lnTo>
                    <a:pt x="5191099" y="339090"/>
                  </a:lnTo>
                  <a:lnTo>
                    <a:pt x="5190782" y="336550"/>
                  </a:lnTo>
                  <a:lnTo>
                    <a:pt x="5191658" y="335280"/>
                  </a:lnTo>
                  <a:lnTo>
                    <a:pt x="5192534" y="334010"/>
                  </a:lnTo>
                  <a:lnTo>
                    <a:pt x="5197691" y="335280"/>
                  </a:lnTo>
                  <a:lnTo>
                    <a:pt x="5196052" y="334010"/>
                  </a:lnTo>
                  <a:lnTo>
                    <a:pt x="5191112" y="330200"/>
                  </a:lnTo>
                  <a:lnTo>
                    <a:pt x="5189474" y="328930"/>
                  </a:lnTo>
                  <a:lnTo>
                    <a:pt x="5181244" y="322580"/>
                  </a:lnTo>
                  <a:lnTo>
                    <a:pt x="5180457" y="320040"/>
                  </a:lnTo>
                  <a:lnTo>
                    <a:pt x="5183517" y="320040"/>
                  </a:lnTo>
                  <a:lnTo>
                    <a:pt x="5170411" y="308610"/>
                  </a:lnTo>
                  <a:lnTo>
                    <a:pt x="5173980" y="308610"/>
                  </a:lnTo>
                  <a:lnTo>
                    <a:pt x="5177942" y="311150"/>
                  </a:lnTo>
                  <a:lnTo>
                    <a:pt x="5177396" y="308610"/>
                  </a:lnTo>
                  <a:lnTo>
                    <a:pt x="5176291" y="303530"/>
                  </a:lnTo>
                  <a:lnTo>
                    <a:pt x="5185295" y="308610"/>
                  </a:lnTo>
                  <a:lnTo>
                    <a:pt x="5184762" y="303530"/>
                  </a:lnTo>
                  <a:lnTo>
                    <a:pt x="5184622" y="302260"/>
                  </a:lnTo>
                  <a:lnTo>
                    <a:pt x="5189906" y="302260"/>
                  </a:lnTo>
                  <a:lnTo>
                    <a:pt x="5176151" y="295910"/>
                  </a:lnTo>
                  <a:lnTo>
                    <a:pt x="5167274" y="290830"/>
                  </a:lnTo>
                  <a:lnTo>
                    <a:pt x="5169154" y="287020"/>
                  </a:lnTo>
                  <a:lnTo>
                    <a:pt x="5175872" y="293370"/>
                  </a:lnTo>
                  <a:lnTo>
                    <a:pt x="5176825" y="287020"/>
                  </a:lnTo>
                  <a:lnTo>
                    <a:pt x="5177015" y="285750"/>
                  </a:lnTo>
                  <a:lnTo>
                    <a:pt x="5182895" y="293370"/>
                  </a:lnTo>
                  <a:lnTo>
                    <a:pt x="5180901" y="287020"/>
                  </a:lnTo>
                  <a:lnTo>
                    <a:pt x="5190045" y="289560"/>
                  </a:lnTo>
                  <a:lnTo>
                    <a:pt x="5188699" y="287020"/>
                  </a:lnTo>
                  <a:lnTo>
                    <a:pt x="5188026" y="285750"/>
                  </a:lnTo>
                  <a:lnTo>
                    <a:pt x="5186680" y="283210"/>
                  </a:lnTo>
                  <a:lnTo>
                    <a:pt x="5192280" y="284480"/>
                  </a:lnTo>
                  <a:lnTo>
                    <a:pt x="5189601" y="283210"/>
                  </a:lnTo>
                  <a:lnTo>
                    <a:pt x="5181524" y="279400"/>
                  </a:lnTo>
                  <a:lnTo>
                    <a:pt x="5174348" y="276860"/>
                  </a:lnTo>
                  <a:lnTo>
                    <a:pt x="5167173" y="274320"/>
                  </a:lnTo>
                  <a:lnTo>
                    <a:pt x="5170894" y="273050"/>
                  </a:lnTo>
                  <a:lnTo>
                    <a:pt x="5173383" y="271780"/>
                  </a:lnTo>
                  <a:lnTo>
                    <a:pt x="5166080" y="265430"/>
                  </a:lnTo>
                  <a:lnTo>
                    <a:pt x="5163147" y="262890"/>
                  </a:lnTo>
                  <a:lnTo>
                    <a:pt x="5177091" y="267970"/>
                  </a:lnTo>
                  <a:lnTo>
                    <a:pt x="5174577" y="264160"/>
                  </a:lnTo>
                  <a:lnTo>
                    <a:pt x="5179199" y="262890"/>
                  </a:lnTo>
                  <a:lnTo>
                    <a:pt x="5165318" y="255270"/>
                  </a:lnTo>
                  <a:lnTo>
                    <a:pt x="5170043" y="250190"/>
                  </a:lnTo>
                  <a:lnTo>
                    <a:pt x="5163705" y="247650"/>
                  </a:lnTo>
                  <a:lnTo>
                    <a:pt x="5164582" y="243840"/>
                  </a:lnTo>
                  <a:lnTo>
                    <a:pt x="5160505" y="241300"/>
                  </a:lnTo>
                  <a:lnTo>
                    <a:pt x="5161864" y="240030"/>
                  </a:lnTo>
                  <a:lnTo>
                    <a:pt x="5159680" y="237490"/>
                  </a:lnTo>
                  <a:lnTo>
                    <a:pt x="5158333" y="226060"/>
                  </a:lnTo>
                  <a:lnTo>
                    <a:pt x="5156466" y="237490"/>
                  </a:lnTo>
                  <a:lnTo>
                    <a:pt x="5154003" y="241300"/>
                  </a:lnTo>
                  <a:lnTo>
                    <a:pt x="5155374" y="243840"/>
                  </a:lnTo>
                  <a:lnTo>
                    <a:pt x="5149621" y="246380"/>
                  </a:lnTo>
                  <a:lnTo>
                    <a:pt x="5150320" y="248920"/>
                  </a:lnTo>
                  <a:lnTo>
                    <a:pt x="5142369" y="251460"/>
                  </a:lnTo>
                  <a:lnTo>
                    <a:pt x="5154104" y="255270"/>
                  </a:lnTo>
                  <a:lnTo>
                    <a:pt x="5138204" y="261620"/>
                  </a:lnTo>
                  <a:lnTo>
                    <a:pt x="5144300" y="265430"/>
                  </a:lnTo>
                  <a:lnTo>
                    <a:pt x="5140845" y="269240"/>
                  </a:lnTo>
                  <a:lnTo>
                    <a:pt x="5146853" y="266700"/>
                  </a:lnTo>
                  <a:lnTo>
                    <a:pt x="5152441" y="265430"/>
                  </a:lnTo>
                  <a:lnTo>
                    <a:pt x="5147602" y="269240"/>
                  </a:lnTo>
                  <a:lnTo>
                    <a:pt x="5143754" y="270510"/>
                  </a:lnTo>
                  <a:lnTo>
                    <a:pt x="5141176" y="271780"/>
                  </a:lnTo>
                  <a:lnTo>
                    <a:pt x="5138051" y="274320"/>
                  </a:lnTo>
                  <a:lnTo>
                    <a:pt x="5145341" y="274320"/>
                  </a:lnTo>
                  <a:lnTo>
                    <a:pt x="5142408" y="279400"/>
                  </a:lnTo>
                  <a:lnTo>
                    <a:pt x="5147869" y="276860"/>
                  </a:lnTo>
                  <a:lnTo>
                    <a:pt x="5149723" y="279400"/>
                  </a:lnTo>
                  <a:lnTo>
                    <a:pt x="5141900" y="284480"/>
                  </a:lnTo>
                  <a:lnTo>
                    <a:pt x="5124628" y="292100"/>
                  </a:lnTo>
                  <a:lnTo>
                    <a:pt x="5132248" y="292100"/>
                  </a:lnTo>
                  <a:lnTo>
                    <a:pt x="5129822" y="295910"/>
                  </a:lnTo>
                  <a:lnTo>
                    <a:pt x="5137035" y="293370"/>
                  </a:lnTo>
                  <a:lnTo>
                    <a:pt x="5136261" y="298450"/>
                  </a:lnTo>
                  <a:lnTo>
                    <a:pt x="5141404" y="293370"/>
                  </a:lnTo>
                  <a:lnTo>
                    <a:pt x="5145976" y="292100"/>
                  </a:lnTo>
                  <a:lnTo>
                    <a:pt x="5143906" y="297180"/>
                  </a:lnTo>
                  <a:lnTo>
                    <a:pt x="5141696" y="298704"/>
                  </a:lnTo>
                  <a:lnTo>
                    <a:pt x="5141696" y="321310"/>
                  </a:lnTo>
                  <a:lnTo>
                    <a:pt x="5136985" y="328688"/>
                  </a:lnTo>
                  <a:lnTo>
                    <a:pt x="5136985" y="365760"/>
                  </a:lnTo>
                  <a:lnTo>
                    <a:pt x="5132400" y="370840"/>
                  </a:lnTo>
                  <a:lnTo>
                    <a:pt x="5132184" y="370522"/>
                  </a:lnTo>
                  <a:lnTo>
                    <a:pt x="5132184" y="370840"/>
                  </a:lnTo>
                  <a:lnTo>
                    <a:pt x="5128285" y="375920"/>
                  </a:lnTo>
                  <a:lnTo>
                    <a:pt x="5126126" y="377190"/>
                  </a:lnTo>
                  <a:lnTo>
                    <a:pt x="5121287" y="372922"/>
                  </a:lnTo>
                  <a:lnTo>
                    <a:pt x="5121287" y="383540"/>
                  </a:lnTo>
                  <a:lnTo>
                    <a:pt x="5120716" y="387350"/>
                  </a:lnTo>
                  <a:lnTo>
                    <a:pt x="5120233" y="387350"/>
                  </a:lnTo>
                  <a:lnTo>
                    <a:pt x="5118239" y="386080"/>
                  </a:lnTo>
                  <a:lnTo>
                    <a:pt x="5117236" y="384810"/>
                  </a:lnTo>
                  <a:lnTo>
                    <a:pt x="5115242" y="383540"/>
                  </a:lnTo>
                  <a:lnTo>
                    <a:pt x="5121287" y="383540"/>
                  </a:lnTo>
                  <a:lnTo>
                    <a:pt x="5121287" y="372922"/>
                  </a:lnTo>
                  <a:lnTo>
                    <a:pt x="5120373" y="372110"/>
                  </a:lnTo>
                  <a:lnTo>
                    <a:pt x="5122342" y="372110"/>
                  </a:lnTo>
                  <a:lnTo>
                    <a:pt x="5120106" y="368300"/>
                  </a:lnTo>
                  <a:lnTo>
                    <a:pt x="5121326" y="367030"/>
                  </a:lnTo>
                  <a:lnTo>
                    <a:pt x="5122773" y="367030"/>
                  </a:lnTo>
                  <a:lnTo>
                    <a:pt x="5125644" y="372110"/>
                  </a:lnTo>
                  <a:lnTo>
                    <a:pt x="5126317" y="368300"/>
                  </a:lnTo>
                  <a:lnTo>
                    <a:pt x="5132184" y="370840"/>
                  </a:lnTo>
                  <a:lnTo>
                    <a:pt x="5132184" y="370522"/>
                  </a:lnTo>
                  <a:lnTo>
                    <a:pt x="5130711" y="368300"/>
                  </a:lnTo>
                  <a:lnTo>
                    <a:pt x="5129860" y="367030"/>
                  </a:lnTo>
                  <a:lnTo>
                    <a:pt x="5128158" y="364490"/>
                  </a:lnTo>
                  <a:lnTo>
                    <a:pt x="5131295" y="365760"/>
                  </a:lnTo>
                  <a:lnTo>
                    <a:pt x="5131244" y="364490"/>
                  </a:lnTo>
                  <a:lnTo>
                    <a:pt x="5131181" y="363220"/>
                  </a:lnTo>
                  <a:lnTo>
                    <a:pt x="5132870" y="361950"/>
                  </a:lnTo>
                  <a:lnTo>
                    <a:pt x="5134546" y="360680"/>
                  </a:lnTo>
                  <a:lnTo>
                    <a:pt x="5133175" y="367030"/>
                  </a:lnTo>
                  <a:lnTo>
                    <a:pt x="5136985" y="365760"/>
                  </a:lnTo>
                  <a:lnTo>
                    <a:pt x="5136985" y="328688"/>
                  </a:lnTo>
                  <a:lnTo>
                    <a:pt x="5136019" y="330200"/>
                  </a:lnTo>
                  <a:lnTo>
                    <a:pt x="5134737" y="334010"/>
                  </a:lnTo>
                  <a:lnTo>
                    <a:pt x="5130901" y="337820"/>
                  </a:lnTo>
                  <a:lnTo>
                    <a:pt x="5123510" y="342900"/>
                  </a:lnTo>
                  <a:lnTo>
                    <a:pt x="5117782" y="341426"/>
                  </a:lnTo>
                  <a:lnTo>
                    <a:pt x="5117782" y="381000"/>
                  </a:lnTo>
                  <a:lnTo>
                    <a:pt x="5114150" y="383540"/>
                  </a:lnTo>
                  <a:lnTo>
                    <a:pt x="5111254" y="382270"/>
                  </a:lnTo>
                  <a:lnTo>
                    <a:pt x="5109032" y="377190"/>
                  </a:lnTo>
                  <a:lnTo>
                    <a:pt x="5117782" y="381000"/>
                  </a:lnTo>
                  <a:lnTo>
                    <a:pt x="5117782" y="341426"/>
                  </a:lnTo>
                  <a:lnTo>
                    <a:pt x="5103876" y="337820"/>
                  </a:lnTo>
                  <a:lnTo>
                    <a:pt x="5111915" y="337820"/>
                  </a:lnTo>
                  <a:lnTo>
                    <a:pt x="5111864" y="335280"/>
                  </a:lnTo>
                  <a:lnTo>
                    <a:pt x="5111813" y="334010"/>
                  </a:lnTo>
                  <a:lnTo>
                    <a:pt x="5119230" y="339090"/>
                  </a:lnTo>
                  <a:lnTo>
                    <a:pt x="5119065" y="337820"/>
                  </a:lnTo>
                  <a:lnTo>
                    <a:pt x="5118836" y="334010"/>
                  </a:lnTo>
                  <a:lnTo>
                    <a:pt x="5124488" y="328930"/>
                  </a:lnTo>
                  <a:lnTo>
                    <a:pt x="5123408" y="328930"/>
                  </a:lnTo>
                  <a:lnTo>
                    <a:pt x="5129771" y="323850"/>
                  </a:lnTo>
                  <a:lnTo>
                    <a:pt x="5130266" y="328930"/>
                  </a:lnTo>
                  <a:lnTo>
                    <a:pt x="5136019" y="323850"/>
                  </a:lnTo>
                  <a:lnTo>
                    <a:pt x="5141696" y="321310"/>
                  </a:lnTo>
                  <a:lnTo>
                    <a:pt x="5141696" y="298704"/>
                  </a:lnTo>
                  <a:lnTo>
                    <a:pt x="5134648" y="303530"/>
                  </a:lnTo>
                  <a:lnTo>
                    <a:pt x="5129581" y="304800"/>
                  </a:lnTo>
                  <a:lnTo>
                    <a:pt x="5133352" y="307340"/>
                  </a:lnTo>
                  <a:lnTo>
                    <a:pt x="5125123" y="312420"/>
                  </a:lnTo>
                  <a:lnTo>
                    <a:pt x="5133543" y="312420"/>
                  </a:lnTo>
                  <a:lnTo>
                    <a:pt x="5131244" y="316230"/>
                  </a:lnTo>
                  <a:lnTo>
                    <a:pt x="5121859" y="319290"/>
                  </a:lnTo>
                  <a:lnTo>
                    <a:pt x="5121859" y="323850"/>
                  </a:lnTo>
                  <a:lnTo>
                    <a:pt x="5121859" y="328930"/>
                  </a:lnTo>
                  <a:lnTo>
                    <a:pt x="5116436" y="328930"/>
                  </a:lnTo>
                  <a:lnTo>
                    <a:pt x="5117922" y="325120"/>
                  </a:lnTo>
                  <a:lnTo>
                    <a:pt x="5119789" y="323850"/>
                  </a:lnTo>
                  <a:lnTo>
                    <a:pt x="5121859" y="323850"/>
                  </a:lnTo>
                  <a:lnTo>
                    <a:pt x="5121859" y="319290"/>
                  </a:lnTo>
                  <a:lnTo>
                    <a:pt x="5119548" y="320040"/>
                  </a:lnTo>
                  <a:lnTo>
                    <a:pt x="5117287" y="321310"/>
                  </a:lnTo>
                  <a:lnTo>
                    <a:pt x="5120906" y="316230"/>
                  </a:lnTo>
                  <a:lnTo>
                    <a:pt x="5102326" y="323850"/>
                  </a:lnTo>
                  <a:lnTo>
                    <a:pt x="5099189" y="317500"/>
                  </a:lnTo>
                  <a:lnTo>
                    <a:pt x="5097919" y="314960"/>
                  </a:lnTo>
                  <a:lnTo>
                    <a:pt x="5105285" y="321310"/>
                  </a:lnTo>
                  <a:lnTo>
                    <a:pt x="5105324" y="316230"/>
                  </a:lnTo>
                  <a:lnTo>
                    <a:pt x="5112385" y="317500"/>
                  </a:lnTo>
                  <a:lnTo>
                    <a:pt x="5111635" y="316230"/>
                  </a:lnTo>
                  <a:lnTo>
                    <a:pt x="5110886" y="314960"/>
                  </a:lnTo>
                  <a:lnTo>
                    <a:pt x="5109908" y="313690"/>
                  </a:lnTo>
                  <a:lnTo>
                    <a:pt x="5113706" y="312420"/>
                  </a:lnTo>
                  <a:lnTo>
                    <a:pt x="5116246" y="312420"/>
                  </a:lnTo>
                  <a:lnTo>
                    <a:pt x="5111813" y="309880"/>
                  </a:lnTo>
                  <a:lnTo>
                    <a:pt x="5104625" y="307340"/>
                  </a:lnTo>
                  <a:lnTo>
                    <a:pt x="5109349" y="306070"/>
                  </a:lnTo>
                  <a:lnTo>
                    <a:pt x="5112486" y="306070"/>
                  </a:lnTo>
                  <a:lnTo>
                    <a:pt x="5107229" y="302260"/>
                  </a:lnTo>
                  <a:lnTo>
                    <a:pt x="5110124" y="298450"/>
                  </a:lnTo>
                  <a:lnTo>
                    <a:pt x="5112055" y="295910"/>
                  </a:lnTo>
                  <a:lnTo>
                    <a:pt x="5108664" y="297180"/>
                  </a:lnTo>
                  <a:lnTo>
                    <a:pt x="5106416" y="298450"/>
                  </a:lnTo>
                  <a:lnTo>
                    <a:pt x="5102974" y="297180"/>
                  </a:lnTo>
                  <a:lnTo>
                    <a:pt x="5105184" y="294640"/>
                  </a:lnTo>
                  <a:lnTo>
                    <a:pt x="5106276" y="293370"/>
                  </a:lnTo>
                  <a:lnTo>
                    <a:pt x="5096916" y="294640"/>
                  </a:lnTo>
                  <a:lnTo>
                    <a:pt x="5103050" y="288290"/>
                  </a:lnTo>
                  <a:lnTo>
                    <a:pt x="5097081" y="285750"/>
                  </a:lnTo>
                  <a:lnTo>
                    <a:pt x="5095811" y="271780"/>
                  </a:lnTo>
                  <a:lnTo>
                    <a:pt x="5094656" y="265430"/>
                  </a:lnTo>
                  <a:lnTo>
                    <a:pt x="5093068" y="267970"/>
                  </a:lnTo>
                  <a:lnTo>
                    <a:pt x="5092776" y="279400"/>
                  </a:lnTo>
                  <a:lnTo>
                    <a:pt x="5090630" y="285750"/>
                  </a:lnTo>
                  <a:lnTo>
                    <a:pt x="5086299" y="288290"/>
                  </a:lnTo>
                  <a:lnTo>
                    <a:pt x="5090160" y="290830"/>
                  </a:lnTo>
                  <a:lnTo>
                    <a:pt x="5079746" y="295910"/>
                  </a:lnTo>
                  <a:lnTo>
                    <a:pt x="5083645" y="298450"/>
                  </a:lnTo>
                  <a:lnTo>
                    <a:pt x="5080762" y="300990"/>
                  </a:lnTo>
                  <a:lnTo>
                    <a:pt x="5089601" y="303530"/>
                  </a:lnTo>
                  <a:lnTo>
                    <a:pt x="5082057" y="307340"/>
                  </a:lnTo>
                  <a:lnTo>
                    <a:pt x="5074653" y="308610"/>
                  </a:lnTo>
                  <a:lnTo>
                    <a:pt x="5081752" y="311150"/>
                  </a:lnTo>
                  <a:lnTo>
                    <a:pt x="5080597" y="316230"/>
                  </a:lnTo>
                  <a:lnTo>
                    <a:pt x="5085283" y="313690"/>
                  </a:lnTo>
                  <a:lnTo>
                    <a:pt x="5085169" y="318770"/>
                  </a:lnTo>
                  <a:lnTo>
                    <a:pt x="5089410" y="317500"/>
                  </a:lnTo>
                  <a:lnTo>
                    <a:pt x="5082870" y="322580"/>
                  </a:lnTo>
                  <a:lnTo>
                    <a:pt x="5074551" y="320040"/>
                  </a:lnTo>
                  <a:lnTo>
                    <a:pt x="5070386" y="320040"/>
                  </a:lnTo>
                  <a:lnTo>
                    <a:pt x="5062080" y="317500"/>
                  </a:lnTo>
                  <a:lnTo>
                    <a:pt x="5064988" y="321310"/>
                  </a:lnTo>
                  <a:lnTo>
                    <a:pt x="5060874" y="323850"/>
                  </a:lnTo>
                  <a:lnTo>
                    <a:pt x="5069217" y="322580"/>
                  </a:lnTo>
                  <a:lnTo>
                    <a:pt x="5062486" y="327660"/>
                  </a:lnTo>
                  <a:lnTo>
                    <a:pt x="5068836" y="330200"/>
                  </a:lnTo>
                  <a:lnTo>
                    <a:pt x="5060658" y="337820"/>
                  </a:lnTo>
                  <a:lnTo>
                    <a:pt x="5066944" y="335280"/>
                  </a:lnTo>
                  <a:lnTo>
                    <a:pt x="5069916" y="340360"/>
                  </a:lnTo>
                  <a:lnTo>
                    <a:pt x="5075974" y="335280"/>
                  </a:lnTo>
                  <a:lnTo>
                    <a:pt x="5070310" y="345440"/>
                  </a:lnTo>
                  <a:lnTo>
                    <a:pt x="5075631" y="342900"/>
                  </a:lnTo>
                  <a:lnTo>
                    <a:pt x="5080114" y="345440"/>
                  </a:lnTo>
                  <a:lnTo>
                    <a:pt x="5081651" y="342900"/>
                  </a:lnTo>
                  <a:lnTo>
                    <a:pt x="5084724" y="337820"/>
                  </a:lnTo>
                  <a:lnTo>
                    <a:pt x="5086197" y="342900"/>
                  </a:lnTo>
                  <a:lnTo>
                    <a:pt x="5075491" y="349250"/>
                  </a:lnTo>
                  <a:lnTo>
                    <a:pt x="5056911" y="353060"/>
                  </a:lnTo>
                  <a:lnTo>
                    <a:pt x="5057508" y="354330"/>
                  </a:lnTo>
                  <a:lnTo>
                    <a:pt x="5058372" y="355600"/>
                  </a:lnTo>
                  <a:lnTo>
                    <a:pt x="5049571" y="356870"/>
                  </a:lnTo>
                  <a:lnTo>
                    <a:pt x="5058715" y="361950"/>
                  </a:lnTo>
                  <a:lnTo>
                    <a:pt x="5054943" y="367030"/>
                  </a:lnTo>
                  <a:lnTo>
                    <a:pt x="5069624" y="361950"/>
                  </a:lnTo>
                  <a:lnTo>
                    <a:pt x="5059070" y="374650"/>
                  </a:lnTo>
                  <a:lnTo>
                    <a:pt x="5066068" y="373380"/>
                  </a:lnTo>
                  <a:lnTo>
                    <a:pt x="5066703" y="378460"/>
                  </a:lnTo>
                  <a:lnTo>
                    <a:pt x="5070106" y="373380"/>
                  </a:lnTo>
                  <a:lnTo>
                    <a:pt x="5071796" y="370840"/>
                  </a:lnTo>
                  <a:lnTo>
                    <a:pt x="5074945" y="375920"/>
                  </a:lnTo>
                  <a:lnTo>
                    <a:pt x="5075453" y="372110"/>
                  </a:lnTo>
                  <a:lnTo>
                    <a:pt x="5075682" y="370840"/>
                  </a:lnTo>
                  <a:lnTo>
                    <a:pt x="5076190" y="367030"/>
                  </a:lnTo>
                  <a:lnTo>
                    <a:pt x="5079162" y="368300"/>
                  </a:lnTo>
                  <a:lnTo>
                    <a:pt x="5081117" y="372110"/>
                  </a:lnTo>
                  <a:lnTo>
                    <a:pt x="5072519" y="379730"/>
                  </a:lnTo>
                  <a:lnTo>
                    <a:pt x="5079403" y="382270"/>
                  </a:lnTo>
                  <a:lnTo>
                    <a:pt x="5077028" y="386080"/>
                  </a:lnTo>
                  <a:lnTo>
                    <a:pt x="5076825" y="386143"/>
                  </a:lnTo>
                  <a:lnTo>
                    <a:pt x="5076825" y="403860"/>
                  </a:lnTo>
                  <a:lnTo>
                    <a:pt x="5072596" y="410210"/>
                  </a:lnTo>
                  <a:lnTo>
                    <a:pt x="5059172" y="416560"/>
                  </a:lnTo>
                  <a:lnTo>
                    <a:pt x="5050650" y="412750"/>
                  </a:lnTo>
                  <a:lnTo>
                    <a:pt x="5049964" y="412750"/>
                  </a:lnTo>
                  <a:lnTo>
                    <a:pt x="5053101" y="411480"/>
                  </a:lnTo>
                  <a:lnTo>
                    <a:pt x="5046815" y="409067"/>
                  </a:lnTo>
                  <a:lnTo>
                    <a:pt x="5046815" y="427990"/>
                  </a:lnTo>
                  <a:lnTo>
                    <a:pt x="5041455" y="429260"/>
                  </a:lnTo>
                  <a:lnTo>
                    <a:pt x="5040515" y="426720"/>
                  </a:lnTo>
                  <a:lnTo>
                    <a:pt x="5043132" y="422910"/>
                  </a:lnTo>
                  <a:lnTo>
                    <a:pt x="5045341" y="425450"/>
                  </a:lnTo>
                  <a:lnTo>
                    <a:pt x="5046815" y="427990"/>
                  </a:lnTo>
                  <a:lnTo>
                    <a:pt x="5046815" y="409067"/>
                  </a:lnTo>
                  <a:lnTo>
                    <a:pt x="5046510" y="408940"/>
                  </a:lnTo>
                  <a:lnTo>
                    <a:pt x="5042217" y="407276"/>
                  </a:lnTo>
                  <a:lnTo>
                    <a:pt x="5052885" y="401320"/>
                  </a:lnTo>
                  <a:lnTo>
                    <a:pt x="5050548" y="410210"/>
                  </a:lnTo>
                  <a:lnTo>
                    <a:pt x="5056898" y="403860"/>
                  </a:lnTo>
                  <a:lnTo>
                    <a:pt x="5055959" y="408940"/>
                  </a:lnTo>
                  <a:lnTo>
                    <a:pt x="5055311" y="412750"/>
                  </a:lnTo>
                  <a:lnTo>
                    <a:pt x="5061661" y="408940"/>
                  </a:lnTo>
                  <a:lnTo>
                    <a:pt x="5064836" y="411480"/>
                  </a:lnTo>
                  <a:lnTo>
                    <a:pt x="5065179" y="408940"/>
                  </a:lnTo>
                  <a:lnTo>
                    <a:pt x="5065865" y="403860"/>
                  </a:lnTo>
                  <a:lnTo>
                    <a:pt x="5066195" y="401320"/>
                  </a:lnTo>
                  <a:lnTo>
                    <a:pt x="5069700" y="406400"/>
                  </a:lnTo>
                  <a:lnTo>
                    <a:pt x="5076825" y="403860"/>
                  </a:lnTo>
                  <a:lnTo>
                    <a:pt x="5076825" y="386143"/>
                  </a:lnTo>
                  <a:lnTo>
                    <a:pt x="5049977" y="393700"/>
                  </a:lnTo>
                  <a:lnTo>
                    <a:pt x="5058842" y="389890"/>
                  </a:lnTo>
                  <a:lnTo>
                    <a:pt x="5047145" y="389890"/>
                  </a:lnTo>
                  <a:lnTo>
                    <a:pt x="5044948" y="389001"/>
                  </a:lnTo>
                  <a:lnTo>
                    <a:pt x="5044948" y="400050"/>
                  </a:lnTo>
                  <a:lnTo>
                    <a:pt x="5041785" y="407111"/>
                  </a:lnTo>
                  <a:lnTo>
                    <a:pt x="5033327" y="403860"/>
                  </a:lnTo>
                  <a:lnTo>
                    <a:pt x="5031067" y="401320"/>
                  </a:lnTo>
                  <a:lnTo>
                    <a:pt x="5027625" y="397471"/>
                  </a:lnTo>
                  <a:lnTo>
                    <a:pt x="5027625" y="435610"/>
                  </a:lnTo>
                  <a:lnTo>
                    <a:pt x="5027180" y="435610"/>
                  </a:lnTo>
                  <a:lnTo>
                    <a:pt x="5026749" y="436880"/>
                  </a:lnTo>
                  <a:lnTo>
                    <a:pt x="5026304" y="439420"/>
                  </a:lnTo>
                  <a:lnTo>
                    <a:pt x="5025695" y="439420"/>
                  </a:lnTo>
                  <a:lnTo>
                    <a:pt x="5023866" y="435610"/>
                  </a:lnTo>
                  <a:lnTo>
                    <a:pt x="5024425" y="431800"/>
                  </a:lnTo>
                  <a:lnTo>
                    <a:pt x="5027625" y="435610"/>
                  </a:lnTo>
                  <a:lnTo>
                    <a:pt x="5027625" y="397471"/>
                  </a:lnTo>
                  <a:lnTo>
                    <a:pt x="5025402" y="394970"/>
                  </a:lnTo>
                  <a:lnTo>
                    <a:pt x="5024310" y="389890"/>
                  </a:lnTo>
                  <a:lnTo>
                    <a:pt x="5026977" y="389890"/>
                  </a:lnTo>
                  <a:lnTo>
                    <a:pt x="5035499" y="401320"/>
                  </a:lnTo>
                  <a:lnTo>
                    <a:pt x="5035829" y="398780"/>
                  </a:lnTo>
                  <a:lnTo>
                    <a:pt x="5035283" y="394970"/>
                  </a:lnTo>
                  <a:lnTo>
                    <a:pt x="5036540" y="393700"/>
                  </a:lnTo>
                  <a:lnTo>
                    <a:pt x="5038483" y="397510"/>
                  </a:lnTo>
                  <a:lnTo>
                    <a:pt x="5038941" y="397510"/>
                  </a:lnTo>
                  <a:lnTo>
                    <a:pt x="5043398" y="402590"/>
                  </a:lnTo>
                  <a:lnTo>
                    <a:pt x="5043221" y="398780"/>
                  </a:lnTo>
                  <a:lnTo>
                    <a:pt x="5044948" y="400050"/>
                  </a:lnTo>
                  <a:lnTo>
                    <a:pt x="5044948" y="389001"/>
                  </a:lnTo>
                  <a:lnTo>
                    <a:pt x="5040884" y="387350"/>
                  </a:lnTo>
                  <a:lnTo>
                    <a:pt x="5044922" y="386080"/>
                  </a:lnTo>
                  <a:lnTo>
                    <a:pt x="5030876" y="382270"/>
                  </a:lnTo>
                  <a:lnTo>
                    <a:pt x="5024933" y="377190"/>
                  </a:lnTo>
                  <a:lnTo>
                    <a:pt x="5025072" y="375920"/>
                  </a:lnTo>
                  <a:lnTo>
                    <a:pt x="5025199" y="374650"/>
                  </a:lnTo>
                  <a:lnTo>
                    <a:pt x="5032502" y="374650"/>
                  </a:lnTo>
                  <a:lnTo>
                    <a:pt x="5026571" y="369570"/>
                  </a:lnTo>
                  <a:lnTo>
                    <a:pt x="5022113" y="365760"/>
                  </a:lnTo>
                  <a:lnTo>
                    <a:pt x="5028044" y="365760"/>
                  </a:lnTo>
                  <a:lnTo>
                    <a:pt x="5035931" y="369570"/>
                  </a:lnTo>
                  <a:lnTo>
                    <a:pt x="5035969" y="365760"/>
                  </a:lnTo>
                  <a:lnTo>
                    <a:pt x="5035994" y="361950"/>
                  </a:lnTo>
                  <a:lnTo>
                    <a:pt x="5042154" y="358140"/>
                  </a:lnTo>
                  <a:lnTo>
                    <a:pt x="5026190" y="356870"/>
                  </a:lnTo>
                  <a:lnTo>
                    <a:pt x="5022647" y="355600"/>
                  </a:lnTo>
                  <a:lnTo>
                    <a:pt x="5019103" y="354330"/>
                  </a:lnTo>
                  <a:lnTo>
                    <a:pt x="5019764" y="351790"/>
                  </a:lnTo>
                  <a:lnTo>
                    <a:pt x="5029644" y="355600"/>
                  </a:lnTo>
                  <a:lnTo>
                    <a:pt x="5028984" y="351790"/>
                  </a:lnTo>
                  <a:lnTo>
                    <a:pt x="5028755" y="350520"/>
                  </a:lnTo>
                  <a:lnTo>
                    <a:pt x="5036451" y="351790"/>
                  </a:lnTo>
                  <a:lnTo>
                    <a:pt x="5034762" y="346710"/>
                  </a:lnTo>
                  <a:lnTo>
                    <a:pt x="5036477" y="344170"/>
                  </a:lnTo>
                  <a:lnTo>
                    <a:pt x="5039906" y="339090"/>
                  </a:lnTo>
                  <a:lnTo>
                    <a:pt x="5030686" y="342900"/>
                  </a:lnTo>
                  <a:lnTo>
                    <a:pt x="5024539" y="344170"/>
                  </a:lnTo>
                  <a:lnTo>
                    <a:pt x="5018240" y="342900"/>
                  </a:lnTo>
                  <a:lnTo>
                    <a:pt x="5020564" y="337820"/>
                  </a:lnTo>
                  <a:lnTo>
                    <a:pt x="5026965" y="336550"/>
                  </a:lnTo>
                  <a:lnTo>
                    <a:pt x="5025428" y="334010"/>
                  </a:lnTo>
                  <a:lnTo>
                    <a:pt x="5027219" y="331470"/>
                  </a:lnTo>
                  <a:lnTo>
                    <a:pt x="5029886" y="327660"/>
                  </a:lnTo>
                  <a:lnTo>
                    <a:pt x="5020132" y="331470"/>
                  </a:lnTo>
                  <a:lnTo>
                    <a:pt x="5018329" y="327660"/>
                  </a:lnTo>
                  <a:lnTo>
                    <a:pt x="5020754" y="323850"/>
                  </a:lnTo>
                  <a:lnTo>
                    <a:pt x="5021554" y="322580"/>
                  </a:lnTo>
                  <a:lnTo>
                    <a:pt x="5019256" y="323850"/>
                  </a:lnTo>
                  <a:lnTo>
                    <a:pt x="5015941" y="321310"/>
                  </a:lnTo>
                  <a:lnTo>
                    <a:pt x="5016170" y="304800"/>
                  </a:lnTo>
                  <a:lnTo>
                    <a:pt x="5014226" y="303530"/>
                  </a:lnTo>
                  <a:lnTo>
                    <a:pt x="5013058" y="307340"/>
                  </a:lnTo>
                  <a:lnTo>
                    <a:pt x="5012880" y="317500"/>
                  </a:lnTo>
                  <a:lnTo>
                    <a:pt x="5009705" y="321310"/>
                  </a:lnTo>
                  <a:lnTo>
                    <a:pt x="5004625" y="321310"/>
                  </a:lnTo>
                  <a:lnTo>
                    <a:pt x="5009604" y="326390"/>
                  </a:lnTo>
                  <a:lnTo>
                    <a:pt x="5010620" y="331470"/>
                  </a:lnTo>
                  <a:lnTo>
                    <a:pt x="4996497" y="327660"/>
                  </a:lnTo>
                  <a:lnTo>
                    <a:pt x="5002149" y="332740"/>
                  </a:lnTo>
                  <a:lnTo>
                    <a:pt x="5000587" y="339090"/>
                  </a:lnTo>
                  <a:lnTo>
                    <a:pt x="5005844" y="336550"/>
                  </a:lnTo>
                  <a:lnTo>
                    <a:pt x="5009578" y="337820"/>
                  </a:lnTo>
                  <a:lnTo>
                    <a:pt x="5008994" y="341630"/>
                  </a:lnTo>
                  <a:lnTo>
                    <a:pt x="5002517" y="341630"/>
                  </a:lnTo>
                  <a:lnTo>
                    <a:pt x="5004054" y="344170"/>
                  </a:lnTo>
                  <a:lnTo>
                    <a:pt x="5007216" y="346710"/>
                  </a:lnTo>
                  <a:lnTo>
                    <a:pt x="5003546" y="346710"/>
                  </a:lnTo>
                  <a:lnTo>
                    <a:pt x="4994389" y="344170"/>
                  </a:lnTo>
                  <a:lnTo>
                    <a:pt x="4986172" y="340360"/>
                  </a:lnTo>
                  <a:lnTo>
                    <a:pt x="4989385" y="349250"/>
                  </a:lnTo>
                  <a:lnTo>
                    <a:pt x="4985842" y="350520"/>
                  </a:lnTo>
                  <a:lnTo>
                    <a:pt x="4989373" y="350520"/>
                  </a:lnTo>
                  <a:lnTo>
                    <a:pt x="4986604" y="358140"/>
                  </a:lnTo>
                  <a:lnTo>
                    <a:pt x="4996472" y="351790"/>
                  </a:lnTo>
                  <a:lnTo>
                    <a:pt x="4996472" y="358140"/>
                  </a:lnTo>
                  <a:lnTo>
                    <a:pt x="5003825" y="355600"/>
                  </a:lnTo>
                  <a:lnTo>
                    <a:pt x="5005413" y="360680"/>
                  </a:lnTo>
                  <a:lnTo>
                    <a:pt x="4999279" y="363220"/>
                  </a:lnTo>
                  <a:lnTo>
                    <a:pt x="4985905" y="363220"/>
                  </a:lnTo>
                  <a:lnTo>
                    <a:pt x="4990249" y="367030"/>
                  </a:lnTo>
                  <a:lnTo>
                    <a:pt x="4989093" y="369570"/>
                  </a:lnTo>
                  <a:lnTo>
                    <a:pt x="4987328" y="372110"/>
                  </a:lnTo>
                  <a:lnTo>
                    <a:pt x="4996662" y="369570"/>
                  </a:lnTo>
                  <a:lnTo>
                    <a:pt x="4996739" y="373380"/>
                  </a:lnTo>
                  <a:lnTo>
                    <a:pt x="4991049" y="377190"/>
                  </a:lnTo>
                  <a:lnTo>
                    <a:pt x="5001628" y="375920"/>
                  </a:lnTo>
                  <a:lnTo>
                    <a:pt x="5004193" y="378460"/>
                  </a:lnTo>
                  <a:lnTo>
                    <a:pt x="4999101" y="384810"/>
                  </a:lnTo>
                  <a:lnTo>
                    <a:pt x="4982476" y="391160"/>
                  </a:lnTo>
                  <a:lnTo>
                    <a:pt x="4966982" y="392430"/>
                  </a:lnTo>
                  <a:lnTo>
                    <a:pt x="4971707" y="398780"/>
                  </a:lnTo>
                  <a:lnTo>
                    <a:pt x="4965712" y="406400"/>
                  </a:lnTo>
                  <a:lnTo>
                    <a:pt x="4977803" y="401320"/>
                  </a:lnTo>
                  <a:lnTo>
                    <a:pt x="4977384" y="405130"/>
                  </a:lnTo>
                  <a:lnTo>
                    <a:pt x="4970665" y="415290"/>
                  </a:lnTo>
                  <a:lnTo>
                    <a:pt x="4976749" y="410210"/>
                  </a:lnTo>
                  <a:lnTo>
                    <a:pt x="4978628" y="414020"/>
                  </a:lnTo>
                  <a:lnTo>
                    <a:pt x="4985029" y="410210"/>
                  </a:lnTo>
                  <a:lnTo>
                    <a:pt x="4987163" y="408940"/>
                  </a:lnTo>
                  <a:lnTo>
                    <a:pt x="4988191" y="412750"/>
                  </a:lnTo>
                  <a:lnTo>
                    <a:pt x="4991963" y="408940"/>
                  </a:lnTo>
                  <a:lnTo>
                    <a:pt x="4993208" y="407670"/>
                  </a:lnTo>
                  <a:lnTo>
                    <a:pt x="4994008" y="415290"/>
                  </a:lnTo>
                  <a:lnTo>
                    <a:pt x="5001336" y="408940"/>
                  </a:lnTo>
                  <a:lnTo>
                    <a:pt x="5000498" y="412750"/>
                  </a:lnTo>
                  <a:lnTo>
                    <a:pt x="4998809" y="416560"/>
                  </a:lnTo>
                  <a:lnTo>
                    <a:pt x="4997767" y="417182"/>
                  </a:lnTo>
                  <a:lnTo>
                    <a:pt x="4997767" y="430530"/>
                  </a:lnTo>
                  <a:lnTo>
                    <a:pt x="4992548" y="436880"/>
                  </a:lnTo>
                  <a:lnTo>
                    <a:pt x="4993259" y="438150"/>
                  </a:lnTo>
                  <a:lnTo>
                    <a:pt x="4995507" y="438150"/>
                  </a:lnTo>
                  <a:lnTo>
                    <a:pt x="4992065" y="441960"/>
                  </a:lnTo>
                  <a:lnTo>
                    <a:pt x="4989093" y="444500"/>
                  </a:lnTo>
                  <a:lnTo>
                    <a:pt x="4987963" y="441960"/>
                  </a:lnTo>
                  <a:lnTo>
                    <a:pt x="4987379" y="441960"/>
                  </a:lnTo>
                  <a:lnTo>
                    <a:pt x="4988420" y="440690"/>
                  </a:lnTo>
                  <a:lnTo>
                    <a:pt x="4989423" y="439420"/>
                  </a:lnTo>
                  <a:lnTo>
                    <a:pt x="4993411" y="434340"/>
                  </a:lnTo>
                  <a:lnTo>
                    <a:pt x="4997767" y="430530"/>
                  </a:lnTo>
                  <a:lnTo>
                    <a:pt x="4997767" y="417182"/>
                  </a:lnTo>
                  <a:lnTo>
                    <a:pt x="4992370" y="420370"/>
                  </a:lnTo>
                  <a:lnTo>
                    <a:pt x="4985385" y="424408"/>
                  </a:lnTo>
                  <a:lnTo>
                    <a:pt x="4985385" y="439420"/>
                  </a:lnTo>
                  <a:lnTo>
                    <a:pt x="4983962" y="438150"/>
                  </a:lnTo>
                  <a:lnTo>
                    <a:pt x="4981143" y="440690"/>
                  </a:lnTo>
                  <a:lnTo>
                    <a:pt x="4981321" y="438150"/>
                  </a:lnTo>
                  <a:lnTo>
                    <a:pt x="4981676" y="436880"/>
                  </a:lnTo>
                  <a:lnTo>
                    <a:pt x="4982362" y="434340"/>
                  </a:lnTo>
                  <a:lnTo>
                    <a:pt x="4985220" y="438150"/>
                  </a:lnTo>
                  <a:lnTo>
                    <a:pt x="4985385" y="439420"/>
                  </a:lnTo>
                  <a:lnTo>
                    <a:pt x="4985385" y="424408"/>
                  </a:lnTo>
                  <a:lnTo>
                    <a:pt x="4983556" y="425450"/>
                  </a:lnTo>
                  <a:lnTo>
                    <a:pt x="4978044" y="426974"/>
                  </a:lnTo>
                  <a:lnTo>
                    <a:pt x="4978044" y="444500"/>
                  </a:lnTo>
                  <a:lnTo>
                    <a:pt x="4977104" y="445770"/>
                  </a:lnTo>
                  <a:lnTo>
                    <a:pt x="4976596" y="447192"/>
                  </a:lnTo>
                  <a:lnTo>
                    <a:pt x="4973447" y="457200"/>
                  </a:lnTo>
                  <a:lnTo>
                    <a:pt x="4973053" y="455930"/>
                  </a:lnTo>
                  <a:lnTo>
                    <a:pt x="4970615" y="448310"/>
                  </a:lnTo>
                  <a:lnTo>
                    <a:pt x="4970208" y="447040"/>
                  </a:lnTo>
                  <a:lnTo>
                    <a:pt x="4966982" y="445770"/>
                  </a:lnTo>
                  <a:lnTo>
                    <a:pt x="4977295" y="440690"/>
                  </a:lnTo>
                  <a:lnTo>
                    <a:pt x="4978044" y="444500"/>
                  </a:lnTo>
                  <a:lnTo>
                    <a:pt x="4978044" y="426974"/>
                  </a:lnTo>
                  <a:lnTo>
                    <a:pt x="4974348" y="427990"/>
                  </a:lnTo>
                  <a:lnTo>
                    <a:pt x="4971542" y="428548"/>
                  </a:lnTo>
                  <a:lnTo>
                    <a:pt x="4971542" y="438150"/>
                  </a:lnTo>
                  <a:lnTo>
                    <a:pt x="4967503" y="441960"/>
                  </a:lnTo>
                  <a:lnTo>
                    <a:pt x="4965497" y="444500"/>
                  </a:lnTo>
                  <a:lnTo>
                    <a:pt x="4963071" y="446798"/>
                  </a:lnTo>
                  <a:lnTo>
                    <a:pt x="4963071" y="447192"/>
                  </a:lnTo>
                  <a:lnTo>
                    <a:pt x="4962893" y="448310"/>
                  </a:lnTo>
                  <a:lnTo>
                    <a:pt x="4962690" y="448310"/>
                  </a:lnTo>
                  <a:lnTo>
                    <a:pt x="4961890" y="448005"/>
                  </a:lnTo>
                  <a:lnTo>
                    <a:pt x="4963071" y="447192"/>
                  </a:lnTo>
                  <a:lnTo>
                    <a:pt x="4963071" y="446798"/>
                  </a:lnTo>
                  <a:lnTo>
                    <a:pt x="4945075" y="435610"/>
                  </a:lnTo>
                  <a:lnTo>
                    <a:pt x="4957813" y="443230"/>
                  </a:lnTo>
                  <a:lnTo>
                    <a:pt x="4957064" y="439420"/>
                  </a:lnTo>
                  <a:lnTo>
                    <a:pt x="4963084" y="438150"/>
                  </a:lnTo>
                  <a:lnTo>
                    <a:pt x="4962830" y="441960"/>
                  </a:lnTo>
                  <a:lnTo>
                    <a:pt x="4971542" y="438150"/>
                  </a:lnTo>
                  <a:lnTo>
                    <a:pt x="4971542" y="428548"/>
                  </a:lnTo>
                  <a:lnTo>
                    <a:pt x="4967897" y="429260"/>
                  </a:lnTo>
                  <a:lnTo>
                    <a:pt x="4967313" y="428548"/>
                  </a:lnTo>
                  <a:lnTo>
                    <a:pt x="4967313" y="429260"/>
                  </a:lnTo>
                  <a:lnTo>
                    <a:pt x="4961267" y="431800"/>
                  </a:lnTo>
                  <a:lnTo>
                    <a:pt x="4958258" y="433070"/>
                  </a:lnTo>
                  <a:lnTo>
                    <a:pt x="4963388" y="434340"/>
                  </a:lnTo>
                  <a:lnTo>
                    <a:pt x="4963211" y="436880"/>
                  </a:lnTo>
                  <a:lnTo>
                    <a:pt x="4961407" y="435610"/>
                  </a:lnTo>
                  <a:lnTo>
                    <a:pt x="4955997" y="431800"/>
                  </a:lnTo>
                  <a:lnTo>
                    <a:pt x="4957953" y="430530"/>
                  </a:lnTo>
                  <a:lnTo>
                    <a:pt x="4954752" y="426720"/>
                  </a:lnTo>
                  <a:lnTo>
                    <a:pt x="4953673" y="425450"/>
                  </a:lnTo>
                  <a:lnTo>
                    <a:pt x="4958385" y="426720"/>
                  </a:lnTo>
                  <a:lnTo>
                    <a:pt x="4961267" y="431800"/>
                  </a:lnTo>
                  <a:lnTo>
                    <a:pt x="4961928" y="426720"/>
                  </a:lnTo>
                  <a:lnTo>
                    <a:pt x="4967313" y="429260"/>
                  </a:lnTo>
                  <a:lnTo>
                    <a:pt x="4967313" y="428548"/>
                  </a:lnTo>
                  <a:lnTo>
                    <a:pt x="4965839" y="426720"/>
                  </a:lnTo>
                  <a:lnTo>
                    <a:pt x="4964811" y="425450"/>
                  </a:lnTo>
                  <a:lnTo>
                    <a:pt x="4963769" y="424180"/>
                  </a:lnTo>
                  <a:lnTo>
                    <a:pt x="4966919" y="425450"/>
                  </a:lnTo>
                  <a:lnTo>
                    <a:pt x="4966881" y="424180"/>
                  </a:lnTo>
                  <a:lnTo>
                    <a:pt x="4966779" y="421640"/>
                  </a:lnTo>
                  <a:lnTo>
                    <a:pt x="4969916" y="420370"/>
                  </a:lnTo>
                  <a:lnTo>
                    <a:pt x="4974628" y="416560"/>
                  </a:lnTo>
                  <a:lnTo>
                    <a:pt x="4948872" y="412750"/>
                  </a:lnTo>
                  <a:lnTo>
                    <a:pt x="4945837" y="410210"/>
                  </a:lnTo>
                  <a:lnTo>
                    <a:pt x="4948580" y="410210"/>
                  </a:lnTo>
                  <a:lnTo>
                    <a:pt x="4947386" y="408940"/>
                  </a:lnTo>
                  <a:lnTo>
                    <a:pt x="4946802" y="407670"/>
                  </a:lnTo>
                  <a:lnTo>
                    <a:pt x="4945608" y="406400"/>
                  </a:lnTo>
                  <a:lnTo>
                    <a:pt x="4951234" y="407670"/>
                  </a:lnTo>
                  <a:lnTo>
                    <a:pt x="4954041" y="408940"/>
                  </a:lnTo>
                  <a:lnTo>
                    <a:pt x="4959667" y="410210"/>
                  </a:lnTo>
                  <a:lnTo>
                    <a:pt x="4957851" y="406400"/>
                  </a:lnTo>
                  <a:lnTo>
                    <a:pt x="4961471" y="402590"/>
                  </a:lnTo>
                  <a:lnTo>
                    <a:pt x="4939500" y="397510"/>
                  </a:lnTo>
                  <a:lnTo>
                    <a:pt x="4947513" y="396240"/>
                  </a:lnTo>
                  <a:lnTo>
                    <a:pt x="4947437" y="393700"/>
                  </a:lnTo>
                  <a:lnTo>
                    <a:pt x="4954841" y="398780"/>
                  </a:lnTo>
                  <a:lnTo>
                    <a:pt x="4954460" y="393700"/>
                  </a:lnTo>
                  <a:lnTo>
                    <a:pt x="4957838" y="389890"/>
                  </a:lnTo>
                  <a:lnTo>
                    <a:pt x="4960112" y="388620"/>
                  </a:lnTo>
                  <a:lnTo>
                    <a:pt x="4952035" y="387350"/>
                  </a:lnTo>
                  <a:lnTo>
                    <a:pt x="4953533" y="384810"/>
                  </a:lnTo>
                  <a:lnTo>
                    <a:pt x="4957953" y="381000"/>
                  </a:lnTo>
                  <a:lnTo>
                    <a:pt x="4952390" y="381000"/>
                  </a:lnTo>
                  <a:lnTo>
                    <a:pt x="4956530" y="375920"/>
                  </a:lnTo>
                  <a:lnTo>
                    <a:pt x="4937950" y="382270"/>
                  </a:lnTo>
                  <a:lnTo>
                    <a:pt x="4935017" y="377190"/>
                  </a:lnTo>
                  <a:lnTo>
                    <a:pt x="4933543" y="374650"/>
                  </a:lnTo>
                  <a:lnTo>
                    <a:pt x="4940909" y="379730"/>
                  </a:lnTo>
                  <a:lnTo>
                    <a:pt x="4940922" y="375920"/>
                  </a:lnTo>
                  <a:lnTo>
                    <a:pt x="4947996" y="375920"/>
                  </a:lnTo>
                  <a:lnTo>
                    <a:pt x="4946751" y="374650"/>
                  </a:lnTo>
                  <a:lnTo>
                    <a:pt x="4945507" y="373380"/>
                  </a:lnTo>
                  <a:lnTo>
                    <a:pt x="4951844" y="370840"/>
                  </a:lnTo>
                  <a:lnTo>
                    <a:pt x="4947424" y="369570"/>
                  </a:lnTo>
                  <a:lnTo>
                    <a:pt x="4940236" y="367030"/>
                  </a:lnTo>
                  <a:lnTo>
                    <a:pt x="4948098" y="365760"/>
                  </a:lnTo>
                  <a:lnTo>
                    <a:pt x="4942840" y="361950"/>
                  </a:lnTo>
                  <a:lnTo>
                    <a:pt x="4945735" y="358140"/>
                  </a:lnTo>
                  <a:lnTo>
                    <a:pt x="4947666" y="355600"/>
                  </a:lnTo>
                  <a:lnTo>
                    <a:pt x="4942014" y="358140"/>
                  </a:lnTo>
                  <a:lnTo>
                    <a:pt x="4938585" y="356870"/>
                  </a:lnTo>
                  <a:lnTo>
                    <a:pt x="4940249" y="354330"/>
                  </a:lnTo>
                  <a:lnTo>
                    <a:pt x="4941900" y="351790"/>
                  </a:lnTo>
                  <a:lnTo>
                    <a:pt x="4932527" y="354330"/>
                  </a:lnTo>
                  <a:lnTo>
                    <a:pt x="4938649" y="347980"/>
                  </a:lnTo>
                  <a:lnTo>
                    <a:pt x="4932692" y="345440"/>
                  </a:lnTo>
                  <a:lnTo>
                    <a:pt x="4931435" y="330200"/>
                  </a:lnTo>
                  <a:lnTo>
                    <a:pt x="4930279" y="325120"/>
                  </a:lnTo>
                  <a:lnTo>
                    <a:pt x="4928692" y="327660"/>
                  </a:lnTo>
                  <a:lnTo>
                    <a:pt x="4928374" y="339090"/>
                  </a:lnTo>
                  <a:lnTo>
                    <a:pt x="4926241" y="344170"/>
                  </a:lnTo>
                  <a:lnTo>
                    <a:pt x="4921897" y="347980"/>
                  </a:lnTo>
                  <a:lnTo>
                    <a:pt x="4925784" y="350520"/>
                  </a:lnTo>
                  <a:lnTo>
                    <a:pt x="4915344" y="354330"/>
                  </a:lnTo>
                  <a:lnTo>
                    <a:pt x="4919256" y="356870"/>
                  </a:lnTo>
                  <a:lnTo>
                    <a:pt x="4917529" y="359410"/>
                  </a:lnTo>
                  <a:lnTo>
                    <a:pt x="4916360" y="359410"/>
                  </a:lnTo>
                  <a:lnTo>
                    <a:pt x="4921669" y="361950"/>
                  </a:lnTo>
                  <a:lnTo>
                    <a:pt x="4925212" y="361950"/>
                  </a:lnTo>
                  <a:lnTo>
                    <a:pt x="4917668" y="367030"/>
                  </a:lnTo>
                  <a:lnTo>
                    <a:pt x="4910264" y="367030"/>
                  </a:lnTo>
                  <a:lnTo>
                    <a:pt x="4917376" y="370840"/>
                  </a:lnTo>
                  <a:lnTo>
                    <a:pt x="4916221" y="375920"/>
                  </a:lnTo>
                  <a:lnTo>
                    <a:pt x="4920894" y="373380"/>
                  </a:lnTo>
                  <a:lnTo>
                    <a:pt x="4920780" y="378460"/>
                  </a:lnTo>
                  <a:lnTo>
                    <a:pt x="4925034" y="377190"/>
                  </a:lnTo>
                  <a:lnTo>
                    <a:pt x="4918481" y="382270"/>
                  </a:lnTo>
                  <a:lnTo>
                    <a:pt x="4897679" y="375920"/>
                  </a:lnTo>
                  <a:lnTo>
                    <a:pt x="4900587" y="379730"/>
                  </a:lnTo>
                  <a:lnTo>
                    <a:pt x="4896485" y="383540"/>
                  </a:lnTo>
                  <a:lnTo>
                    <a:pt x="4904829" y="382270"/>
                  </a:lnTo>
                  <a:lnTo>
                    <a:pt x="4898098" y="387350"/>
                  </a:lnTo>
                  <a:lnTo>
                    <a:pt x="4904448" y="388620"/>
                  </a:lnTo>
                  <a:lnTo>
                    <a:pt x="4896282" y="397510"/>
                  </a:lnTo>
                  <a:lnTo>
                    <a:pt x="4902568" y="394970"/>
                  </a:lnTo>
                  <a:lnTo>
                    <a:pt x="4905527" y="400050"/>
                  </a:lnTo>
                  <a:lnTo>
                    <a:pt x="4910366" y="394970"/>
                  </a:lnTo>
                  <a:lnTo>
                    <a:pt x="4911572" y="393700"/>
                  </a:lnTo>
                  <a:lnTo>
                    <a:pt x="4905921" y="405130"/>
                  </a:lnTo>
                  <a:lnTo>
                    <a:pt x="4911255" y="401320"/>
                  </a:lnTo>
                  <a:lnTo>
                    <a:pt x="4913033" y="402590"/>
                  </a:lnTo>
                  <a:lnTo>
                    <a:pt x="4913947" y="403860"/>
                  </a:lnTo>
                  <a:lnTo>
                    <a:pt x="4915725" y="405130"/>
                  </a:lnTo>
                  <a:lnTo>
                    <a:pt x="4917706" y="401320"/>
                  </a:lnTo>
                  <a:lnTo>
                    <a:pt x="4920335" y="396240"/>
                  </a:lnTo>
                  <a:lnTo>
                    <a:pt x="4921809" y="402590"/>
                  </a:lnTo>
                  <a:lnTo>
                    <a:pt x="4911102" y="408940"/>
                  </a:lnTo>
                  <a:lnTo>
                    <a:pt x="4892522" y="412750"/>
                  </a:lnTo>
                  <a:lnTo>
                    <a:pt x="4893996" y="415290"/>
                  </a:lnTo>
                  <a:lnTo>
                    <a:pt x="4885182" y="415290"/>
                  </a:lnTo>
                  <a:lnTo>
                    <a:pt x="4894313" y="421640"/>
                  </a:lnTo>
                  <a:lnTo>
                    <a:pt x="4890567" y="425450"/>
                  </a:lnTo>
                  <a:lnTo>
                    <a:pt x="4905235" y="421640"/>
                  </a:lnTo>
                  <a:lnTo>
                    <a:pt x="4903597" y="425450"/>
                  </a:lnTo>
                  <a:lnTo>
                    <a:pt x="4894694" y="433070"/>
                  </a:lnTo>
                  <a:lnTo>
                    <a:pt x="4901679" y="431800"/>
                  </a:lnTo>
                  <a:lnTo>
                    <a:pt x="4902314" y="436880"/>
                  </a:lnTo>
                  <a:lnTo>
                    <a:pt x="4905718" y="431800"/>
                  </a:lnTo>
                  <a:lnTo>
                    <a:pt x="4907407" y="429260"/>
                  </a:lnTo>
                  <a:lnTo>
                    <a:pt x="4910569" y="434340"/>
                  </a:lnTo>
                  <a:lnTo>
                    <a:pt x="4911382" y="429260"/>
                  </a:lnTo>
                  <a:lnTo>
                    <a:pt x="4911788" y="426720"/>
                  </a:lnTo>
                  <a:lnTo>
                    <a:pt x="4914773" y="426720"/>
                  </a:lnTo>
                  <a:lnTo>
                    <a:pt x="4916741" y="431800"/>
                  </a:lnTo>
                  <a:lnTo>
                    <a:pt x="4911572" y="435610"/>
                  </a:lnTo>
                  <a:lnTo>
                    <a:pt x="4908118" y="439420"/>
                  </a:lnTo>
                  <a:lnTo>
                    <a:pt x="4915014" y="441960"/>
                  </a:lnTo>
                  <a:lnTo>
                    <a:pt x="4912639" y="445770"/>
                  </a:lnTo>
                  <a:lnTo>
                    <a:pt x="4892522" y="451027"/>
                  </a:lnTo>
                  <a:lnTo>
                    <a:pt x="4892522" y="462280"/>
                  </a:lnTo>
                  <a:lnTo>
                    <a:pt x="4890922" y="471170"/>
                  </a:lnTo>
                  <a:lnTo>
                    <a:pt x="4892281" y="471170"/>
                  </a:lnTo>
                  <a:lnTo>
                    <a:pt x="4890821" y="477520"/>
                  </a:lnTo>
                  <a:lnTo>
                    <a:pt x="4890465" y="476250"/>
                  </a:lnTo>
                  <a:lnTo>
                    <a:pt x="4889360" y="472440"/>
                  </a:lnTo>
                  <a:lnTo>
                    <a:pt x="4887900" y="468630"/>
                  </a:lnTo>
                  <a:lnTo>
                    <a:pt x="4888916" y="469900"/>
                  </a:lnTo>
                  <a:lnTo>
                    <a:pt x="4888065" y="467360"/>
                  </a:lnTo>
                  <a:lnTo>
                    <a:pt x="4892522" y="462280"/>
                  </a:lnTo>
                  <a:lnTo>
                    <a:pt x="4892522" y="451027"/>
                  </a:lnTo>
                  <a:lnTo>
                    <a:pt x="4886223" y="452666"/>
                  </a:lnTo>
                  <a:lnTo>
                    <a:pt x="4886223" y="468630"/>
                  </a:lnTo>
                  <a:lnTo>
                    <a:pt x="4884115" y="476250"/>
                  </a:lnTo>
                  <a:lnTo>
                    <a:pt x="4882007" y="473710"/>
                  </a:lnTo>
                  <a:lnTo>
                    <a:pt x="4880953" y="471170"/>
                  </a:lnTo>
                  <a:lnTo>
                    <a:pt x="4879886" y="468630"/>
                  </a:lnTo>
                  <a:lnTo>
                    <a:pt x="4879695" y="469900"/>
                  </a:lnTo>
                  <a:lnTo>
                    <a:pt x="4879314" y="471170"/>
                  </a:lnTo>
                  <a:lnTo>
                    <a:pt x="4875771" y="468630"/>
                  </a:lnTo>
                  <a:lnTo>
                    <a:pt x="4875009" y="464820"/>
                  </a:lnTo>
                  <a:lnTo>
                    <a:pt x="4877295" y="466090"/>
                  </a:lnTo>
                  <a:lnTo>
                    <a:pt x="4877549" y="466090"/>
                  </a:lnTo>
                  <a:lnTo>
                    <a:pt x="4882858" y="468630"/>
                  </a:lnTo>
                  <a:lnTo>
                    <a:pt x="4886223" y="468630"/>
                  </a:lnTo>
                  <a:lnTo>
                    <a:pt x="4886223" y="452666"/>
                  </a:lnTo>
                  <a:lnTo>
                    <a:pt x="4873714" y="455930"/>
                  </a:lnTo>
                  <a:lnTo>
                    <a:pt x="4870018" y="455930"/>
                  </a:lnTo>
                  <a:lnTo>
                    <a:pt x="4859198" y="450850"/>
                  </a:lnTo>
                  <a:lnTo>
                    <a:pt x="4851362" y="443230"/>
                  </a:lnTo>
                  <a:lnTo>
                    <a:pt x="4849965" y="439420"/>
                  </a:lnTo>
                  <a:lnTo>
                    <a:pt x="4849025" y="436880"/>
                  </a:lnTo>
                  <a:lnTo>
                    <a:pt x="4849584" y="433070"/>
                  </a:lnTo>
                  <a:lnTo>
                    <a:pt x="4858067" y="443230"/>
                  </a:lnTo>
                  <a:lnTo>
                    <a:pt x="4857343" y="438150"/>
                  </a:lnTo>
                  <a:lnTo>
                    <a:pt x="4856213" y="433070"/>
                  </a:lnTo>
                  <a:lnTo>
                    <a:pt x="4855921" y="431800"/>
                  </a:lnTo>
                  <a:lnTo>
                    <a:pt x="4855349" y="429260"/>
                  </a:lnTo>
                  <a:lnTo>
                    <a:pt x="4865116" y="445770"/>
                  </a:lnTo>
                  <a:lnTo>
                    <a:pt x="4866957" y="440690"/>
                  </a:lnTo>
                  <a:lnTo>
                    <a:pt x="4873676" y="450850"/>
                  </a:lnTo>
                  <a:lnTo>
                    <a:pt x="4873091" y="445770"/>
                  </a:lnTo>
                  <a:lnTo>
                    <a:pt x="4874476" y="444500"/>
                  </a:lnTo>
                  <a:lnTo>
                    <a:pt x="4879289" y="445770"/>
                  </a:lnTo>
                  <a:lnTo>
                    <a:pt x="4881346" y="444500"/>
                  </a:lnTo>
                  <a:lnTo>
                    <a:pt x="4883391" y="443230"/>
                  </a:lnTo>
                  <a:lnTo>
                    <a:pt x="4879873" y="441960"/>
                  </a:lnTo>
                  <a:lnTo>
                    <a:pt x="4877232" y="440690"/>
                  </a:lnTo>
                  <a:lnTo>
                    <a:pt x="4874577" y="439420"/>
                  </a:lnTo>
                  <a:lnTo>
                    <a:pt x="4867402" y="431800"/>
                  </a:lnTo>
                  <a:lnTo>
                    <a:pt x="4865675" y="429260"/>
                  </a:lnTo>
                  <a:lnTo>
                    <a:pt x="4868291" y="424180"/>
                  </a:lnTo>
                  <a:lnTo>
                    <a:pt x="4870501" y="427990"/>
                  </a:lnTo>
                  <a:lnTo>
                    <a:pt x="4876533" y="434340"/>
                  </a:lnTo>
                  <a:lnTo>
                    <a:pt x="4875390" y="424180"/>
                  </a:lnTo>
                  <a:lnTo>
                    <a:pt x="4875238" y="422910"/>
                  </a:lnTo>
                  <a:lnTo>
                    <a:pt x="4882654" y="429260"/>
                  </a:lnTo>
                  <a:lnTo>
                    <a:pt x="4881334" y="422910"/>
                  </a:lnTo>
                  <a:lnTo>
                    <a:pt x="4880800" y="420370"/>
                  </a:lnTo>
                  <a:lnTo>
                    <a:pt x="4891684" y="420370"/>
                  </a:lnTo>
                  <a:lnTo>
                    <a:pt x="4875809" y="414020"/>
                  </a:lnTo>
                  <a:lnTo>
                    <a:pt x="4875136" y="414020"/>
                  </a:lnTo>
                  <a:lnTo>
                    <a:pt x="4878248" y="412750"/>
                  </a:lnTo>
                  <a:lnTo>
                    <a:pt x="4871656" y="410210"/>
                  </a:lnTo>
                  <a:lnTo>
                    <a:pt x="4868367" y="408940"/>
                  </a:lnTo>
                  <a:lnTo>
                    <a:pt x="4858474" y="405130"/>
                  </a:lnTo>
                  <a:lnTo>
                    <a:pt x="4856213" y="402590"/>
                  </a:lnTo>
                  <a:lnTo>
                    <a:pt x="4850562" y="396240"/>
                  </a:lnTo>
                  <a:lnTo>
                    <a:pt x="4849482" y="391160"/>
                  </a:lnTo>
                  <a:lnTo>
                    <a:pt x="4852124" y="391160"/>
                  </a:lnTo>
                  <a:lnTo>
                    <a:pt x="4860645" y="402590"/>
                  </a:lnTo>
                  <a:lnTo>
                    <a:pt x="4860976" y="400050"/>
                  </a:lnTo>
                  <a:lnTo>
                    <a:pt x="4860429" y="396240"/>
                  </a:lnTo>
                  <a:lnTo>
                    <a:pt x="4861687" y="394970"/>
                  </a:lnTo>
                  <a:lnTo>
                    <a:pt x="4863795" y="398780"/>
                  </a:lnTo>
                  <a:lnTo>
                    <a:pt x="4868570" y="403860"/>
                  </a:lnTo>
                  <a:lnTo>
                    <a:pt x="4868189" y="397510"/>
                  </a:lnTo>
                  <a:lnTo>
                    <a:pt x="4870564" y="397510"/>
                  </a:lnTo>
                  <a:lnTo>
                    <a:pt x="4877435" y="401320"/>
                  </a:lnTo>
                  <a:lnTo>
                    <a:pt x="4876050" y="397510"/>
                  </a:lnTo>
                  <a:lnTo>
                    <a:pt x="4875111" y="394970"/>
                  </a:lnTo>
                  <a:lnTo>
                    <a:pt x="4884001" y="391160"/>
                  </a:lnTo>
                  <a:lnTo>
                    <a:pt x="4872291" y="391160"/>
                  </a:lnTo>
                  <a:lnTo>
                    <a:pt x="4866056" y="389890"/>
                  </a:lnTo>
                  <a:lnTo>
                    <a:pt x="4870081" y="387350"/>
                  </a:lnTo>
                  <a:lnTo>
                    <a:pt x="4856023" y="383540"/>
                  </a:lnTo>
                  <a:lnTo>
                    <a:pt x="4850092" y="378460"/>
                  </a:lnTo>
                  <a:lnTo>
                    <a:pt x="4850358" y="375920"/>
                  </a:lnTo>
                  <a:lnTo>
                    <a:pt x="4857661" y="375920"/>
                  </a:lnTo>
                  <a:lnTo>
                    <a:pt x="4853495" y="372110"/>
                  </a:lnTo>
                  <a:lnTo>
                    <a:pt x="4851425" y="370840"/>
                  </a:lnTo>
                  <a:lnTo>
                    <a:pt x="4847260" y="367030"/>
                  </a:lnTo>
                  <a:lnTo>
                    <a:pt x="4853203" y="367030"/>
                  </a:lnTo>
                  <a:lnTo>
                    <a:pt x="4861090" y="370840"/>
                  </a:lnTo>
                  <a:lnTo>
                    <a:pt x="4861115" y="367030"/>
                  </a:lnTo>
                  <a:lnTo>
                    <a:pt x="4861141" y="363220"/>
                  </a:lnTo>
                  <a:lnTo>
                    <a:pt x="4867313" y="359410"/>
                  </a:lnTo>
                  <a:lnTo>
                    <a:pt x="4851336" y="359410"/>
                  </a:lnTo>
                  <a:lnTo>
                    <a:pt x="4846625" y="356870"/>
                  </a:lnTo>
                  <a:lnTo>
                    <a:pt x="4844262" y="355600"/>
                  </a:lnTo>
                  <a:lnTo>
                    <a:pt x="4844923" y="353060"/>
                  </a:lnTo>
                  <a:lnTo>
                    <a:pt x="4854803" y="356870"/>
                  </a:lnTo>
                  <a:lnTo>
                    <a:pt x="4854143" y="353060"/>
                  </a:lnTo>
                  <a:lnTo>
                    <a:pt x="4853914" y="351790"/>
                  </a:lnTo>
                  <a:lnTo>
                    <a:pt x="4861598" y="353060"/>
                  </a:lnTo>
                  <a:lnTo>
                    <a:pt x="4861179" y="351790"/>
                  </a:lnTo>
                  <a:lnTo>
                    <a:pt x="4859921" y="347980"/>
                  </a:lnTo>
                  <a:lnTo>
                    <a:pt x="4860785" y="346710"/>
                  </a:lnTo>
                  <a:lnTo>
                    <a:pt x="4865065" y="340360"/>
                  </a:lnTo>
                  <a:lnTo>
                    <a:pt x="4849698" y="346710"/>
                  </a:lnTo>
                  <a:lnTo>
                    <a:pt x="4843386" y="344170"/>
                  </a:lnTo>
                  <a:lnTo>
                    <a:pt x="4844796" y="340360"/>
                  </a:lnTo>
                  <a:lnTo>
                    <a:pt x="4845710" y="339090"/>
                  </a:lnTo>
                  <a:lnTo>
                    <a:pt x="4852124" y="337820"/>
                  </a:lnTo>
                  <a:lnTo>
                    <a:pt x="4850574" y="336550"/>
                  </a:lnTo>
                  <a:lnTo>
                    <a:pt x="4852809" y="332740"/>
                  </a:lnTo>
                  <a:lnTo>
                    <a:pt x="4855032" y="328930"/>
                  </a:lnTo>
                  <a:lnTo>
                    <a:pt x="4845291" y="332740"/>
                  </a:lnTo>
                  <a:lnTo>
                    <a:pt x="4843488" y="328930"/>
                  </a:lnTo>
                  <a:lnTo>
                    <a:pt x="4845901" y="325120"/>
                  </a:lnTo>
                  <a:lnTo>
                    <a:pt x="4846701" y="323850"/>
                  </a:lnTo>
                  <a:lnTo>
                    <a:pt x="4844402" y="325120"/>
                  </a:lnTo>
                  <a:lnTo>
                    <a:pt x="4842751" y="323850"/>
                  </a:lnTo>
                  <a:lnTo>
                    <a:pt x="4841100" y="322580"/>
                  </a:lnTo>
                  <a:lnTo>
                    <a:pt x="4841316" y="306070"/>
                  </a:lnTo>
                  <a:lnTo>
                    <a:pt x="4839373" y="304800"/>
                  </a:lnTo>
                  <a:lnTo>
                    <a:pt x="4838230" y="308610"/>
                  </a:lnTo>
                  <a:lnTo>
                    <a:pt x="4838039" y="318770"/>
                  </a:lnTo>
                  <a:lnTo>
                    <a:pt x="4834852" y="323850"/>
                  </a:lnTo>
                  <a:lnTo>
                    <a:pt x="4829772" y="322580"/>
                  </a:lnTo>
                  <a:lnTo>
                    <a:pt x="4834763" y="327660"/>
                  </a:lnTo>
                  <a:lnTo>
                    <a:pt x="4835766" y="332740"/>
                  </a:lnTo>
                  <a:lnTo>
                    <a:pt x="4821656" y="328930"/>
                  </a:lnTo>
                  <a:lnTo>
                    <a:pt x="4827308" y="334010"/>
                  </a:lnTo>
                  <a:lnTo>
                    <a:pt x="4825746" y="340360"/>
                  </a:lnTo>
                  <a:lnTo>
                    <a:pt x="4831004" y="339090"/>
                  </a:lnTo>
                  <a:lnTo>
                    <a:pt x="4834737" y="339090"/>
                  </a:lnTo>
                  <a:lnTo>
                    <a:pt x="4834140" y="342900"/>
                  </a:lnTo>
                  <a:lnTo>
                    <a:pt x="4827663" y="342900"/>
                  </a:lnTo>
                  <a:lnTo>
                    <a:pt x="4829200" y="346710"/>
                  </a:lnTo>
                  <a:lnTo>
                    <a:pt x="4832388" y="347980"/>
                  </a:lnTo>
                  <a:lnTo>
                    <a:pt x="4828692" y="347980"/>
                  </a:lnTo>
                  <a:lnTo>
                    <a:pt x="4819548" y="345440"/>
                  </a:lnTo>
                  <a:lnTo>
                    <a:pt x="4811319" y="341630"/>
                  </a:lnTo>
                  <a:lnTo>
                    <a:pt x="4814544" y="350520"/>
                  </a:lnTo>
                  <a:lnTo>
                    <a:pt x="4810988" y="351790"/>
                  </a:lnTo>
                  <a:lnTo>
                    <a:pt x="4814532" y="353060"/>
                  </a:lnTo>
                  <a:lnTo>
                    <a:pt x="4811763" y="359410"/>
                  </a:lnTo>
                  <a:lnTo>
                    <a:pt x="4821644" y="353060"/>
                  </a:lnTo>
                  <a:lnTo>
                    <a:pt x="4821631" y="359410"/>
                  </a:lnTo>
                  <a:lnTo>
                    <a:pt x="4828984" y="356870"/>
                  </a:lnTo>
                  <a:lnTo>
                    <a:pt x="4830572" y="361950"/>
                  </a:lnTo>
                  <a:lnTo>
                    <a:pt x="4824438" y="364490"/>
                  </a:lnTo>
                  <a:lnTo>
                    <a:pt x="4811077" y="364490"/>
                  </a:lnTo>
                  <a:lnTo>
                    <a:pt x="4813668" y="367030"/>
                  </a:lnTo>
                  <a:lnTo>
                    <a:pt x="4815421" y="368300"/>
                  </a:lnTo>
                  <a:lnTo>
                    <a:pt x="4812487" y="374650"/>
                  </a:lnTo>
                  <a:lnTo>
                    <a:pt x="4821821" y="370840"/>
                  </a:lnTo>
                  <a:lnTo>
                    <a:pt x="4821885" y="374650"/>
                  </a:lnTo>
                  <a:lnTo>
                    <a:pt x="4816208" y="378460"/>
                  </a:lnTo>
                  <a:lnTo>
                    <a:pt x="4826520" y="378460"/>
                  </a:lnTo>
                  <a:lnTo>
                    <a:pt x="4829353" y="379730"/>
                  </a:lnTo>
                  <a:lnTo>
                    <a:pt x="4824260" y="386080"/>
                  </a:lnTo>
                  <a:lnTo>
                    <a:pt x="4807636" y="393700"/>
                  </a:lnTo>
                  <a:lnTo>
                    <a:pt x="4792129" y="393700"/>
                  </a:lnTo>
                  <a:lnTo>
                    <a:pt x="4796866" y="400050"/>
                  </a:lnTo>
                  <a:lnTo>
                    <a:pt x="4790859" y="407670"/>
                  </a:lnTo>
                  <a:lnTo>
                    <a:pt x="4802962" y="402590"/>
                  </a:lnTo>
                  <a:lnTo>
                    <a:pt x="4802543" y="406400"/>
                  </a:lnTo>
                  <a:lnTo>
                    <a:pt x="4795825" y="416560"/>
                  </a:lnTo>
                  <a:lnTo>
                    <a:pt x="4801908" y="411480"/>
                  </a:lnTo>
                  <a:lnTo>
                    <a:pt x="4812309" y="402590"/>
                  </a:lnTo>
                  <a:lnTo>
                    <a:pt x="4813351" y="414020"/>
                  </a:lnTo>
                  <a:lnTo>
                    <a:pt x="4818354" y="408940"/>
                  </a:lnTo>
                  <a:lnTo>
                    <a:pt x="4819167" y="417830"/>
                  </a:lnTo>
                  <a:lnTo>
                    <a:pt x="4826495" y="410210"/>
                  </a:lnTo>
                  <a:lnTo>
                    <a:pt x="4799495" y="429260"/>
                  </a:lnTo>
                  <a:lnTo>
                    <a:pt x="4783417" y="434340"/>
                  </a:lnTo>
                  <a:lnTo>
                    <a:pt x="4788547" y="436880"/>
                  </a:lnTo>
                  <a:lnTo>
                    <a:pt x="4787989" y="443230"/>
                  </a:lnTo>
                  <a:lnTo>
                    <a:pt x="4796701" y="439420"/>
                  </a:lnTo>
                  <a:lnTo>
                    <a:pt x="4792662" y="443230"/>
                  </a:lnTo>
                  <a:lnTo>
                    <a:pt x="4790656" y="445770"/>
                  </a:lnTo>
                  <a:lnTo>
                    <a:pt x="4786617" y="449580"/>
                  </a:lnTo>
                  <a:lnTo>
                    <a:pt x="4802454" y="441960"/>
                  </a:lnTo>
                  <a:lnTo>
                    <a:pt x="4803521" y="448310"/>
                  </a:lnTo>
                  <a:lnTo>
                    <a:pt x="4805527" y="441960"/>
                  </a:lnTo>
                  <a:lnTo>
                    <a:pt x="4806327" y="439420"/>
                  </a:lnTo>
                  <a:lnTo>
                    <a:pt x="4807521" y="435610"/>
                  </a:lnTo>
                  <a:lnTo>
                    <a:pt x="4810366" y="439420"/>
                  </a:lnTo>
                  <a:lnTo>
                    <a:pt x="4810772" y="443230"/>
                  </a:lnTo>
                  <a:lnTo>
                    <a:pt x="4813579" y="443230"/>
                  </a:lnTo>
                  <a:lnTo>
                    <a:pt x="4818570" y="435610"/>
                  </a:lnTo>
                  <a:lnTo>
                    <a:pt x="4822914" y="431800"/>
                  </a:lnTo>
                  <a:lnTo>
                    <a:pt x="4817707" y="438150"/>
                  </a:lnTo>
                  <a:lnTo>
                    <a:pt x="4818418" y="440690"/>
                  </a:lnTo>
                  <a:lnTo>
                    <a:pt x="4820666" y="439420"/>
                  </a:lnTo>
                  <a:lnTo>
                    <a:pt x="4817211" y="443230"/>
                  </a:lnTo>
                  <a:lnTo>
                    <a:pt x="4810925" y="448310"/>
                  </a:lnTo>
                  <a:lnTo>
                    <a:pt x="4810925" y="468630"/>
                  </a:lnTo>
                  <a:lnTo>
                    <a:pt x="4806378" y="474980"/>
                  </a:lnTo>
                  <a:lnTo>
                    <a:pt x="4803432" y="478790"/>
                  </a:lnTo>
                  <a:lnTo>
                    <a:pt x="4801247" y="474980"/>
                  </a:lnTo>
                  <a:lnTo>
                    <a:pt x="4798276" y="471170"/>
                  </a:lnTo>
                  <a:lnTo>
                    <a:pt x="4796777" y="469900"/>
                  </a:lnTo>
                  <a:lnTo>
                    <a:pt x="4798034" y="467360"/>
                  </a:lnTo>
                  <a:lnTo>
                    <a:pt x="4799279" y="464820"/>
                  </a:lnTo>
                  <a:lnTo>
                    <a:pt x="4801006" y="473710"/>
                  </a:lnTo>
                  <a:lnTo>
                    <a:pt x="4806886" y="466090"/>
                  </a:lnTo>
                  <a:lnTo>
                    <a:pt x="4809515" y="464820"/>
                  </a:lnTo>
                  <a:lnTo>
                    <a:pt x="4810925" y="468630"/>
                  </a:lnTo>
                  <a:lnTo>
                    <a:pt x="4810925" y="448310"/>
                  </a:lnTo>
                  <a:lnTo>
                    <a:pt x="4809337" y="449580"/>
                  </a:lnTo>
                  <a:lnTo>
                    <a:pt x="4793907" y="458952"/>
                  </a:lnTo>
                  <a:lnTo>
                    <a:pt x="4793907" y="467360"/>
                  </a:lnTo>
                  <a:lnTo>
                    <a:pt x="4793450" y="468630"/>
                  </a:lnTo>
                  <a:lnTo>
                    <a:pt x="4791583" y="468630"/>
                  </a:lnTo>
                  <a:lnTo>
                    <a:pt x="4789716" y="471170"/>
                  </a:lnTo>
                  <a:lnTo>
                    <a:pt x="4787874" y="474980"/>
                  </a:lnTo>
                  <a:lnTo>
                    <a:pt x="4786198" y="483870"/>
                  </a:lnTo>
                  <a:lnTo>
                    <a:pt x="4782832" y="473710"/>
                  </a:lnTo>
                  <a:lnTo>
                    <a:pt x="4781131" y="478790"/>
                  </a:lnTo>
                  <a:lnTo>
                    <a:pt x="4778883" y="483870"/>
                  </a:lnTo>
                  <a:lnTo>
                    <a:pt x="4776609" y="486410"/>
                  </a:lnTo>
                  <a:lnTo>
                    <a:pt x="4776267" y="485140"/>
                  </a:lnTo>
                  <a:lnTo>
                    <a:pt x="4774844" y="480060"/>
                  </a:lnTo>
                  <a:lnTo>
                    <a:pt x="4774501" y="478790"/>
                  </a:lnTo>
                  <a:lnTo>
                    <a:pt x="4773079" y="473710"/>
                  </a:lnTo>
                  <a:lnTo>
                    <a:pt x="4771758" y="474980"/>
                  </a:lnTo>
                  <a:lnTo>
                    <a:pt x="4770425" y="478790"/>
                  </a:lnTo>
                  <a:lnTo>
                    <a:pt x="4769840" y="478116"/>
                  </a:lnTo>
                  <a:lnTo>
                    <a:pt x="4769840" y="480060"/>
                  </a:lnTo>
                  <a:lnTo>
                    <a:pt x="4768380" y="483870"/>
                  </a:lnTo>
                  <a:lnTo>
                    <a:pt x="4767643" y="485140"/>
                  </a:lnTo>
                  <a:lnTo>
                    <a:pt x="4767427" y="485140"/>
                  </a:lnTo>
                  <a:lnTo>
                    <a:pt x="4764519" y="483870"/>
                  </a:lnTo>
                  <a:lnTo>
                    <a:pt x="4763973" y="481330"/>
                  </a:lnTo>
                  <a:lnTo>
                    <a:pt x="4765878" y="480060"/>
                  </a:lnTo>
                  <a:lnTo>
                    <a:pt x="4769840" y="480060"/>
                  </a:lnTo>
                  <a:lnTo>
                    <a:pt x="4769840" y="478116"/>
                  </a:lnTo>
                  <a:lnTo>
                    <a:pt x="4767148" y="474980"/>
                  </a:lnTo>
                  <a:lnTo>
                    <a:pt x="4765840" y="472440"/>
                  </a:lnTo>
                  <a:lnTo>
                    <a:pt x="4766843" y="471170"/>
                  </a:lnTo>
                  <a:lnTo>
                    <a:pt x="4778641" y="472440"/>
                  </a:lnTo>
                  <a:lnTo>
                    <a:pt x="4777410" y="471170"/>
                  </a:lnTo>
                  <a:lnTo>
                    <a:pt x="4773701" y="467360"/>
                  </a:lnTo>
                  <a:lnTo>
                    <a:pt x="4772698" y="463550"/>
                  </a:lnTo>
                  <a:lnTo>
                    <a:pt x="4775149" y="463550"/>
                  </a:lnTo>
                  <a:lnTo>
                    <a:pt x="4781867" y="466090"/>
                  </a:lnTo>
                  <a:lnTo>
                    <a:pt x="4786617" y="467360"/>
                  </a:lnTo>
                  <a:lnTo>
                    <a:pt x="4785309" y="466090"/>
                  </a:lnTo>
                  <a:lnTo>
                    <a:pt x="4787468" y="466090"/>
                  </a:lnTo>
                  <a:lnTo>
                    <a:pt x="4785830" y="473710"/>
                  </a:lnTo>
                  <a:lnTo>
                    <a:pt x="4790922" y="468630"/>
                  </a:lnTo>
                  <a:lnTo>
                    <a:pt x="4793907" y="467360"/>
                  </a:lnTo>
                  <a:lnTo>
                    <a:pt x="4793907" y="458952"/>
                  </a:lnTo>
                  <a:lnTo>
                    <a:pt x="4784229" y="464820"/>
                  </a:lnTo>
                  <a:lnTo>
                    <a:pt x="4783277" y="463550"/>
                  </a:lnTo>
                  <a:lnTo>
                    <a:pt x="4780419" y="459740"/>
                  </a:lnTo>
                  <a:lnTo>
                    <a:pt x="4779467" y="458470"/>
                  </a:lnTo>
                  <a:lnTo>
                    <a:pt x="4790757" y="454660"/>
                  </a:lnTo>
                  <a:lnTo>
                    <a:pt x="4775441" y="452120"/>
                  </a:lnTo>
                  <a:lnTo>
                    <a:pt x="4765726" y="448310"/>
                  </a:lnTo>
                  <a:lnTo>
                    <a:pt x="4763605" y="447040"/>
                  </a:lnTo>
                  <a:lnTo>
                    <a:pt x="4763528" y="445770"/>
                  </a:lnTo>
                  <a:lnTo>
                    <a:pt x="4767034" y="443230"/>
                  </a:lnTo>
                  <a:lnTo>
                    <a:pt x="4773206" y="443230"/>
                  </a:lnTo>
                  <a:lnTo>
                    <a:pt x="4777664" y="444500"/>
                  </a:lnTo>
                  <a:lnTo>
                    <a:pt x="4777130" y="443230"/>
                  </a:lnTo>
                  <a:lnTo>
                    <a:pt x="4776063" y="440690"/>
                  </a:lnTo>
                  <a:lnTo>
                    <a:pt x="4773930" y="435610"/>
                  </a:lnTo>
                  <a:lnTo>
                    <a:pt x="4781537" y="435610"/>
                  </a:lnTo>
                  <a:lnTo>
                    <a:pt x="4780826" y="434340"/>
                  </a:lnTo>
                  <a:lnTo>
                    <a:pt x="4778654" y="430530"/>
                  </a:lnTo>
                  <a:lnTo>
                    <a:pt x="4779086" y="429260"/>
                  </a:lnTo>
                  <a:lnTo>
                    <a:pt x="4779518" y="427990"/>
                  </a:lnTo>
                  <a:lnTo>
                    <a:pt x="4781245" y="422910"/>
                  </a:lnTo>
                  <a:lnTo>
                    <a:pt x="4771085" y="427990"/>
                  </a:lnTo>
                  <a:lnTo>
                    <a:pt x="4765865" y="426720"/>
                  </a:lnTo>
                  <a:lnTo>
                    <a:pt x="4761547" y="427990"/>
                  </a:lnTo>
                  <a:lnTo>
                    <a:pt x="4759845" y="425450"/>
                  </a:lnTo>
                  <a:lnTo>
                    <a:pt x="4762258" y="421640"/>
                  </a:lnTo>
                  <a:lnTo>
                    <a:pt x="4763059" y="420370"/>
                  </a:lnTo>
                  <a:lnTo>
                    <a:pt x="4769167" y="421640"/>
                  </a:lnTo>
                  <a:lnTo>
                    <a:pt x="4768786" y="420370"/>
                  </a:lnTo>
                  <a:lnTo>
                    <a:pt x="4768393" y="419100"/>
                  </a:lnTo>
                  <a:lnTo>
                    <a:pt x="4767859" y="417830"/>
                  </a:lnTo>
                  <a:lnTo>
                    <a:pt x="4767986" y="416560"/>
                  </a:lnTo>
                  <a:lnTo>
                    <a:pt x="4769663" y="414020"/>
                  </a:lnTo>
                  <a:lnTo>
                    <a:pt x="4770488" y="412750"/>
                  </a:lnTo>
                  <a:lnTo>
                    <a:pt x="4764151" y="414020"/>
                  </a:lnTo>
                  <a:lnTo>
                    <a:pt x="4759350" y="414020"/>
                  </a:lnTo>
                  <a:lnTo>
                    <a:pt x="4758487" y="411480"/>
                  </a:lnTo>
                  <a:lnTo>
                    <a:pt x="4758931" y="406400"/>
                  </a:lnTo>
                  <a:lnTo>
                    <a:pt x="4760811" y="402590"/>
                  </a:lnTo>
                  <a:lnTo>
                    <a:pt x="4761763" y="400050"/>
                  </a:lnTo>
                  <a:lnTo>
                    <a:pt x="4763643" y="397510"/>
                  </a:lnTo>
                  <a:lnTo>
                    <a:pt x="4761166" y="397510"/>
                  </a:lnTo>
                  <a:lnTo>
                    <a:pt x="4757826" y="393700"/>
                  </a:lnTo>
                  <a:lnTo>
                    <a:pt x="4757890" y="381000"/>
                  </a:lnTo>
                  <a:lnTo>
                    <a:pt x="4756747" y="379730"/>
                  </a:lnTo>
                  <a:lnTo>
                    <a:pt x="4754562" y="381000"/>
                  </a:lnTo>
                  <a:lnTo>
                    <a:pt x="4754956" y="392430"/>
                  </a:lnTo>
                  <a:lnTo>
                    <a:pt x="4753838" y="396240"/>
                  </a:lnTo>
                  <a:lnTo>
                    <a:pt x="4748809" y="396240"/>
                  </a:lnTo>
                  <a:lnTo>
                    <a:pt x="4754245" y="408940"/>
                  </a:lnTo>
                  <a:lnTo>
                    <a:pt x="4753191" y="414020"/>
                  </a:lnTo>
                  <a:lnTo>
                    <a:pt x="4739068" y="411480"/>
                  </a:lnTo>
                  <a:lnTo>
                    <a:pt x="4746155" y="417830"/>
                  </a:lnTo>
                  <a:lnTo>
                    <a:pt x="4745418" y="422910"/>
                  </a:lnTo>
                  <a:lnTo>
                    <a:pt x="4749114" y="421640"/>
                  </a:lnTo>
                  <a:lnTo>
                    <a:pt x="4752010" y="421640"/>
                  </a:lnTo>
                  <a:lnTo>
                    <a:pt x="4753127" y="424180"/>
                  </a:lnTo>
                  <a:lnTo>
                    <a:pt x="4748238" y="429260"/>
                  </a:lnTo>
                  <a:lnTo>
                    <a:pt x="4728438" y="422910"/>
                  </a:lnTo>
                  <a:lnTo>
                    <a:pt x="4731880" y="426720"/>
                  </a:lnTo>
                  <a:lnTo>
                    <a:pt x="4729810" y="431800"/>
                  </a:lnTo>
                  <a:lnTo>
                    <a:pt x="4736033" y="430530"/>
                  </a:lnTo>
                  <a:lnTo>
                    <a:pt x="4730826" y="439420"/>
                  </a:lnTo>
                  <a:lnTo>
                    <a:pt x="4742396" y="434340"/>
                  </a:lnTo>
                  <a:lnTo>
                    <a:pt x="4738446" y="441960"/>
                  </a:lnTo>
                  <a:lnTo>
                    <a:pt x="4744910" y="440690"/>
                  </a:lnTo>
                  <a:lnTo>
                    <a:pt x="4749000" y="440690"/>
                  </a:lnTo>
                  <a:lnTo>
                    <a:pt x="4747044" y="444500"/>
                  </a:lnTo>
                  <a:lnTo>
                    <a:pt x="4744732" y="447040"/>
                  </a:lnTo>
                  <a:lnTo>
                    <a:pt x="4734839" y="449580"/>
                  </a:lnTo>
                  <a:lnTo>
                    <a:pt x="4721593" y="449580"/>
                  </a:lnTo>
                  <a:lnTo>
                    <a:pt x="4729619" y="455930"/>
                  </a:lnTo>
                  <a:lnTo>
                    <a:pt x="4725365" y="462280"/>
                  </a:lnTo>
                  <a:lnTo>
                    <a:pt x="4735525" y="459740"/>
                  </a:lnTo>
                  <a:lnTo>
                    <a:pt x="4732007" y="467360"/>
                  </a:lnTo>
                  <a:lnTo>
                    <a:pt x="4746612" y="459740"/>
                  </a:lnTo>
                  <a:lnTo>
                    <a:pt x="4748415" y="459740"/>
                  </a:lnTo>
                  <a:lnTo>
                    <a:pt x="4748606" y="462280"/>
                  </a:lnTo>
                  <a:lnTo>
                    <a:pt x="4745126" y="467360"/>
                  </a:lnTo>
                  <a:lnTo>
                    <a:pt x="4742827" y="471170"/>
                  </a:lnTo>
                  <a:lnTo>
                    <a:pt x="4733074" y="477520"/>
                  </a:lnTo>
                  <a:lnTo>
                    <a:pt x="4740110" y="477520"/>
                  </a:lnTo>
                  <a:lnTo>
                    <a:pt x="4738446" y="483870"/>
                  </a:lnTo>
                  <a:lnTo>
                    <a:pt x="4744491" y="480060"/>
                  </a:lnTo>
                  <a:lnTo>
                    <a:pt x="4746904" y="480060"/>
                  </a:lnTo>
                  <a:lnTo>
                    <a:pt x="4745545" y="483870"/>
                  </a:lnTo>
                  <a:lnTo>
                    <a:pt x="4743170" y="486410"/>
                  </a:lnTo>
                  <a:lnTo>
                    <a:pt x="4738827" y="487680"/>
                  </a:lnTo>
                  <a:lnTo>
                    <a:pt x="4737074" y="486410"/>
                  </a:lnTo>
                  <a:lnTo>
                    <a:pt x="4733607" y="478790"/>
                  </a:lnTo>
                  <a:lnTo>
                    <a:pt x="4729086" y="483870"/>
                  </a:lnTo>
                  <a:lnTo>
                    <a:pt x="4724527" y="486410"/>
                  </a:lnTo>
                  <a:lnTo>
                    <a:pt x="4719980" y="480060"/>
                  </a:lnTo>
                  <a:lnTo>
                    <a:pt x="4715408" y="481330"/>
                  </a:lnTo>
                  <a:lnTo>
                    <a:pt x="4710900" y="486410"/>
                  </a:lnTo>
                  <a:lnTo>
                    <a:pt x="4709998" y="485140"/>
                  </a:lnTo>
                  <a:lnTo>
                    <a:pt x="4706340" y="480060"/>
                  </a:lnTo>
                  <a:lnTo>
                    <a:pt x="4704854" y="478790"/>
                  </a:lnTo>
                  <a:lnTo>
                    <a:pt x="4703356" y="477520"/>
                  </a:lnTo>
                  <a:lnTo>
                    <a:pt x="4702022" y="475805"/>
                  </a:lnTo>
                  <a:lnTo>
                    <a:pt x="4703242" y="473710"/>
                  </a:lnTo>
                  <a:lnTo>
                    <a:pt x="4704727" y="471170"/>
                  </a:lnTo>
                  <a:lnTo>
                    <a:pt x="4711014" y="473710"/>
                  </a:lnTo>
                  <a:lnTo>
                    <a:pt x="4708296" y="471170"/>
                  </a:lnTo>
                  <a:lnTo>
                    <a:pt x="4706925" y="469900"/>
                  </a:lnTo>
                  <a:lnTo>
                    <a:pt x="4702835" y="466090"/>
                  </a:lnTo>
                  <a:lnTo>
                    <a:pt x="4709185" y="463550"/>
                  </a:lnTo>
                  <a:lnTo>
                    <a:pt x="4702454" y="458470"/>
                  </a:lnTo>
                  <a:lnTo>
                    <a:pt x="4710798" y="459740"/>
                  </a:lnTo>
                  <a:lnTo>
                    <a:pt x="4706696" y="455930"/>
                  </a:lnTo>
                  <a:lnTo>
                    <a:pt x="4709604" y="453390"/>
                  </a:lnTo>
                  <a:lnTo>
                    <a:pt x="4698733" y="456057"/>
                  </a:lnTo>
                  <a:lnTo>
                    <a:pt x="4698733" y="473710"/>
                  </a:lnTo>
                  <a:lnTo>
                    <a:pt x="4697387" y="473710"/>
                  </a:lnTo>
                  <a:lnTo>
                    <a:pt x="4695710" y="471170"/>
                  </a:lnTo>
                  <a:lnTo>
                    <a:pt x="4698733" y="473710"/>
                  </a:lnTo>
                  <a:lnTo>
                    <a:pt x="4698733" y="456057"/>
                  </a:lnTo>
                  <a:lnTo>
                    <a:pt x="4688814" y="458470"/>
                  </a:lnTo>
                  <a:lnTo>
                    <a:pt x="4682261" y="453390"/>
                  </a:lnTo>
                  <a:lnTo>
                    <a:pt x="4686503" y="454660"/>
                  </a:lnTo>
                  <a:lnTo>
                    <a:pt x="4686478" y="453390"/>
                  </a:lnTo>
                  <a:lnTo>
                    <a:pt x="4686427" y="450850"/>
                  </a:lnTo>
                  <a:lnTo>
                    <a:pt x="4686389" y="449580"/>
                  </a:lnTo>
                  <a:lnTo>
                    <a:pt x="4691062" y="452120"/>
                  </a:lnTo>
                  <a:lnTo>
                    <a:pt x="4690491" y="449580"/>
                  </a:lnTo>
                  <a:lnTo>
                    <a:pt x="4689919" y="447040"/>
                  </a:lnTo>
                  <a:lnTo>
                    <a:pt x="4697019" y="444500"/>
                  </a:lnTo>
                  <a:lnTo>
                    <a:pt x="4689627" y="443230"/>
                  </a:lnTo>
                  <a:lnTo>
                    <a:pt x="4682083" y="439420"/>
                  </a:lnTo>
                  <a:lnTo>
                    <a:pt x="4690923" y="436880"/>
                  </a:lnTo>
                  <a:lnTo>
                    <a:pt x="4688040" y="434340"/>
                  </a:lnTo>
                  <a:lnTo>
                    <a:pt x="4691939" y="430530"/>
                  </a:lnTo>
                  <a:lnTo>
                    <a:pt x="4681512" y="426720"/>
                  </a:lnTo>
                  <a:lnTo>
                    <a:pt x="4685385" y="424180"/>
                  </a:lnTo>
                  <a:lnTo>
                    <a:pt x="4681055" y="421640"/>
                  </a:lnTo>
                  <a:lnTo>
                    <a:pt x="4678908" y="415290"/>
                  </a:lnTo>
                  <a:lnTo>
                    <a:pt x="4678604" y="403860"/>
                  </a:lnTo>
                  <a:lnTo>
                    <a:pt x="4677003" y="401320"/>
                  </a:lnTo>
                  <a:lnTo>
                    <a:pt x="4675860" y="407670"/>
                  </a:lnTo>
                  <a:lnTo>
                    <a:pt x="4674603" y="421640"/>
                  </a:lnTo>
                  <a:lnTo>
                    <a:pt x="4671009" y="422910"/>
                  </a:lnTo>
                  <a:lnTo>
                    <a:pt x="4668634" y="424180"/>
                  </a:lnTo>
                  <a:lnTo>
                    <a:pt x="4674768" y="430530"/>
                  </a:lnTo>
                  <a:lnTo>
                    <a:pt x="4665396" y="429260"/>
                  </a:lnTo>
                  <a:lnTo>
                    <a:pt x="4668698" y="433070"/>
                  </a:lnTo>
                  <a:lnTo>
                    <a:pt x="4665269" y="434340"/>
                  </a:lnTo>
                  <a:lnTo>
                    <a:pt x="4659617" y="431800"/>
                  </a:lnTo>
                  <a:lnTo>
                    <a:pt x="4664443" y="438150"/>
                  </a:lnTo>
                  <a:lnTo>
                    <a:pt x="4659185" y="441960"/>
                  </a:lnTo>
                  <a:lnTo>
                    <a:pt x="4667059" y="443230"/>
                  </a:lnTo>
                  <a:lnTo>
                    <a:pt x="4659858" y="445770"/>
                  </a:lnTo>
                  <a:lnTo>
                    <a:pt x="4655439" y="448310"/>
                  </a:lnTo>
                  <a:lnTo>
                    <a:pt x="4661776" y="449580"/>
                  </a:lnTo>
                  <a:lnTo>
                    <a:pt x="4659287" y="453390"/>
                  </a:lnTo>
                  <a:lnTo>
                    <a:pt x="4666361" y="452120"/>
                  </a:lnTo>
                  <a:lnTo>
                    <a:pt x="4666373" y="457200"/>
                  </a:lnTo>
                  <a:lnTo>
                    <a:pt x="4672279" y="452120"/>
                  </a:lnTo>
                  <a:lnTo>
                    <a:pt x="4673752" y="450850"/>
                  </a:lnTo>
                  <a:lnTo>
                    <a:pt x="4669345" y="458470"/>
                  </a:lnTo>
                  <a:lnTo>
                    <a:pt x="4650765" y="452120"/>
                  </a:lnTo>
                  <a:lnTo>
                    <a:pt x="4654893" y="457200"/>
                  </a:lnTo>
                  <a:lnTo>
                    <a:pt x="4649343" y="457200"/>
                  </a:lnTo>
                  <a:lnTo>
                    <a:pt x="4653750" y="461010"/>
                  </a:lnTo>
                  <a:lnTo>
                    <a:pt x="4654664" y="462280"/>
                  </a:lnTo>
                  <a:lnTo>
                    <a:pt x="4655248" y="463550"/>
                  </a:lnTo>
                  <a:lnTo>
                    <a:pt x="4647184" y="464820"/>
                  </a:lnTo>
                  <a:lnTo>
                    <a:pt x="4652835" y="469900"/>
                  </a:lnTo>
                  <a:lnTo>
                    <a:pt x="4652442" y="474980"/>
                  </a:lnTo>
                  <a:lnTo>
                    <a:pt x="4659858" y="469900"/>
                  </a:lnTo>
                  <a:lnTo>
                    <a:pt x="4659769" y="473710"/>
                  </a:lnTo>
                  <a:lnTo>
                    <a:pt x="4667516" y="473710"/>
                  </a:lnTo>
                  <a:lnTo>
                    <a:pt x="4658118" y="476250"/>
                  </a:lnTo>
                  <a:lnTo>
                    <a:pt x="4657433" y="476250"/>
                  </a:lnTo>
                  <a:lnTo>
                    <a:pt x="4655121" y="477050"/>
                  </a:lnTo>
                  <a:lnTo>
                    <a:pt x="4655121" y="485140"/>
                  </a:lnTo>
                  <a:lnTo>
                    <a:pt x="4654181" y="488950"/>
                  </a:lnTo>
                  <a:lnTo>
                    <a:pt x="4653254" y="491490"/>
                  </a:lnTo>
                  <a:lnTo>
                    <a:pt x="4653077" y="490220"/>
                  </a:lnTo>
                  <a:lnTo>
                    <a:pt x="4652327" y="485140"/>
                  </a:lnTo>
                  <a:lnTo>
                    <a:pt x="4655121" y="485140"/>
                  </a:lnTo>
                  <a:lnTo>
                    <a:pt x="4655121" y="477050"/>
                  </a:lnTo>
                  <a:lnTo>
                    <a:pt x="4649978" y="478790"/>
                  </a:lnTo>
                  <a:lnTo>
                    <a:pt x="4648733" y="473710"/>
                  </a:lnTo>
                  <a:lnTo>
                    <a:pt x="4647489" y="471170"/>
                  </a:lnTo>
                  <a:lnTo>
                    <a:pt x="4646244" y="472440"/>
                  </a:lnTo>
                  <a:lnTo>
                    <a:pt x="4645012" y="480060"/>
                  </a:lnTo>
                  <a:lnTo>
                    <a:pt x="4642637" y="487680"/>
                  </a:lnTo>
                  <a:lnTo>
                    <a:pt x="4640199" y="490220"/>
                  </a:lnTo>
                  <a:lnTo>
                    <a:pt x="4638510" y="483870"/>
                  </a:lnTo>
                  <a:lnTo>
                    <a:pt x="4637824" y="481330"/>
                  </a:lnTo>
                  <a:lnTo>
                    <a:pt x="4636046" y="480060"/>
                  </a:lnTo>
                  <a:lnTo>
                    <a:pt x="4634255" y="476250"/>
                  </a:lnTo>
                  <a:lnTo>
                    <a:pt x="4632464" y="477520"/>
                  </a:lnTo>
                  <a:lnTo>
                    <a:pt x="4630674" y="483870"/>
                  </a:lnTo>
                  <a:lnTo>
                    <a:pt x="4628896" y="469900"/>
                  </a:lnTo>
                  <a:lnTo>
                    <a:pt x="4627130" y="469900"/>
                  </a:lnTo>
                  <a:lnTo>
                    <a:pt x="4625352" y="477520"/>
                  </a:lnTo>
                  <a:lnTo>
                    <a:pt x="4623486" y="487680"/>
                  </a:lnTo>
                  <a:lnTo>
                    <a:pt x="4621225" y="497840"/>
                  </a:lnTo>
                  <a:lnTo>
                    <a:pt x="4619955" y="492760"/>
                  </a:lnTo>
                  <a:lnTo>
                    <a:pt x="4619002" y="488950"/>
                  </a:lnTo>
                  <a:lnTo>
                    <a:pt x="4618672" y="487680"/>
                  </a:lnTo>
                  <a:lnTo>
                    <a:pt x="4616285" y="483870"/>
                  </a:lnTo>
                  <a:lnTo>
                    <a:pt x="4614507" y="488950"/>
                  </a:lnTo>
                  <a:lnTo>
                    <a:pt x="4612716" y="486410"/>
                  </a:lnTo>
                  <a:lnTo>
                    <a:pt x="4610925" y="482600"/>
                  </a:lnTo>
                  <a:lnTo>
                    <a:pt x="4609135" y="488950"/>
                  </a:lnTo>
                  <a:lnTo>
                    <a:pt x="4600372" y="481330"/>
                  </a:lnTo>
                  <a:lnTo>
                    <a:pt x="4603928" y="481330"/>
                  </a:lnTo>
                  <a:lnTo>
                    <a:pt x="4606315" y="482600"/>
                  </a:lnTo>
                  <a:lnTo>
                    <a:pt x="4607890" y="483870"/>
                  </a:lnTo>
                  <a:lnTo>
                    <a:pt x="4607344" y="481330"/>
                  </a:lnTo>
                  <a:lnTo>
                    <a:pt x="4606239" y="476250"/>
                  </a:lnTo>
                  <a:lnTo>
                    <a:pt x="4615243" y="481330"/>
                  </a:lnTo>
                  <a:lnTo>
                    <a:pt x="4614723" y="476250"/>
                  </a:lnTo>
                  <a:lnTo>
                    <a:pt x="4614583" y="474980"/>
                  </a:lnTo>
                  <a:lnTo>
                    <a:pt x="4619853" y="474980"/>
                  </a:lnTo>
                  <a:lnTo>
                    <a:pt x="4614761" y="471170"/>
                  </a:lnTo>
                  <a:lnTo>
                    <a:pt x="4611281" y="469900"/>
                  </a:lnTo>
                  <a:lnTo>
                    <a:pt x="4609566" y="469900"/>
                  </a:lnTo>
                  <a:lnTo>
                    <a:pt x="4606087" y="468630"/>
                  </a:lnTo>
                  <a:lnTo>
                    <a:pt x="4597222" y="463550"/>
                  </a:lnTo>
                  <a:lnTo>
                    <a:pt x="4599102" y="459740"/>
                  </a:lnTo>
                  <a:lnTo>
                    <a:pt x="4605833" y="466090"/>
                  </a:lnTo>
                  <a:lnTo>
                    <a:pt x="4606785" y="459740"/>
                  </a:lnTo>
                  <a:lnTo>
                    <a:pt x="4606963" y="458470"/>
                  </a:lnTo>
                  <a:lnTo>
                    <a:pt x="4612856" y="466090"/>
                  </a:lnTo>
                  <a:lnTo>
                    <a:pt x="4610862" y="458470"/>
                  </a:lnTo>
                  <a:lnTo>
                    <a:pt x="4619993" y="462280"/>
                  </a:lnTo>
                  <a:lnTo>
                    <a:pt x="4617974" y="458470"/>
                  </a:lnTo>
                  <a:lnTo>
                    <a:pt x="4616628" y="455930"/>
                  </a:lnTo>
                  <a:lnTo>
                    <a:pt x="4622228" y="455930"/>
                  </a:lnTo>
                  <a:lnTo>
                    <a:pt x="4604296" y="449580"/>
                  </a:lnTo>
                  <a:lnTo>
                    <a:pt x="4597108" y="447040"/>
                  </a:lnTo>
                  <a:lnTo>
                    <a:pt x="4603343" y="443230"/>
                  </a:lnTo>
                  <a:lnTo>
                    <a:pt x="4597184" y="439420"/>
                  </a:lnTo>
                  <a:lnTo>
                    <a:pt x="4595825" y="438150"/>
                  </a:lnTo>
                  <a:lnTo>
                    <a:pt x="4593094" y="435610"/>
                  </a:lnTo>
                  <a:lnTo>
                    <a:pt x="4598670" y="438150"/>
                  </a:lnTo>
                  <a:lnTo>
                    <a:pt x="4607039" y="440690"/>
                  </a:lnTo>
                  <a:lnTo>
                    <a:pt x="4604524" y="435610"/>
                  </a:lnTo>
                  <a:lnTo>
                    <a:pt x="4609160" y="434340"/>
                  </a:lnTo>
                  <a:lnTo>
                    <a:pt x="4595266" y="427990"/>
                  </a:lnTo>
                  <a:lnTo>
                    <a:pt x="4599991" y="422910"/>
                  </a:lnTo>
                  <a:lnTo>
                    <a:pt x="4593653" y="419100"/>
                  </a:lnTo>
                  <a:lnTo>
                    <a:pt x="4594542" y="416560"/>
                  </a:lnTo>
                  <a:lnTo>
                    <a:pt x="4590466" y="412750"/>
                  </a:lnTo>
                  <a:lnTo>
                    <a:pt x="4591812" y="411480"/>
                  </a:lnTo>
                  <a:lnTo>
                    <a:pt x="4589627" y="408940"/>
                  </a:lnTo>
                  <a:lnTo>
                    <a:pt x="4588281" y="397510"/>
                  </a:lnTo>
                  <a:lnTo>
                    <a:pt x="4586414" y="410210"/>
                  </a:lnTo>
                  <a:lnTo>
                    <a:pt x="4583950" y="412750"/>
                  </a:lnTo>
                  <a:lnTo>
                    <a:pt x="4585335" y="416560"/>
                  </a:lnTo>
                  <a:lnTo>
                    <a:pt x="4579569" y="419100"/>
                  </a:lnTo>
                  <a:lnTo>
                    <a:pt x="4580255" y="421640"/>
                  </a:lnTo>
                  <a:lnTo>
                    <a:pt x="4572305" y="424180"/>
                  </a:lnTo>
                  <a:lnTo>
                    <a:pt x="4584065" y="426720"/>
                  </a:lnTo>
                  <a:lnTo>
                    <a:pt x="4568164" y="434340"/>
                  </a:lnTo>
                  <a:lnTo>
                    <a:pt x="4574248" y="436880"/>
                  </a:lnTo>
                  <a:lnTo>
                    <a:pt x="4570806" y="440690"/>
                  </a:lnTo>
                  <a:lnTo>
                    <a:pt x="4576813" y="439420"/>
                  </a:lnTo>
                  <a:lnTo>
                    <a:pt x="4582388" y="438150"/>
                  </a:lnTo>
                  <a:lnTo>
                    <a:pt x="4577562" y="440690"/>
                  </a:lnTo>
                  <a:lnTo>
                    <a:pt x="4571123" y="443230"/>
                  </a:lnTo>
                  <a:lnTo>
                    <a:pt x="4567999" y="447040"/>
                  </a:lnTo>
                  <a:lnTo>
                    <a:pt x="4575289" y="447040"/>
                  </a:lnTo>
                  <a:lnTo>
                    <a:pt x="4572355" y="450850"/>
                  </a:lnTo>
                  <a:lnTo>
                    <a:pt x="4577816" y="449580"/>
                  </a:lnTo>
                  <a:lnTo>
                    <a:pt x="4579683" y="452120"/>
                  </a:lnTo>
                  <a:lnTo>
                    <a:pt x="4576534" y="453390"/>
                  </a:lnTo>
                  <a:lnTo>
                    <a:pt x="4571847" y="457200"/>
                  </a:lnTo>
                  <a:lnTo>
                    <a:pt x="4554575" y="464820"/>
                  </a:lnTo>
                  <a:lnTo>
                    <a:pt x="4562195" y="464820"/>
                  </a:lnTo>
                  <a:lnTo>
                    <a:pt x="4561217" y="466090"/>
                  </a:lnTo>
                  <a:lnTo>
                    <a:pt x="4560748" y="467360"/>
                  </a:lnTo>
                  <a:lnTo>
                    <a:pt x="4559770" y="468630"/>
                  </a:lnTo>
                  <a:lnTo>
                    <a:pt x="4566983" y="464820"/>
                  </a:lnTo>
                  <a:lnTo>
                    <a:pt x="4566221" y="471170"/>
                  </a:lnTo>
                  <a:lnTo>
                    <a:pt x="4571352" y="464820"/>
                  </a:lnTo>
                  <a:lnTo>
                    <a:pt x="4575924" y="464820"/>
                  </a:lnTo>
                  <a:lnTo>
                    <a:pt x="4573854" y="469900"/>
                  </a:lnTo>
                  <a:lnTo>
                    <a:pt x="4564596" y="474980"/>
                  </a:lnTo>
                  <a:lnTo>
                    <a:pt x="4563491" y="475538"/>
                  </a:lnTo>
                  <a:lnTo>
                    <a:pt x="4563491" y="485140"/>
                  </a:lnTo>
                  <a:lnTo>
                    <a:pt x="4561192" y="487680"/>
                  </a:lnTo>
                  <a:lnTo>
                    <a:pt x="4556963" y="488950"/>
                  </a:lnTo>
                  <a:lnTo>
                    <a:pt x="4555337" y="485140"/>
                  </a:lnTo>
                  <a:lnTo>
                    <a:pt x="4563491" y="485140"/>
                  </a:lnTo>
                  <a:lnTo>
                    <a:pt x="4563491" y="475538"/>
                  </a:lnTo>
                  <a:lnTo>
                    <a:pt x="4559528" y="477520"/>
                  </a:lnTo>
                  <a:lnTo>
                    <a:pt x="4563300" y="480060"/>
                  </a:lnTo>
                  <a:lnTo>
                    <a:pt x="4555287" y="485000"/>
                  </a:lnTo>
                  <a:lnTo>
                    <a:pt x="4553712" y="481330"/>
                  </a:lnTo>
                  <a:lnTo>
                    <a:pt x="4552048" y="491490"/>
                  </a:lnTo>
                  <a:lnTo>
                    <a:pt x="4550080" y="492760"/>
                  </a:lnTo>
                  <a:lnTo>
                    <a:pt x="4546803" y="488950"/>
                  </a:lnTo>
                  <a:lnTo>
                    <a:pt x="4543526" y="491490"/>
                  </a:lnTo>
                  <a:lnTo>
                    <a:pt x="4540237" y="495300"/>
                  </a:lnTo>
                  <a:lnTo>
                    <a:pt x="4536935" y="497840"/>
                  </a:lnTo>
                  <a:lnTo>
                    <a:pt x="4534624" y="497840"/>
                  </a:lnTo>
                  <a:lnTo>
                    <a:pt x="4533468" y="499110"/>
                  </a:lnTo>
                  <a:lnTo>
                    <a:pt x="4533785" y="497840"/>
                  </a:lnTo>
                  <a:lnTo>
                    <a:pt x="4529696" y="495300"/>
                  </a:lnTo>
                  <a:lnTo>
                    <a:pt x="4531055" y="494030"/>
                  </a:lnTo>
                  <a:lnTo>
                    <a:pt x="4528871" y="490220"/>
                  </a:lnTo>
                  <a:lnTo>
                    <a:pt x="4527524" y="480060"/>
                  </a:lnTo>
                  <a:lnTo>
                    <a:pt x="4525657" y="491490"/>
                  </a:lnTo>
                  <a:lnTo>
                    <a:pt x="4523194" y="494030"/>
                  </a:lnTo>
                  <a:lnTo>
                    <a:pt x="4524578" y="497840"/>
                  </a:lnTo>
                  <a:lnTo>
                    <a:pt x="4522330" y="499110"/>
                  </a:lnTo>
                  <a:lnTo>
                    <a:pt x="4520577" y="495300"/>
                  </a:lnTo>
                  <a:lnTo>
                    <a:pt x="4517047" y="502920"/>
                  </a:lnTo>
                  <a:lnTo>
                    <a:pt x="4515282" y="501650"/>
                  </a:lnTo>
                  <a:lnTo>
                    <a:pt x="4513453" y="496570"/>
                  </a:lnTo>
                  <a:lnTo>
                    <a:pt x="4511637" y="487680"/>
                  </a:lnTo>
                  <a:lnTo>
                    <a:pt x="4509833" y="486410"/>
                  </a:lnTo>
                  <a:lnTo>
                    <a:pt x="4508004" y="501650"/>
                  </a:lnTo>
                  <a:lnTo>
                    <a:pt x="4504410" y="488950"/>
                  </a:lnTo>
                  <a:lnTo>
                    <a:pt x="4500791" y="485140"/>
                  </a:lnTo>
                  <a:lnTo>
                    <a:pt x="4497171" y="488950"/>
                  </a:lnTo>
                  <a:lnTo>
                    <a:pt x="4493539" y="501650"/>
                  </a:lnTo>
                  <a:lnTo>
                    <a:pt x="4491748" y="492760"/>
                  </a:lnTo>
                  <a:lnTo>
                    <a:pt x="4489958" y="486410"/>
                  </a:lnTo>
                  <a:lnTo>
                    <a:pt x="4488167" y="486410"/>
                  </a:lnTo>
                  <a:lnTo>
                    <a:pt x="4486364" y="501650"/>
                  </a:lnTo>
                  <a:lnTo>
                    <a:pt x="4484548" y="500380"/>
                  </a:lnTo>
                  <a:lnTo>
                    <a:pt x="4482731" y="497840"/>
                  </a:lnTo>
                  <a:lnTo>
                    <a:pt x="4480903" y="499110"/>
                  </a:lnTo>
                  <a:lnTo>
                    <a:pt x="4479087" y="505460"/>
                  </a:lnTo>
                  <a:lnTo>
                    <a:pt x="4476737" y="505460"/>
                  </a:lnTo>
                  <a:lnTo>
                    <a:pt x="4474324" y="502920"/>
                  </a:lnTo>
                  <a:lnTo>
                    <a:pt x="4471886" y="508000"/>
                  </a:lnTo>
                  <a:lnTo>
                    <a:pt x="4470095" y="506730"/>
                  </a:lnTo>
                  <a:lnTo>
                    <a:pt x="4468292" y="502920"/>
                  </a:lnTo>
                  <a:lnTo>
                    <a:pt x="4466488" y="501650"/>
                  </a:lnTo>
                  <a:lnTo>
                    <a:pt x="4464659" y="509270"/>
                  </a:lnTo>
                  <a:lnTo>
                    <a:pt x="4462310" y="516890"/>
                  </a:lnTo>
                  <a:lnTo>
                    <a:pt x="4459859" y="509270"/>
                  </a:lnTo>
                  <a:lnTo>
                    <a:pt x="4457471" y="509270"/>
                  </a:lnTo>
                  <a:lnTo>
                    <a:pt x="4455084" y="518160"/>
                  </a:lnTo>
                  <a:lnTo>
                    <a:pt x="4452658" y="514350"/>
                  </a:lnTo>
                  <a:lnTo>
                    <a:pt x="4451464" y="511810"/>
                  </a:lnTo>
                  <a:lnTo>
                    <a:pt x="4450270" y="509270"/>
                  </a:lnTo>
                  <a:lnTo>
                    <a:pt x="4445470" y="511810"/>
                  </a:lnTo>
                  <a:lnTo>
                    <a:pt x="4440618" y="509270"/>
                  </a:lnTo>
                  <a:lnTo>
                    <a:pt x="4435856" y="511810"/>
                  </a:lnTo>
                  <a:lnTo>
                    <a:pt x="4431042" y="518160"/>
                  </a:lnTo>
                  <a:lnTo>
                    <a:pt x="4426242" y="513080"/>
                  </a:lnTo>
                  <a:lnTo>
                    <a:pt x="4421505" y="513080"/>
                  </a:lnTo>
                  <a:lnTo>
                    <a:pt x="4420705" y="511810"/>
                  </a:lnTo>
                  <a:lnTo>
                    <a:pt x="4419905" y="510540"/>
                  </a:lnTo>
                  <a:lnTo>
                    <a:pt x="4416704" y="505460"/>
                  </a:lnTo>
                  <a:lnTo>
                    <a:pt x="4411942" y="510540"/>
                  </a:lnTo>
                  <a:lnTo>
                    <a:pt x="4407141" y="509270"/>
                  </a:lnTo>
                  <a:lnTo>
                    <a:pt x="4405312" y="511810"/>
                  </a:lnTo>
                  <a:lnTo>
                    <a:pt x="4403458" y="506730"/>
                  </a:lnTo>
                  <a:lnTo>
                    <a:pt x="4401655" y="502920"/>
                  </a:lnTo>
                  <a:lnTo>
                    <a:pt x="4399991" y="508000"/>
                  </a:lnTo>
                  <a:lnTo>
                    <a:pt x="4398073" y="519430"/>
                  </a:lnTo>
                  <a:lnTo>
                    <a:pt x="4396295" y="524510"/>
                  </a:lnTo>
                  <a:lnTo>
                    <a:pt x="4394581" y="523240"/>
                  </a:lnTo>
                  <a:lnTo>
                    <a:pt x="4394289" y="521970"/>
                  </a:lnTo>
                  <a:lnTo>
                    <a:pt x="4392841" y="515620"/>
                  </a:lnTo>
                  <a:lnTo>
                    <a:pt x="4392358" y="513080"/>
                  </a:lnTo>
                  <a:lnTo>
                    <a:pt x="4390415" y="502920"/>
                  </a:lnTo>
                  <a:lnTo>
                    <a:pt x="4388066" y="506730"/>
                  </a:lnTo>
                  <a:lnTo>
                    <a:pt x="4385716" y="513080"/>
                  </a:lnTo>
                  <a:lnTo>
                    <a:pt x="4383900" y="504190"/>
                  </a:lnTo>
                  <a:lnTo>
                    <a:pt x="4382109" y="502920"/>
                  </a:lnTo>
                  <a:lnTo>
                    <a:pt x="4380319" y="506730"/>
                  </a:lnTo>
                  <a:lnTo>
                    <a:pt x="4378528" y="516890"/>
                  </a:lnTo>
                  <a:lnTo>
                    <a:pt x="4373816" y="521970"/>
                  </a:lnTo>
                  <a:lnTo>
                    <a:pt x="4369003" y="520700"/>
                  </a:lnTo>
                  <a:lnTo>
                    <a:pt x="4364317" y="518160"/>
                  </a:lnTo>
                  <a:lnTo>
                    <a:pt x="4360761" y="523240"/>
                  </a:lnTo>
                  <a:lnTo>
                    <a:pt x="4353687" y="516890"/>
                  </a:lnTo>
                  <a:lnTo>
                    <a:pt x="4350143" y="521970"/>
                  </a:lnTo>
                  <a:lnTo>
                    <a:pt x="4345419" y="530860"/>
                  </a:lnTo>
                  <a:lnTo>
                    <a:pt x="4339526" y="524510"/>
                  </a:lnTo>
                  <a:lnTo>
                    <a:pt x="4336021" y="520700"/>
                  </a:lnTo>
                  <a:lnTo>
                    <a:pt x="4335704" y="519430"/>
                  </a:lnTo>
                  <a:lnTo>
                    <a:pt x="4333138" y="509270"/>
                  </a:lnTo>
                  <a:lnTo>
                    <a:pt x="4330255" y="514350"/>
                  </a:lnTo>
                  <a:lnTo>
                    <a:pt x="4327436" y="519430"/>
                  </a:lnTo>
                  <a:lnTo>
                    <a:pt x="4325290" y="513080"/>
                  </a:lnTo>
                  <a:lnTo>
                    <a:pt x="4323156" y="510540"/>
                  </a:lnTo>
                  <a:lnTo>
                    <a:pt x="4321048" y="511810"/>
                  </a:lnTo>
                  <a:lnTo>
                    <a:pt x="4318965" y="520700"/>
                  </a:lnTo>
                  <a:lnTo>
                    <a:pt x="4316844" y="510540"/>
                  </a:lnTo>
                  <a:lnTo>
                    <a:pt x="4314723" y="516890"/>
                  </a:lnTo>
                  <a:lnTo>
                    <a:pt x="4312602" y="524510"/>
                  </a:lnTo>
                  <a:lnTo>
                    <a:pt x="4310469" y="523240"/>
                  </a:lnTo>
                  <a:lnTo>
                    <a:pt x="4308399" y="529590"/>
                  </a:lnTo>
                  <a:lnTo>
                    <a:pt x="4306316" y="533400"/>
                  </a:lnTo>
                  <a:lnTo>
                    <a:pt x="4304233" y="532130"/>
                  </a:lnTo>
                  <a:lnTo>
                    <a:pt x="4303941" y="530860"/>
                  </a:lnTo>
                  <a:lnTo>
                    <a:pt x="4302163" y="523240"/>
                  </a:lnTo>
                  <a:lnTo>
                    <a:pt x="4299394" y="530860"/>
                  </a:lnTo>
                  <a:lnTo>
                    <a:pt x="4296638" y="528320"/>
                  </a:lnTo>
                  <a:lnTo>
                    <a:pt x="4295254" y="525780"/>
                  </a:lnTo>
                  <a:lnTo>
                    <a:pt x="4293870" y="523240"/>
                  </a:lnTo>
                  <a:lnTo>
                    <a:pt x="4291114" y="525780"/>
                  </a:lnTo>
                  <a:lnTo>
                    <a:pt x="4288383" y="520700"/>
                  </a:lnTo>
                  <a:lnTo>
                    <a:pt x="4285691" y="523240"/>
                  </a:lnTo>
                  <a:lnTo>
                    <a:pt x="4283646" y="524510"/>
                  </a:lnTo>
                  <a:lnTo>
                    <a:pt x="4281614" y="527050"/>
                  </a:lnTo>
                  <a:lnTo>
                    <a:pt x="4279570" y="528320"/>
                  </a:lnTo>
                  <a:lnTo>
                    <a:pt x="4278211" y="525780"/>
                  </a:lnTo>
                  <a:lnTo>
                    <a:pt x="4277525" y="524510"/>
                  </a:lnTo>
                  <a:lnTo>
                    <a:pt x="4275544" y="518160"/>
                  </a:lnTo>
                  <a:lnTo>
                    <a:pt x="4273550" y="513080"/>
                  </a:lnTo>
                  <a:lnTo>
                    <a:pt x="4271530" y="514350"/>
                  </a:lnTo>
                  <a:lnTo>
                    <a:pt x="4269498" y="525780"/>
                  </a:lnTo>
                  <a:lnTo>
                    <a:pt x="4266870" y="520700"/>
                  </a:lnTo>
                  <a:lnTo>
                    <a:pt x="4264190" y="521970"/>
                  </a:lnTo>
                  <a:lnTo>
                    <a:pt x="4261523" y="529590"/>
                  </a:lnTo>
                  <a:lnTo>
                    <a:pt x="4259554" y="537210"/>
                  </a:lnTo>
                  <a:lnTo>
                    <a:pt x="4257560" y="534670"/>
                  </a:lnTo>
                  <a:lnTo>
                    <a:pt x="4257065" y="533400"/>
                  </a:lnTo>
                  <a:lnTo>
                    <a:pt x="4256075" y="530860"/>
                  </a:lnTo>
                  <a:lnTo>
                    <a:pt x="4255579" y="529590"/>
                  </a:lnTo>
                  <a:lnTo>
                    <a:pt x="4253611" y="528320"/>
                  </a:lnTo>
                  <a:lnTo>
                    <a:pt x="4251655" y="530860"/>
                  </a:lnTo>
                  <a:lnTo>
                    <a:pt x="4247743" y="525780"/>
                  </a:lnTo>
                  <a:lnTo>
                    <a:pt x="4245800" y="529590"/>
                  </a:lnTo>
                  <a:lnTo>
                    <a:pt x="4243844" y="533400"/>
                  </a:lnTo>
                  <a:lnTo>
                    <a:pt x="4241889" y="530860"/>
                  </a:lnTo>
                  <a:lnTo>
                    <a:pt x="4241406" y="529590"/>
                  </a:lnTo>
                  <a:lnTo>
                    <a:pt x="4239946" y="525780"/>
                  </a:lnTo>
                  <a:lnTo>
                    <a:pt x="4237977" y="525780"/>
                  </a:lnTo>
                  <a:lnTo>
                    <a:pt x="4236059" y="529590"/>
                  </a:lnTo>
                  <a:lnTo>
                    <a:pt x="4234129" y="524510"/>
                  </a:lnTo>
                  <a:lnTo>
                    <a:pt x="4232186" y="520700"/>
                  </a:lnTo>
                  <a:lnTo>
                    <a:pt x="4230243" y="525780"/>
                  </a:lnTo>
                  <a:lnTo>
                    <a:pt x="4227741" y="530860"/>
                  </a:lnTo>
                  <a:lnTo>
                    <a:pt x="4225175" y="523240"/>
                  </a:lnTo>
                  <a:lnTo>
                    <a:pt x="4222635" y="527050"/>
                  </a:lnTo>
                  <a:lnTo>
                    <a:pt x="4220134" y="534670"/>
                  </a:lnTo>
                  <a:lnTo>
                    <a:pt x="4217581" y="539750"/>
                  </a:lnTo>
                  <a:lnTo>
                    <a:pt x="4216451" y="534670"/>
                  </a:lnTo>
                  <a:lnTo>
                    <a:pt x="4215600" y="530860"/>
                  </a:lnTo>
                  <a:lnTo>
                    <a:pt x="4215028" y="528320"/>
                  </a:lnTo>
                  <a:lnTo>
                    <a:pt x="4213199" y="527050"/>
                  </a:lnTo>
                  <a:lnTo>
                    <a:pt x="4211332" y="523240"/>
                  </a:lnTo>
                  <a:lnTo>
                    <a:pt x="4209453" y="520700"/>
                  </a:lnTo>
                  <a:lnTo>
                    <a:pt x="4207586" y="525780"/>
                  </a:lnTo>
                  <a:lnTo>
                    <a:pt x="4205719" y="528320"/>
                  </a:lnTo>
                  <a:lnTo>
                    <a:pt x="4205249" y="527050"/>
                  </a:lnTo>
                  <a:lnTo>
                    <a:pt x="4203852" y="523240"/>
                  </a:lnTo>
                  <a:lnTo>
                    <a:pt x="4201998" y="520700"/>
                  </a:lnTo>
                  <a:lnTo>
                    <a:pt x="4200144" y="525780"/>
                  </a:lnTo>
                  <a:lnTo>
                    <a:pt x="4198315" y="527050"/>
                  </a:lnTo>
                  <a:lnTo>
                    <a:pt x="4196473" y="524510"/>
                  </a:lnTo>
                  <a:lnTo>
                    <a:pt x="4194606" y="523240"/>
                  </a:lnTo>
                  <a:lnTo>
                    <a:pt x="4192752" y="525780"/>
                  </a:lnTo>
                  <a:lnTo>
                    <a:pt x="4190365" y="528320"/>
                  </a:lnTo>
                  <a:lnTo>
                    <a:pt x="4187863" y="530860"/>
                  </a:lnTo>
                  <a:lnTo>
                    <a:pt x="4186428" y="527050"/>
                  </a:lnTo>
                  <a:lnTo>
                    <a:pt x="4185462" y="524510"/>
                  </a:lnTo>
                  <a:lnTo>
                    <a:pt x="4183659" y="527050"/>
                  </a:lnTo>
                  <a:lnTo>
                    <a:pt x="4180014" y="519430"/>
                  </a:lnTo>
                  <a:lnTo>
                    <a:pt x="4178185" y="525780"/>
                  </a:lnTo>
                  <a:lnTo>
                    <a:pt x="4176433" y="530860"/>
                  </a:lnTo>
                  <a:lnTo>
                    <a:pt x="4174642" y="534670"/>
                  </a:lnTo>
                  <a:lnTo>
                    <a:pt x="4172851" y="534670"/>
                  </a:lnTo>
                  <a:lnTo>
                    <a:pt x="4172496" y="533400"/>
                  </a:lnTo>
                  <a:lnTo>
                    <a:pt x="4171785" y="530860"/>
                  </a:lnTo>
                  <a:lnTo>
                    <a:pt x="4171061" y="528320"/>
                  </a:lnTo>
                  <a:lnTo>
                    <a:pt x="4169295" y="530860"/>
                  </a:lnTo>
                  <a:lnTo>
                    <a:pt x="4167505" y="527050"/>
                  </a:lnTo>
                  <a:lnTo>
                    <a:pt x="4165727" y="523240"/>
                  </a:lnTo>
                  <a:lnTo>
                    <a:pt x="4163936" y="527050"/>
                  </a:lnTo>
                  <a:lnTo>
                    <a:pt x="4160393" y="523240"/>
                  </a:lnTo>
                  <a:lnTo>
                    <a:pt x="4156875" y="520700"/>
                  </a:lnTo>
                  <a:lnTo>
                    <a:pt x="4153382" y="520700"/>
                  </a:lnTo>
                  <a:lnTo>
                    <a:pt x="4149890" y="525780"/>
                  </a:lnTo>
                  <a:lnTo>
                    <a:pt x="4146423" y="527050"/>
                  </a:lnTo>
                  <a:lnTo>
                    <a:pt x="4139527" y="524510"/>
                  </a:lnTo>
                  <a:lnTo>
                    <a:pt x="4136098" y="524510"/>
                  </a:lnTo>
                  <a:lnTo>
                    <a:pt x="4133799" y="529590"/>
                  </a:lnTo>
                  <a:lnTo>
                    <a:pt x="4131538" y="533400"/>
                  </a:lnTo>
                  <a:lnTo>
                    <a:pt x="4130700" y="529590"/>
                  </a:lnTo>
                  <a:lnTo>
                    <a:pt x="4130421" y="528320"/>
                  </a:lnTo>
                  <a:lnTo>
                    <a:pt x="4129290" y="523240"/>
                  </a:lnTo>
                  <a:lnTo>
                    <a:pt x="4127589" y="523240"/>
                  </a:lnTo>
                  <a:lnTo>
                    <a:pt x="4124223" y="528320"/>
                  </a:lnTo>
                  <a:lnTo>
                    <a:pt x="4122547" y="525780"/>
                  </a:lnTo>
                  <a:lnTo>
                    <a:pt x="4119219" y="529590"/>
                  </a:lnTo>
                  <a:lnTo>
                    <a:pt x="4112603" y="520700"/>
                  </a:lnTo>
                  <a:lnTo>
                    <a:pt x="4109212" y="524510"/>
                  </a:lnTo>
                  <a:lnTo>
                    <a:pt x="4107116" y="533400"/>
                  </a:lnTo>
                  <a:lnTo>
                    <a:pt x="4104817" y="532130"/>
                  </a:lnTo>
                  <a:lnTo>
                    <a:pt x="4103890" y="528320"/>
                  </a:lnTo>
                  <a:lnTo>
                    <a:pt x="4103573" y="527050"/>
                  </a:lnTo>
                  <a:lnTo>
                    <a:pt x="4102951" y="524510"/>
                  </a:lnTo>
                  <a:lnTo>
                    <a:pt x="4102633" y="523240"/>
                  </a:lnTo>
                  <a:lnTo>
                    <a:pt x="4100474" y="519430"/>
                  </a:lnTo>
                  <a:lnTo>
                    <a:pt x="4098252" y="524510"/>
                  </a:lnTo>
                  <a:lnTo>
                    <a:pt x="4096080" y="524510"/>
                  </a:lnTo>
                  <a:lnTo>
                    <a:pt x="4093908" y="520700"/>
                  </a:lnTo>
                  <a:lnTo>
                    <a:pt x="4091762" y="524510"/>
                  </a:lnTo>
                  <a:lnTo>
                    <a:pt x="4091063" y="523240"/>
                  </a:lnTo>
                  <a:lnTo>
                    <a:pt x="4089666" y="520700"/>
                  </a:lnTo>
                  <a:lnTo>
                    <a:pt x="4088053" y="510540"/>
                  </a:lnTo>
                  <a:lnTo>
                    <a:pt x="4086441" y="509270"/>
                  </a:lnTo>
                  <a:lnTo>
                    <a:pt x="4084828" y="514350"/>
                  </a:lnTo>
                  <a:lnTo>
                    <a:pt x="4083227" y="523240"/>
                  </a:lnTo>
                  <a:lnTo>
                    <a:pt x="4078948" y="516890"/>
                  </a:lnTo>
                  <a:lnTo>
                    <a:pt x="4074744" y="527050"/>
                  </a:lnTo>
                  <a:lnTo>
                    <a:pt x="4070553" y="524510"/>
                  </a:lnTo>
                  <a:lnTo>
                    <a:pt x="4066375" y="523240"/>
                  </a:lnTo>
                  <a:lnTo>
                    <a:pt x="4062247" y="528320"/>
                  </a:lnTo>
                  <a:lnTo>
                    <a:pt x="4058145" y="523240"/>
                  </a:lnTo>
                  <a:lnTo>
                    <a:pt x="4057739" y="520700"/>
                  </a:lnTo>
                  <a:lnTo>
                    <a:pt x="4056100" y="510540"/>
                  </a:lnTo>
                  <a:lnTo>
                    <a:pt x="4054017" y="520700"/>
                  </a:lnTo>
                  <a:lnTo>
                    <a:pt x="4051973" y="520700"/>
                  </a:lnTo>
                  <a:lnTo>
                    <a:pt x="4049941" y="519430"/>
                  </a:lnTo>
                  <a:lnTo>
                    <a:pt x="4047947" y="511810"/>
                  </a:lnTo>
                  <a:lnTo>
                    <a:pt x="4045902" y="523240"/>
                  </a:lnTo>
                  <a:lnTo>
                    <a:pt x="4037863" y="520700"/>
                  </a:lnTo>
                  <a:lnTo>
                    <a:pt x="4033875" y="523240"/>
                  </a:lnTo>
                  <a:lnTo>
                    <a:pt x="4032389" y="528320"/>
                  </a:lnTo>
                  <a:lnTo>
                    <a:pt x="4030903" y="528320"/>
                  </a:lnTo>
                  <a:lnTo>
                    <a:pt x="4029418" y="525780"/>
                  </a:lnTo>
                  <a:lnTo>
                    <a:pt x="4027906" y="524510"/>
                  </a:lnTo>
                  <a:lnTo>
                    <a:pt x="4025976" y="527050"/>
                  </a:lnTo>
                  <a:lnTo>
                    <a:pt x="4023982" y="534670"/>
                  </a:lnTo>
                  <a:lnTo>
                    <a:pt x="4022585" y="524510"/>
                  </a:lnTo>
                  <a:lnTo>
                    <a:pt x="4022229" y="521970"/>
                  </a:lnTo>
                  <a:lnTo>
                    <a:pt x="4022052" y="520700"/>
                  </a:lnTo>
                  <a:lnTo>
                    <a:pt x="4018115" y="521970"/>
                  </a:lnTo>
                  <a:lnTo>
                    <a:pt x="4016832" y="519430"/>
                  </a:lnTo>
                  <a:lnTo>
                    <a:pt x="4014266" y="514350"/>
                  </a:lnTo>
                  <a:lnTo>
                    <a:pt x="4010406" y="519430"/>
                  </a:lnTo>
                  <a:lnTo>
                    <a:pt x="4010279" y="518160"/>
                  </a:lnTo>
                  <a:lnTo>
                    <a:pt x="4009225" y="508000"/>
                  </a:lnTo>
                  <a:lnTo>
                    <a:pt x="4008958" y="505460"/>
                  </a:lnTo>
                  <a:lnTo>
                    <a:pt x="4007497" y="500380"/>
                  </a:lnTo>
                  <a:lnTo>
                    <a:pt x="4006062" y="500380"/>
                  </a:lnTo>
                  <a:lnTo>
                    <a:pt x="4004640" y="504190"/>
                  </a:lnTo>
                  <a:lnTo>
                    <a:pt x="4002722" y="508000"/>
                  </a:lnTo>
                  <a:lnTo>
                    <a:pt x="4000843" y="506730"/>
                  </a:lnTo>
                  <a:lnTo>
                    <a:pt x="3998950" y="518160"/>
                  </a:lnTo>
                  <a:lnTo>
                    <a:pt x="3997541" y="505460"/>
                  </a:lnTo>
                  <a:lnTo>
                    <a:pt x="3996118" y="511810"/>
                  </a:lnTo>
                  <a:lnTo>
                    <a:pt x="3994696" y="519430"/>
                  </a:lnTo>
                  <a:lnTo>
                    <a:pt x="3993273" y="514350"/>
                  </a:lnTo>
                  <a:lnTo>
                    <a:pt x="3991914" y="508000"/>
                  </a:lnTo>
                  <a:lnTo>
                    <a:pt x="3990530" y="502920"/>
                  </a:lnTo>
                  <a:lnTo>
                    <a:pt x="3989120" y="501650"/>
                  </a:lnTo>
                  <a:lnTo>
                    <a:pt x="3987673" y="510540"/>
                  </a:lnTo>
                  <a:lnTo>
                    <a:pt x="3985006" y="524510"/>
                  </a:lnTo>
                  <a:lnTo>
                    <a:pt x="3982212" y="518160"/>
                  </a:lnTo>
                  <a:lnTo>
                    <a:pt x="3981805" y="516890"/>
                  </a:lnTo>
                  <a:lnTo>
                    <a:pt x="3979380" y="509270"/>
                  </a:lnTo>
                  <a:lnTo>
                    <a:pt x="3976573" y="514350"/>
                  </a:lnTo>
                  <a:lnTo>
                    <a:pt x="3973538" y="516890"/>
                  </a:lnTo>
                  <a:lnTo>
                    <a:pt x="3970502" y="515620"/>
                  </a:lnTo>
                  <a:lnTo>
                    <a:pt x="3968978" y="514350"/>
                  </a:lnTo>
                  <a:lnTo>
                    <a:pt x="3967454" y="513080"/>
                  </a:lnTo>
                  <a:lnTo>
                    <a:pt x="3964394" y="514350"/>
                  </a:lnTo>
                  <a:lnTo>
                    <a:pt x="3962362" y="506730"/>
                  </a:lnTo>
                  <a:lnTo>
                    <a:pt x="3960330" y="504190"/>
                  </a:lnTo>
                  <a:lnTo>
                    <a:pt x="3959923" y="502920"/>
                  </a:lnTo>
                  <a:lnTo>
                    <a:pt x="3958285" y="497840"/>
                  </a:lnTo>
                  <a:lnTo>
                    <a:pt x="3956240" y="502920"/>
                  </a:lnTo>
                  <a:lnTo>
                    <a:pt x="3954183" y="501650"/>
                  </a:lnTo>
                  <a:lnTo>
                    <a:pt x="3952113" y="510540"/>
                  </a:lnTo>
                  <a:lnTo>
                    <a:pt x="3950601" y="527050"/>
                  </a:lnTo>
                  <a:lnTo>
                    <a:pt x="3949077" y="534670"/>
                  </a:lnTo>
                  <a:lnTo>
                    <a:pt x="3947553" y="534670"/>
                  </a:lnTo>
                  <a:lnTo>
                    <a:pt x="3946004" y="528320"/>
                  </a:lnTo>
                  <a:lnTo>
                    <a:pt x="3945852" y="527050"/>
                  </a:lnTo>
                  <a:lnTo>
                    <a:pt x="3945090" y="520700"/>
                  </a:lnTo>
                  <a:lnTo>
                    <a:pt x="3944467" y="515620"/>
                  </a:lnTo>
                  <a:lnTo>
                    <a:pt x="3942931" y="510540"/>
                  </a:lnTo>
                  <a:lnTo>
                    <a:pt x="3939844" y="510540"/>
                  </a:lnTo>
                  <a:lnTo>
                    <a:pt x="3936695" y="516890"/>
                  </a:lnTo>
                  <a:lnTo>
                    <a:pt x="3933469" y="520700"/>
                  </a:lnTo>
                  <a:lnTo>
                    <a:pt x="3930319" y="519430"/>
                  </a:lnTo>
                  <a:lnTo>
                    <a:pt x="3928046" y="510540"/>
                  </a:lnTo>
                  <a:lnTo>
                    <a:pt x="3927386" y="508000"/>
                  </a:lnTo>
                  <a:lnTo>
                    <a:pt x="3924058" y="497840"/>
                  </a:lnTo>
                  <a:lnTo>
                    <a:pt x="3920947" y="502920"/>
                  </a:lnTo>
                  <a:lnTo>
                    <a:pt x="3917924" y="510540"/>
                  </a:lnTo>
                  <a:lnTo>
                    <a:pt x="3914851" y="506730"/>
                  </a:lnTo>
                  <a:lnTo>
                    <a:pt x="3911701" y="525780"/>
                  </a:lnTo>
                  <a:lnTo>
                    <a:pt x="3908552" y="527050"/>
                  </a:lnTo>
                  <a:lnTo>
                    <a:pt x="3905821" y="519430"/>
                  </a:lnTo>
                  <a:lnTo>
                    <a:pt x="3905377" y="518160"/>
                  </a:lnTo>
                  <a:lnTo>
                    <a:pt x="3902494" y="506730"/>
                  </a:lnTo>
                  <a:lnTo>
                    <a:pt x="3902164" y="505460"/>
                  </a:lnTo>
                  <a:lnTo>
                    <a:pt x="3895737" y="495300"/>
                  </a:lnTo>
                  <a:lnTo>
                    <a:pt x="3892499" y="496570"/>
                  </a:lnTo>
                  <a:lnTo>
                    <a:pt x="3889260" y="506730"/>
                  </a:lnTo>
                  <a:lnTo>
                    <a:pt x="3887647" y="506730"/>
                  </a:lnTo>
                  <a:lnTo>
                    <a:pt x="3886022" y="495300"/>
                  </a:lnTo>
                  <a:lnTo>
                    <a:pt x="3884384" y="488950"/>
                  </a:lnTo>
                  <a:lnTo>
                    <a:pt x="3882771" y="506730"/>
                  </a:lnTo>
                  <a:lnTo>
                    <a:pt x="3881145" y="516890"/>
                  </a:lnTo>
                  <a:lnTo>
                    <a:pt x="3879519" y="519430"/>
                  </a:lnTo>
                  <a:lnTo>
                    <a:pt x="3878275" y="515620"/>
                  </a:lnTo>
                  <a:lnTo>
                    <a:pt x="3877868" y="514350"/>
                  </a:lnTo>
                  <a:lnTo>
                    <a:pt x="3877462" y="511810"/>
                  </a:lnTo>
                  <a:lnTo>
                    <a:pt x="3876217" y="504190"/>
                  </a:lnTo>
                  <a:lnTo>
                    <a:pt x="3872903" y="496570"/>
                  </a:lnTo>
                  <a:lnTo>
                    <a:pt x="3871239" y="495300"/>
                  </a:lnTo>
                  <a:lnTo>
                    <a:pt x="3869575" y="504190"/>
                  </a:lnTo>
                  <a:lnTo>
                    <a:pt x="3867899" y="504190"/>
                  </a:lnTo>
                  <a:lnTo>
                    <a:pt x="3866248" y="509270"/>
                  </a:lnTo>
                  <a:lnTo>
                    <a:pt x="3864597" y="511810"/>
                  </a:lnTo>
                  <a:lnTo>
                    <a:pt x="3864368" y="510540"/>
                  </a:lnTo>
                  <a:lnTo>
                    <a:pt x="3862946" y="502920"/>
                  </a:lnTo>
                  <a:lnTo>
                    <a:pt x="3859555" y="505460"/>
                  </a:lnTo>
                  <a:lnTo>
                    <a:pt x="3856164" y="509270"/>
                  </a:lnTo>
                  <a:lnTo>
                    <a:pt x="3852773" y="510540"/>
                  </a:lnTo>
                  <a:lnTo>
                    <a:pt x="3849357" y="502920"/>
                  </a:lnTo>
                  <a:lnTo>
                    <a:pt x="3844785" y="501650"/>
                  </a:lnTo>
                  <a:lnTo>
                    <a:pt x="3840175" y="496570"/>
                  </a:lnTo>
                  <a:lnTo>
                    <a:pt x="3835527" y="505460"/>
                  </a:lnTo>
                  <a:lnTo>
                    <a:pt x="3833787" y="515620"/>
                  </a:lnTo>
                  <a:lnTo>
                    <a:pt x="3832910" y="514350"/>
                  </a:lnTo>
                  <a:lnTo>
                    <a:pt x="3832034" y="513080"/>
                  </a:lnTo>
                  <a:lnTo>
                    <a:pt x="3830866" y="508000"/>
                  </a:lnTo>
                  <a:lnTo>
                    <a:pt x="3830282" y="505460"/>
                  </a:lnTo>
                  <a:lnTo>
                    <a:pt x="3828516" y="502920"/>
                  </a:lnTo>
                  <a:lnTo>
                    <a:pt x="3826129" y="508000"/>
                  </a:lnTo>
                  <a:lnTo>
                    <a:pt x="3823817" y="497840"/>
                  </a:lnTo>
                  <a:lnTo>
                    <a:pt x="3821417" y="501650"/>
                  </a:lnTo>
                  <a:lnTo>
                    <a:pt x="3816667" y="508000"/>
                  </a:lnTo>
                  <a:lnTo>
                    <a:pt x="3811816" y="505460"/>
                  </a:lnTo>
                  <a:lnTo>
                    <a:pt x="3806964" y="500380"/>
                  </a:lnTo>
                  <a:lnTo>
                    <a:pt x="3805148" y="495300"/>
                  </a:lnTo>
                  <a:lnTo>
                    <a:pt x="3803307" y="492760"/>
                  </a:lnTo>
                  <a:lnTo>
                    <a:pt x="3801465" y="494030"/>
                  </a:lnTo>
                  <a:lnTo>
                    <a:pt x="3799611" y="500380"/>
                  </a:lnTo>
                  <a:lnTo>
                    <a:pt x="3797160" y="495300"/>
                  </a:lnTo>
                  <a:lnTo>
                    <a:pt x="3792156" y="500380"/>
                  </a:lnTo>
                  <a:lnTo>
                    <a:pt x="3789680" y="505460"/>
                  </a:lnTo>
                  <a:lnTo>
                    <a:pt x="3787152" y="502920"/>
                  </a:lnTo>
                  <a:lnTo>
                    <a:pt x="3784638" y="501650"/>
                  </a:lnTo>
                  <a:lnTo>
                    <a:pt x="3782110" y="495300"/>
                  </a:lnTo>
                  <a:lnTo>
                    <a:pt x="3779570" y="500380"/>
                  </a:lnTo>
                  <a:lnTo>
                    <a:pt x="3777005" y="501650"/>
                  </a:lnTo>
                  <a:lnTo>
                    <a:pt x="3774440" y="513080"/>
                  </a:lnTo>
                  <a:lnTo>
                    <a:pt x="3771862" y="514350"/>
                  </a:lnTo>
                  <a:lnTo>
                    <a:pt x="3770160" y="509270"/>
                  </a:lnTo>
                  <a:lnTo>
                    <a:pt x="3769728" y="508000"/>
                  </a:lnTo>
                  <a:lnTo>
                    <a:pt x="3769296" y="506730"/>
                  </a:lnTo>
                  <a:lnTo>
                    <a:pt x="3767353" y="506730"/>
                  </a:lnTo>
                  <a:lnTo>
                    <a:pt x="3765385" y="501650"/>
                  </a:lnTo>
                  <a:lnTo>
                    <a:pt x="3763429" y="496570"/>
                  </a:lnTo>
                  <a:lnTo>
                    <a:pt x="3759504" y="501650"/>
                  </a:lnTo>
                  <a:lnTo>
                    <a:pt x="3755529" y="496570"/>
                  </a:lnTo>
                  <a:lnTo>
                    <a:pt x="3753523" y="500380"/>
                  </a:lnTo>
                  <a:lnTo>
                    <a:pt x="3750856" y="508000"/>
                  </a:lnTo>
                  <a:lnTo>
                    <a:pt x="3748938" y="501650"/>
                  </a:lnTo>
                  <a:lnTo>
                    <a:pt x="3748163" y="499110"/>
                  </a:lnTo>
                  <a:lnTo>
                    <a:pt x="3745471" y="497840"/>
                  </a:lnTo>
                  <a:lnTo>
                    <a:pt x="3743452" y="496570"/>
                  </a:lnTo>
                  <a:lnTo>
                    <a:pt x="3739375" y="501650"/>
                  </a:lnTo>
                  <a:lnTo>
                    <a:pt x="3737318" y="499110"/>
                  </a:lnTo>
                  <a:lnTo>
                    <a:pt x="3736810" y="497840"/>
                  </a:lnTo>
                  <a:lnTo>
                    <a:pt x="3735273" y="494030"/>
                  </a:lnTo>
                  <a:lnTo>
                    <a:pt x="3733203" y="490220"/>
                  </a:lnTo>
                  <a:lnTo>
                    <a:pt x="3731133" y="488950"/>
                  </a:lnTo>
                  <a:lnTo>
                    <a:pt x="3729063" y="497840"/>
                  </a:lnTo>
                  <a:lnTo>
                    <a:pt x="3726256" y="488950"/>
                  </a:lnTo>
                  <a:lnTo>
                    <a:pt x="3720655" y="496570"/>
                  </a:lnTo>
                  <a:lnTo>
                    <a:pt x="3718547" y="508000"/>
                  </a:lnTo>
                  <a:lnTo>
                    <a:pt x="3716426" y="506730"/>
                  </a:lnTo>
                  <a:lnTo>
                    <a:pt x="3715994" y="505460"/>
                  </a:lnTo>
                  <a:lnTo>
                    <a:pt x="3714292" y="500380"/>
                  </a:lnTo>
                  <a:lnTo>
                    <a:pt x="3712159" y="497840"/>
                  </a:lnTo>
                  <a:lnTo>
                    <a:pt x="3710013" y="499110"/>
                  </a:lnTo>
                  <a:lnTo>
                    <a:pt x="3707854" y="502920"/>
                  </a:lnTo>
                  <a:lnTo>
                    <a:pt x="3705682" y="505460"/>
                  </a:lnTo>
                  <a:lnTo>
                    <a:pt x="3703510" y="497840"/>
                  </a:lnTo>
                  <a:lnTo>
                    <a:pt x="3701338" y="505460"/>
                  </a:lnTo>
                  <a:lnTo>
                    <a:pt x="3699154" y="499110"/>
                  </a:lnTo>
                  <a:lnTo>
                    <a:pt x="3698786" y="497840"/>
                  </a:lnTo>
                  <a:lnTo>
                    <a:pt x="3698417" y="496570"/>
                  </a:lnTo>
                  <a:lnTo>
                    <a:pt x="3696957" y="491490"/>
                  </a:lnTo>
                  <a:lnTo>
                    <a:pt x="3694760" y="496570"/>
                  </a:lnTo>
                  <a:lnTo>
                    <a:pt x="3693134" y="491490"/>
                  </a:lnTo>
                  <a:lnTo>
                    <a:pt x="3691496" y="494030"/>
                  </a:lnTo>
                  <a:lnTo>
                    <a:pt x="3689858" y="497840"/>
                  </a:lnTo>
                  <a:lnTo>
                    <a:pt x="3688194" y="496570"/>
                  </a:lnTo>
                  <a:lnTo>
                    <a:pt x="3686568" y="487680"/>
                  </a:lnTo>
                  <a:lnTo>
                    <a:pt x="3684930" y="487680"/>
                  </a:lnTo>
                  <a:lnTo>
                    <a:pt x="3683292" y="492760"/>
                  </a:lnTo>
                  <a:lnTo>
                    <a:pt x="3681666" y="499110"/>
                  </a:lnTo>
                  <a:lnTo>
                    <a:pt x="3680028" y="501650"/>
                  </a:lnTo>
                  <a:lnTo>
                    <a:pt x="3678390" y="506730"/>
                  </a:lnTo>
                  <a:lnTo>
                    <a:pt x="3676764" y="509270"/>
                  </a:lnTo>
                  <a:lnTo>
                    <a:pt x="3675138" y="505460"/>
                  </a:lnTo>
                  <a:lnTo>
                    <a:pt x="3673525" y="515620"/>
                  </a:lnTo>
                  <a:lnTo>
                    <a:pt x="3671913" y="514350"/>
                  </a:lnTo>
                  <a:lnTo>
                    <a:pt x="3670516" y="506730"/>
                  </a:lnTo>
                  <a:lnTo>
                    <a:pt x="3668903" y="497840"/>
                  </a:lnTo>
                  <a:lnTo>
                    <a:pt x="3668661" y="496570"/>
                  </a:lnTo>
                  <a:lnTo>
                    <a:pt x="3666528" y="497840"/>
                  </a:lnTo>
                  <a:lnTo>
                    <a:pt x="3664331" y="487680"/>
                  </a:lnTo>
                  <a:lnTo>
                    <a:pt x="3662184" y="497840"/>
                  </a:lnTo>
                  <a:lnTo>
                    <a:pt x="3660571" y="497840"/>
                  </a:lnTo>
                  <a:lnTo>
                    <a:pt x="3659759" y="496570"/>
                  </a:lnTo>
                  <a:lnTo>
                    <a:pt x="3657346" y="492760"/>
                  </a:lnTo>
                  <a:lnTo>
                    <a:pt x="3655733" y="496570"/>
                  </a:lnTo>
                  <a:lnTo>
                    <a:pt x="3654145" y="482600"/>
                  </a:lnTo>
                  <a:lnTo>
                    <a:pt x="3652532" y="480060"/>
                  </a:lnTo>
                  <a:lnTo>
                    <a:pt x="3650919" y="486410"/>
                  </a:lnTo>
                  <a:lnTo>
                    <a:pt x="3649281" y="499110"/>
                  </a:lnTo>
                  <a:lnTo>
                    <a:pt x="3647160" y="506730"/>
                  </a:lnTo>
                  <a:lnTo>
                    <a:pt x="3645027" y="506730"/>
                  </a:lnTo>
                  <a:lnTo>
                    <a:pt x="3644214" y="502920"/>
                  </a:lnTo>
                  <a:lnTo>
                    <a:pt x="3642855" y="496570"/>
                  </a:lnTo>
                  <a:lnTo>
                    <a:pt x="3641267" y="495300"/>
                  </a:lnTo>
                  <a:lnTo>
                    <a:pt x="3638080" y="502920"/>
                  </a:lnTo>
                  <a:lnTo>
                    <a:pt x="3636480" y="499110"/>
                  </a:lnTo>
                  <a:lnTo>
                    <a:pt x="3634892" y="504190"/>
                  </a:lnTo>
                  <a:lnTo>
                    <a:pt x="3633279" y="506730"/>
                  </a:lnTo>
                  <a:lnTo>
                    <a:pt x="3631679" y="505460"/>
                  </a:lnTo>
                  <a:lnTo>
                    <a:pt x="3630345" y="499110"/>
                  </a:lnTo>
                  <a:lnTo>
                    <a:pt x="3630079" y="497840"/>
                  </a:lnTo>
                  <a:lnTo>
                    <a:pt x="3626891" y="490220"/>
                  </a:lnTo>
                  <a:lnTo>
                    <a:pt x="3623716" y="494030"/>
                  </a:lnTo>
                  <a:lnTo>
                    <a:pt x="3620541" y="499110"/>
                  </a:lnTo>
                  <a:lnTo>
                    <a:pt x="3617328" y="496570"/>
                  </a:lnTo>
                  <a:lnTo>
                    <a:pt x="3614166" y="509270"/>
                  </a:lnTo>
                  <a:lnTo>
                    <a:pt x="3610991" y="515620"/>
                  </a:lnTo>
                  <a:lnTo>
                    <a:pt x="3607828" y="513080"/>
                  </a:lnTo>
                  <a:lnTo>
                    <a:pt x="3606469" y="505460"/>
                  </a:lnTo>
                  <a:lnTo>
                    <a:pt x="3606254" y="504190"/>
                  </a:lnTo>
                  <a:lnTo>
                    <a:pt x="3604666" y="495300"/>
                  </a:lnTo>
                  <a:lnTo>
                    <a:pt x="3601491" y="501650"/>
                  </a:lnTo>
                  <a:lnTo>
                    <a:pt x="3598316" y="504190"/>
                  </a:lnTo>
                  <a:lnTo>
                    <a:pt x="3595154" y="501650"/>
                  </a:lnTo>
                  <a:lnTo>
                    <a:pt x="3592004" y="496570"/>
                  </a:lnTo>
                  <a:lnTo>
                    <a:pt x="3588829" y="491490"/>
                  </a:lnTo>
                  <a:lnTo>
                    <a:pt x="3582505" y="496570"/>
                  </a:lnTo>
                  <a:lnTo>
                    <a:pt x="3579330" y="495300"/>
                  </a:lnTo>
                  <a:lnTo>
                    <a:pt x="3576218" y="488950"/>
                  </a:lnTo>
                  <a:lnTo>
                    <a:pt x="3573056" y="482600"/>
                  </a:lnTo>
                  <a:lnTo>
                    <a:pt x="3569868" y="482600"/>
                  </a:lnTo>
                  <a:lnTo>
                    <a:pt x="3566693" y="496570"/>
                  </a:lnTo>
                  <a:lnTo>
                    <a:pt x="3562502" y="501650"/>
                  </a:lnTo>
                  <a:lnTo>
                    <a:pt x="3558248" y="497840"/>
                  </a:lnTo>
                  <a:lnTo>
                    <a:pt x="3554069" y="496570"/>
                  </a:lnTo>
                  <a:lnTo>
                    <a:pt x="3547757" y="504190"/>
                  </a:lnTo>
                  <a:lnTo>
                    <a:pt x="3544608" y="504190"/>
                  </a:lnTo>
                  <a:lnTo>
                    <a:pt x="3541433" y="497840"/>
                  </a:lnTo>
                  <a:lnTo>
                    <a:pt x="3537191" y="505460"/>
                  </a:lnTo>
                  <a:lnTo>
                    <a:pt x="3533038" y="500380"/>
                  </a:lnTo>
                  <a:lnTo>
                    <a:pt x="3532886" y="499110"/>
                  </a:lnTo>
                  <a:lnTo>
                    <a:pt x="3532886" y="593090"/>
                  </a:lnTo>
                  <a:lnTo>
                    <a:pt x="5759983" y="593090"/>
                  </a:lnTo>
                  <a:lnTo>
                    <a:pt x="5759983" y="539750"/>
                  </a:lnTo>
                  <a:lnTo>
                    <a:pt x="5759983" y="537210"/>
                  </a:lnTo>
                  <a:lnTo>
                    <a:pt x="5759983" y="173990"/>
                  </a:lnTo>
                  <a:lnTo>
                    <a:pt x="5759424" y="171450"/>
                  </a:lnTo>
                  <a:lnTo>
                    <a:pt x="5759145" y="170180"/>
                  </a:lnTo>
                  <a:lnTo>
                    <a:pt x="5758383" y="169583"/>
                  </a:lnTo>
                  <a:lnTo>
                    <a:pt x="5758383" y="175260"/>
                  </a:lnTo>
                  <a:lnTo>
                    <a:pt x="5756084" y="175260"/>
                  </a:lnTo>
                  <a:lnTo>
                    <a:pt x="5754941" y="176530"/>
                  </a:lnTo>
                  <a:lnTo>
                    <a:pt x="5752643" y="176530"/>
                  </a:lnTo>
                  <a:lnTo>
                    <a:pt x="5750966" y="175260"/>
                  </a:lnTo>
                  <a:lnTo>
                    <a:pt x="5745162" y="167640"/>
                  </a:lnTo>
                  <a:lnTo>
                    <a:pt x="5743816" y="163830"/>
                  </a:lnTo>
                  <a:lnTo>
                    <a:pt x="5743981" y="163830"/>
                  </a:lnTo>
                  <a:lnTo>
                    <a:pt x="5750153" y="171450"/>
                  </a:lnTo>
                  <a:lnTo>
                    <a:pt x="5753163" y="173990"/>
                  </a:lnTo>
                  <a:lnTo>
                    <a:pt x="5754141" y="171450"/>
                  </a:lnTo>
                  <a:lnTo>
                    <a:pt x="5758383" y="175260"/>
                  </a:lnTo>
                  <a:lnTo>
                    <a:pt x="5758383" y="169583"/>
                  </a:lnTo>
                  <a:lnTo>
                    <a:pt x="5755906" y="167640"/>
                  </a:lnTo>
                  <a:lnTo>
                    <a:pt x="5756808" y="163830"/>
                  </a:lnTo>
                  <a:lnTo>
                    <a:pt x="5759577" y="165100"/>
                  </a:lnTo>
                  <a:lnTo>
                    <a:pt x="5758840" y="168910"/>
                  </a:lnTo>
                  <a:lnTo>
                    <a:pt x="5759983" y="168910"/>
                  </a:lnTo>
                  <a:lnTo>
                    <a:pt x="5759983" y="124460"/>
                  </a:lnTo>
                  <a:lnTo>
                    <a:pt x="5759793" y="124460"/>
                  </a:lnTo>
                  <a:lnTo>
                    <a:pt x="5759983" y="123190"/>
                  </a:lnTo>
                  <a:lnTo>
                    <a:pt x="5759983" y="105410"/>
                  </a:lnTo>
                  <a:lnTo>
                    <a:pt x="5759983" y="104140"/>
                  </a:lnTo>
                  <a:lnTo>
                    <a:pt x="5756795" y="103047"/>
                  </a:lnTo>
                  <a:lnTo>
                    <a:pt x="5756795" y="137160"/>
                  </a:lnTo>
                  <a:lnTo>
                    <a:pt x="5753887" y="140970"/>
                  </a:lnTo>
                  <a:lnTo>
                    <a:pt x="5750255" y="142240"/>
                  </a:lnTo>
                  <a:lnTo>
                    <a:pt x="5745480" y="138430"/>
                  </a:lnTo>
                  <a:lnTo>
                    <a:pt x="5744083" y="134620"/>
                  </a:lnTo>
                  <a:lnTo>
                    <a:pt x="5743143" y="132080"/>
                  </a:lnTo>
                  <a:lnTo>
                    <a:pt x="5743702" y="128270"/>
                  </a:lnTo>
                  <a:lnTo>
                    <a:pt x="5750242" y="135890"/>
                  </a:lnTo>
                  <a:lnTo>
                    <a:pt x="5750230" y="137160"/>
                  </a:lnTo>
                  <a:lnTo>
                    <a:pt x="5752185" y="138430"/>
                  </a:lnTo>
                  <a:lnTo>
                    <a:pt x="5751766" y="135890"/>
                  </a:lnTo>
                  <a:lnTo>
                    <a:pt x="5752630" y="134620"/>
                  </a:lnTo>
                  <a:lnTo>
                    <a:pt x="5753900" y="133350"/>
                  </a:lnTo>
                  <a:lnTo>
                    <a:pt x="5754332" y="137160"/>
                  </a:lnTo>
                  <a:lnTo>
                    <a:pt x="5756795" y="137160"/>
                  </a:lnTo>
                  <a:lnTo>
                    <a:pt x="5756795" y="103047"/>
                  </a:lnTo>
                  <a:lnTo>
                    <a:pt x="5752592" y="101600"/>
                  </a:lnTo>
                  <a:lnTo>
                    <a:pt x="5749633" y="97790"/>
                  </a:lnTo>
                  <a:lnTo>
                    <a:pt x="5744680" y="91440"/>
                  </a:lnTo>
                  <a:lnTo>
                    <a:pt x="5743600" y="86360"/>
                  </a:lnTo>
                  <a:lnTo>
                    <a:pt x="5746254" y="86360"/>
                  </a:lnTo>
                  <a:lnTo>
                    <a:pt x="5754763" y="97790"/>
                  </a:lnTo>
                  <a:lnTo>
                    <a:pt x="5755106" y="95250"/>
                  </a:lnTo>
                  <a:lnTo>
                    <a:pt x="5754560" y="91440"/>
                  </a:lnTo>
                  <a:lnTo>
                    <a:pt x="5755818" y="90170"/>
                  </a:lnTo>
                  <a:lnTo>
                    <a:pt x="5756973" y="92710"/>
                  </a:lnTo>
                  <a:lnTo>
                    <a:pt x="5757761" y="93980"/>
                  </a:lnTo>
                  <a:lnTo>
                    <a:pt x="5758231" y="93980"/>
                  </a:lnTo>
                  <a:lnTo>
                    <a:pt x="5759983" y="96520"/>
                  </a:lnTo>
                  <a:lnTo>
                    <a:pt x="5759983" y="90170"/>
                  </a:lnTo>
                  <a:lnTo>
                    <a:pt x="5759983" y="86360"/>
                  </a:lnTo>
                  <a:lnTo>
                    <a:pt x="5759983" y="81280"/>
                  </a:lnTo>
                  <a:lnTo>
                    <a:pt x="5750141" y="78740"/>
                  </a:lnTo>
                  <a:lnTo>
                    <a:pt x="5744210" y="73660"/>
                  </a:lnTo>
                  <a:lnTo>
                    <a:pt x="5744349" y="72390"/>
                  </a:lnTo>
                  <a:lnTo>
                    <a:pt x="5744476" y="71120"/>
                  </a:lnTo>
                  <a:lnTo>
                    <a:pt x="5751766" y="72390"/>
                  </a:lnTo>
                  <a:lnTo>
                    <a:pt x="5750471" y="71120"/>
                  </a:lnTo>
                  <a:lnTo>
                    <a:pt x="5745289" y="66040"/>
                  </a:lnTo>
                  <a:lnTo>
                    <a:pt x="5741390" y="62230"/>
                  </a:lnTo>
                  <a:lnTo>
                    <a:pt x="5747309" y="62230"/>
                  </a:lnTo>
                  <a:lnTo>
                    <a:pt x="5755208" y="66040"/>
                  </a:lnTo>
                  <a:lnTo>
                    <a:pt x="5755233" y="62230"/>
                  </a:lnTo>
                  <a:lnTo>
                    <a:pt x="5755259" y="58420"/>
                  </a:lnTo>
                  <a:lnTo>
                    <a:pt x="5759983" y="55880"/>
                  </a:lnTo>
                  <a:lnTo>
                    <a:pt x="5759983" y="54610"/>
                  </a:lnTo>
                  <a:close/>
                </a:path>
              </a:pathLst>
            </a:custGeom>
            <a:solidFill>
              <a:srgbClr val="001E1A">
                <a:alpha val="50000"/>
              </a:srgbClr>
            </a:solidFill>
          </p:spPr>
          <p:txBody>
            <a:bodyPr wrap="square" lIns="0" tIns="0" rIns="0" bIns="0" rtlCol="0"/>
            <a:lstStyle/>
            <a:p>
              <a:endParaRPr/>
            </a:p>
          </p:txBody>
        </p:sp>
        <p:sp>
          <p:nvSpPr>
            <p:cNvPr id="10" name="object 10"/>
            <p:cNvSpPr/>
            <p:nvPr/>
          </p:nvSpPr>
          <p:spPr>
            <a:xfrm>
              <a:off x="0" y="5894649"/>
              <a:ext cx="5760085" cy="603250"/>
            </a:xfrm>
            <a:custGeom>
              <a:avLst/>
              <a:gdLst/>
              <a:ahLst/>
              <a:cxnLst/>
              <a:rect l="l" t="t" r="r" b="b"/>
              <a:pathLst>
                <a:path w="5760085" h="603250">
                  <a:moveTo>
                    <a:pt x="0" y="295909"/>
                  </a:moveTo>
                  <a:lnTo>
                    <a:pt x="0" y="603250"/>
                  </a:lnTo>
                  <a:lnTo>
                    <a:pt x="5759996" y="603250"/>
                  </a:lnTo>
                  <a:lnTo>
                    <a:pt x="5759996" y="486409"/>
                  </a:lnTo>
                  <a:lnTo>
                    <a:pt x="4081578" y="486409"/>
                  </a:lnTo>
                  <a:lnTo>
                    <a:pt x="4078476" y="482600"/>
                  </a:lnTo>
                  <a:lnTo>
                    <a:pt x="1899817" y="482600"/>
                  </a:lnTo>
                  <a:lnTo>
                    <a:pt x="1892019" y="480059"/>
                  </a:lnTo>
                  <a:lnTo>
                    <a:pt x="1889730" y="474980"/>
                  </a:lnTo>
                  <a:lnTo>
                    <a:pt x="1844899" y="474980"/>
                  </a:lnTo>
                  <a:lnTo>
                    <a:pt x="1840218" y="471169"/>
                  </a:lnTo>
                  <a:lnTo>
                    <a:pt x="1836820" y="464819"/>
                  </a:lnTo>
                  <a:lnTo>
                    <a:pt x="1825747" y="464819"/>
                  </a:lnTo>
                  <a:lnTo>
                    <a:pt x="1823263" y="463550"/>
                  </a:lnTo>
                  <a:lnTo>
                    <a:pt x="1800134" y="463550"/>
                  </a:lnTo>
                  <a:lnTo>
                    <a:pt x="1794773" y="462280"/>
                  </a:lnTo>
                  <a:lnTo>
                    <a:pt x="1759918" y="462280"/>
                  </a:lnTo>
                  <a:lnTo>
                    <a:pt x="1755163" y="453390"/>
                  </a:lnTo>
                  <a:lnTo>
                    <a:pt x="1732633" y="453390"/>
                  </a:lnTo>
                  <a:lnTo>
                    <a:pt x="1731490" y="452119"/>
                  </a:lnTo>
                  <a:lnTo>
                    <a:pt x="1416182" y="452119"/>
                  </a:lnTo>
                  <a:lnTo>
                    <a:pt x="1410634" y="440690"/>
                  </a:lnTo>
                  <a:lnTo>
                    <a:pt x="1406279" y="403859"/>
                  </a:lnTo>
                  <a:lnTo>
                    <a:pt x="1374690" y="403859"/>
                  </a:lnTo>
                  <a:lnTo>
                    <a:pt x="1373866" y="400050"/>
                  </a:lnTo>
                  <a:lnTo>
                    <a:pt x="1356818" y="400050"/>
                  </a:lnTo>
                  <a:lnTo>
                    <a:pt x="1355109" y="397509"/>
                  </a:lnTo>
                  <a:lnTo>
                    <a:pt x="1206249" y="397509"/>
                  </a:lnTo>
                  <a:lnTo>
                    <a:pt x="1203008" y="388619"/>
                  </a:lnTo>
                  <a:lnTo>
                    <a:pt x="1199784" y="388619"/>
                  </a:lnTo>
                  <a:lnTo>
                    <a:pt x="1197370" y="381000"/>
                  </a:lnTo>
                  <a:lnTo>
                    <a:pt x="1114849" y="381000"/>
                  </a:lnTo>
                  <a:lnTo>
                    <a:pt x="1111009" y="374650"/>
                  </a:lnTo>
                  <a:lnTo>
                    <a:pt x="1107718" y="359409"/>
                  </a:lnTo>
                  <a:lnTo>
                    <a:pt x="1095709" y="359409"/>
                  </a:lnTo>
                  <a:lnTo>
                    <a:pt x="1091885" y="346709"/>
                  </a:lnTo>
                  <a:lnTo>
                    <a:pt x="1091645" y="345440"/>
                  </a:lnTo>
                  <a:lnTo>
                    <a:pt x="1084196" y="345440"/>
                  </a:lnTo>
                  <a:lnTo>
                    <a:pt x="1080347" y="334009"/>
                  </a:lnTo>
                  <a:lnTo>
                    <a:pt x="1079706" y="331470"/>
                  </a:lnTo>
                  <a:lnTo>
                    <a:pt x="1018860" y="331470"/>
                  </a:lnTo>
                  <a:lnTo>
                    <a:pt x="1015966" y="327659"/>
                  </a:lnTo>
                  <a:lnTo>
                    <a:pt x="66019" y="327659"/>
                  </a:lnTo>
                  <a:lnTo>
                    <a:pt x="63770" y="311150"/>
                  </a:lnTo>
                  <a:lnTo>
                    <a:pt x="1601" y="311150"/>
                  </a:lnTo>
                  <a:lnTo>
                    <a:pt x="0" y="295909"/>
                  </a:lnTo>
                  <a:close/>
                </a:path>
                <a:path w="5760085" h="603250">
                  <a:moveTo>
                    <a:pt x="4098174" y="455930"/>
                  </a:moveTo>
                  <a:lnTo>
                    <a:pt x="4094023" y="455930"/>
                  </a:lnTo>
                  <a:lnTo>
                    <a:pt x="4089863" y="461009"/>
                  </a:lnTo>
                  <a:lnTo>
                    <a:pt x="4085705" y="469900"/>
                  </a:lnTo>
                  <a:lnTo>
                    <a:pt x="4081578" y="486409"/>
                  </a:lnTo>
                  <a:lnTo>
                    <a:pt x="5759996" y="486409"/>
                  </a:lnTo>
                  <a:lnTo>
                    <a:pt x="5759996" y="478790"/>
                  </a:lnTo>
                  <a:lnTo>
                    <a:pt x="4178867" y="478790"/>
                  </a:lnTo>
                  <a:lnTo>
                    <a:pt x="4174532" y="476250"/>
                  </a:lnTo>
                  <a:lnTo>
                    <a:pt x="4172378" y="467359"/>
                  </a:lnTo>
                  <a:lnTo>
                    <a:pt x="4123236" y="467359"/>
                  </a:lnTo>
                  <a:lnTo>
                    <a:pt x="4119699" y="461009"/>
                  </a:lnTo>
                  <a:lnTo>
                    <a:pt x="4102304" y="461009"/>
                  </a:lnTo>
                  <a:lnTo>
                    <a:pt x="4098174" y="455930"/>
                  </a:lnTo>
                  <a:close/>
                </a:path>
                <a:path w="5760085" h="603250">
                  <a:moveTo>
                    <a:pt x="1928775" y="449580"/>
                  </a:moveTo>
                  <a:lnTo>
                    <a:pt x="1921823" y="454659"/>
                  </a:lnTo>
                  <a:lnTo>
                    <a:pt x="1914627" y="464819"/>
                  </a:lnTo>
                  <a:lnTo>
                    <a:pt x="1907366" y="476250"/>
                  </a:lnTo>
                  <a:lnTo>
                    <a:pt x="1899817" y="482600"/>
                  </a:lnTo>
                  <a:lnTo>
                    <a:pt x="4078476" y="482600"/>
                  </a:lnTo>
                  <a:lnTo>
                    <a:pt x="4077442" y="481330"/>
                  </a:lnTo>
                  <a:lnTo>
                    <a:pt x="3904981" y="481330"/>
                  </a:lnTo>
                  <a:lnTo>
                    <a:pt x="3901249" y="480059"/>
                  </a:lnTo>
                  <a:lnTo>
                    <a:pt x="3432648" y="480059"/>
                  </a:lnTo>
                  <a:lnTo>
                    <a:pt x="3431192" y="473709"/>
                  </a:lnTo>
                  <a:lnTo>
                    <a:pt x="1954704" y="473709"/>
                  </a:lnTo>
                  <a:lnTo>
                    <a:pt x="1948467" y="468630"/>
                  </a:lnTo>
                  <a:lnTo>
                    <a:pt x="1942047" y="463550"/>
                  </a:lnTo>
                  <a:lnTo>
                    <a:pt x="1935508" y="453390"/>
                  </a:lnTo>
                  <a:lnTo>
                    <a:pt x="1928775" y="449580"/>
                  </a:lnTo>
                  <a:close/>
                </a:path>
                <a:path w="5760085" h="603250">
                  <a:moveTo>
                    <a:pt x="3916166" y="450850"/>
                  </a:moveTo>
                  <a:lnTo>
                    <a:pt x="3912375" y="463550"/>
                  </a:lnTo>
                  <a:lnTo>
                    <a:pt x="3908698" y="473709"/>
                  </a:lnTo>
                  <a:lnTo>
                    <a:pt x="3904981" y="481330"/>
                  </a:lnTo>
                  <a:lnTo>
                    <a:pt x="3996953" y="481330"/>
                  </a:lnTo>
                  <a:lnTo>
                    <a:pt x="3992985" y="478790"/>
                  </a:lnTo>
                  <a:lnTo>
                    <a:pt x="3989449" y="468630"/>
                  </a:lnTo>
                  <a:lnTo>
                    <a:pt x="3935089" y="468630"/>
                  </a:lnTo>
                  <a:lnTo>
                    <a:pt x="3931281" y="466090"/>
                  </a:lnTo>
                  <a:lnTo>
                    <a:pt x="3930528" y="464819"/>
                  </a:lnTo>
                  <a:lnTo>
                    <a:pt x="3923738" y="464819"/>
                  </a:lnTo>
                  <a:lnTo>
                    <a:pt x="3919954" y="455930"/>
                  </a:lnTo>
                  <a:lnTo>
                    <a:pt x="3916166" y="450850"/>
                  </a:lnTo>
                  <a:close/>
                </a:path>
                <a:path w="5760085" h="603250">
                  <a:moveTo>
                    <a:pt x="4008802" y="462280"/>
                  </a:moveTo>
                  <a:lnTo>
                    <a:pt x="4004831" y="464819"/>
                  </a:lnTo>
                  <a:lnTo>
                    <a:pt x="4000903" y="474980"/>
                  </a:lnTo>
                  <a:lnTo>
                    <a:pt x="3996953" y="481330"/>
                  </a:lnTo>
                  <a:lnTo>
                    <a:pt x="4077442" y="481330"/>
                  </a:lnTo>
                  <a:lnTo>
                    <a:pt x="4076984" y="480059"/>
                  </a:lnTo>
                  <a:lnTo>
                    <a:pt x="4048905" y="480059"/>
                  </a:lnTo>
                  <a:lnTo>
                    <a:pt x="4044855" y="472440"/>
                  </a:lnTo>
                  <a:lnTo>
                    <a:pt x="4043843" y="469900"/>
                  </a:lnTo>
                  <a:lnTo>
                    <a:pt x="4032726" y="469900"/>
                  </a:lnTo>
                  <a:lnTo>
                    <a:pt x="4031005" y="466090"/>
                  </a:lnTo>
                  <a:lnTo>
                    <a:pt x="4016710" y="466090"/>
                  </a:lnTo>
                  <a:lnTo>
                    <a:pt x="4012764" y="464819"/>
                  </a:lnTo>
                  <a:lnTo>
                    <a:pt x="4008802" y="462280"/>
                  </a:lnTo>
                  <a:close/>
                </a:path>
                <a:path w="5760085" h="603250">
                  <a:moveTo>
                    <a:pt x="3454985" y="405130"/>
                  </a:moveTo>
                  <a:lnTo>
                    <a:pt x="3451791" y="411480"/>
                  </a:lnTo>
                  <a:lnTo>
                    <a:pt x="3448590" y="415290"/>
                  </a:lnTo>
                  <a:lnTo>
                    <a:pt x="3445380" y="420369"/>
                  </a:lnTo>
                  <a:lnTo>
                    <a:pt x="3442158" y="431800"/>
                  </a:lnTo>
                  <a:lnTo>
                    <a:pt x="3439005" y="463550"/>
                  </a:lnTo>
                  <a:lnTo>
                    <a:pt x="3435835" y="480059"/>
                  </a:lnTo>
                  <a:lnTo>
                    <a:pt x="3901249" y="480059"/>
                  </a:lnTo>
                  <a:lnTo>
                    <a:pt x="3899389" y="473709"/>
                  </a:lnTo>
                  <a:lnTo>
                    <a:pt x="3893855" y="473709"/>
                  </a:lnTo>
                  <a:lnTo>
                    <a:pt x="3893285" y="472440"/>
                  </a:lnTo>
                  <a:lnTo>
                    <a:pt x="3762139" y="472440"/>
                  </a:lnTo>
                  <a:lnTo>
                    <a:pt x="3758668" y="468630"/>
                  </a:lnTo>
                  <a:lnTo>
                    <a:pt x="3593701" y="468630"/>
                  </a:lnTo>
                  <a:lnTo>
                    <a:pt x="3590641" y="466090"/>
                  </a:lnTo>
                  <a:lnTo>
                    <a:pt x="3588981" y="458469"/>
                  </a:lnTo>
                  <a:lnTo>
                    <a:pt x="3511669" y="458469"/>
                  </a:lnTo>
                  <a:lnTo>
                    <a:pt x="3507073" y="454659"/>
                  </a:lnTo>
                  <a:lnTo>
                    <a:pt x="3504548" y="445769"/>
                  </a:lnTo>
                  <a:lnTo>
                    <a:pt x="3486710" y="445769"/>
                  </a:lnTo>
                  <a:lnTo>
                    <a:pt x="3477197" y="438150"/>
                  </a:lnTo>
                  <a:lnTo>
                    <a:pt x="3467672" y="438150"/>
                  </a:lnTo>
                  <a:lnTo>
                    <a:pt x="3464507" y="427990"/>
                  </a:lnTo>
                  <a:lnTo>
                    <a:pt x="3461338" y="420369"/>
                  </a:lnTo>
                  <a:lnTo>
                    <a:pt x="3458164" y="414019"/>
                  </a:lnTo>
                  <a:lnTo>
                    <a:pt x="3454985" y="405130"/>
                  </a:lnTo>
                  <a:close/>
                </a:path>
                <a:path w="5760085" h="603250">
                  <a:moveTo>
                    <a:pt x="4057037" y="463550"/>
                  </a:moveTo>
                  <a:lnTo>
                    <a:pt x="4052990" y="469900"/>
                  </a:lnTo>
                  <a:lnTo>
                    <a:pt x="4048905" y="480059"/>
                  </a:lnTo>
                  <a:lnTo>
                    <a:pt x="4076984" y="480059"/>
                  </a:lnTo>
                  <a:lnTo>
                    <a:pt x="4074238" y="472440"/>
                  </a:lnTo>
                  <a:lnTo>
                    <a:pt x="4065156" y="472440"/>
                  </a:lnTo>
                  <a:lnTo>
                    <a:pt x="4061089" y="467359"/>
                  </a:lnTo>
                  <a:lnTo>
                    <a:pt x="4057037" y="463550"/>
                  </a:lnTo>
                  <a:close/>
                </a:path>
                <a:path w="5760085" h="603250">
                  <a:moveTo>
                    <a:pt x="4187521" y="458469"/>
                  </a:moveTo>
                  <a:lnTo>
                    <a:pt x="4183205" y="471169"/>
                  </a:lnTo>
                  <a:lnTo>
                    <a:pt x="4178867" y="478790"/>
                  </a:lnTo>
                  <a:lnTo>
                    <a:pt x="5759996" y="478790"/>
                  </a:lnTo>
                  <a:lnTo>
                    <a:pt x="5759996" y="464819"/>
                  </a:lnTo>
                  <a:lnTo>
                    <a:pt x="4255307" y="464819"/>
                  </a:lnTo>
                  <a:lnTo>
                    <a:pt x="4249797" y="461009"/>
                  </a:lnTo>
                  <a:lnTo>
                    <a:pt x="4191940" y="461009"/>
                  </a:lnTo>
                  <a:lnTo>
                    <a:pt x="4187521" y="458469"/>
                  </a:lnTo>
                  <a:close/>
                </a:path>
                <a:path w="5760085" h="603250">
                  <a:moveTo>
                    <a:pt x="1849502" y="463550"/>
                  </a:moveTo>
                  <a:lnTo>
                    <a:pt x="1844899" y="474980"/>
                  </a:lnTo>
                  <a:lnTo>
                    <a:pt x="1889730" y="474980"/>
                  </a:lnTo>
                  <a:lnTo>
                    <a:pt x="1885152" y="464819"/>
                  </a:lnTo>
                  <a:lnTo>
                    <a:pt x="1854043" y="464819"/>
                  </a:lnTo>
                  <a:lnTo>
                    <a:pt x="1849502" y="463550"/>
                  </a:lnTo>
                  <a:close/>
                </a:path>
                <a:path w="5760085" h="603250">
                  <a:moveTo>
                    <a:pt x="1972622" y="462280"/>
                  </a:moveTo>
                  <a:lnTo>
                    <a:pt x="1966761" y="462280"/>
                  </a:lnTo>
                  <a:lnTo>
                    <a:pt x="1960790" y="473709"/>
                  </a:lnTo>
                  <a:lnTo>
                    <a:pt x="3431192" y="473709"/>
                  </a:lnTo>
                  <a:lnTo>
                    <a:pt x="3430027" y="468630"/>
                  </a:lnTo>
                  <a:lnTo>
                    <a:pt x="1983940" y="468630"/>
                  </a:lnTo>
                  <a:lnTo>
                    <a:pt x="1978332" y="467359"/>
                  </a:lnTo>
                  <a:lnTo>
                    <a:pt x="1972622" y="462280"/>
                  </a:lnTo>
                  <a:close/>
                </a:path>
                <a:path w="5760085" h="603250">
                  <a:moveTo>
                    <a:pt x="3897529" y="467359"/>
                  </a:moveTo>
                  <a:lnTo>
                    <a:pt x="3893855" y="473709"/>
                  </a:lnTo>
                  <a:lnTo>
                    <a:pt x="3899389" y="473709"/>
                  </a:lnTo>
                  <a:lnTo>
                    <a:pt x="3897529" y="467359"/>
                  </a:lnTo>
                  <a:close/>
                </a:path>
                <a:path w="5760085" h="603250">
                  <a:moveTo>
                    <a:pt x="3775950" y="450850"/>
                  </a:moveTo>
                  <a:lnTo>
                    <a:pt x="3768903" y="461009"/>
                  </a:lnTo>
                  <a:lnTo>
                    <a:pt x="3765570" y="469900"/>
                  </a:lnTo>
                  <a:lnTo>
                    <a:pt x="3762139" y="472440"/>
                  </a:lnTo>
                  <a:lnTo>
                    <a:pt x="3893285" y="472440"/>
                  </a:lnTo>
                  <a:lnTo>
                    <a:pt x="3892714" y="471169"/>
                  </a:lnTo>
                  <a:lnTo>
                    <a:pt x="3789701" y="471169"/>
                  </a:lnTo>
                  <a:lnTo>
                    <a:pt x="3775950" y="450850"/>
                  </a:lnTo>
                  <a:close/>
                </a:path>
                <a:path w="5760085" h="603250">
                  <a:moveTo>
                    <a:pt x="4069246" y="468630"/>
                  </a:moveTo>
                  <a:lnTo>
                    <a:pt x="4065156" y="472440"/>
                  </a:lnTo>
                  <a:lnTo>
                    <a:pt x="4074238" y="472440"/>
                  </a:lnTo>
                  <a:lnTo>
                    <a:pt x="4073323" y="469900"/>
                  </a:lnTo>
                  <a:lnTo>
                    <a:pt x="4069246" y="468630"/>
                  </a:lnTo>
                  <a:close/>
                </a:path>
                <a:path w="5760085" h="603250">
                  <a:moveTo>
                    <a:pt x="3796640" y="461009"/>
                  </a:moveTo>
                  <a:lnTo>
                    <a:pt x="3789701" y="471169"/>
                  </a:lnTo>
                  <a:lnTo>
                    <a:pt x="3817698" y="471169"/>
                  </a:lnTo>
                  <a:lnTo>
                    <a:pt x="3814177" y="468630"/>
                  </a:lnTo>
                  <a:lnTo>
                    <a:pt x="3800114" y="468630"/>
                  </a:lnTo>
                  <a:lnTo>
                    <a:pt x="3796640" y="461009"/>
                  </a:lnTo>
                  <a:close/>
                </a:path>
                <a:path w="5760085" h="603250">
                  <a:moveTo>
                    <a:pt x="3831947" y="458469"/>
                  </a:moveTo>
                  <a:lnTo>
                    <a:pt x="3824809" y="461009"/>
                  </a:lnTo>
                  <a:lnTo>
                    <a:pt x="3821241" y="467359"/>
                  </a:lnTo>
                  <a:lnTo>
                    <a:pt x="3817698" y="471169"/>
                  </a:lnTo>
                  <a:lnTo>
                    <a:pt x="3892714" y="471169"/>
                  </a:lnTo>
                  <a:lnTo>
                    <a:pt x="3890434" y="466090"/>
                  </a:lnTo>
                  <a:lnTo>
                    <a:pt x="3846272" y="466090"/>
                  </a:lnTo>
                  <a:lnTo>
                    <a:pt x="3839093" y="463550"/>
                  </a:lnTo>
                  <a:lnTo>
                    <a:pt x="3831947" y="458469"/>
                  </a:lnTo>
                  <a:close/>
                </a:path>
                <a:path w="5760085" h="603250">
                  <a:moveTo>
                    <a:pt x="4040806" y="462280"/>
                  </a:moveTo>
                  <a:lnTo>
                    <a:pt x="4036721" y="463550"/>
                  </a:lnTo>
                  <a:lnTo>
                    <a:pt x="4032726" y="469900"/>
                  </a:lnTo>
                  <a:lnTo>
                    <a:pt x="4043843" y="469900"/>
                  </a:lnTo>
                  <a:lnTo>
                    <a:pt x="4040806" y="462280"/>
                  </a:lnTo>
                  <a:close/>
                </a:path>
                <a:path w="5760085" h="603250">
                  <a:moveTo>
                    <a:pt x="2000098" y="440690"/>
                  </a:moveTo>
                  <a:lnTo>
                    <a:pt x="1994826" y="441959"/>
                  </a:lnTo>
                  <a:lnTo>
                    <a:pt x="1989494" y="458469"/>
                  </a:lnTo>
                  <a:lnTo>
                    <a:pt x="1983940" y="468630"/>
                  </a:lnTo>
                  <a:lnTo>
                    <a:pt x="3430027" y="468630"/>
                  </a:lnTo>
                  <a:lnTo>
                    <a:pt x="3429445" y="466090"/>
                  </a:lnTo>
                  <a:lnTo>
                    <a:pt x="3351505" y="466090"/>
                  </a:lnTo>
                  <a:lnTo>
                    <a:pt x="3348426" y="457200"/>
                  </a:lnTo>
                  <a:lnTo>
                    <a:pt x="2010474" y="457200"/>
                  </a:lnTo>
                  <a:lnTo>
                    <a:pt x="2005314" y="447040"/>
                  </a:lnTo>
                  <a:lnTo>
                    <a:pt x="2000098" y="440690"/>
                  </a:lnTo>
                  <a:close/>
                </a:path>
                <a:path w="5760085" h="603250">
                  <a:moveTo>
                    <a:pt x="3599803" y="458469"/>
                  </a:moveTo>
                  <a:lnTo>
                    <a:pt x="3596760" y="464819"/>
                  </a:lnTo>
                  <a:lnTo>
                    <a:pt x="3593701" y="468630"/>
                  </a:lnTo>
                  <a:lnTo>
                    <a:pt x="3609109" y="468630"/>
                  </a:lnTo>
                  <a:lnTo>
                    <a:pt x="3606015" y="467359"/>
                  </a:lnTo>
                  <a:lnTo>
                    <a:pt x="3602913" y="461009"/>
                  </a:lnTo>
                  <a:lnTo>
                    <a:pt x="3599803" y="458469"/>
                  </a:lnTo>
                  <a:close/>
                </a:path>
                <a:path w="5760085" h="603250">
                  <a:moveTo>
                    <a:pt x="3624670" y="453390"/>
                  </a:moveTo>
                  <a:lnTo>
                    <a:pt x="3612198" y="455930"/>
                  </a:lnTo>
                  <a:lnTo>
                    <a:pt x="3609109" y="468630"/>
                  </a:lnTo>
                  <a:lnTo>
                    <a:pt x="3758668" y="468630"/>
                  </a:lnTo>
                  <a:lnTo>
                    <a:pt x="3756509" y="462280"/>
                  </a:lnTo>
                  <a:lnTo>
                    <a:pt x="3669094" y="462280"/>
                  </a:lnTo>
                  <a:lnTo>
                    <a:pt x="3662693" y="458469"/>
                  </a:lnTo>
                  <a:lnTo>
                    <a:pt x="3662051" y="455930"/>
                  </a:lnTo>
                  <a:lnTo>
                    <a:pt x="3637217" y="455930"/>
                  </a:lnTo>
                  <a:lnTo>
                    <a:pt x="3624670" y="453390"/>
                  </a:lnTo>
                  <a:close/>
                </a:path>
                <a:path w="5760085" h="603250">
                  <a:moveTo>
                    <a:pt x="3807122" y="455930"/>
                  </a:moveTo>
                  <a:lnTo>
                    <a:pt x="3803605" y="463550"/>
                  </a:lnTo>
                  <a:lnTo>
                    <a:pt x="3800114" y="468630"/>
                  </a:lnTo>
                  <a:lnTo>
                    <a:pt x="3814177" y="468630"/>
                  </a:lnTo>
                  <a:lnTo>
                    <a:pt x="3810674" y="458469"/>
                  </a:lnTo>
                  <a:lnTo>
                    <a:pt x="3807122" y="455930"/>
                  </a:lnTo>
                  <a:close/>
                </a:path>
                <a:path w="5760085" h="603250">
                  <a:moveTo>
                    <a:pt x="3946518" y="457200"/>
                  </a:moveTo>
                  <a:lnTo>
                    <a:pt x="3942665" y="461009"/>
                  </a:lnTo>
                  <a:lnTo>
                    <a:pt x="3938897" y="466090"/>
                  </a:lnTo>
                  <a:lnTo>
                    <a:pt x="3935089" y="468630"/>
                  </a:lnTo>
                  <a:lnTo>
                    <a:pt x="3989449" y="468630"/>
                  </a:lnTo>
                  <a:lnTo>
                    <a:pt x="3989007" y="467359"/>
                  </a:lnTo>
                  <a:lnTo>
                    <a:pt x="3969621" y="467359"/>
                  </a:lnTo>
                  <a:lnTo>
                    <a:pt x="3968514" y="464819"/>
                  </a:lnTo>
                  <a:lnTo>
                    <a:pt x="3954234" y="464819"/>
                  </a:lnTo>
                  <a:lnTo>
                    <a:pt x="3950383" y="459740"/>
                  </a:lnTo>
                  <a:lnTo>
                    <a:pt x="3946518" y="457200"/>
                  </a:lnTo>
                  <a:close/>
                </a:path>
                <a:path w="5760085" h="603250">
                  <a:moveTo>
                    <a:pt x="3977393" y="453390"/>
                  </a:moveTo>
                  <a:lnTo>
                    <a:pt x="3973526" y="463550"/>
                  </a:lnTo>
                  <a:lnTo>
                    <a:pt x="3969621" y="467359"/>
                  </a:lnTo>
                  <a:lnTo>
                    <a:pt x="3989007" y="467359"/>
                  </a:lnTo>
                  <a:lnTo>
                    <a:pt x="3985176" y="466090"/>
                  </a:lnTo>
                  <a:lnTo>
                    <a:pt x="3981290" y="457200"/>
                  </a:lnTo>
                  <a:lnTo>
                    <a:pt x="3977393" y="453390"/>
                  </a:lnTo>
                  <a:close/>
                </a:path>
                <a:path w="5760085" h="603250">
                  <a:moveTo>
                    <a:pt x="4140193" y="457200"/>
                  </a:moveTo>
                  <a:lnTo>
                    <a:pt x="4131715" y="459740"/>
                  </a:lnTo>
                  <a:lnTo>
                    <a:pt x="4127475" y="464819"/>
                  </a:lnTo>
                  <a:lnTo>
                    <a:pt x="4123236" y="467359"/>
                  </a:lnTo>
                  <a:lnTo>
                    <a:pt x="4161600" y="467359"/>
                  </a:lnTo>
                  <a:lnTo>
                    <a:pt x="4157293" y="463550"/>
                  </a:lnTo>
                  <a:lnTo>
                    <a:pt x="4154703" y="459740"/>
                  </a:lnTo>
                  <a:lnTo>
                    <a:pt x="4148700" y="459740"/>
                  </a:lnTo>
                  <a:lnTo>
                    <a:pt x="4140193" y="457200"/>
                  </a:lnTo>
                  <a:close/>
                </a:path>
                <a:path w="5760085" h="603250">
                  <a:moveTo>
                    <a:pt x="4170223" y="458469"/>
                  </a:moveTo>
                  <a:lnTo>
                    <a:pt x="4165907" y="466090"/>
                  </a:lnTo>
                  <a:lnTo>
                    <a:pt x="4161600" y="467359"/>
                  </a:lnTo>
                  <a:lnTo>
                    <a:pt x="4172378" y="467359"/>
                  </a:lnTo>
                  <a:lnTo>
                    <a:pt x="4170223" y="458469"/>
                  </a:lnTo>
                  <a:close/>
                </a:path>
                <a:path w="5760085" h="603250">
                  <a:moveTo>
                    <a:pt x="3364637" y="422909"/>
                  </a:moveTo>
                  <a:lnTo>
                    <a:pt x="3358076" y="463550"/>
                  </a:lnTo>
                  <a:lnTo>
                    <a:pt x="3351505" y="466090"/>
                  </a:lnTo>
                  <a:lnTo>
                    <a:pt x="3429445" y="466090"/>
                  </a:lnTo>
                  <a:lnTo>
                    <a:pt x="3427843" y="453390"/>
                  </a:lnTo>
                  <a:lnTo>
                    <a:pt x="3403332" y="453390"/>
                  </a:lnTo>
                  <a:lnTo>
                    <a:pt x="3396792" y="449580"/>
                  </a:lnTo>
                  <a:lnTo>
                    <a:pt x="3392001" y="430530"/>
                  </a:lnTo>
                  <a:lnTo>
                    <a:pt x="3371015" y="430530"/>
                  </a:lnTo>
                  <a:lnTo>
                    <a:pt x="3364637" y="422909"/>
                  </a:lnTo>
                  <a:close/>
                </a:path>
                <a:path w="5760085" h="603250">
                  <a:moveTo>
                    <a:pt x="3868022" y="450850"/>
                  </a:moveTo>
                  <a:lnTo>
                    <a:pt x="3860754" y="452119"/>
                  </a:lnTo>
                  <a:lnTo>
                    <a:pt x="3853511" y="462280"/>
                  </a:lnTo>
                  <a:lnTo>
                    <a:pt x="3846272" y="466090"/>
                  </a:lnTo>
                  <a:lnTo>
                    <a:pt x="3890434" y="466090"/>
                  </a:lnTo>
                  <a:lnTo>
                    <a:pt x="3889294" y="463550"/>
                  </a:lnTo>
                  <a:lnTo>
                    <a:pt x="3882734" y="463550"/>
                  </a:lnTo>
                  <a:lnTo>
                    <a:pt x="3875340" y="455930"/>
                  </a:lnTo>
                  <a:lnTo>
                    <a:pt x="3868022" y="450850"/>
                  </a:lnTo>
                  <a:close/>
                </a:path>
                <a:path w="5760085" h="603250">
                  <a:moveTo>
                    <a:pt x="4024675" y="453390"/>
                  </a:moveTo>
                  <a:lnTo>
                    <a:pt x="4020630" y="463550"/>
                  </a:lnTo>
                  <a:lnTo>
                    <a:pt x="4016710" y="466090"/>
                  </a:lnTo>
                  <a:lnTo>
                    <a:pt x="4031005" y="466090"/>
                  </a:lnTo>
                  <a:lnTo>
                    <a:pt x="4028709" y="461009"/>
                  </a:lnTo>
                  <a:lnTo>
                    <a:pt x="4024675" y="453390"/>
                  </a:lnTo>
                  <a:close/>
                </a:path>
                <a:path w="5760085" h="603250">
                  <a:moveTo>
                    <a:pt x="1830629" y="455930"/>
                  </a:moveTo>
                  <a:lnTo>
                    <a:pt x="1825747" y="464819"/>
                  </a:lnTo>
                  <a:lnTo>
                    <a:pt x="1836820" y="464819"/>
                  </a:lnTo>
                  <a:lnTo>
                    <a:pt x="1835461" y="462280"/>
                  </a:lnTo>
                  <a:lnTo>
                    <a:pt x="1830629" y="455930"/>
                  </a:lnTo>
                  <a:close/>
                </a:path>
                <a:path w="5760085" h="603250">
                  <a:moveTo>
                    <a:pt x="1862934" y="453390"/>
                  </a:moveTo>
                  <a:lnTo>
                    <a:pt x="1858520" y="458469"/>
                  </a:lnTo>
                  <a:lnTo>
                    <a:pt x="1854043" y="464819"/>
                  </a:lnTo>
                  <a:lnTo>
                    <a:pt x="1885152" y="464819"/>
                  </a:lnTo>
                  <a:lnTo>
                    <a:pt x="1884580" y="463550"/>
                  </a:lnTo>
                  <a:lnTo>
                    <a:pt x="1867282" y="463550"/>
                  </a:lnTo>
                  <a:lnTo>
                    <a:pt x="1862934" y="453390"/>
                  </a:lnTo>
                  <a:close/>
                </a:path>
                <a:path w="5760085" h="603250">
                  <a:moveTo>
                    <a:pt x="3927514" y="459740"/>
                  </a:moveTo>
                  <a:lnTo>
                    <a:pt x="3923738" y="464819"/>
                  </a:lnTo>
                  <a:lnTo>
                    <a:pt x="3930528" y="464819"/>
                  </a:lnTo>
                  <a:lnTo>
                    <a:pt x="3927514" y="459740"/>
                  </a:lnTo>
                  <a:close/>
                </a:path>
                <a:path w="5760085" h="603250">
                  <a:moveTo>
                    <a:pt x="3961892" y="452119"/>
                  </a:moveTo>
                  <a:lnTo>
                    <a:pt x="3958045" y="461009"/>
                  </a:lnTo>
                  <a:lnTo>
                    <a:pt x="3954234" y="464819"/>
                  </a:lnTo>
                  <a:lnTo>
                    <a:pt x="3968514" y="464819"/>
                  </a:lnTo>
                  <a:lnTo>
                    <a:pt x="3965747" y="458469"/>
                  </a:lnTo>
                  <a:lnTo>
                    <a:pt x="3961892" y="452119"/>
                  </a:lnTo>
                  <a:close/>
                </a:path>
                <a:path w="5760085" h="603250">
                  <a:moveTo>
                    <a:pt x="4277405" y="444500"/>
                  </a:moveTo>
                  <a:lnTo>
                    <a:pt x="4270045" y="454659"/>
                  </a:lnTo>
                  <a:lnTo>
                    <a:pt x="4262673" y="463550"/>
                  </a:lnTo>
                  <a:lnTo>
                    <a:pt x="4255307" y="464819"/>
                  </a:lnTo>
                  <a:lnTo>
                    <a:pt x="5759996" y="464819"/>
                  </a:lnTo>
                  <a:lnTo>
                    <a:pt x="5759996" y="459740"/>
                  </a:lnTo>
                  <a:lnTo>
                    <a:pt x="4366024" y="459740"/>
                  </a:lnTo>
                  <a:lnTo>
                    <a:pt x="4362460" y="458469"/>
                  </a:lnTo>
                  <a:lnTo>
                    <a:pt x="4362181" y="457200"/>
                  </a:lnTo>
                  <a:lnTo>
                    <a:pt x="4292114" y="457200"/>
                  </a:lnTo>
                  <a:lnTo>
                    <a:pt x="4277405" y="444500"/>
                  </a:lnTo>
                  <a:close/>
                </a:path>
                <a:path w="5760085" h="603250">
                  <a:moveTo>
                    <a:pt x="1810614" y="453390"/>
                  </a:moveTo>
                  <a:lnTo>
                    <a:pt x="1805413" y="461009"/>
                  </a:lnTo>
                  <a:lnTo>
                    <a:pt x="1800134" y="463550"/>
                  </a:lnTo>
                  <a:lnTo>
                    <a:pt x="1823263" y="463550"/>
                  </a:lnTo>
                  <a:lnTo>
                    <a:pt x="1820779" y="462280"/>
                  </a:lnTo>
                  <a:lnTo>
                    <a:pt x="1815733" y="454659"/>
                  </a:lnTo>
                  <a:lnTo>
                    <a:pt x="1810614" y="453390"/>
                  </a:lnTo>
                  <a:close/>
                </a:path>
                <a:path w="5760085" h="603250">
                  <a:moveTo>
                    <a:pt x="1871565" y="444500"/>
                  </a:moveTo>
                  <a:lnTo>
                    <a:pt x="1867282" y="463550"/>
                  </a:lnTo>
                  <a:lnTo>
                    <a:pt x="1884580" y="463550"/>
                  </a:lnTo>
                  <a:lnTo>
                    <a:pt x="1884008" y="462280"/>
                  </a:lnTo>
                  <a:lnTo>
                    <a:pt x="1879931" y="459740"/>
                  </a:lnTo>
                  <a:lnTo>
                    <a:pt x="1875783" y="448309"/>
                  </a:lnTo>
                  <a:lnTo>
                    <a:pt x="1871565" y="444500"/>
                  </a:lnTo>
                  <a:close/>
                </a:path>
                <a:path w="5760085" h="603250">
                  <a:moveTo>
                    <a:pt x="3886444" y="457200"/>
                  </a:moveTo>
                  <a:lnTo>
                    <a:pt x="3882734" y="463550"/>
                  </a:lnTo>
                  <a:lnTo>
                    <a:pt x="3889294" y="463550"/>
                  </a:lnTo>
                  <a:lnTo>
                    <a:pt x="3886444" y="457200"/>
                  </a:lnTo>
                  <a:close/>
                </a:path>
                <a:path w="5760085" h="603250">
                  <a:moveTo>
                    <a:pt x="1778183" y="454659"/>
                  </a:moveTo>
                  <a:lnTo>
                    <a:pt x="1772479" y="454659"/>
                  </a:lnTo>
                  <a:lnTo>
                    <a:pt x="1766685" y="457200"/>
                  </a:lnTo>
                  <a:lnTo>
                    <a:pt x="1759918" y="462280"/>
                  </a:lnTo>
                  <a:lnTo>
                    <a:pt x="1794773" y="462280"/>
                  </a:lnTo>
                  <a:lnTo>
                    <a:pt x="1783800" y="457200"/>
                  </a:lnTo>
                  <a:lnTo>
                    <a:pt x="1778183" y="454659"/>
                  </a:lnTo>
                  <a:close/>
                </a:path>
                <a:path w="5760085" h="603250">
                  <a:moveTo>
                    <a:pt x="3688500" y="458469"/>
                  </a:moveTo>
                  <a:lnTo>
                    <a:pt x="3669094" y="462280"/>
                  </a:lnTo>
                  <a:lnTo>
                    <a:pt x="3756509" y="462280"/>
                  </a:lnTo>
                  <a:lnTo>
                    <a:pt x="3756077" y="461009"/>
                  </a:lnTo>
                  <a:lnTo>
                    <a:pt x="3741598" y="461009"/>
                  </a:lnTo>
                  <a:lnTo>
                    <a:pt x="3740470" y="459740"/>
                  </a:lnTo>
                  <a:lnTo>
                    <a:pt x="3695036" y="459740"/>
                  </a:lnTo>
                  <a:lnTo>
                    <a:pt x="3688500" y="458469"/>
                  </a:lnTo>
                  <a:close/>
                </a:path>
                <a:path w="5760085" h="603250">
                  <a:moveTo>
                    <a:pt x="3750730" y="449580"/>
                  </a:moveTo>
                  <a:lnTo>
                    <a:pt x="3746082" y="459740"/>
                  </a:lnTo>
                  <a:lnTo>
                    <a:pt x="3741598" y="461009"/>
                  </a:lnTo>
                  <a:lnTo>
                    <a:pt x="3756077" y="461009"/>
                  </a:lnTo>
                  <a:lnTo>
                    <a:pt x="3755213" y="458469"/>
                  </a:lnTo>
                  <a:lnTo>
                    <a:pt x="3750730" y="449580"/>
                  </a:lnTo>
                  <a:close/>
                </a:path>
                <a:path w="5760085" h="603250">
                  <a:moveTo>
                    <a:pt x="4110710" y="436880"/>
                  </a:moveTo>
                  <a:lnTo>
                    <a:pt x="4106520" y="439419"/>
                  </a:lnTo>
                  <a:lnTo>
                    <a:pt x="4102304" y="461009"/>
                  </a:lnTo>
                  <a:lnTo>
                    <a:pt x="4119699" y="461009"/>
                  </a:lnTo>
                  <a:lnTo>
                    <a:pt x="4118992" y="459740"/>
                  </a:lnTo>
                  <a:lnTo>
                    <a:pt x="4114868" y="447040"/>
                  </a:lnTo>
                  <a:lnTo>
                    <a:pt x="4110710" y="436880"/>
                  </a:lnTo>
                  <a:close/>
                </a:path>
                <a:path w="5760085" h="603250">
                  <a:moveTo>
                    <a:pt x="4200755" y="431800"/>
                  </a:moveTo>
                  <a:lnTo>
                    <a:pt x="4196347" y="443230"/>
                  </a:lnTo>
                  <a:lnTo>
                    <a:pt x="4191940" y="461009"/>
                  </a:lnTo>
                  <a:lnTo>
                    <a:pt x="4249797" y="461009"/>
                  </a:lnTo>
                  <a:lnTo>
                    <a:pt x="4247961" y="459740"/>
                  </a:lnTo>
                  <a:lnTo>
                    <a:pt x="4241864" y="453390"/>
                  </a:lnTo>
                  <a:lnTo>
                    <a:pt x="4205174" y="453390"/>
                  </a:lnTo>
                  <a:lnTo>
                    <a:pt x="4200755" y="431800"/>
                  </a:lnTo>
                  <a:close/>
                </a:path>
                <a:path w="5760085" h="603250">
                  <a:moveTo>
                    <a:pt x="3708208" y="453390"/>
                  </a:moveTo>
                  <a:lnTo>
                    <a:pt x="3701601" y="455930"/>
                  </a:lnTo>
                  <a:lnTo>
                    <a:pt x="3695036" y="459740"/>
                  </a:lnTo>
                  <a:lnTo>
                    <a:pt x="3740470" y="459740"/>
                  </a:lnTo>
                  <a:lnTo>
                    <a:pt x="3738213" y="457200"/>
                  </a:lnTo>
                  <a:lnTo>
                    <a:pt x="3734856" y="455930"/>
                  </a:lnTo>
                  <a:lnTo>
                    <a:pt x="3714865" y="455930"/>
                  </a:lnTo>
                  <a:lnTo>
                    <a:pt x="3708208" y="453390"/>
                  </a:lnTo>
                  <a:close/>
                </a:path>
                <a:path w="5760085" h="603250">
                  <a:moveTo>
                    <a:pt x="4152977" y="457200"/>
                  </a:moveTo>
                  <a:lnTo>
                    <a:pt x="4148700" y="459740"/>
                  </a:lnTo>
                  <a:lnTo>
                    <a:pt x="4154703" y="459740"/>
                  </a:lnTo>
                  <a:lnTo>
                    <a:pt x="4152977" y="457200"/>
                  </a:lnTo>
                  <a:close/>
                </a:path>
                <a:path w="5760085" h="603250">
                  <a:moveTo>
                    <a:pt x="4377171" y="415290"/>
                  </a:moveTo>
                  <a:lnTo>
                    <a:pt x="4373703" y="424180"/>
                  </a:lnTo>
                  <a:lnTo>
                    <a:pt x="4369709" y="448309"/>
                  </a:lnTo>
                  <a:lnTo>
                    <a:pt x="4366024" y="459740"/>
                  </a:lnTo>
                  <a:lnTo>
                    <a:pt x="5759996" y="459740"/>
                  </a:lnTo>
                  <a:lnTo>
                    <a:pt x="5759996" y="439419"/>
                  </a:lnTo>
                  <a:lnTo>
                    <a:pt x="4433337" y="439419"/>
                  </a:lnTo>
                  <a:lnTo>
                    <a:pt x="4425886" y="436880"/>
                  </a:lnTo>
                  <a:lnTo>
                    <a:pt x="4418483" y="435609"/>
                  </a:lnTo>
                  <a:lnTo>
                    <a:pt x="4414738" y="431800"/>
                  </a:lnTo>
                  <a:lnTo>
                    <a:pt x="4384770" y="431800"/>
                  </a:lnTo>
                  <a:lnTo>
                    <a:pt x="4380915" y="422909"/>
                  </a:lnTo>
                  <a:lnTo>
                    <a:pt x="4377171" y="415290"/>
                  </a:lnTo>
                  <a:close/>
                </a:path>
                <a:path w="5760085" h="603250">
                  <a:moveTo>
                    <a:pt x="3519110" y="412750"/>
                  </a:moveTo>
                  <a:lnTo>
                    <a:pt x="3516097" y="431800"/>
                  </a:lnTo>
                  <a:lnTo>
                    <a:pt x="3511669" y="458469"/>
                  </a:lnTo>
                  <a:lnTo>
                    <a:pt x="3588981" y="458469"/>
                  </a:lnTo>
                  <a:lnTo>
                    <a:pt x="3587598" y="452119"/>
                  </a:lnTo>
                  <a:lnTo>
                    <a:pt x="3581489" y="450850"/>
                  </a:lnTo>
                  <a:lnTo>
                    <a:pt x="3579470" y="449580"/>
                  </a:lnTo>
                  <a:lnTo>
                    <a:pt x="3530114" y="449580"/>
                  </a:lnTo>
                  <a:lnTo>
                    <a:pt x="3527756" y="438150"/>
                  </a:lnTo>
                  <a:lnTo>
                    <a:pt x="3524907" y="426719"/>
                  </a:lnTo>
                  <a:lnTo>
                    <a:pt x="3522036" y="414019"/>
                  </a:lnTo>
                  <a:lnTo>
                    <a:pt x="3519110" y="412750"/>
                  </a:lnTo>
                  <a:close/>
                </a:path>
                <a:path w="5760085" h="603250">
                  <a:moveTo>
                    <a:pt x="2020621" y="444500"/>
                  </a:moveTo>
                  <a:lnTo>
                    <a:pt x="2015567" y="444500"/>
                  </a:lnTo>
                  <a:lnTo>
                    <a:pt x="2010474" y="457200"/>
                  </a:lnTo>
                  <a:lnTo>
                    <a:pt x="3348426" y="457200"/>
                  </a:lnTo>
                  <a:lnTo>
                    <a:pt x="3347106" y="453390"/>
                  </a:lnTo>
                  <a:lnTo>
                    <a:pt x="2030654" y="453390"/>
                  </a:lnTo>
                  <a:lnTo>
                    <a:pt x="2025647" y="448309"/>
                  </a:lnTo>
                  <a:lnTo>
                    <a:pt x="2020621" y="444500"/>
                  </a:lnTo>
                  <a:close/>
                </a:path>
                <a:path w="5760085" h="603250">
                  <a:moveTo>
                    <a:pt x="4299509" y="447040"/>
                  </a:moveTo>
                  <a:lnTo>
                    <a:pt x="4292114" y="457200"/>
                  </a:lnTo>
                  <a:lnTo>
                    <a:pt x="4362181" y="457200"/>
                  </a:lnTo>
                  <a:lnTo>
                    <a:pt x="4360785" y="450850"/>
                  </a:lnTo>
                  <a:lnTo>
                    <a:pt x="4314278" y="450850"/>
                  </a:lnTo>
                  <a:lnTo>
                    <a:pt x="4306871" y="449580"/>
                  </a:lnTo>
                  <a:lnTo>
                    <a:pt x="4299509" y="447040"/>
                  </a:lnTo>
                  <a:close/>
                </a:path>
                <a:path w="5760085" h="603250">
                  <a:moveTo>
                    <a:pt x="3643531" y="444500"/>
                  </a:moveTo>
                  <a:lnTo>
                    <a:pt x="3640383" y="445769"/>
                  </a:lnTo>
                  <a:lnTo>
                    <a:pt x="3637217" y="455930"/>
                  </a:lnTo>
                  <a:lnTo>
                    <a:pt x="3662051" y="455930"/>
                  </a:lnTo>
                  <a:lnTo>
                    <a:pt x="3660767" y="450850"/>
                  </a:lnTo>
                  <a:lnTo>
                    <a:pt x="3649854" y="450850"/>
                  </a:lnTo>
                  <a:lnTo>
                    <a:pt x="3646681" y="448309"/>
                  </a:lnTo>
                  <a:lnTo>
                    <a:pt x="3643531" y="444500"/>
                  </a:lnTo>
                  <a:close/>
                </a:path>
                <a:path w="5760085" h="603250">
                  <a:moveTo>
                    <a:pt x="3721528" y="429259"/>
                  </a:moveTo>
                  <a:lnTo>
                    <a:pt x="3718185" y="438150"/>
                  </a:lnTo>
                  <a:lnTo>
                    <a:pt x="3714865" y="455930"/>
                  </a:lnTo>
                  <a:lnTo>
                    <a:pt x="3731531" y="455930"/>
                  </a:lnTo>
                  <a:lnTo>
                    <a:pt x="3728238" y="450850"/>
                  </a:lnTo>
                  <a:lnTo>
                    <a:pt x="3724882" y="431800"/>
                  </a:lnTo>
                  <a:lnTo>
                    <a:pt x="3721528" y="429259"/>
                  </a:lnTo>
                  <a:close/>
                </a:path>
                <a:path w="5760085" h="603250">
                  <a:moveTo>
                    <a:pt x="1746307" y="440690"/>
                  </a:moveTo>
                  <a:lnTo>
                    <a:pt x="1739469" y="453390"/>
                  </a:lnTo>
                  <a:lnTo>
                    <a:pt x="1755163" y="453390"/>
                  </a:lnTo>
                  <a:lnTo>
                    <a:pt x="1753125" y="449580"/>
                  </a:lnTo>
                  <a:lnTo>
                    <a:pt x="1746307" y="440690"/>
                  </a:lnTo>
                  <a:close/>
                </a:path>
                <a:path w="5760085" h="603250">
                  <a:moveTo>
                    <a:pt x="2035593" y="429259"/>
                  </a:moveTo>
                  <a:lnTo>
                    <a:pt x="2030654" y="453390"/>
                  </a:lnTo>
                  <a:lnTo>
                    <a:pt x="3347106" y="453390"/>
                  </a:lnTo>
                  <a:lnTo>
                    <a:pt x="3346226" y="450850"/>
                  </a:lnTo>
                  <a:lnTo>
                    <a:pt x="2055336" y="450850"/>
                  </a:lnTo>
                  <a:lnTo>
                    <a:pt x="2050428" y="449580"/>
                  </a:lnTo>
                  <a:lnTo>
                    <a:pt x="2045483" y="449580"/>
                  </a:lnTo>
                  <a:lnTo>
                    <a:pt x="2040537" y="435609"/>
                  </a:lnTo>
                  <a:lnTo>
                    <a:pt x="2035593" y="429259"/>
                  </a:lnTo>
                  <a:close/>
                </a:path>
                <a:path w="5760085" h="603250">
                  <a:moveTo>
                    <a:pt x="3419823" y="430530"/>
                  </a:moveTo>
                  <a:lnTo>
                    <a:pt x="3416618" y="431800"/>
                  </a:lnTo>
                  <a:lnTo>
                    <a:pt x="3410041" y="444500"/>
                  </a:lnTo>
                  <a:lnTo>
                    <a:pt x="3403332" y="453390"/>
                  </a:lnTo>
                  <a:lnTo>
                    <a:pt x="3427843" y="453390"/>
                  </a:lnTo>
                  <a:lnTo>
                    <a:pt x="3426241" y="440690"/>
                  </a:lnTo>
                  <a:lnTo>
                    <a:pt x="3423032" y="431800"/>
                  </a:lnTo>
                  <a:lnTo>
                    <a:pt x="3419823" y="430530"/>
                  </a:lnTo>
                  <a:close/>
                </a:path>
                <a:path w="5760085" h="603250">
                  <a:moveTo>
                    <a:pt x="4213892" y="430530"/>
                  </a:moveTo>
                  <a:lnTo>
                    <a:pt x="4209507" y="434340"/>
                  </a:lnTo>
                  <a:lnTo>
                    <a:pt x="4205174" y="453390"/>
                  </a:lnTo>
                  <a:lnTo>
                    <a:pt x="4241864" y="453390"/>
                  </a:lnTo>
                  <a:lnTo>
                    <a:pt x="4240645" y="452119"/>
                  </a:lnTo>
                  <a:lnTo>
                    <a:pt x="4239646" y="449580"/>
                  </a:lnTo>
                  <a:lnTo>
                    <a:pt x="4222801" y="449580"/>
                  </a:lnTo>
                  <a:lnTo>
                    <a:pt x="4218326" y="436880"/>
                  </a:lnTo>
                  <a:lnTo>
                    <a:pt x="4213892" y="430530"/>
                  </a:lnTo>
                  <a:close/>
                </a:path>
                <a:path w="5760085" h="603250">
                  <a:moveTo>
                    <a:pt x="1432853" y="398780"/>
                  </a:moveTo>
                  <a:lnTo>
                    <a:pt x="1427284" y="417830"/>
                  </a:lnTo>
                  <a:lnTo>
                    <a:pt x="1421730" y="439419"/>
                  </a:lnTo>
                  <a:lnTo>
                    <a:pt x="1416182" y="452119"/>
                  </a:lnTo>
                  <a:lnTo>
                    <a:pt x="1586834" y="452119"/>
                  </a:lnTo>
                  <a:lnTo>
                    <a:pt x="1579823" y="445769"/>
                  </a:lnTo>
                  <a:lnTo>
                    <a:pt x="1558794" y="445769"/>
                  </a:lnTo>
                  <a:lnTo>
                    <a:pt x="1551774" y="444500"/>
                  </a:lnTo>
                  <a:lnTo>
                    <a:pt x="1548883" y="435609"/>
                  </a:lnTo>
                  <a:lnTo>
                    <a:pt x="1485195" y="435609"/>
                  </a:lnTo>
                  <a:lnTo>
                    <a:pt x="1481700" y="429259"/>
                  </a:lnTo>
                  <a:lnTo>
                    <a:pt x="1479821" y="420369"/>
                  </a:lnTo>
                  <a:lnTo>
                    <a:pt x="1436351" y="420369"/>
                  </a:lnTo>
                  <a:lnTo>
                    <a:pt x="1432853" y="398780"/>
                  </a:lnTo>
                  <a:close/>
                </a:path>
                <a:path w="5760085" h="603250">
                  <a:moveTo>
                    <a:pt x="1600861" y="434340"/>
                  </a:moveTo>
                  <a:lnTo>
                    <a:pt x="1593845" y="448309"/>
                  </a:lnTo>
                  <a:lnTo>
                    <a:pt x="1586834" y="452119"/>
                  </a:lnTo>
                  <a:lnTo>
                    <a:pt x="1663639" y="452119"/>
                  </a:lnTo>
                  <a:lnTo>
                    <a:pt x="1659006" y="447040"/>
                  </a:lnTo>
                  <a:lnTo>
                    <a:pt x="1614839" y="447040"/>
                  </a:lnTo>
                  <a:lnTo>
                    <a:pt x="1607843" y="441959"/>
                  </a:lnTo>
                  <a:lnTo>
                    <a:pt x="1600861" y="434340"/>
                  </a:lnTo>
                  <a:close/>
                </a:path>
                <a:path w="5760085" h="603250">
                  <a:moveTo>
                    <a:pt x="1677507" y="449580"/>
                  </a:moveTo>
                  <a:lnTo>
                    <a:pt x="1670578" y="452119"/>
                  </a:lnTo>
                  <a:lnTo>
                    <a:pt x="1711999" y="452119"/>
                  </a:lnTo>
                  <a:lnTo>
                    <a:pt x="1711617" y="450850"/>
                  </a:lnTo>
                  <a:lnTo>
                    <a:pt x="1684427" y="450850"/>
                  </a:lnTo>
                  <a:lnTo>
                    <a:pt x="1677507" y="449580"/>
                  </a:lnTo>
                  <a:close/>
                </a:path>
                <a:path w="5760085" h="603250">
                  <a:moveTo>
                    <a:pt x="1718891" y="443230"/>
                  </a:moveTo>
                  <a:lnTo>
                    <a:pt x="1711999" y="452119"/>
                  </a:lnTo>
                  <a:lnTo>
                    <a:pt x="1731490" y="452119"/>
                  </a:lnTo>
                  <a:lnTo>
                    <a:pt x="1725772" y="445769"/>
                  </a:lnTo>
                  <a:lnTo>
                    <a:pt x="1718891" y="443230"/>
                  </a:lnTo>
                  <a:close/>
                </a:path>
                <a:path w="5760085" h="603250">
                  <a:moveTo>
                    <a:pt x="1698218" y="417830"/>
                  </a:moveTo>
                  <a:lnTo>
                    <a:pt x="1691312" y="424180"/>
                  </a:lnTo>
                  <a:lnTo>
                    <a:pt x="1684427" y="450850"/>
                  </a:lnTo>
                  <a:lnTo>
                    <a:pt x="1711617" y="450850"/>
                  </a:lnTo>
                  <a:lnTo>
                    <a:pt x="1705121" y="429259"/>
                  </a:lnTo>
                  <a:lnTo>
                    <a:pt x="1698218" y="417830"/>
                  </a:lnTo>
                  <a:close/>
                </a:path>
                <a:path w="5760085" h="603250">
                  <a:moveTo>
                    <a:pt x="2065312" y="443230"/>
                  </a:moveTo>
                  <a:lnTo>
                    <a:pt x="2055336" y="450850"/>
                  </a:lnTo>
                  <a:lnTo>
                    <a:pt x="3346226" y="450850"/>
                  </a:lnTo>
                  <a:lnTo>
                    <a:pt x="3345786" y="449580"/>
                  </a:lnTo>
                  <a:lnTo>
                    <a:pt x="2107471" y="449580"/>
                  </a:lnTo>
                  <a:lnTo>
                    <a:pt x="2101895" y="448309"/>
                  </a:lnTo>
                  <a:lnTo>
                    <a:pt x="2098607" y="444500"/>
                  </a:lnTo>
                  <a:lnTo>
                    <a:pt x="2070405" y="444500"/>
                  </a:lnTo>
                  <a:lnTo>
                    <a:pt x="2065312" y="443230"/>
                  </a:lnTo>
                  <a:close/>
                </a:path>
                <a:path w="5760085" h="603250">
                  <a:moveTo>
                    <a:pt x="3656264" y="444500"/>
                  </a:moveTo>
                  <a:lnTo>
                    <a:pt x="3653049" y="448309"/>
                  </a:lnTo>
                  <a:lnTo>
                    <a:pt x="3649854" y="450850"/>
                  </a:lnTo>
                  <a:lnTo>
                    <a:pt x="3660767" y="450850"/>
                  </a:lnTo>
                  <a:lnTo>
                    <a:pt x="3659483" y="445769"/>
                  </a:lnTo>
                  <a:lnTo>
                    <a:pt x="3656264" y="444500"/>
                  </a:lnTo>
                  <a:close/>
                </a:path>
                <a:path w="5760085" h="603250">
                  <a:moveTo>
                    <a:pt x="4336503" y="414019"/>
                  </a:moveTo>
                  <a:lnTo>
                    <a:pt x="4332790" y="422909"/>
                  </a:lnTo>
                  <a:lnTo>
                    <a:pt x="4329075" y="443230"/>
                  </a:lnTo>
                  <a:lnTo>
                    <a:pt x="4321693" y="449580"/>
                  </a:lnTo>
                  <a:lnTo>
                    <a:pt x="4314278" y="450850"/>
                  </a:lnTo>
                  <a:lnTo>
                    <a:pt x="4360785" y="450850"/>
                  </a:lnTo>
                  <a:lnTo>
                    <a:pt x="4358831" y="441959"/>
                  </a:lnTo>
                  <a:lnTo>
                    <a:pt x="4357128" y="435609"/>
                  </a:lnTo>
                  <a:lnTo>
                    <a:pt x="4344036" y="435609"/>
                  </a:lnTo>
                  <a:lnTo>
                    <a:pt x="4340243" y="417830"/>
                  </a:lnTo>
                  <a:lnTo>
                    <a:pt x="4336503" y="414019"/>
                  </a:lnTo>
                  <a:close/>
                </a:path>
                <a:path w="5760085" h="603250">
                  <a:moveTo>
                    <a:pt x="2113166" y="433069"/>
                  </a:moveTo>
                  <a:lnTo>
                    <a:pt x="2107471" y="449580"/>
                  </a:lnTo>
                  <a:lnTo>
                    <a:pt x="3291123" y="449580"/>
                  </a:lnTo>
                  <a:lnTo>
                    <a:pt x="3288984" y="443230"/>
                  </a:lnTo>
                  <a:lnTo>
                    <a:pt x="2862679" y="443230"/>
                  </a:lnTo>
                  <a:lnTo>
                    <a:pt x="2861554" y="441959"/>
                  </a:lnTo>
                  <a:lnTo>
                    <a:pt x="2354277" y="441959"/>
                  </a:lnTo>
                  <a:lnTo>
                    <a:pt x="2353153" y="439419"/>
                  </a:lnTo>
                  <a:lnTo>
                    <a:pt x="2124858" y="439419"/>
                  </a:lnTo>
                  <a:lnTo>
                    <a:pt x="2118941" y="435609"/>
                  </a:lnTo>
                  <a:lnTo>
                    <a:pt x="2113166" y="433069"/>
                  </a:lnTo>
                  <a:close/>
                </a:path>
                <a:path w="5760085" h="603250">
                  <a:moveTo>
                    <a:pt x="3300580" y="388619"/>
                  </a:moveTo>
                  <a:lnTo>
                    <a:pt x="3297899" y="421640"/>
                  </a:lnTo>
                  <a:lnTo>
                    <a:pt x="3294526" y="443230"/>
                  </a:lnTo>
                  <a:lnTo>
                    <a:pt x="3291123" y="449580"/>
                  </a:lnTo>
                  <a:lnTo>
                    <a:pt x="3345786" y="449580"/>
                  </a:lnTo>
                  <a:lnTo>
                    <a:pt x="3344906" y="447040"/>
                  </a:lnTo>
                  <a:lnTo>
                    <a:pt x="3339589" y="426719"/>
                  </a:lnTo>
                  <a:lnTo>
                    <a:pt x="3308711" y="426719"/>
                  </a:lnTo>
                  <a:lnTo>
                    <a:pt x="3305998" y="408940"/>
                  </a:lnTo>
                  <a:lnTo>
                    <a:pt x="3303284" y="389890"/>
                  </a:lnTo>
                  <a:lnTo>
                    <a:pt x="3300580" y="388619"/>
                  </a:lnTo>
                  <a:close/>
                </a:path>
                <a:path w="5760085" h="603250">
                  <a:moveTo>
                    <a:pt x="3537202" y="421640"/>
                  </a:moveTo>
                  <a:lnTo>
                    <a:pt x="3534842" y="425450"/>
                  </a:lnTo>
                  <a:lnTo>
                    <a:pt x="3532478" y="440690"/>
                  </a:lnTo>
                  <a:lnTo>
                    <a:pt x="3530114" y="449580"/>
                  </a:lnTo>
                  <a:lnTo>
                    <a:pt x="3563392" y="449580"/>
                  </a:lnTo>
                  <a:lnTo>
                    <a:pt x="3562997" y="445769"/>
                  </a:lnTo>
                  <a:lnTo>
                    <a:pt x="3539554" y="445769"/>
                  </a:lnTo>
                  <a:lnTo>
                    <a:pt x="3537202" y="421640"/>
                  </a:lnTo>
                  <a:close/>
                </a:path>
                <a:path w="5760085" h="603250">
                  <a:moveTo>
                    <a:pt x="3569408" y="445769"/>
                  </a:moveTo>
                  <a:lnTo>
                    <a:pt x="3563392" y="449580"/>
                  </a:lnTo>
                  <a:lnTo>
                    <a:pt x="3579470" y="449580"/>
                  </a:lnTo>
                  <a:lnTo>
                    <a:pt x="3575433" y="447040"/>
                  </a:lnTo>
                  <a:lnTo>
                    <a:pt x="3569408" y="445769"/>
                  </a:lnTo>
                  <a:close/>
                </a:path>
                <a:path w="5760085" h="603250">
                  <a:moveTo>
                    <a:pt x="4231671" y="438150"/>
                  </a:moveTo>
                  <a:lnTo>
                    <a:pt x="4227217" y="441959"/>
                  </a:lnTo>
                  <a:lnTo>
                    <a:pt x="4222801" y="449580"/>
                  </a:lnTo>
                  <a:lnTo>
                    <a:pt x="4239646" y="449580"/>
                  </a:lnTo>
                  <a:lnTo>
                    <a:pt x="4236151" y="440690"/>
                  </a:lnTo>
                  <a:lnTo>
                    <a:pt x="4231671" y="438150"/>
                  </a:lnTo>
                  <a:close/>
                </a:path>
                <a:path w="5760085" h="603250">
                  <a:moveTo>
                    <a:pt x="1638123" y="429259"/>
                  </a:moveTo>
                  <a:lnTo>
                    <a:pt x="1633424" y="434340"/>
                  </a:lnTo>
                  <a:lnTo>
                    <a:pt x="1628826" y="436880"/>
                  </a:lnTo>
                  <a:lnTo>
                    <a:pt x="1621837" y="447040"/>
                  </a:lnTo>
                  <a:lnTo>
                    <a:pt x="1659006" y="447040"/>
                  </a:lnTo>
                  <a:lnTo>
                    <a:pt x="1656690" y="444500"/>
                  </a:lnTo>
                  <a:lnTo>
                    <a:pt x="1655115" y="431800"/>
                  </a:lnTo>
                  <a:lnTo>
                    <a:pt x="1642784" y="431800"/>
                  </a:lnTo>
                  <a:lnTo>
                    <a:pt x="1638123" y="429259"/>
                  </a:lnTo>
                  <a:close/>
                </a:path>
                <a:path w="5760085" h="603250">
                  <a:moveTo>
                    <a:pt x="1572807" y="427990"/>
                  </a:moveTo>
                  <a:lnTo>
                    <a:pt x="1558794" y="445769"/>
                  </a:lnTo>
                  <a:lnTo>
                    <a:pt x="1579823" y="445769"/>
                  </a:lnTo>
                  <a:lnTo>
                    <a:pt x="1572807" y="427990"/>
                  </a:lnTo>
                  <a:close/>
                </a:path>
                <a:path w="5760085" h="603250">
                  <a:moveTo>
                    <a:pt x="3497676" y="426719"/>
                  </a:moveTo>
                  <a:lnTo>
                    <a:pt x="3493021" y="438150"/>
                  </a:lnTo>
                  <a:lnTo>
                    <a:pt x="3486710" y="445769"/>
                  </a:lnTo>
                  <a:lnTo>
                    <a:pt x="3504548" y="445769"/>
                  </a:lnTo>
                  <a:lnTo>
                    <a:pt x="3502384" y="438150"/>
                  </a:lnTo>
                  <a:lnTo>
                    <a:pt x="3497676" y="426719"/>
                  </a:lnTo>
                  <a:close/>
                </a:path>
                <a:path w="5760085" h="603250">
                  <a:moveTo>
                    <a:pt x="3557336" y="410209"/>
                  </a:moveTo>
                  <a:lnTo>
                    <a:pt x="3554336" y="411480"/>
                  </a:lnTo>
                  <a:lnTo>
                    <a:pt x="3551403" y="416559"/>
                  </a:lnTo>
                  <a:lnTo>
                    <a:pt x="3548418" y="421640"/>
                  </a:lnTo>
                  <a:lnTo>
                    <a:pt x="3545455" y="425450"/>
                  </a:lnTo>
                  <a:lnTo>
                    <a:pt x="3542504" y="433069"/>
                  </a:lnTo>
                  <a:lnTo>
                    <a:pt x="3539554" y="445769"/>
                  </a:lnTo>
                  <a:lnTo>
                    <a:pt x="3562997" y="445769"/>
                  </a:lnTo>
                  <a:lnTo>
                    <a:pt x="3560367" y="420369"/>
                  </a:lnTo>
                  <a:lnTo>
                    <a:pt x="3557336" y="410209"/>
                  </a:lnTo>
                  <a:close/>
                </a:path>
                <a:path w="5760085" h="603250">
                  <a:moveTo>
                    <a:pt x="2075428" y="441959"/>
                  </a:moveTo>
                  <a:lnTo>
                    <a:pt x="2070405" y="444500"/>
                  </a:lnTo>
                  <a:lnTo>
                    <a:pt x="2098607" y="444500"/>
                  </a:lnTo>
                  <a:lnTo>
                    <a:pt x="2097510" y="443230"/>
                  </a:lnTo>
                  <a:lnTo>
                    <a:pt x="2080543" y="443230"/>
                  </a:lnTo>
                  <a:lnTo>
                    <a:pt x="2075428" y="441959"/>
                  </a:lnTo>
                  <a:close/>
                </a:path>
                <a:path w="5760085" h="603250">
                  <a:moveTo>
                    <a:pt x="2091005" y="439419"/>
                  </a:moveTo>
                  <a:lnTo>
                    <a:pt x="2085740" y="443230"/>
                  </a:lnTo>
                  <a:lnTo>
                    <a:pt x="2097510" y="443230"/>
                  </a:lnTo>
                  <a:lnTo>
                    <a:pt x="2096414" y="441959"/>
                  </a:lnTo>
                  <a:lnTo>
                    <a:pt x="2091005" y="439419"/>
                  </a:lnTo>
                  <a:close/>
                </a:path>
                <a:path w="5760085" h="603250">
                  <a:moveTo>
                    <a:pt x="2866048" y="420369"/>
                  </a:moveTo>
                  <a:lnTo>
                    <a:pt x="2862679" y="443230"/>
                  </a:lnTo>
                  <a:lnTo>
                    <a:pt x="3288984" y="443230"/>
                  </a:lnTo>
                  <a:lnTo>
                    <a:pt x="3288556" y="441959"/>
                  </a:lnTo>
                  <a:lnTo>
                    <a:pt x="3196000" y="441959"/>
                  </a:lnTo>
                  <a:lnTo>
                    <a:pt x="3192354" y="435609"/>
                  </a:lnTo>
                  <a:lnTo>
                    <a:pt x="3191747" y="433069"/>
                  </a:lnTo>
                  <a:lnTo>
                    <a:pt x="3069908" y="433069"/>
                  </a:lnTo>
                  <a:lnTo>
                    <a:pt x="3065899" y="431800"/>
                  </a:lnTo>
                  <a:lnTo>
                    <a:pt x="3064183" y="427990"/>
                  </a:lnTo>
                  <a:lnTo>
                    <a:pt x="2869415" y="427990"/>
                  </a:lnTo>
                  <a:lnTo>
                    <a:pt x="2866048" y="420369"/>
                  </a:lnTo>
                  <a:close/>
                </a:path>
                <a:path w="5760085" h="603250">
                  <a:moveTo>
                    <a:pt x="2367859" y="401319"/>
                  </a:moveTo>
                  <a:lnTo>
                    <a:pt x="2364435" y="402590"/>
                  </a:lnTo>
                  <a:lnTo>
                    <a:pt x="2361121" y="417830"/>
                  </a:lnTo>
                  <a:lnTo>
                    <a:pt x="2357663" y="436880"/>
                  </a:lnTo>
                  <a:lnTo>
                    <a:pt x="2354277" y="441959"/>
                  </a:lnTo>
                  <a:lnTo>
                    <a:pt x="2732612" y="441959"/>
                  </a:lnTo>
                  <a:lnTo>
                    <a:pt x="2726028" y="435609"/>
                  </a:lnTo>
                  <a:lnTo>
                    <a:pt x="2725575" y="433069"/>
                  </a:lnTo>
                  <a:lnTo>
                    <a:pt x="2538516" y="433069"/>
                  </a:lnTo>
                  <a:lnTo>
                    <a:pt x="2537608" y="425450"/>
                  </a:lnTo>
                  <a:lnTo>
                    <a:pt x="2502172" y="425450"/>
                  </a:lnTo>
                  <a:lnTo>
                    <a:pt x="2495524" y="417830"/>
                  </a:lnTo>
                  <a:lnTo>
                    <a:pt x="2460092" y="417830"/>
                  </a:lnTo>
                  <a:lnTo>
                    <a:pt x="2457104" y="412750"/>
                  </a:lnTo>
                  <a:lnTo>
                    <a:pt x="2448931" y="412750"/>
                  </a:lnTo>
                  <a:lnTo>
                    <a:pt x="2446696" y="410209"/>
                  </a:lnTo>
                  <a:lnTo>
                    <a:pt x="2374786" y="410209"/>
                  </a:lnTo>
                  <a:lnTo>
                    <a:pt x="2371330" y="407669"/>
                  </a:lnTo>
                  <a:lnTo>
                    <a:pt x="2367859" y="401319"/>
                  </a:lnTo>
                  <a:close/>
                </a:path>
                <a:path w="5760085" h="603250">
                  <a:moveTo>
                    <a:pt x="2745791" y="401319"/>
                  </a:moveTo>
                  <a:lnTo>
                    <a:pt x="2739201" y="427990"/>
                  </a:lnTo>
                  <a:lnTo>
                    <a:pt x="2732612" y="441959"/>
                  </a:lnTo>
                  <a:lnTo>
                    <a:pt x="2861554" y="441959"/>
                  </a:lnTo>
                  <a:lnTo>
                    <a:pt x="2859304" y="439419"/>
                  </a:lnTo>
                  <a:lnTo>
                    <a:pt x="2856170" y="422909"/>
                  </a:lnTo>
                  <a:lnTo>
                    <a:pt x="2778975" y="422909"/>
                  </a:lnTo>
                  <a:lnTo>
                    <a:pt x="2775643" y="421640"/>
                  </a:lnTo>
                  <a:lnTo>
                    <a:pt x="2773033" y="407669"/>
                  </a:lnTo>
                  <a:lnTo>
                    <a:pt x="2752455" y="407669"/>
                  </a:lnTo>
                  <a:lnTo>
                    <a:pt x="2745791" y="401319"/>
                  </a:lnTo>
                  <a:close/>
                </a:path>
                <a:path w="5760085" h="603250">
                  <a:moveTo>
                    <a:pt x="3214096" y="410209"/>
                  </a:moveTo>
                  <a:lnTo>
                    <a:pt x="3206896" y="411480"/>
                  </a:lnTo>
                  <a:lnTo>
                    <a:pt x="3199664" y="420369"/>
                  </a:lnTo>
                  <a:lnTo>
                    <a:pt x="3196000" y="441959"/>
                  </a:lnTo>
                  <a:lnTo>
                    <a:pt x="3288556" y="441959"/>
                  </a:lnTo>
                  <a:lnTo>
                    <a:pt x="3287701" y="439419"/>
                  </a:lnTo>
                  <a:lnTo>
                    <a:pt x="3286692" y="433069"/>
                  </a:lnTo>
                  <a:lnTo>
                    <a:pt x="3260106" y="433069"/>
                  </a:lnTo>
                  <a:lnTo>
                    <a:pt x="3259618" y="430530"/>
                  </a:lnTo>
                  <a:lnTo>
                    <a:pt x="3235499" y="430530"/>
                  </a:lnTo>
                  <a:lnTo>
                    <a:pt x="3228404" y="415290"/>
                  </a:lnTo>
                  <a:lnTo>
                    <a:pt x="3214096" y="410209"/>
                  </a:lnTo>
                  <a:close/>
                </a:path>
                <a:path w="5760085" h="603250">
                  <a:moveTo>
                    <a:pt x="2137131" y="430530"/>
                  </a:moveTo>
                  <a:lnTo>
                    <a:pt x="2130920" y="439419"/>
                  </a:lnTo>
                  <a:lnTo>
                    <a:pt x="2143488" y="439419"/>
                  </a:lnTo>
                  <a:lnTo>
                    <a:pt x="2140298" y="434340"/>
                  </a:lnTo>
                  <a:lnTo>
                    <a:pt x="2137131" y="430530"/>
                  </a:lnTo>
                  <a:close/>
                </a:path>
                <a:path w="5760085" h="603250">
                  <a:moveTo>
                    <a:pt x="2153354" y="417830"/>
                  </a:moveTo>
                  <a:lnTo>
                    <a:pt x="2150034" y="422909"/>
                  </a:lnTo>
                  <a:lnTo>
                    <a:pt x="2146725" y="438150"/>
                  </a:lnTo>
                  <a:lnTo>
                    <a:pt x="2143488" y="439419"/>
                  </a:lnTo>
                  <a:lnTo>
                    <a:pt x="2353153" y="439419"/>
                  </a:lnTo>
                  <a:lnTo>
                    <a:pt x="2352591" y="438150"/>
                  </a:lnTo>
                  <a:lnTo>
                    <a:pt x="2258881" y="438150"/>
                  </a:lnTo>
                  <a:lnTo>
                    <a:pt x="2254022" y="436880"/>
                  </a:lnTo>
                  <a:lnTo>
                    <a:pt x="2249229" y="426719"/>
                  </a:lnTo>
                  <a:lnTo>
                    <a:pt x="2160141" y="426719"/>
                  </a:lnTo>
                  <a:lnTo>
                    <a:pt x="2156723" y="421640"/>
                  </a:lnTo>
                  <a:lnTo>
                    <a:pt x="2153354" y="417830"/>
                  </a:lnTo>
                  <a:close/>
                </a:path>
                <a:path w="5760085" h="603250">
                  <a:moveTo>
                    <a:pt x="4478300" y="427990"/>
                  </a:moveTo>
                  <a:lnTo>
                    <a:pt x="4470797" y="430530"/>
                  </a:lnTo>
                  <a:lnTo>
                    <a:pt x="4455776" y="430530"/>
                  </a:lnTo>
                  <a:lnTo>
                    <a:pt x="4448315" y="433069"/>
                  </a:lnTo>
                  <a:lnTo>
                    <a:pt x="4440820" y="439419"/>
                  </a:lnTo>
                  <a:lnTo>
                    <a:pt x="4485785" y="439419"/>
                  </a:lnTo>
                  <a:lnTo>
                    <a:pt x="4482040" y="435609"/>
                  </a:lnTo>
                  <a:lnTo>
                    <a:pt x="4478300" y="427990"/>
                  </a:lnTo>
                  <a:close/>
                </a:path>
                <a:path w="5760085" h="603250">
                  <a:moveTo>
                    <a:pt x="4493261" y="429259"/>
                  </a:moveTo>
                  <a:lnTo>
                    <a:pt x="4489528" y="438150"/>
                  </a:lnTo>
                  <a:lnTo>
                    <a:pt x="4485785" y="439419"/>
                  </a:lnTo>
                  <a:lnTo>
                    <a:pt x="5759996" y="439419"/>
                  </a:lnTo>
                  <a:lnTo>
                    <a:pt x="5759996" y="435609"/>
                  </a:lnTo>
                  <a:lnTo>
                    <a:pt x="4504537" y="435609"/>
                  </a:lnTo>
                  <a:lnTo>
                    <a:pt x="4500785" y="434340"/>
                  </a:lnTo>
                  <a:lnTo>
                    <a:pt x="4493261" y="429259"/>
                  </a:lnTo>
                  <a:close/>
                </a:path>
                <a:path w="5760085" h="603250">
                  <a:moveTo>
                    <a:pt x="2263788" y="415290"/>
                  </a:moveTo>
                  <a:lnTo>
                    <a:pt x="2258881" y="438150"/>
                  </a:lnTo>
                  <a:lnTo>
                    <a:pt x="2352591" y="438150"/>
                  </a:lnTo>
                  <a:lnTo>
                    <a:pt x="2350904" y="434340"/>
                  </a:lnTo>
                  <a:lnTo>
                    <a:pt x="2263929" y="434340"/>
                  </a:lnTo>
                  <a:lnTo>
                    <a:pt x="2263788" y="415290"/>
                  </a:lnTo>
                  <a:close/>
                </a:path>
                <a:path w="5760085" h="603250">
                  <a:moveTo>
                    <a:pt x="3474026" y="435609"/>
                  </a:moveTo>
                  <a:lnTo>
                    <a:pt x="3467672" y="438150"/>
                  </a:lnTo>
                  <a:lnTo>
                    <a:pt x="3477197" y="438150"/>
                  </a:lnTo>
                  <a:lnTo>
                    <a:pt x="3474026" y="435609"/>
                  </a:lnTo>
                  <a:close/>
                </a:path>
                <a:path w="5760085" h="603250">
                  <a:moveTo>
                    <a:pt x="1488707" y="411480"/>
                  </a:moveTo>
                  <a:lnTo>
                    <a:pt x="1485195" y="435609"/>
                  </a:lnTo>
                  <a:lnTo>
                    <a:pt x="1548883" y="435609"/>
                  </a:lnTo>
                  <a:lnTo>
                    <a:pt x="1548057" y="433069"/>
                  </a:lnTo>
                  <a:lnTo>
                    <a:pt x="1523732" y="433069"/>
                  </a:lnTo>
                  <a:lnTo>
                    <a:pt x="1516736" y="417830"/>
                  </a:lnTo>
                  <a:lnTo>
                    <a:pt x="1515178" y="412750"/>
                  </a:lnTo>
                  <a:lnTo>
                    <a:pt x="1492208" y="412750"/>
                  </a:lnTo>
                  <a:lnTo>
                    <a:pt x="1488707" y="411480"/>
                  </a:lnTo>
                  <a:close/>
                </a:path>
                <a:path w="5760085" h="603250">
                  <a:moveTo>
                    <a:pt x="4351381" y="424180"/>
                  </a:moveTo>
                  <a:lnTo>
                    <a:pt x="4347703" y="426719"/>
                  </a:lnTo>
                  <a:lnTo>
                    <a:pt x="4344036" y="435609"/>
                  </a:lnTo>
                  <a:lnTo>
                    <a:pt x="4357128" y="435609"/>
                  </a:lnTo>
                  <a:lnTo>
                    <a:pt x="4355085" y="427990"/>
                  </a:lnTo>
                  <a:lnTo>
                    <a:pt x="4351381" y="424180"/>
                  </a:lnTo>
                  <a:close/>
                </a:path>
                <a:path w="5760085" h="603250">
                  <a:moveTo>
                    <a:pt x="4512033" y="411480"/>
                  </a:moveTo>
                  <a:lnTo>
                    <a:pt x="4508234" y="427990"/>
                  </a:lnTo>
                  <a:lnTo>
                    <a:pt x="4504537" y="435609"/>
                  </a:lnTo>
                  <a:lnTo>
                    <a:pt x="5759996" y="435609"/>
                  </a:lnTo>
                  <a:lnTo>
                    <a:pt x="5759996" y="426719"/>
                  </a:lnTo>
                  <a:lnTo>
                    <a:pt x="4523258" y="426719"/>
                  </a:lnTo>
                  <a:lnTo>
                    <a:pt x="4519509" y="424180"/>
                  </a:lnTo>
                  <a:lnTo>
                    <a:pt x="4515779" y="415290"/>
                  </a:lnTo>
                  <a:lnTo>
                    <a:pt x="4512033" y="411480"/>
                  </a:lnTo>
                  <a:close/>
                </a:path>
                <a:path w="5760085" h="603250">
                  <a:moveTo>
                    <a:pt x="2267773" y="414019"/>
                  </a:moveTo>
                  <a:lnTo>
                    <a:pt x="2264220" y="415290"/>
                  </a:lnTo>
                  <a:lnTo>
                    <a:pt x="2264129" y="417830"/>
                  </a:lnTo>
                  <a:lnTo>
                    <a:pt x="2264048" y="427990"/>
                  </a:lnTo>
                  <a:lnTo>
                    <a:pt x="2263929" y="434340"/>
                  </a:lnTo>
                  <a:lnTo>
                    <a:pt x="2350904" y="434340"/>
                  </a:lnTo>
                  <a:lnTo>
                    <a:pt x="2350143" y="429259"/>
                  </a:lnTo>
                  <a:lnTo>
                    <a:pt x="2281768" y="429259"/>
                  </a:lnTo>
                  <a:lnTo>
                    <a:pt x="2279074" y="420369"/>
                  </a:lnTo>
                  <a:lnTo>
                    <a:pt x="2274816" y="420369"/>
                  </a:lnTo>
                  <a:lnTo>
                    <a:pt x="2271305" y="417830"/>
                  </a:lnTo>
                  <a:lnTo>
                    <a:pt x="2267773" y="414019"/>
                  </a:lnTo>
                  <a:close/>
                </a:path>
                <a:path w="5760085" h="603250">
                  <a:moveTo>
                    <a:pt x="1544752" y="422909"/>
                  </a:moveTo>
                  <a:lnTo>
                    <a:pt x="1537728" y="422909"/>
                  </a:lnTo>
                  <a:lnTo>
                    <a:pt x="1530725" y="430530"/>
                  </a:lnTo>
                  <a:lnTo>
                    <a:pt x="1523732" y="433069"/>
                  </a:lnTo>
                  <a:lnTo>
                    <a:pt x="1548057" y="433069"/>
                  </a:lnTo>
                  <a:lnTo>
                    <a:pt x="1544752" y="422909"/>
                  </a:lnTo>
                  <a:close/>
                </a:path>
                <a:path w="5760085" h="603250">
                  <a:moveTo>
                    <a:pt x="2545139" y="403859"/>
                  </a:moveTo>
                  <a:lnTo>
                    <a:pt x="2541839" y="422909"/>
                  </a:lnTo>
                  <a:lnTo>
                    <a:pt x="2538516" y="433069"/>
                  </a:lnTo>
                  <a:lnTo>
                    <a:pt x="2725575" y="433069"/>
                  </a:lnTo>
                  <a:lnTo>
                    <a:pt x="2722853" y="417830"/>
                  </a:lnTo>
                  <a:lnTo>
                    <a:pt x="2555009" y="417830"/>
                  </a:lnTo>
                  <a:lnTo>
                    <a:pt x="2551699" y="415290"/>
                  </a:lnTo>
                  <a:lnTo>
                    <a:pt x="2548395" y="407669"/>
                  </a:lnTo>
                  <a:lnTo>
                    <a:pt x="2545139" y="403859"/>
                  </a:lnTo>
                  <a:close/>
                </a:path>
                <a:path w="5760085" h="603250">
                  <a:moveTo>
                    <a:pt x="3089852" y="406400"/>
                  </a:moveTo>
                  <a:lnTo>
                    <a:pt x="3085888" y="406400"/>
                  </a:lnTo>
                  <a:lnTo>
                    <a:pt x="3081910" y="408940"/>
                  </a:lnTo>
                  <a:lnTo>
                    <a:pt x="3077922" y="412750"/>
                  </a:lnTo>
                  <a:lnTo>
                    <a:pt x="3073917" y="426719"/>
                  </a:lnTo>
                  <a:lnTo>
                    <a:pt x="3069908" y="433069"/>
                  </a:lnTo>
                  <a:lnTo>
                    <a:pt x="3191747" y="433069"/>
                  </a:lnTo>
                  <a:lnTo>
                    <a:pt x="3188714" y="420369"/>
                  </a:lnTo>
                  <a:lnTo>
                    <a:pt x="3155338" y="420369"/>
                  </a:lnTo>
                  <a:lnTo>
                    <a:pt x="3147795" y="416559"/>
                  </a:lnTo>
                  <a:lnTo>
                    <a:pt x="3101641" y="416559"/>
                  </a:lnTo>
                  <a:lnTo>
                    <a:pt x="3097722" y="415290"/>
                  </a:lnTo>
                  <a:lnTo>
                    <a:pt x="3093797" y="412750"/>
                  </a:lnTo>
                  <a:lnTo>
                    <a:pt x="3089852" y="406400"/>
                  </a:lnTo>
                  <a:close/>
                </a:path>
                <a:path w="5760085" h="603250">
                  <a:moveTo>
                    <a:pt x="3266983" y="416559"/>
                  </a:moveTo>
                  <a:lnTo>
                    <a:pt x="3263534" y="427990"/>
                  </a:lnTo>
                  <a:lnTo>
                    <a:pt x="3260106" y="433069"/>
                  </a:lnTo>
                  <a:lnTo>
                    <a:pt x="3286692" y="433069"/>
                  </a:lnTo>
                  <a:lnTo>
                    <a:pt x="3284271" y="417830"/>
                  </a:lnTo>
                  <a:lnTo>
                    <a:pt x="3270467" y="417830"/>
                  </a:lnTo>
                  <a:lnTo>
                    <a:pt x="3266983" y="416559"/>
                  </a:lnTo>
                  <a:close/>
                </a:path>
                <a:path w="5760085" h="603250">
                  <a:moveTo>
                    <a:pt x="1653224" y="416559"/>
                  </a:moveTo>
                  <a:lnTo>
                    <a:pt x="1649747" y="419100"/>
                  </a:lnTo>
                  <a:lnTo>
                    <a:pt x="1646264" y="431800"/>
                  </a:lnTo>
                  <a:lnTo>
                    <a:pt x="1655115" y="431800"/>
                  </a:lnTo>
                  <a:lnTo>
                    <a:pt x="1653224" y="416559"/>
                  </a:lnTo>
                  <a:close/>
                </a:path>
                <a:path w="5760085" h="603250">
                  <a:moveTo>
                    <a:pt x="4403524" y="426719"/>
                  </a:moveTo>
                  <a:lnTo>
                    <a:pt x="4388575" y="429259"/>
                  </a:lnTo>
                  <a:lnTo>
                    <a:pt x="4384770" y="431800"/>
                  </a:lnTo>
                  <a:lnTo>
                    <a:pt x="4414738" y="431800"/>
                  </a:lnTo>
                  <a:lnTo>
                    <a:pt x="4410993" y="427990"/>
                  </a:lnTo>
                  <a:lnTo>
                    <a:pt x="4403524" y="426719"/>
                  </a:lnTo>
                  <a:close/>
                </a:path>
                <a:path w="5760085" h="603250">
                  <a:moveTo>
                    <a:pt x="3256687" y="415290"/>
                  </a:moveTo>
                  <a:lnTo>
                    <a:pt x="3249621" y="420369"/>
                  </a:lnTo>
                  <a:lnTo>
                    <a:pt x="3242565" y="429259"/>
                  </a:lnTo>
                  <a:lnTo>
                    <a:pt x="3235499" y="430530"/>
                  </a:lnTo>
                  <a:lnTo>
                    <a:pt x="3259618" y="430530"/>
                  </a:lnTo>
                  <a:lnTo>
                    <a:pt x="3256687" y="415290"/>
                  </a:lnTo>
                  <a:close/>
                </a:path>
                <a:path w="5760085" h="603250">
                  <a:moveTo>
                    <a:pt x="3383781" y="403859"/>
                  </a:moveTo>
                  <a:lnTo>
                    <a:pt x="3377304" y="414019"/>
                  </a:lnTo>
                  <a:lnTo>
                    <a:pt x="3371015" y="430530"/>
                  </a:lnTo>
                  <a:lnTo>
                    <a:pt x="3392001" y="430530"/>
                  </a:lnTo>
                  <a:lnTo>
                    <a:pt x="3390723" y="425450"/>
                  </a:lnTo>
                  <a:lnTo>
                    <a:pt x="3383781" y="403859"/>
                  </a:lnTo>
                  <a:close/>
                </a:path>
                <a:path w="5760085" h="603250">
                  <a:moveTo>
                    <a:pt x="2288784" y="408940"/>
                  </a:moveTo>
                  <a:lnTo>
                    <a:pt x="2285274" y="420369"/>
                  </a:lnTo>
                  <a:lnTo>
                    <a:pt x="2281768" y="429259"/>
                  </a:lnTo>
                  <a:lnTo>
                    <a:pt x="2350143" y="429259"/>
                  </a:lnTo>
                  <a:lnTo>
                    <a:pt x="2348242" y="416559"/>
                  </a:lnTo>
                  <a:lnTo>
                    <a:pt x="2330296" y="416559"/>
                  </a:lnTo>
                  <a:lnTo>
                    <a:pt x="2329916" y="415290"/>
                  </a:lnTo>
                  <a:lnTo>
                    <a:pt x="2309587" y="415290"/>
                  </a:lnTo>
                  <a:lnTo>
                    <a:pt x="2308710" y="412750"/>
                  </a:lnTo>
                  <a:lnTo>
                    <a:pt x="2292262" y="412750"/>
                  </a:lnTo>
                  <a:lnTo>
                    <a:pt x="2288784" y="408940"/>
                  </a:lnTo>
                  <a:close/>
                </a:path>
                <a:path w="5760085" h="603250">
                  <a:moveTo>
                    <a:pt x="2886390" y="383540"/>
                  </a:moveTo>
                  <a:lnTo>
                    <a:pt x="2882990" y="393700"/>
                  </a:lnTo>
                  <a:lnTo>
                    <a:pt x="2879611" y="406400"/>
                  </a:lnTo>
                  <a:lnTo>
                    <a:pt x="2876194" y="412750"/>
                  </a:lnTo>
                  <a:lnTo>
                    <a:pt x="2872796" y="422909"/>
                  </a:lnTo>
                  <a:lnTo>
                    <a:pt x="2869415" y="427990"/>
                  </a:lnTo>
                  <a:lnTo>
                    <a:pt x="3064183" y="427990"/>
                  </a:lnTo>
                  <a:lnTo>
                    <a:pt x="3062467" y="424180"/>
                  </a:lnTo>
                  <a:lnTo>
                    <a:pt x="2956326" y="424180"/>
                  </a:lnTo>
                  <a:lnTo>
                    <a:pt x="2951905" y="422909"/>
                  </a:lnTo>
                  <a:lnTo>
                    <a:pt x="2951412" y="421640"/>
                  </a:lnTo>
                  <a:lnTo>
                    <a:pt x="2920524" y="421640"/>
                  </a:lnTo>
                  <a:lnTo>
                    <a:pt x="2915211" y="403859"/>
                  </a:lnTo>
                  <a:lnTo>
                    <a:pt x="2896628" y="403859"/>
                  </a:lnTo>
                  <a:lnTo>
                    <a:pt x="2893188" y="402590"/>
                  </a:lnTo>
                  <a:lnTo>
                    <a:pt x="2889795" y="384809"/>
                  </a:lnTo>
                  <a:lnTo>
                    <a:pt x="2886390" y="383540"/>
                  </a:lnTo>
                  <a:close/>
                </a:path>
                <a:path w="5760085" h="603250">
                  <a:moveTo>
                    <a:pt x="2174328" y="405130"/>
                  </a:moveTo>
                  <a:lnTo>
                    <a:pt x="2170721" y="408940"/>
                  </a:lnTo>
                  <a:lnTo>
                    <a:pt x="2167150" y="420369"/>
                  </a:lnTo>
                  <a:lnTo>
                    <a:pt x="2163611" y="424180"/>
                  </a:lnTo>
                  <a:lnTo>
                    <a:pt x="2160141" y="426719"/>
                  </a:lnTo>
                  <a:lnTo>
                    <a:pt x="2209267" y="426719"/>
                  </a:lnTo>
                  <a:lnTo>
                    <a:pt x="2209103" y="425450"/>
                  </a:lnTo>
                  <a:lnTo>
                    <a:pt x="2177974" y="425450"/>
                  </a:lnTo>
                  <a:lnTo>
                    <a:pt x="2174328" y="405130"/>
                  </a:lnTo>
                  <a:close/>
                </a:path>
                <a:path w="5760085" h="603250">
                  <a:moveTo>
                    <a:pt x="2217679" y="422909"/>
                  </a:moveTo>
                  <a:lnTo>
                    <a:pt x="2213437" y="422909"/>
                  </a:lnTo>
                  <a:lnTo>
                    <a:pt x="2209267" y="426719"/>
                  </a:lnTo>
                  <a:lnTo>
                    <a:pt x="2230831" y="426719"/>
                  </a:lnTo>
                  <a:lnTo>
                    <a:pt x="2228609" y="424180"/>
                  </a:lnTo>
                  <a:lnTo>
                    <a:pt x="2221996" y="424180"/>
                  </a:lnTo>
                  <a:lnTo>
                    <a:pt x="2217679" y="422909"/>
                  </a:lnTo>
                  <a:close/>
                </a:path>
                <a:path w="5760085" h="603250">
                  <a:moveTo>
                    <a:pt x="2244522" y="417830"/>
                  </a:moveTo>
                  <a:lnTo>
                    <a:pt x="2239906" y="424180"/>
                  </a:lnTo>
                  <a:lnTo>
                    <a:pt x="2235340" y="426719"/>
                  </a:lnTo>
                  <a:lnTo>
                    <a:pt x="2249229" y="426719"/>
                  </a:lnTo>
                  <a:lnTo>
                    <a:pt x="2244522" y="417830"/>
                  </a:lnTo>
                  <a:close/>
                </a:path>
                <a:path w="5760085" h="603250">
                  <a:moveTo>
                    <a:pt x="3324854" y="400050"/>
                  </a:moveTo>
                  <a:lnTo>
                    <a:pt x="3318142" y="402590"/>
                  </a:lnTo>
                  <a:lnTo>
                    <a:pt x="3311411" y="424180"/>
                  </a:lnTo>
                  <a:lnTo>
                    <a:pt x="3308711" y="426719"/>
                  </a:lnTo>
                  <a:lnTo>
                    <a:pt x="3339589" y="426719"/>
                  </a:lnTo>
                  <a:lnTo>
                    <a:pt x="3338259" y="421640"/>
                  </a:lnTo>
                  <a:lnTo>
                    <a:pt x="3331557" y="408940"/>
                  </a:lnTo>
                  <a:lnTo>
                    <a:pt x="3324854" y="400050"/>
                  </a:lnTo>
                  <a:close/>
                </a:path>
                <a:path w="5760085" h="603250">
                  <a:moveTo>
                    <a:pt x="4528325" y="414019"/>
                  </a:moveTo>
                  <a:lnTo>
                    <a:pt x="4523258" y="426719"/>
                  </a:lnTo>
                  <a:lnTo>
                    <a:pt x="5759996" y="426719"/>
                  </a:lnTo>
                  <a:lnTo>
                    <a:pt x="5759996" y="420369"/>
                  </a:lnTo>
                  <a:lnTo>
                    <a:pt x="4538219" y="420369"/>
                  </a:lnTo>
                  <a:lnTo>
                    <a:pt x="4533342" y="419100"/>
                  </a:lnTo>
                  <a:lnTo>
                    <a:pt x="4528325" y="414019"/>
                  </a:lnTo>
                  <a:close/>
                </a:path>
                <a:path w="5760085" h="603250">
                  <a:moveTo>
                    <a:pt x="2189306" y="417830"/>
                  </a:moveTo>
                  <a:lnTo>
                    <a:pt x="2185494" y="421640"/>
                  </a:lnTo>
                  <a:lnTo>
                    <a:pt x="2181723" y="425450"/>
                  </a:lnTo>
                  <a:lnTo>
                    <a:pt x="2209103" y="425450"/>
                  </a:lnTo>
                  <a:lnTo>
                    <a:pt x="2208612" y="421640"/>
                  </a:lnTo>
                  <a:lnTo>
                    <a:pt x="2193176" y="421640"/>
                  </a:lnTo>
                  <a:lnTo>
                    <a:pt x="2189306" y="417830"/>
                  </a:lnTo>
                  <a:close/>
                </a:path>
                <a:path w="5760085" h="603250">
                  <a:moveTo>
                    <a:pt x="2515412" y="403859"/>
                  </a:moveTo>
                  <a:lnTo>
                    <a:pt x="2508822" y="406400"/>
                  </a:lnTo>
                  <a:lnTo>
                    <a:pt x="2502172" y="425450"/>
                  </a:lnTo>
                  <a:lnTo>
                    <a:pt x="2537608" y="425450"/>
                  </a:lnTo>
                  <a:lnTo>
                    <a:pt x="2536246" y="414019"/>
                  </a:lnTo>
                  <a:lnTo>
                    <a:pt x="2528576" y="414019"/>
                  </a:lnTo>
                  <a:lnTo>
                    <a:pt x="2521990" y="410209"/>
                  </a:lnTo>
                  <a:lnTo>
                    <a:pt x="2515412" y="403859"/>
                  </a:lnTo>
                  <a:close/>
                </a:path>
                <a:path w="5760085" h="603250">
                  <a:moveTo>
                    <a:pt x="2226387" y="421640"/>
                  </a:moveTo>
                  <a:lnTo>
                    <a:pt x="2221996" y="424180"/>
                  </a:lnTo>
                  <a:lnTo>
                    <a:pt x="2228609" y="424180"/>
                  </a:lnTo>
                  <a:lnTo>
                    <a:pt x="2226387" y="421640"/>
                  </a:lnTo>
                  <a:close/>
                </a:path>
                <a:path w="5760085" h="603250">
                  <a:moveTo>
                    <a:pt x="2969453" y="392430"/>
                  </a:moveTo>
                  <a:lnTo>
                    <a:pt x="2965080" y="396240"/>
                  </a:lnTo>
                  <a:lnTo>
                    <a:pt x="2960714" y="402590"/>
                  </a:lnTo>
                  <a:lnTo>
                    <a:pt x="2956326" y="424180"/>
                  </a:lnTo>
                  <a:lnTo>
                    <a:pt x="3057828" y="424180"/>
                  </a:lnTo>
                  <a:lnTo>
                    <a:pt x="3055116" y="416559"/>
                  </a:lnTo>
                  <a:lnTo>
                    <a:pt x="3024907" y="416559"/>
                  </a:lnTo>
                  <a:lnTo>
                    <a:pt x="3020726" y="414019"/>
                  </a:lnTo>
                  <a:lnTo>
                    <a:pt x="3019678" y="412750"/>
                  </a:lnTo>
                  <a:lnTo>
                    <a:pt x="2999639" y="412750"/>
                  </a:lnTo>
                  <a:lnTo>
                    <a:pt x="2995372" y="406400"/>
                  </a:lnTo>
                  <a:lnTo>
                    <a:pt x="2994837" y="405130"/>
                  </a:lnTo>
                  <a:lnTo>
                    <a:pt x="2978201" y="405130"/>
                  </a:lnTo>
                  <a:lnTo>
                    <a:pt x="2973828" y="394969"/>
                  </a:lnTo>
                  <a:lnTo>
                    <a:pt x="2969453" y="392430"/>
                  </a:lnTo>
                  <a:close/>
                </a:path>
                <a:path w="5760085" h="603250">
                  <a:moveTo>
                    <a:pt x="3061894" y="422909"/>
                  </a:moveTo>
                  <a:lnTo>
                    <a:pt x="3057828" y="424180"/>
                  </a:lnTo>
                  <a:lnTo>
                    <a:pt x="3062467" y="424180"/>
                  </a:lnTo>
                  <a:lnTo>
                    <a:pt x="3061894" y="422909"/>
                  </a:lnTo>
                  <a:close/>
                </a:path>
                <a:path w="5760085" h="603250">
                  <a:moveTo>
                    <a:pt x="2785657" y="407669"/>
                  </a:moveTo>
                  <a:lnTo>
                    <a:pt x="2782314" y="416559"/>
                  </a:lnTo>
                  <a:lnTo>
                    <a:pt x="2778975" y="422909"/>
                  </a:lnTo>
                  <a:lnTo>
                    <a:pt x="2856170" y="422909"/>
                  </a:lnTo>
                  <a:lnTo>
                    <a:pt x="2855480" y="419100"/>
                  </a:lnTo>
                  <a:lnTo>
                    <a:pt x="2805607" y="419100"/>
                  </a:lnTo>
                  <a:lnTo>
                    <a:pt x="2803096" y="415290"/>
                  </a:lnTo>
                  <a:lnTo>
                    <a:pt x="2788944" y="415290"/>
                  </a:lnTo>
                  <a:lnTo>
                    <a:pt x="2785657" y="407669"/>
                  </a:lnTo>
                  <a:close/>
                </a:path>
                <a:path w="5760085" h="603250">
                  <a:moveTo>
                    <a:pt x="2201117" y="387350"/>
                  </a:moveTo>
                  <a:lnTo>
                    <a:pt x="2197116" y="398780"/>
                  </a:lnTo>
                  <a:lnTo>
                    <a:pt x="2193176" y="421640"/>
                  </a:lnTo>
                  <a:lnTo>
                    <a:pt x="2208612" y="421640"/>
                  </a:lnTo>
                  <a:lnTo>
                    <a:pt x="2205171" y="394969"/>
                  </a:lnTo>
                  <a:lnTo>
                    <a:pt x="2201117" y="387350"/>
                  </a:lnTo>
                  <a:close/>
                </a:path>
                <a:path w="5760085" h="603250">
                  <a:moveTo>
                    <a:pt x="2925052" y="405130"/>
                  </a:moveTo>
                  <a:lnTo>
                    <a:pt x="2920524" y="421640"/>
                  </a:lnTo>
                  <a:lnTo>
                    <a:pt x="2951412" y="421640"/>
                  </a:lnTo>
                  <a:lnTo>
                    <a:pt x="2950427" y="419100"/>
                  </a:lnTo>
                  <a:lnTo>
                    <a:pt x="2929562" y="419100"/>
                  </a:lnTo>
                  <a:lnTo>
                    <a:pt x="2925052" y="405130"/>
                  </a:lnTo>
                  <a:close/>
                </a:path>
                <a:path w="5760085" h="603250">
                  <a:moveTo>
                    <a:pt x="1446759" y="389890"/>
                  </a:moveTo>
                  <a:lnTo>
                    <a:pt x="1443304" y="407669"/>
                  </a:lnTo>
                  <a:lnTo>
                    <a:pt x="1439835" y="420369"/>
                  </a:lnTo>
                  <a:lnTo>
                    <a:pt x="1479821" y="420369"/>
                  </a:lnTo>
                  <a:lnTo>
                    <a:pt x="1479015" y="416559"/>
                  </a:lnTo>
                  <a:lnTo>
                    <a:pt x="1467759" y="416559"/>
                  </a:lnTo>
                  <a:lnTo>
                    <a:pt x="1464279" y="410209"/>
                  </a:lnTo>
                  <a:lnTo>
                    <a:pt x="1460805" y="402590"/>
                  </a:lnTo>
                  <a:lnTo>
                    <a:pt x="1456056" y="394969"/>
                  </a:lnTo>
                  <a:lnTo>
                    <a:pt x="1451458" y="394969"/>
                  </a:lnTo>
                  <a:lnTo>
                    <a:pt x="1446759" y="389890"/>
                  </a:lnTo>
                  <a:close/>
                </a:path>
                <a:path w="5760085" h="603250">
                  <a:moveTo>
                    <a:pt x="2278304" y="417830"/>
                  </a:moveTo>
                  <a:lnTo>
                    <a:pt x="2274816" y="420369"/>
                  </a:lnTo>
                  <a:lnTo>
                    <a:pt x="2279074" y="420369"/>
                  </a:lnTo>
                  <a:lnTo>
                    <a:pt x="2278304" y="417830"/>
                  </a:lnTo>
                  <a:close/>
                </a:path>
                <a:path w="5760085" h="603250">
                  <a:moveTo>
                    <a:pt x="3174001" y="410209"/>
                  </a:moveTo>
                  <a:lnTo>
                    <a:pt x="3170276" y="412750"/>
                  </a:lnTo>
                  <a:lnTo>
                    <a:pt x="3162838" y="419100"/>
                  </a:lnTo>
                  <a:lnTo>
                    <a:pt x="3155338" y="420369"/>
                  </a:lnTo>
                  <a:lnTo>
                    <a:pt x="3188714" y="420369"/>
                  </a:lnTo>
                  <a:lnTo>
                    <a:pt x="3186529" y="416559"/>
                  </a:lnTo>
                  <a:lnTo>
                    <a:pt x="3181369" y="416559"/>
                  </a:lnTo>
                  <a:lnTo>
                    <a:pt x="3177688" y="414019"/>
                  </a:lnTo>
                  <a:lnTo>
                    <a:pt x="3174001" y="410209"/>
                  </a:lnTo>
                  <a:close/>
                </a:path>
                <a:path w="5760085" h="603250">
                  <a:moveTo>
                    <a:pt x="4545785" y="405130"/>
                  </a:moveTo>
                  <a:lnTo>
                    <a:pt x="4541997" y="406400"/>
                  </a:lnTo>
                  <a:lnTo>
                    <a:pt x="4538219" y="420369"/>
                  </a:lnTo>
                  <a:lnTo>
                    <a:pt x="5759996" y="420369"/>
                  </a:lnTo>
                  <a:lnTo>
                    <a:pt x="5759996" y="416559"/>
                  </a:lnTo>
                  <a:lnTo>
                    <a:pt x="4617186" y="416559"/>
                  </a:lnTo>
                  <a:lnTo>
                    <a:pt x="4613530" y="414019"/>
                  </a:lnTo>
                  <a:lnTo>
                    <a:pt x="4613106" y="412750"/>
                  </a:lnTo>
                  <a:lnTo>
                    <a:pt x="4553370" y="412750"/>
                  </a:lnTo>
                  <a:lnTo>
                    <a:pt x="4545785" y="405130"/>
                  </a:lnTo>
                  <a:close/>
                </a:path>
                <a:path w="5760085" h="603250">
                  <a:moveTo>
                    <a:pt x="2819021" y="368300"/>
                  </a:moveTo>
                  <a:lnTo>
                    <a:pt x="2815659" y="381000"/>
                  </a:lnTo>
                  <a:lnTo>
                    <a:pt x="2812276" y="407669"/>
                  </a:lnTo>
                  <a:lnTo>
                    <a:pt x="2808943" y="416559"/>
                  </a:lnTo>
                  <a:lnTo>
                    <a:pt x="2805607" y="419100"/>
                  </a:lnTo>
                  <a:lnTo>
                    <a:pt x="2855480" y="419100"/>
                  </a:lnTo>
                  <a:lnTo>
                    <a:pt x="2853009" y="405130"/>
                  </a:lnTo>
                  <a:lnTo>
                    <a:pt x="2835717" y="405130"/>
                  </a:lnTo>
                  <a:lnTo>
                    <a:pt x="2833705" y="401319"/>
                  </a:lnTo>
                  <a:lnTo>
                    <a:pt x="2825662" y="401319"/>
                  </a:lnTo>
                  <a:lnTo>
                    <a:pt x="2822358" y="373380"/>
                  </a:lnTo>
                  <a:lnTo>
                    <a:pt x="2819021" y="368300"/>
                  </a:lnTo>
                  <a:close/>
                </a:path>
                <a:path w="5760085" h="603250">
                  <a:moveTo>
                    <a:pt x="2943048" y="403859"/>
                  </a:moveTo>
                  <a:lnTo>
                    <a:pt x="2938573" y="406400"/>
                  </a:lnTo>
                  <a:lnTo>
                    <a:pt x="2934074" y="415290"/>
                  </a:lnTo>
                  <a:lnTo>
                    <a:pt x="2929562" y="419100"/>
                  </a:lnTo>
                  <a:lnTo>
                    <a:pt x="2950427" y="419100"/>
                  </a:lnTo>
                  <a:lnTo>
                    <a:pt x="2947471" y="411480"/>
                  </a:lnTo>
                  <a:lnTo>
                    <a:pt x="2943048" y="403859"/>
                  </a:lnTo>
                  <a:close/>
                </a:path>
                <a:path w="5760085" h="603250">
                  <a:moveTo>
                    <a:pt x="2472276" y="406400"/>
                  </a:moveTo>
                  <a:lnTo>
                    <a:pt x="2468970" y="412750"/>
                  </a:lnTo>
                  <a:lnTo>
                    <a:pt x="2464486" y="416559"/>
                  </a:lnTo>
                  <a:lnTo>
                    <a:pt x="2460092" y="417830"/>
                  </a:lnTo>
                  <a:lnTo>
                    <a:pt x="2495524" y="417830"/>
                  </a:lnTo>
                  <a:lnTo>
                    <a:pt x="2493712" y="414019"/>
                  </a:lnTo>
                  <a:lnTo>
                    <a:pt x="2478898" y="414019"/>
                  </a:lnTo>
                  <a:lnTo>
                    <a:pt x="2472276" y="406400"/>
                  </a:lnTo>
                  <a:close/>
                </a:path>
                <a:path w="5760085" h="603250">
                  <a:moveTo>
                    <a:pt x="2561603" y="400050"/>
                  </a:moveTo>
                  <a:lnTo>
                    <a:pt x="2558314" y="412750"/>
                  </a:lnTo>
                  <a:lnTo>
                    <a:pt x="2555009" y="417830"/>
                  </a:lnTo>
                  <a:lnTo>
                    <a:pt x="2594501" y="417830"/>
                  </a:lnTo>
                  <a:lnTo>
                    <a:pt x="2591509" y="411480"/>
                  </a:lnTo>
                  <a:lnTo>
                    <a:pt x="2574780" y="411480"/>
                  </a:lnTo>
                  <a:lnTo>
                    <a:pt x="2568212" y="406400"/>
                  </a:lnTo>
                  <a:lnTo>
                    <a:pt x="2561603" y="400050"/>
                  </a:lnTo>
                  <a:close/>
                </a:path>
                <a:path w="5760085" h="603250">
                  <a:moveTo>
                    <a:pt x="2614219" y="401319"/>
                  </a:moveTo>
                  <a:lnTo>
                    <a:pt x="2607629" y="410209"/>
                  </a:lnTo>
                  <a:lnTo>
                    <a:pt x="2601064" y="417830"/>
                  </a:lnTo>
                  <a:lnTo>
                    <a:pt x="2722853" y="417830"/>
                  </a:lnTo>
                  <a:lnTo>
                    <a:pt x="2722627" y="416559"/>
                  </a:lnTo>
                  <a:lnTo>
                    <a:pt x="2706234" y="416559"/>
                  </a:lnTo>
                  <a:lnTo>
                    <a:pt x="2699660" y="412750"/>
                  </a:lnTo>
                  <a:lnTo>
                    <a:pt x="2696022" y="406400"/>
                  </a:lnTo>
                  <a:lnTo>
                    <a:pt x="2627339" y="406400"/>
                  </a:lnTo>
                  <a:lnTo>
                    <a:pt x="2614219" y="401319"/>
                  </a:lnTo>
                  <a:close/>
                </a:path>
                <a:path w="5760085" h="603250">
                  <a:moveTo>
                    <a:pt x="3273911" y="398780"/>
                  </a:moveTo>
                  <a:lnTo>
                    <a:pt x="3270467" y="417830"/>
                  </a:lnTo>
                  <a:lnTo>
                    <a:pt x="3284271" y="417830"/>
                  </a:lnTo>
                  <a:lnTo>
                    <a:pt x="3280805" y="410209"/>
                  </a:lnTo>
                  <a:lnTo>
                    <a:pt x="3277355" y="401319"/>
                  </a:lnTo>
                  <a:lnTo>
                    <a:pt x="3273911" y="398780"/>
                  </a:lnTo>
                  <a:close/>
                </a:path>
                <a:path w="5760085" h="603250">
                  <a:moveTo>
                    <a:pt x="1474712" y="402590"/>
                  </a:moveTo>
                  <a:lnTo>
                    <a:pt x="1471239" y="415290"/>
                  </a:lnTo>
                  <a:lnTo>
                    <a:pt x="1467759" y="416559"/>
                  </a:lnTo>
                  <a:lnTo>
                    <a:pt x="1479015" y="416559"/>
                  </a:lnTo>
                  <a:lnTo>
                    <a:pt x="1478210" y="412750"/>
                  </a:lnTo>
                  <a:lnTo>
                    <a:pt x="1474712" y="402590"/>
                  </a:lnTo>
                  <a:close/>
                </a:path>
                <a:path w="5760085" h="603250">
                  <a:moveTo>
                    <a:pt x="2333715" y="414019"/>
                  </a:moveTo>
                  <a:lnTo>
                    <a:pt x="2330296" y="416559"/>
                  </a:lnTo>
                  <a:lnTo>
                    <a:pt x="2338337" y="416559"/>
                  </a:lnTo>
                  <a:lnTo>
                    <a:pt x="2333715" y="414019"/>
                  </a:lnTo>
                  <a:close/>
                </a:path>
                <a:path w="5760085" h="603250">
                  <a:moveTo>
                    <a:pt x="2347481" y="411480"/>
                  </a:moveTo>
                  <a:lnTo>
                    <a:pt x="2338337" y="416559"/>
                  </a:lnTo>
                  <a:lnTo>
                    <a:pt x="2348242" y="416559"/>
                  </a:lnTo>
                  <a:lnTo>
                    <a:pt x="2347481" y="411480"/>
                  </a:lnTo>
                  <a:close/>
                </a:path>
                <a:path w="5760085" h="603250">
                  <a:moveTo>
                    <a:pt x="2719452" y="398780"/>
                  </a:moveTo>
                  <a:lnTo>
                    <a:pt x="2712832" y="412750"/>
                  </a:lnTo>
                  <a:lnTo>
                    <a:pt x="2706234" y="416559"/>
                  </a:lnTo>
                  <a:lnTo>
                    <a:pt x="2722627" y="416559"/>
                  </a:lnTo>
                  <a:lnTo>
                    <a:pt x="2719452" y="398780"/>
                  </a:lnTo>
                  <a:close/>
                </a:path>
                <a:path w="5760085" h="603250">
                  <a:moveTo>
                    <a:pt x="3033233" y="400050"/>
                  </a:moveTo>
                  <a:lnTo>
                    <a:pt x="3029065" y="410209"/>
                  </a:lnTo>
                  <a:lnTo>
                    <a:pt x="3024907" y="416559"/>
                  </a:lnTo>
                  <a:lnTo>
                    <a:pt x="3055116" y="416559"/>
                  </a:lnTo>
                  <a:lnTo>
                    <a:pt x="3053760" y="412750"/>
                  </a:lnTo>
                  <a:lnTo>
                    <a:pt x="3041506" y="412750"/>
                  </a:lnTo>
                  <a:lnTo>
                    <a:pt x="3033233" y="400050"/>
                  </a:lnTo>
                  <a:close/>
                </a:path>
                <a:path w="5760085" h="603250">
                  <a:moveTo>
                    <a:pt x="3121096" y="403859"/>
                  </a:moveTo>
                  <a:lnTo>
                    <a:pt x="3117233" y="403859"/>
                  </a:lnTo>
                  <a:lnTo>
                    <a:pt x="3113339" y="406400"/>
                  </a:lnTo>
                  <a:lnTo>
                    <a:pt x="3109418" y="410209"/>
                  </a:lnTo>
                  <a:lnTo>
                    <a:pt x="3105543" y="415290"/>
                  </a:lnTo>
                  <a:lnTo>
                    <a:pt x="3101641" y="416559"/>
                  </a:lnTo>
                  <a:lnTo>
                    <a:pt x="3147795" y="416559"/>
                  </a:lnTo>
                  <a:lnTo>
                    <a:pt x="3140228" y="410209"/>
                  </a:lnTo>
                  <a:lnTo>
                    <a:pt x="3139807" y="408940"/>
                  </a:lnTo>
                  <a:lnTo>
                    <a:pt x="3124925" y="408940"/>
                  </a:lnTo>
                  <a:lnTo>
                    <a:pt x="3121096" y="403859"/>
                  </a:lnTo>
                  <a:close/>
                </a:path>
                <a:path w="5760085" h="603250">
                  <a:moveTo>
                    <a:pt x="3185072" y="414019"/>
                  </a:moveTo>
                  <a:lnTo>
                    <a:pt x="3181369" y="416559"/>
                  </a:lnTo>
                  <a:lnTo>
                    <a:pt x="3186529" y="416559"/>
                  </a:lnTo>
                  <a:lnTo>
                    <a:pt x="3185072" y="414019"/>
                  </a:lnTo>
                  <a:close/>
                </a:path>
                <a:path w="5760085" h="603250">
                  <a:moveTo>
                    <a:pt x="4624522" y="398780"/>
                  </a:moveTo>
                  <a:lnTo>
                    <a:pt x="4620853" y="406400"/>
                  </a:lnTo>
                  <a:lnTo>
                    <a:pt x="4617186" y="416559"/>
                  </a:lnTo>
                  <a:lnTo>
                    <a:pt x="5759996" y="416559"/>
                  </a:lnTo>
                  <a:lnTo>
                    <a:pt x="5759996" y="406400"/>
                  </a:lnTo>
                  <a:lnTo>
                    <a:pt x="4628185" y="406400"/>
                  </a:lnTo>
                  <a:lnTo>
                    <a:pt x="4624522" y="398780"/>
                  </a:lnTo>
                  <a:close/>
                </a:path>
                <a:path w="5760085" h="603250">
                  <a:moveTo>
                    <a:pt x="2316540" y="407669"/>
                  </a:moveTo>
                  <a:lnTo>
                    <a:pt x="2313069" y="412750"/>
                  </a:lnTo>
                  <a:lnTo>
                    <a:pt x="2309587" y="415290"/>
                  </a:lnTo>
                  <a:lnTo>
                    <a:pt x="2329916" y="415290"/>
                  </a:lnTo>
                  <a:lnTo>
                    <a:pt x="2329154" y="412750"/>
                  </a:lnTo>
                  <a:lnTo>
                    <a:pt x="2320011" y="412750"/>
                  </a:lnTo>
                  <a:lnTo>
                    <a:pt x="2316540" y="407669"/>
                  </a:lnTo>
                  <a:close/>
                </a:path>
                <a:path w="5760085" h="603250">
                  <a:moveTo>
                    <a:pt x="2795581" y="398780"/>
                  </a:moveTo>
                  <a:lnTo>
                    <a:pt x="2792259" y="407669"/>
                  </a:lnTo>
                  <a:lnTo>
                    <a:pt x="2788944" y="415290"/>
                  </a:lnTo>
                  <a:lnTo>
                    <a:pt x="2803096" y="415290"/>
                  </a:lnTo>
                  <a:lnTo>
                    <a:pt x="2802259" y="414019"/>
                  </a:lnTo>
                  <a:lnTo>
                    <a:pt x="2798890" y="401319"/>
                  </a:lnTo>
                  <a:lnTo>
                    <a:pt x="2795581" y="398780"/>
                  </a:lnTo>
                  <a:close/>
                </a:path>
                <a:path w="5760085" h="603250">
                  <a:moveTo>
                    <a:pt x="2488882" y="403859"/>
                  </a:moveTo>
                  <a:lnTo>
                    <a:pt x="2482254" y="407669"/>
                  </a:lnTo>
                  <a:lnTo>
                    <a:pt x="2478898" y="414019"/>
                  </a:lnTo>
                  <a:lnTo>
                    <a:pt x="2493712" y="414019"/>
                  </a:lnTo>
                  <a:lnTo>
                    <a:pt x="2488882" y="403859"/>
                  </a:lnTo>
                  <a:close/>
                </a:path>
                <a:path w="5760085" h="603250">
                  <a:moveTo>
                    <a:pt x="2535187" y="405130"/>
                  </a:moveTo>
                  <a:lnTo>
                    <a:pt x="2528576" y="414019"/>
                  </a:lnTo>
                  <a:lnTo>
                    <a:pt x="2536246" y="414019"/>
                  </a:lnTo>
                  <a:lnTo>
                    <a:pt x="2535187" y="405130"/>
                  </a:lnTo>
                  <a:close/>
                </a:path>
                <a:path w="5760085" h="603250">
                  <a:moveTo>
                    <a:pt x="1499223" y="386080"/>
                  </a:moveTo>
                  <a:lnTo>
                    <a:pt x="1495708" y="394969"/>
                  </a:lnTo>
                  <a:lnTo>
                    <a:pt x="1492208" y="412750"/>
                  </a:lnTo>
                  <a:lnTo>
                    <a:pt x="1515178" y="412750"/>
                  </a:lnTo>
                  <a:lnTo>
                    <a:pt x="1514399" y="410209"/>
                  </a:lnTo>
                  <a:lnTo>
                    <a:pt x="1502766" y="410209"/>
                  </a:lnTo>
                  <a:lnTo>
                    <a:pt x="1499223" y="386080"/>
                  </a:lnTo>
                  <a:close/>
                </a:path>
                <a:path w="5760085" h="603250">
                  <a:moveTo>
                    <a:pt x="2302672" y="398780"/>
                  </a:moveTo>
                  <a:lnTo>
                    <a:pt x="2299223" y="403859"/>
                  </a:lnTo>
                  <a:lnTo>
                    <a:pt x="2295748" y="411480"/>
                  </a:lnTo>
                  <a:lnTo>
                    <a:pt x="2292262" y="412750"/>
                  </a:lnTo>
                  <a:lnTo>
                    <a:pt x="2308710" y="412750"/>
                  </a:lnTo>
                  <a:lnTo>
                    <a:pt x="2306079" y="405130"/>
                  </a:lnTo>
                  <a:lnTo>
                    <a:pt x="2302672" y="398780"/>
                  </a:lnTo>
                  <a:close/>
                </a:path>
                <a:path w="5760085" h="603250">
                  <a:moveTo>
                    <a:pt x="2323436" y="398780"/>
                  </a:moveTo>
                  <a:lnTo>
                    <a:pt x="2320011" y="412750"/>
                  </a:lnTo>
                  <a:lnTo>
                    <a:pt x="2329154" y="412750"/>
                  </a:lnTo>
                  <a:lnTo>
                    <a:pt x="2326868" y="405130"/>
                  </a:lnTo>
                  <a:lnTo>
                    <a:pt x="2323436" y="398780"/>
                  </a:lnTo>
                  <a:close/>
                </a:path>
                <a:path w="5760085" h="603250">
                  <a:moveTo>
                    <a:pt x="2455609" y="410209"/>
                  </a:moveTo>
                  <a:lnTo>
                    <a:pt x="2448931" y="412750"/>
                  </a:lnTo>
                  <a:lnTo>
                    <a:pt x="2457104" y="412750"/>
                  </a:lnTo>
                  <a:lnTo>
                    <a:pt x="2455609" y="410209"/>
                  </a:lnTo>
                  <a:close/>
                </a:path>
                <a:path w="5760085" h="603250">
                  <a:moveTo>
                    <a:pt x="3008136" y="401319"/>
                  </a:moveTo>
                  <a:lnTo>
                    <a:pt x="3003898" y="407669"/>
                  </a:lnTo>
                  <a:lnTo>
                    <a:pt x="2999639" y="412750"/>
                  </a:lnTo>
                  <a:lnTo>
                    <a:pt x="3019678" y="412750"/>
                  </a:lnTo>
                  <a:lnTo>
                    <a:pt x="3016533" y="408940"/>
                  </a:lnTo>
                  <a:lnTo>
                    <a:pt x="3012339" y="406400"/>
                  </a:lnTo>
                  <a:lnTo>
                    <a:pt x="3008136" y="401319"/>
                  </a:lnTo>
                  <a:close/>
                </a:path>
                <a:path w="5760085" h="603250">
                  <a:moveTo>
                    <a:pt x="3049682" y="402590"/>
                  </a:moveTo>
                  <a:lnTo>
                    <a:pt x="3041506" y="412750"/>
                  </a:lnTo>
                  <a:lnTo>
                    <a:pt x="3053760" y="412750"/>
                  </a:lnTo>
                  <a:lnTo>
                    <a:pt x="3049682" y="402590"/>
                  </a:lnTo>
                  <a:close/>
                </a:path>
                <a:path w="5760085" h="603250">
                  <a:moveTo>
                    <a:pt x="4560831" y="379730"/>
                  </a:moveTo>
                  <a:lnTo>
                    <a:pt x="4557112" y="382269"/>
                  </a:lnTo>
                  <a:lnTo>
                    <a:pt x="4553370" y="412750"/>
                  </a:lnTo>
                  <a:lnTo>
                    <a:pt x="4598391" y="412750"/>
                  </a:lnTo>
                  <a:lnTo>
                    <a:pt x="4598034" y="411480"/>
                  </a:lnTo>
                  <a:lnTo>
                    <a:pt x="4568292" y="411480"/>
                  </a:lnTo>
                  <a:lnTo>
                    <a:pt x="4564550" y="393700"/>
                  </a:lnTo>
                  <a:lnTo>
                    <a:pt x="4560831" y="379730"/>
                  </a:lnTo>
                  <a:close/>
                </a:path>
                <a:path w="5760085" h="603250">
                  <a:moveTo>
                    <a:pt x="4602169" y="381000"/>
                  </a:moveTo>
                  <a:lnTo>
                    <a:pt x="4598391" y="412750"/>
                  </a:lnTo>
                  <a:lnTo>
                    <a:pt x="4613106" y="412750"/>
                  </a:lnTo>
                  <a:lnTo>
                    <a:pt x="4609716" y="402590"/>
                  </a:lnTo>
                  <a:lnTo>
                    <a:pt x="4605937" y="384809"/>
                  </a:lnTo>
                  <a:lnTo>
                    <a:pt x="4602169" y="381000"/>
                  </a:lnTo>
                  <a:close/>
                </a:path>
                <a:path w="5760085" h="603250">
                  <a:moveTo>
                    <a:pt x="2587918" y="403859"/>
                  </a:moveTo>
                  <a:lnTo>
                    <a:pt x="2581338" y="411480"/>
                  </a:lnTo>
                  <a:lnTo>
                    <a:pt x="2591509" y="411480"/>
                  </a:lnTo>
                  <a:lnTo>
                    <a:pt x="2587918" y="403859"/>
                  </a:lnTo>
                  <a:close/>
                </a:path>
                <a:path w="5760085" h="603250">
                  <a:moveTo>
                    <a:pt x="4583375" y="377190"/>
                  </a:moveTo>
                  <a:lnTo>
                    <a:pt x="4575847" y="386080"/>
                  </a:lnTo>
                  <a:lnTo>
                    <a:pt x="4568292" y="411480"/>
                  </a:lnTo>
                  <a:lnTo>
                    <a:pt x="4598034" y="411480"/>
                  </a:lnTo>
                  <a:lnTo>
                    <a:pt x="4590886" y="386080"/>
                  </a:lnTo>
                  <a:lnTo>
                    <a:pt x="4583375" y="377190"/>
                  </a:lnTo>
                  <a:close/>
                </a:path>
                <a:path w="5760085" h="603250">
                  <a:moveTo>
                    <a:pt x="1506237" y="397509"/>
                  </a:moveTo>
                  <a:lnTo>
                    <a:pt x="1502766" y="410209"/>
                  </a:lnTo>
                  <a:lnTo>
                    <a:pt x="1514399" y="410209"/>
                  </a:lnTo>
                  <a:lnTo>
                    <a:pt x="1513230" y="406400"/>
                  </a:lnTo>
                  <a:lnTo>
                    <a:pt x="1509727" y="398780"/>
                  </a:lnTo>
                  <a:lnTo>
                    <a:pt x="1506237" y="397509"/>
                  </a:lnTo>
                  <a:close/>
                </a:path>
                <a:path w="5760085" h="603250">
                  <a:moveTo>
                    <a:pt x="2388358" y="394969"/>
                  </a:moveTo>
                  <a:lnTo>
                    <a:pt x="2381587" y="394969"/>
                  </a:lnTo>
                  <a:lnTo>
                    <a:pt x="2374786" y="410209"/>
                  </a:lnTo>
                  <a:lnTo>
                    <a:pt x="2446696" y="410209"/>
                  </a:lnTo>
                  <a:lnTo>
                    <a:pt x="2445579" y="408940"/>
                  </a:lnTo>
                  <a:lnTo>
                    <a:pt x="2428825" y="408940"/>
                  </a:lnTo>
                  <a:lnTo>
                    <a:pt x="2425460" y="406400"/>
                  </a:lnTo>
                  <a:lnTo>
                    <a:pt x="2401863" y="406400"/>
                  </a:lnTo>
                  <a:lnTo>
                    <a:pt x="2395112" y="402590"/>
                  </a:lnTo>
                  <a:lnTo>
                    <a:pt x="2388358" y="394969"/>
                  </a:lnTo>
                  <a:close/>
                </a:path>
                <a:path w="5760085" h="603250">
                  <a:moveTo>
                    <a:pt x="2435517" y="400050"/>
                  </a:moveTo>
                  <a:lnTo>
                    <a:pt x="2428825" y="408940"/>
                  </a:lnTo>
                  <a:lnTo>
                    <a:pt x="2445579" y="408940"/>
                  </a:lnTo>
                  <a:lnTo>
                    <a:pt x="2442227" y="405130"/>
                  </a:lnTo>
                  <a:lnTo>
                    <a:pt x="2435517" y="400050"/>
                  </a:lnTo>
                  <a:close/>
                </a:path>
                <a:path w="5760085" h="603250">
                  <a:moveTo>
                    <a:pt x="3132610" y="392430"/>
                  </a:moveTo>
                  <a:lnTo>
                    <a:pt x="3128768" y="396240"/>
                  </a:lnTo>
                  <a:lnTo>
                    <a:pt x="3124925" y="408940"/>
                  </a:lnTo>
                  <a:lnTo>
                    <a:pt x="3139807" y="408940"/>
                  </a:lnTo>
                  <a:lnTo>
                    <a:pt x="3136435" y="398780"/>
                  </a:lnTo>
                  <a:lnTo>
                    <a:pt x="3132610" y="392430"/>
                  </a:lnTo>
                  <a:close/>
                </a:path>
                <a:path w="5760085" h="603250">
                  <a:moveTo>
                    <a:pt x="2765687" y="389890"/>
                  </a:moveTo>
                  <a:lnTo>
                    <a:pt x="2759076" y="397509"/>
                  </a:lnTo>
                  <a:lnTo>
                    <a:pt x="2752455" y="407669"/>
                  </a:lnTo>
                  <a:lnTo>
                    <a:pt x="2773033" y="407669"/>
                  </a:lnTo>
                  <a:lnTo>
                    <a:pt x="2772322" y="403859"/>
                  </a:lnTo>
                  <a:lnTo>
                    <a:pt x="2765687" y="389890"/>
                  </a:lnTo>
                  <a:close/>
                </a:path>
                <a:path w="5760085" h="603250">
                  <a:moveTo>
                    <a:pt x="2408613" y="393700"/>
                  </a:moveTo>
                  <a:lnTo>
                    <a:pt x="2401863" y="406400"/>
                  </a:lnTo>
                  <a:lnTo>
                    <a:pt x="2425460" y="406400"/>
                  </a:lnTo>
                  <a:lnTo>
                    <a:pt x="2422096" y="403859"/>
                  </a:lnTo>
                  <a:lnTo>
                    <a:pt x="2415358" y="396240"/>
                  </a:lnTo>
                  <a:lnTo>
                    <a:pt x="2408613" y="393700"/>
                  </a:lnTo>
                  <a:close/>
                </a:path>
                <a:path w="5760085" h="603250">
                  <a:moveTo>
                    <a:pt x="2653688" y="372109"/>
                  </a:moveTo>
                  <a:lnTo>
                    <a:pt x="2647066" y="373380"/>
                  </a:lnTo>
                  <a:lnTo>
                    <a:pt x="2640458" y="402590"/>
                  </a:lnTo>
                  <a:lnTo>
                    <a:pt x="2633911" y="406400"/>
                  </a:lnTo>
                  <a:lnTo>
                    <a:pt x="2696022" y="406400"/>
                  </a:lnTo>
                  <a:lnTo>
                    <a:pt x="2693839" y="402590"/>
                  </a:lnTo>
                  <a:lnTo>
                    <a:pt x="2673334" y="402590"/>
                  </a:lnTo>
                  <a:lnTo>
                    <a:pt x="2666747" y="400050"/>
                  </a:lnTo>
                  <a:lnTo>
                    <a:pt x="2660267" y="386080"/>
                  </a:lnTo>
                  <a:lnTo>
                    <a:pt x="2653688" y="372109"/>
                  </a:lnTo>
                  <a:close/>
                </a:path>
                <a:path w="5760085" h="603250">
                  <a:moveTo>
                    <a:pt x="4638980" y="367030"/>
                  </a:moveTo>
                  <a:lnTo>
                    <a:pt x="4635082" y="391159"/>
                  </a:lnTo>
                  <a:lnTo>
                    <a:pt x="4629976" y="397509"/>
                  </a:lnTo>
                  <a:lnTo>
                    <a:pt x="4632846" y="405130"/>
                  </a:lnTo>
                  <a:lnTo>
                    <a:pt x="4628185" y="406400"/>
                  </a:lnTo>
                  <a:lnTo>
                    <a:pt x="4651350" y="406400"/>
                  </a:lnTo>
                  <a:lnTo>
                    <a:pt x="4651985" y="403859"/>
                  </a:lnTo>
                  <a:lnTo>
                    <a:pt x="4643514" y="398780"/>
                  </a:lnTo>
                  <a:lnTo>
                    <a:pt x="4646346" y="394969"/>
                  </a:lnTo>
                  <a:lnTo>
                    <a:pt x="4641787" y="389890"/>
                  </a:lnTo>
                  <a:lnTo>
                    <a:pt x="4638980" y="367030"/>
                  </a:lnTo>
                  <a:close/>
                </a:path>
                <a:path w="5760085" h="603250">
                  <a:moveTo>
                    <a:pt x="4679072" y="386080"/>
                  </a:moveTo>
                  <a:lnTo>
                    <a:pt x="4672258" y="391159"/>
                  </a:lnTo>
                  <a:lnTo>
                    <a:pt x="4665429" y="400050"/>
                  </a:lnTo>
                  <a:lnTo>
                    <a:pt x="4658577" y="405130"/>
                  </a:lnTo>
                  <a:lnTo>
                    <a:pt x="4653751" y="405130"/>
                  </a:lnTo>
                  <a:lnTo>
                    <a:pt x="4651350" y="406400"/>
                  </a:lnTo>
                  <a:lnTo>
                    <a:pt x="5759996" y="406400"/>
                  </a:lnTo>
                  <a:lnTo>
                    <a:pt x="5759996" y="392430"/>
                  </a:lnTo>
                  <a:lnTo>
                    <a:pt x="4685882" y="392430"/>
                  </a:lnTo>
                  <a:lnTo>
                    <a:pt x="4679072" y="386080"/>
                  </a:lnTo>
                  <a:close/>
                </a:path>
                <a:path w="5760085" h="603250">
                  <a:moveTo>
                    <a:pt x="2845837" y="396240"/>
                  </a:moveTo>
                  <a:lnTo>
                    <a:pt x="2842457" y="396240"/>
                  </a:lnTo>
                  <a:lnTo>
                    <a:pt x="2839086" y="405130"/>
                  </a:lnTo>
                  <a:lnTo>
                    <a:pt x="2853009" y="405130"/>
                  </a:lnTo>
                  <a:lnTo>
                    <a:pt x="2852560" y="402590"/>
                  </a:lnTo>
                  <a:lnTo>
                    <a:pt x="2849210" y="400050"/>
                  </a:lnTo>
                  <a:lnTo>
                    <a:pt x="2845837" y="396240"/>
                  </a:lnTo>
                  <a:close/>
                </a:path>
                <a:path w="5760085" h="603250">
                  <a:moveTo>
                    <a:pt x="2986796" y="387350"/>
                  </a:moveTo>
                  <a:lnTo>
                    <a:pt x="2982495" y="387350"/>
                  </a:lnTo>
                  <a:lnTo>
                    <a:pt x="2978201" y="405130"/>
                  </a:lnTo>
                  <a:lnTo>
                    <a:pt x="2994837" y="405130"/>
                  </a:lnTo>
                  <a:lnTo>
                    <a:pt x="2991092" y="396240"/>
                  </a:lnTo>
                  <a:lnTo>
                    <a:pt x="2986796" y="387350"/>
                  </a:lnTo>
                  <a:close/>
                </a:path>
                <a:path w="5760085" h="603250">
                  <a:moveTo>
                    <a:pt x="1387792" y="356869"/>
                  </a:moveTo>
                  <a:lnTo>
                    <a:pt x="1384363" y="356869"/>
                  </a:lnTo>
                  <a:lnTo>
                    <a:pt x="1380912" y="372109"/>
                  </a:lnTo>
                  <a:lnTo>
                    <a:pt x="1377443" y="386080"/>
                  </a:lnTo>
                  <a:lnTo>
                    <a:pt x="1374690" y="403859"/>
                  </a:lnTo>
                  <a:lnTo>
                    <a:pt x="1406279" y="403859"/>
                  </a:lnTo>
                  <a:lnTo>
                    <a:pt x="1405979" y="401319"/>
                  </a:lnTo>
                  <a:lnTo>
                    <a:pt x="1398171" y="401319"/>
                  </a:lnTo>
                  <a:lnTo>
                    <a:pt x="1394700" y="396240"/>
                  </a:lnTo>
                  <a:lnTo>
                    <a:pt x="1391197" y="386080"/>
                  </a:lnTo>
                  <a:lnTo>
                    <a:pt x="1387792" y="356869"/>
                  </a:lnTo>
                  <a:close/>
                </a:path>
                <a:path w="5760085" h="603250">
                  <a:moveTo>
                    <a:pt x="2903448" y="392430"/>
                  </a:moveTo>
                  <a:lnTo>
                    <a:pt x="2900044" y="396240"/>
                  </a:lnTo>
                  <a:lnTo>
                    <a:pt x="2896628" y="403859"/>
                  </a:lnTo>
                  <a:lnTo>
                    <a:pt x="2915211" y="403859"/>
                  </a:lnTo>
                  <a:lnTo>
                    <a:pt x="2914832" y="402590"/>
                  </a:lnTo>
                  <a:lnTo>
                    <a:pt x="2906853" y="402590"/>
                  </a:lnTo>
                  <a:lnTo>
                    <a:pt x="2903448" y="392430"/>
                  </a:lnTo>
                  <a:close/>
                </a:path>
                <a:path w="5760085" h="603250">
                  <a:moveTo>
                    <a:pt x="2686496" y="391159"/>
                  </a:moveTo>
                  <a:lnTo>
                    <a:pt x="2679910" y="396240"/>
                  </a:lnTo>
                  <a:lnTo>
                    <a:pt x="2673334" y="402590"/>
                  </a:lnTo>
                  <a:lnTo>
                    <a:pt x="2693839" y="402590"/>
                  </a:lnTo>
                  <a:lnTo>
                    <a:pt x="2693112" y="401319"/>
                  </a:lnTo>
                  <a:lnTo>
                    <a:pt x="2686496" y="391159"/>
                  </a:lnTo>
                  <a:close/>
                </a:path>
                <a:path w="5760085" h="603250">
                  <a:moveTo>
                    <a:pt x="2911416" y="391159"/>
                  </a:moveTo>
                  <a:lnTo>
                    <a:pt x="2906853" y="402590"/>
                  </a:lnTo>
                  <a:lnTo>
                    <a:pt x="2914832" y="402590"/>
                  </a:lnTo>
                  <a:lnTo>
                    <a:pt x="2911416" y="391159"/>
                  </a:lnTo>
                  <a:close/>
                </a:path>
                <a:path w="5760085" h="603250">
                  <a:moveTo>
                    <a:pt x="1405078" y="393700"/>
                  </a:moveTo>
                  <a:lnTo>
                    <a:pt x="1401625" y="401319"/>
                  </a:lnTo>
                  <a:lnTo>
                    <a:pt x="1405979" y="401319"/>
                  </a:lnTo>
                  <a:lnTo>
                    <a:pt x="1405078" y="393700"/>
                  </a:lnTo>
                  <a:close/>
                </a:path>
                <a:path w="5760085" h="603250">
                  <a:moveTo>
                    <a:pt x="2829017" y="393700"/>
                  </a:moveTo>
                  <a:lnTo>
                    <a:pt x="2825662" y="401319"/>
                  </a:lnTo>
                  <a:lnTo>
                    <a:pt x="2833705" y="401319"/>
                  </a:lnTo>
                  <a:lnTo>
                    <a:pt x="2832364" y="398780"/>
                  </a:lnTo>
                  <a:lnTo>
                    <a:pt x="2829017" y="393700"/>
                  </a:lnTo>
                  <a:close/>
                </a:path>
                <a:path w="5760085" h="603250">
                  <a:moveTo>
                    <a:pt x="1366454" y="361950"/>
                  </a:moveTo>
                  <a:lnTo>
                    <a:pt x="1363701" y="382269"/>
                  </a:lnTo>
                  <a:lnTo>
                    <a:pt x="1360245" y="393700"/>
                  </a:lnTo>
                  <a:lnTo>
                    <a:pt x="1356818" y="400050"/>
                  </a:lnTo>
                  <a:lnTo>
                    <a:pt x="1373866" y="400050"/>
                  </a:lnTo>
                  <a:lnTo>
                    <a:pt x="1371944" y="391159"/>
                  </a:lnTo>
                  <a:lnTo>
                    <a:pt x="1369200" y="370840"/>
                  </a:lnTo>
                  <a:lnTo>
                    <a:pt x="1366454" y="361950"/>
                  </a:lnTo>
                  <a:close/>
                </a:path>
                <a:path w="5760085" h="603250">
                  <a:moveTo>
                    <a:pt x="1216026" y="351790"/>
                  </a:moveTo>
                  <a:lnTo>
                    <a:pt x="1212756" y="381000"/>
                  </a:lnTo>
                  <a:lnTo>
                    <a:pt x="1209498" y="396240"/>
                  </a:lnTo>
                  <a:lnTo>
                    <a:pt x="1206249" y="397509"/>
                  </a:lnTo>
                  <a:lnTo>
                    <a:pt x="1355109" y="397509"/>
                  </a:lnTo>
                  <a:lnTo>
                    <a:pt x="1353400" y="394969"/>
                  </a:lnTo>
                  <a:lnTo>
                    <a:pt x="1349973" y="375919"/>
                  </a:lnTo>
                  <a:lnTo>
                    <a:pt x="1349289" y="374650"/>
                  </a:lnTo>
                  <a:lnTo>
                    <a:pt x="1275501" y="374650"/>
                  </a:lnTo>
                  <a:lnTo>
                    <a:pt x="1270156" y="364490"/>
                  </a:lnTo>
                  <a:lnTo>
                    <a:pt x="1255481" y="364490"/>
                  </a:lnTo>
                  <a:lnTo>
                    <a:pt x="1248864" y="363219"/>
                  </a:lnTo>
                  <a:lnTo>
                    <a:pt x="1242277" y="356869"/>
                  </a:lnTo>
                  <a:lnTo>
                    <a:pt x="1238983" y="355600"/>
                  </a:lnTo>
                  <a:lnTo>
                    <a:pt x="1238385" y="353059"/>
                  </a:lnTo>
                  <a:lnTo>
                    <a:pt x="1219286" y="353059"/>
                  </a:lnTo>
                  <a:lnTo>
                    <a:pt x="1216026" y="351790"/>
                  </a:lnTo>
                  <a:close/>
                </a:path>
                <a:path w="5760085" h="603250">
                  <a:moveTo>
                    <a:pt x="4695129" y="377190"/>
                  </a:moveTo>
                  <a:lnTo>
                    <a:pt x="4692574" y="379730"/>
                  </a:lnTo>
                  <a:lnTo>
                    <a:pt x="4690009" y="391159"/>
                  </a:lnTo>
                  <a:lnTo>
                    <a:pt x="4685882" y="392430"/>
                  </a:lnTo>
                  <a:lnTo>
                    <a:pt x="4834952" y="392430"/>
                  </a:lnTo>
                  <a:lnTo>
                    <a:pt x="4831190" y="389890"/>
                  </a:lnTo>
                  <a:lnTo>
                    <a:pt x="4829667" y="387350"/>
                  </a:lnTo>
                  <a:lnTo>
                    <a:pt x="4700220" y="387350"/>
                  </a:lnTo>
                  <a:lnTo>
                    <a:pt x="4697676" y="381000"/>
                  </a:lnTo>
                  <a:lnTo>
                    <a:pt x="4695129" y="377190"/>
                  </a:lnTo>
                  <a:close/>
                </a:path>
                <a:path w="5760085" h="603250">
                  <a:moveTo>
                    <a:pt x="4849816" y="345440"/>
                  </a:moveTo>
                  <a:lnTo>
                    <a:pt x="4846152" y="346709"/>
                  </a:lnTo>
                  <a:lnTo>
                    <a:pt x="4842446" y="363219"/>
                  </a:lnTo>
                  <a:lnTo>
                    <a:pt x="4838586" y="383540"/>
                  </a:lnTo>
                  <a:lnTo>
                    <a:pt x="4834952" y="392430"/>
                  </a:lnTo>
                  <a:lnTo>
                    <a:pt x="5759996" y="392430"/>
                  </a:lnTo>
                  <a:lnTo>
                    <a:pt x="5759996" y="386080"/>
                  </a:lnTo>
                  <a:lnTo>
                    <a:pt x="4901467" y="386080"/>
                  </a:lnTo>
                  <a:lnTo>
                    <a:pt x="4900022" y="384809"/>
                  </a:lnTo>
                  <a:lnTo>
                    <a:pt x="4899446" y="382269"/>
                  </a:lnTo>
                  <a:lnTo>
                    <a:pt x="4875880" y="382269"/>
                  </a:lnTo>
                  <a:lnTo>
                    <a:pt x="4872136" y="379730"/>
                  </a:lnTo>
                  <a:lnTo>
                    <a:pt x="4870277" y="374650"/>
                  </a:lnTo>
                  <a:lnTo>
                    <a:pt x="4853547" y="374650"/>
                  </a:lnTo>
                  <a:lnTo>
                    <a:pt x="4849816" y="345440"/>
                  </a:lnTo>
                  <a:close/>
                </a:path>
                <a:path w="5760085" h="603250">
                  <a:moveTo>
                    <a:pt x="4788052" y="335280"/>
                  </a:moveTo>
                  <a:lnTo>
                    <a:pt x="4739653" y="335280"/>
                  </a:lnTo>
                  <a:lnTo>
                    <a:pt x="4735335" y="346709"/>
                  </a:lnTo>
                  <a:lnTo>
                    <a:pt x="4727626" y="350519"/>
                  </a:lnTo>
                  <a:lnTo>
                    <a:pt x="4716069" y="358140"/>
                  </a:lnTo>
                  <a:lnTo>
                    <a:pt x="4705541" y="361950"/>
                  </a:lnTo>
                  <a:lnTo>
                    <a:pt x="4713402" y="368300"/>
                  </a:lnTo>
                  <a:lnTo>
                    <a:pt x="4696257" y="377190"/>
                  </a:lnTo>
                  <a:lnTo>
                    <a:pt x="4713783" y="377190"/>
                  </a:lnTo>
                  <a:lnTo>
                    <a:pt x="4709021" y="383540"/>
                  </a:lnTo>
                  <a:lnTo>
                    <a:pt x="4700220" y="387350"/>
                  </a:lnTo>
                  <a:lnTo>
                    <a:pt x="4819907" y="387350"/>
                  </a:lnTo>
                  <a:lnTo>
                    <a:pt x="4819285" y="386080"/>
                  </a:lnTo>
                  <a:lnTo>
                    <a:pt x="4808729" y="386080"/>
                  </a:lnTo>
                  <a:lnTo>
                    <a:pt x="4797794" y="377190"/>
                  </a:lnTo>
                  <a:lnTo>
                    <a:pt x="4790479" y="370840"/>
                  </a:lnTo>
                  <a:lnTo>
                    <a:pt x="4805281" y="370840"/>
                  </a:lnTo>
                  <a:lnTo>
                    <a:pt x="4802709" y="359409"/>
                  </a:lnTo>
                  <a:lnTo>
                    <a:pt x="4820324" y="359409"/>
                  </a:lnTo>
                  <a:lnTo>
                    <a:pt x="4820044" y="356869"/>
                  </a:lnTo>
                  <a:lnTo>
                    <a:pt x="4831030" y="355600"/>
                  </a:lnTo>
                  <a:lnTo>
                    <a:pt x="4820425" y="349250"/>
                  </a:lnTo>
                  <a:lnTo>
                    <a:pt x="4802404" y="344170"/>
                  </a:lnTo>
                  <a:lnTo>
                    <a:pt x="4788052" y="335280"/>
                  </a:lnTo>
                  <a:close/>
                </a:path>
                <a:path w="5760085" h="603250">
                  <a:moveTo>
                    <a:pt x="4823613" y="375919"/>
                  </a:moveTo>
                  <a:lnTo>
                    <a:pt x="4819907" y="387350"/>
                  </a:lnTo>
                  <a:lnTo>
                    <a:pt x="4829667" y="387350"/>
                  </a:lnTo>
                  <a:lnTo>
                    <a:pt x="4827383" y="383540"/>
                  </a:lnTo>
                  <a:lnTo>
                    <a:pt x="4823613" y="375919"/>
                  </a:lnTo>
                  <a:close/>
                </a:path>
                <a:path w="5760085" h="603250">
                  <a:moveTo>
                    <a:pt x="4812442" y="373380"/>
                  </a:moveTo>
                  <a:lnTo>
                    <a:pt x="4808729" y="386080"/>
                  </a:lnTo>
                  <a:lnTo>
                    <a:pt x="4819285" y="386080"/>
                  </a:lnTo>
                  <a:lnTo>
                    <a:pt x="4816176" y="379730"/>
                  </a:lnTo>
                  <a:lnTo>
                    <a:pt x="4812442" y="373380"/>
                  </a:lnTo>
                  <a:close/>
                </a:path>
                <a:path w="5760085" h="603250">
                  <a:moveTo>
                    <a:pt x="5073634" y="377190"/>
                  </a:moveTo>
                  <a:lnTo>
                    <a:pt x="4904372" y="377190"/>
                  </a:lnTo>
                  <a:lnTo>
                    <a:pt x="4902917" y="382269"/>
                  </a:lnTo>
                  <a:lnTo>
                    <a:pt x="4901467" y="386080"/>
                  </a:lnTo>
                  <a:lnTo>
                    <a:pt x="5759996" y="386080"/>
                  </a:lnTo>
                  <a:lnTo>
                    <a:pt x="5759996" y="383540"/>
                  </a:lnTo>
                  <a:lnTo>
                    <a:pt x="5078464" y="383540"/>
                  </a:lnTo>
                  <a:lnTo>
                    <a:pt x="5074844" y="379730"/>
                  </a:lnTo>
                  <a:lnTo>
                    <a:pt x="5073634" y="377190"/>
                  </a:lnTo>
                  <a:close/>
                </a:path>
                <a:path w="5760085" h="603250">
                  <a:moveTo>
                    <a:pt x="5132776" y="367030"/>
                  </a:moveTo>
                  <a:lnTo>
                    <a:pt x="5095279" y="367030"/>
                  </a:lnTo>
                  <a:lnTo>
                    <a:pt x="5094339" y="370840"/>
                  </a:lnTo>
                  <a:lnTo>
                    <a:pt x="5092459" y="375919"/>
                  </a:lnTo>
                  <a:lnTo>
                    <a:pt x="5087506" y="381000"/>
                  </a:lnTo>
                  <a:lnTo>
                    <a:pt x="5078464" y="383540"/>
                  </a:lnTo>
                  <a:lnTo>
                    <a:pt x="5759996" y="383540"/>
                  </a:lnTo>
                  <a:lnTo>
                    <a:pt x="5759996" y="377190"/>
                  </a:lnTo>
                  <a:lnTo>
                    <a:pt x="5137976" y="377190"/>
                  </a:lnTo>
                  <a:lnTo>
                    <a:pt x="5131931" y="374650"/>
                  </a:lnTo>
                  <a:lnTo>
                    <a:pt x="5130788" y="368300"/>
                  </a:lnTo>
                  <a:lnTo>
                    <a:pt x="5132776" y="367030"/>
                  </a:lnTo>
                  <a:close/>
                </a:path>
                <a:path w="5760085" h="603250">
                  <a:moveTo>
                    <a:pt x="4888481" y="347980"/>
                  </a:moveTo>
                  <a:lnTo>
                    <a:pt x="4885907" y="350519"/>
                  </a:lnTo>
                  <a:lnTo>
                    <a:pt x="4883341" y="367030"/>
                  </a:lnTo>
                  <a:lnTo>
                    <a:pt x="4879624" y="377190"/>
                  </a:lnTo>
                  <a:lnTo>
                    <a:pt x="4875880" y="382269"/>
                  </a:lnTo>
                  <a:lnTo>
                    <a:pt x="4899446" y="382269"/>
                  </a:lnTo>
                  <a:lnTo>
                    <a:pt x="4898581" y="378459"/>
                  </a:lnTo>
                  <a:lnTo>
                    <a:pt x="4904372" y="377190"/>
                  </a:lnTo>
                  <a:lnTo>
                    <a:pt x="5073634" y="377190"/>
                  </a:lnTo>
                  <a:lnTo>
                    <a:pt x="5072423" y="374650"/>
                  </a:lnTo>
                  <a:lnTo>
                    <a:pt x="5053475" y="374650"/>
                  </a:lnTo>
                  <a:lnTo>
                    <a:pt x="5046376" y="373380"/>
                  </a:lnTo>
                  <a:lnTo>
                    <a:pt x="5018001" y="373380"/>
                  </a:lnTo>
                  <a:lnTo>
                    <a:pt x="5010900" y="368300"/>
                  </a:lnTo>
                  <a:lnTo>
                    <a:pt x="5004702" y="363219"/>
                  </a:lnTo>
                  <a:lnTo>
                    <a:pt x="4893679" y="363219"/>
                  </a:lnTo>
                  <a:lnTo>
                    <a:pt x="4891071" y="354330"/>
                  </a:lnTo>
                  <a:lnTo>
                    <a:pt x="4888481" y="347980"/>
                  </a:lnTo>
                  <a:close/>
                </a:path>
                <a:path w="5760085" h="603250">
                  <a:moveTo>
                    <a:pt x="1118693" y="370840"/>
                  </a:moveTo>
                  <a:lnTo>
                    <a:pt x="1114849" y="381000"/>
                  </a:lnTo>
                  <a:lnTo>
                    <a:pt x="1126338" y="381000"/>
                  </a:lnTo>
                  <a:lnTo>
                    <a:pt x="1122514" y="377190"/>
                  </a:lnTo>
                  <a:lnTo>
                    <a:pt x="1118693" y="370840"/>
                  </a:lnTo>
                  <a:close/>
                </a:path>
                <a:path w="5760085" h="603250">
                  <a:moveTo>
                    <a:pt x="1133984" y="334009"/>
                  </a:moveTo>
                  <a:lnTo>
                    <a:pt x="1130162" y="370840"/>
                  </a:lnTo>
                  <a:lnTo>
                    <a:pt x="1126338" y="381000"/>
                  </a:lnTo>
                  <a:lnTo>
                    <a:pt x="1197370" y="381000"/>
                  </a:lnTo>
                  <a:lnTo>
                    <a:pt x="1196566" y="378459"/>
                  </a:lnTo>
                  <a:lnTo>
                    <a:pt x="1195083" y="370840"/>
                  </a:lnTo>
                  <a:lnTo>
                    <a:pt x="1170541" y="370840"/>
                  </a:lnTo>
                  <a:lnTo>
                    <a:pt x="1167311" y="369569"/>
                  </a:lnTo>
                  <a:lnTo>
                    <a:pt x="1165932" y="355600"/>
                  </a:lnTo>
                  <a:lnTo>
                    <a:pt x="1151189" y="355600"/>
                  </a:lnTo>
                  <a:lnTo>
                    <a:pt x="1150423" y="347980"/>
                  </a:lnTo>
                  <a:lnTo>
                    <a:pt x="1141643" y="347980"/>
                  </a:lnTo>
                  <a:lnTo>
                    <a:pt x="1137818" y="342900"/>
                  </a:lnTo>
                  <a:lnTo>
                    <a:pt x="1133984" y="334009"/>
                  </a:lnTo>
                  <a:close/>
                </a:path>
                <a:path w="5760085" h="603250">
                  <a:moveTo>
                    <a:pt x="5152999" y="365759"/>
                  </a:moveTo>
                  <a:lnTo>
                    <a:pt x="5134763" y="365759"/>
                  </a:lnTo>
                  <a:lnTo>
                    <a:pt x="5143005" y="367030"/>
                  </a:lnTo>
                  <a:lnTo>
                    <a:pt x="5139945" y="374650"/>
                  </a:lnTo>
                  <a:lnTo>
                    <a:pt x="5138408" y="377190"/>
                  </a:lnTo>
                  <a:lnTo>
                    <a:pt x="5759996" y="377190"/>
                  </a:lnTo>
                  <a:lnTo>
                    <a:pt x="5759996" y="374650"/>
                  </a:lnTo>
                  <a:lnTo>
                    <a:pt x="5159455" y="374650"/>
                  </a:lnTo>
                  <a:lnTo>
                    <a:pt x="5155960" y="373380"/>
                  </a:lnTo>
                  <a:lnTo>
                    <a:pt x="5152999" y="365759"/>
                  </a:lnTo>
                  <a:close/>
                </a:path>
                <a:path w="5760085" h="603250">
                  <a:moveTo>
                    <a:pt x="1288926" y="364490"/>
                  </a:moveTo>
                  <a:lnTo>
                    <a:pt x="1282199" y="372109"/>
                  </a:lnTo>
                  <a:lnTo>
                    <a:pt x="1275501" y="374650"/>
                  </a:lnTo>
                  <a:lnTo>
                    <a:pt x="1322680" y="374650"/>
                  </a:lnTo>
                  <a:lnTo>
                    <a:pt x="1320538" y="367030"/>
                  </a:lnTo>
                  <a:lnTo>
                    <a:pt x="1295693" y="367030"/>
                  </a:lnTo>
                  <a:lnTo>
                    <a:pt x="1288926" y="364490"/>
                  </a:lnTo>
                  <a:close/>
                </a:path>
                <a:path w="5760085" h="603250">
                  <a:moveTo>
                    <a:pt x="1332892" y="334009"/>
                  </a:moveTo>
                  <a:lnTo>
                    <a:pt x="1329487" y="345440"/>
                  </a:lnTo>
                  <a:lnTo>
                    <a:pt x="1326083" y="367030"/>
                  </a:lnTo>
                  <a:lnTo>
                    <a:pt x="1322680" y="374650"/>
                  </a:lnTo>
                  <a:lnTo>
                    <a:pt x="1349289" y="374650"/>
                  </a:lnTo>
                  <a:lnTo>
                    <a:pt x="1346553" y="369569"/>
                  </a:lnTo>
                  <a:lnTo>
                    <a:pt x="1343134" y="369569"/>
                  </a:lnTo>
                  <a:lnTo>
                    <a:pt x="1339714" y="368300"/>
                  </a:lnTo>
                  <a:lnTo>
                    <a:pt x="1336295" y="356869"/>
                  </a:lnTo>
                  <a:lnTo>
                    <a:pt x="1332892" y="334009"/>
                  </a:lnTo>
                  <a:close/>
                </a:path>
                <a:path w="5760085" h="603250">
                  <a:moveTo>
                    <a:pt x="4805281" y="370840"/>
                  </a:moveTo>
                  <a:lnTo>
                    <a:pt x="4797908" y="370840"/>
                  </a:lnTo>
                  <a:lnTo>
                    <a:pt x="4806138" y="374650"/>
                  </a:lnTo>
                  <a:lnTo>
                    <a:pt x="4805281" y="370840"/>
                  </a:lnTo>
                  <a:close/>
                </a:path>
                <a:path w="5760085" h="603250">
                  <a:moveTo>
                    <a:pt x="4860973" y="360680"/>
                  </a:moveTo>
                  <a:lnTo>
                    <a:pt x="4857257" y="360680"/>
                  </a:lnTo>
                  <a:lnTo>
                    <a:pt x="4853547" y="374650"/>
                  </a:lnTo>
                  <a:lnTo>
                    <a:pt x="4870277" y="374650"/>
                  </a:lnTo>
                  <a:lnTo>
                    <a:pt x="4868419" y="369569"/>
                  </a:lnTo>
                  <a:lnTo>
                    <a:pt x="4864695" y="365759"/>
                  </a:lnTo>
                  <a:lnTo>
                    <a:pt x="4860973" y="360680"/>
                  </a:lnTo>
                  <a:close/>
                </a:path>
                <a:path w="5760085" h="603250">
                  <a:moveTo>
                    <a:pt x="5067631" y="364490"/>
                  </a:moveTo>
                  <a:lnTo>
                    <a:pt x="5060562" y="372109"/>
                  </a:lnTo>
                  <a:lnTo>
                    <a:pt x="5053475" y="374650"/>
                  </a:lnTo>
                  <a:lnTo>
                    <a:pt x="5072423" y="374650"/>
                  </a:lnTo>
                  <a:lnTo>
                    <a:pt x="5067631" y="364490"/>
                  </a:lnTo>
                  <a:close/>
                </a:path>
                <a:path w="5760085" h="603250">
                  <a:moveTo>
                    <a:pt x="5165992" y="326390"/>
                  </a:moveTo>
                  <a:lnTo>
                    <a:pt x="5098441" y="326390"/>
                  </a:lnTo>
                  <a:lnTo>
                    <a:pt x="5098822" y="331470"/>
                  </a:lnTo>
                  <a:lnTo>
                    <a:pt x="5086795" y="347980"/>
                  </a:lnTo>
                  <a:lnTo>
                    <a:pt x="5066513" y="363219"/>
                  </a:lnTo>
                  <a:lnTo>
                    <a:pt x="5081144" y="363219"/>
                  </a:lnTo>
                  <a:lnTo>
                    <a:pt x="5077715" y="374650"/>
                  </a:lnTo>
                  <a:lnTo>
                    <a:pt x="5090262" y="367030"/>
                  </a:lnTo>
                  <a:lnTo>
                    <a:pt x="5132776" y="367030"/>
                  </a:lnTo>
                  <a:lnTo>
                    <a:pt x="5134763" y="365759"/>
                  </a:lnTo>
                  <a:lnTo>
                    <a:pt x="5152999" y="365759"/>
                  </a:lnTo>
                  <a:lnTo>
                    <a:pt x="5152505" y="364490"/>
                  </a:lnTo>
                  <a:lnTo>
                    <a:pt x="5144212" y="364490"/>
                  </a:lnTo>
                  <a:lnTo>
                    <a:pt x="5137392" y="356869"/>
                  </a:lnTo>
                  <a:lnTo>
                    <a:pt x="5134687" y="353059"/>
                  </a:lnTo>
                  <a:lnTo>
                    <a:pt x="5136770" y="347980"/>
                  </a:lnTo>
                  <a:lnTo>
                    <a:pt x="5158747" y="347980"/>
                  </a:lnTo>
                  <a:lnTo>
                    <a:pt x="5151032" y="340359"/>
                  </a:lnTo>
                  <a:lnTo>
                    <a:pt x="5148936" y="334009"/>
                  </a:lnTo>
                  <a:lnTo>
                    <a:pt x="5171936" y="334009"/>
                  </a:lnTo>
                  <a:lnTo>
                    <a:pt x="5165992" y="326390"/>
                  </a:lnTo>
                  <a:close/>
                </a:path>
                <a:path w="5760085" h="603250">
                  <a:moveTo>
                    <a:pt x="5170009" y="353059"/>
                  </a:moveTo>
                  <a:lnTo>
                    <a:pt x="5166500" y="363219"/>
                  </a:lnTo>
                  <a:lnTo>
                    <a:pt x="5162974" y="372109"/>
                  </a:lnTo>
                  <a:lnTo>
                    <a:pt x="5159455" y="374650"/>
                  </a:lnTo>
                  <a:lnTo>
                    <a:pt x="5176987" y="374650"/>
                  </a:lnTo>
                  <a:lnTo>
                    <a:pt x="5173498" y="365759"/>
                  </a:lnTo>
                  <a:lnTo>
                    <a:pt x="5170009" y="353059"/>
                  </a:lnTo>
                  <a:close/>
                </a:path>
                <a:path w="5760085" h="603250">
                  <a:moveTo>
                    <a:pt x="5202272" y="340359"/>
                  </a:moveTo>
                  <a:lnTo>
                    <a:pt x="5193043" y="340359"/>
                  </a:lnTo>
                  <a:lnTo>
                    <a:pt x="5192104" y="344170"/>
                  </a:lnTo>
                  <a:lnTo>
                    <a:pt x="5188217" y="344170"/>
                  </a:lnTo>
                  <a:lnTo>
                    <a:pt x="5184344" y="347980"/>
                  </a:lnTo>
                  <a:lnTo>
                    <a:pt x="5180496" y="356869"/>
                  </a:lnTo>
                  <a:lnTo>
                    <a:pt x="5176987" y="374650"/>
                  </a:lnTo>
                  <a:lnTo>
                    <a:pt x="5759996" y="374650"/>
                  </a:lnTo>
                  <a:lnTo>
                    <a:pt x="5759996" y="363219"/>
                  </a:lnTo>
                  <a:lnTo>
                    <a:pt x="5212881" y="363219"/>
                  </a:lnTo>
                  <a:lnTo>
                    <a:pt x="5209845" y="358140"/>
                  </a:lnTo>
                  <a:lnTo>
                    <a:pt x="5208334" y="356869"/>
                  </a:lnTo>
                  <a:lnTo>
                    <a:pt x="5205248" y="353059"/>
                  </a:lnTo>
                  <a:lnTo>
                    <a:pt x="5202124" y="349250"/>
                  </a:lnTo>
                  <a:lnTo>
                    <a:pt x="5199025" y="346709"/>
                  </a:lnTo>
                  <a:lnTo>
                    <a:pt x="5202272" y="340359"/>
                  </a:lnTo>
                  <a:close/>
                </a:path>
                <a:path w="5760085" h="603250">
                  <a:moveTo>
                    <a:pt x="5039272" y="367030"/>
                  </a:moveTo>
                  <a:lnTo>
                    <a:pt x="5032170" y="370840"/>
                  </a:lnTo>
                  <a:lnTo>
                    <a:pt x="5025086" y="373380"/>
                  </a:lnTo>
                  <a:lnTo>
                    <a:pt x="5046376" y="373380"/>
                  </a:lnTo>
                  <a:lnTo>
                    <a:pt x="5039272" y="367030"/>
                  </a:lnTo>
                  <a:close/>
                </a:path>
                <a:path w="5760085" h="603250">
                  <a:moveTo>
                    <a:pt x="1183703" y="335280"/>
                  </a:moveTo>
                  <a:lnTo>
                    <a:pt x="1180494" y="335280"/>
                  </a:lnTo>
                  <a:lnTo>
                    <a:pt x="1177291" y="340359"/>
                  </a:lnTo>
                  <a:lnTo>
                    <a:pt x="1173961" y="358140"/>
                  </a:lnTo>
                  <a:lnTo>
                    <a:pt x="1170541" y="370840"/>
                  </a:lnTo>
                  <a:lnTo>
                    <a:pt x="1195083" y="370840"/>
                  </a:lnTo>
                  <a:lnTo>
                    <a:pt x="1193353" y="361950"/>
                  </a:lnTo>
                  <a:lnTo>
                    <a:pt x="1190143" y="344170"/>
                  </a:lnTo>
                  <a:lnTo>
                    <a:pt x="1186919" y="339090"/>
                  </a:lnTo>
                  <a:lnTo>
                    <a:pt x="1183703" y="335280"/>
                  </a:lnTo>
                  <a:close/>
                </a:path>
                <a:path w="5760085" h="603250">
                  <a:moveTo>
                    <a:pt x="4820324" y="359409"/>
                  </a:moveTo>
                  <a:lnTo>
                    <a:pt x="4802709" y="359409"/>
                  </a:lnTo>
                  <a:lnTo>
                    <a:pt x="4821441" y="369569"/>
                  </a:lnTo>
                  <a:lnTo>
                    <a:pt x="4820324" y="359409"/>
                  </a:lnTo>
                  <a:close/>
                </a:path>
                <a:path w="5760085" h="603250">
                  <a:moveTo>
                    <a:pt x="1309129" y="332740"/>
                  </a:moveTo>
                  <a:lnTo>
                    <a:pt x="1302392" y="332740"/>
                  </a:lnTo>
                  <a:lnTo>
                    <a:pt x="1295693" y="367030"/>
                  </a:lnTo>
                  <a:lnTo>
                    <a:pt x="1320538" y="367030"/>
                  </a:lnTo>
                  <a:lnTo>
                    <a:pt x="1315895" y="350519"/>
                  </a:lnTo>
                  <a:lnTo>
                    <a:pt x="1309129" y="332740"/>
                  </a:lnTo>
                  <a:close/>
                </a:path>
                <a:path w="5760085" h="603250">
                  <a:moveTo>
                    <a:pt x="1268820" y="361950"/>
                  </a:moveTo>
                  <a:lnTo>
                    <a:pt x="1255481" y="364490"/>
                  </a:lnTo>
                  <a:lnTo>
                    <a:pt x="1270156" y="364490"/>
                  </a:lnTo>
                  <a:lnTo>
                    <a:pt x="1268820" y="361950"/>
                  </a:lnTo>
                  <a:close/>
                </a:path>
                <a:path w="5760085" h="603250">
                  <a:moveTo>
                    <a:pt x="5149724" y="353059"/>
                  </a:moveTo>
                  <a:lnTo>
                    <a:pt x="5146980" y="356869"/>
                  </a:lnTo>
                  <a:lnTo>
                    <a:pt x="5144212" y="364490"/>
                  </a:lnTo>
                  <a:lnTo>
                    <a:pt x="5152505" y="364490"/>
                  </a:lnTo>
                  <a:lnTo>
                    <a:pt x="5149724" y="353059"/>
                  </a:lnTo>
                  <a:close/>
                </a:path>
                <a:path w="5760085" h="603250">
                  <a:moveTo>
                    <a:pt x="5001694" y="358905"/>
                  </a:moveTo>
                  <a:lnTo>
                    <a:pt x="5001388" y="359409"/>
                  </a:lnTo>
                  <a:lnTo>
                    <a:pt x="4909198" y="359409"/>
                  </a:lnTo>
                  <a:lnTo>
                    <a:pt x="4893679" y="363219"/>
                  </a:lnTo>
                  <a:lnTo>
                    <a:pt x="5004702" y="363219"/>
                  </a:lnTo>
                  <a:lnTo>
                    <a:pt x="5001694" y="358905"/>
                  </a:lnTo>
                  <a:close/>
                </a:path>
                <a:path w="5760085" h="603250">
                  <a:moveTo>
                    <a:pt x="5361750" y="335280"/>
                  </a:moveTo>
                  <a:lnTo>
                    <a:pt x="5225505" y="335280"/>
                  </a:lnTo>
                  <a:lnTo>
                    <a:pt x="5228438" y="344170"/>
                  </a:lnTo>
                  <a:lnTo>
                    <a:pt x="5218989" y="358140"/>
                  </a:lnTo>
                  <a:lnTo>
                    <a:pt x="5212881" y="363219"/>
                  </a:lnTo>
                  <a:lnTo>
                    <a:pt x="5759996" y="363219"/>
                  </a:lnTo>
                  <a:lnTo>
                    <a:pt x="5759996" y="355600"/>
                  </a:lnTo>
                  <a:lnTo>
                    <a:pt x="5395382" y="355600"/>
                  </a:lnTo>
                  <a:lnTo>
                    <a:pt x="5393108" y="354330"/>
                  </a:lnTo>
                  <a:lnTo>
                    <a:pt x="5378467" y="354330"/>
                  </a:lnTo>
                  <a:lnTo>
                    <a:pt x="5375173" y="350519"/>
                  </a:lnTo>
                  <a:lnTo>
                    <a:pt x="5374516" y="349250"/>
                  </a:lnTo>
                  <a:lnTo>
                    <a:pt x="5370691" y="349250"/>
                  </a:lnTo>
                  <a:lnTo>
                    <a:pt x="5363338" y="342900"/>
                  </a:lnTo>
                  <a:lnTo>
                    <a:pt x="5361750" y="335280"/>
                  </a:lnTo>
                  <a:close/>
                </a:path>
                <a:path w="5760085" h="603250">
                  <a:moveTo>
                    <a:pt x="1103326" y="332740"/>
                  </a:moveTo>
                  <a:lnTo>
                    <a:pt x="1099519" y="358140"/>
                  </a:lnTo>
                  <a:lnTo>
                    <a:pt x="1095709" y="359409"/>
                  </a:lnTo>
                  <a:lnTo>
                    <a:pt x="1107718" y="359409"/>
                  </a:lnTo>
                  <a:lnTo>
                    <a:pt x="1107170" y="356869"/>
                  </a:lnTo>
                  <a:lnTo>
                    <a:pt x="1103326" y="332740"/>
                  </a:lnTo>
                  <a:close/>
                </a:path>
                <a:path w="5760085" h="603250">
                  <a:moveTo>
                    <a:pt x="4995800" y="354330"/>
                  </a:moveTo>
                  <a:lnTo>
                    <a:pt x="4930166" y="354330"/>
                  </a:lnTo>
                  <a:lnTo>
                    <a:pt x="4910621" y="359409"/>
                  </a:lnTo>
                  <a:lnTo>
                    <a:pt x="5001388" y="359409"/>
                  </a:lnTo>
                  <a:lnTo>
                    <a:pt x="4995800" y="354330"/>
                  </a:lnTo>
                  <a:close/>
                </a:path>
                <a:path w="5760085" h="603250">
                  <a:moveTo>
                    <a:pt x="5015408" y="347980"/>
                  </a:moveTo>
                  <a:lnTo>
                    <a:pt x="4988815" y="347980"/>
                  </a:lnTo>
                  <a:lnTo>
                    <a:pt x="5001388" y="359409"/>
                  </a:lnTo>
                  <a:lnTo>
                    <a:pt x="5001694" y="358905"/>
                  </a:lnTo>
                  <a:lnTo>
                    <a:pt x="4998505" y="354330"/>
                  </a:lnTo>
                  <a:lnTo>
                    <a:pt x="5004474" y="354330"/>
                  </a:lnTo>
                  <a:lnTo>
                    <a:pt x="5007560" y="349250"/>
                  </a:lnTo>
                  <a:lnTo>
                    <a:pt x="5016717" y="349250"/>
                  </a:lnTo>
                  <a:lnTo>
                    <a:pt x="5015408" y="347980"/>
                  </a:lnTo>
                  <a:close/>
                </a:path>
                <a:path w="5760085" h="603250">
                  <a:moveTo>
                    <a:pt x="5004474" y="354330"/>
                  </a:moveTo>
                  <a:lnTo>
                    <a:pt x="4998505" y="354330"/>
                  </a:lnTo>
                  <a:lnTo>
                    <a:pt x="5001694" y="358905"/>
                  </a:lnTo>
                  <a:lnTo>
                    <a:pt x="5004474" y="354330"/>
                  </a:lnTo>
                  <a:close/>
                </a:path>
                <a:path w="5760085" h="603250">
                  <a:moveTo>
                    <a:pt x="4892358" y="320040"/>
                  </a:moveTo>
                  <a:lnTo>
                    <a:pt x="4901540" y="327659"/>
                  </a:lnTo>
                  <a:lnTo>
                    <a:pt x="4904664" y="334009"/>
                  </a:lnTo>
                  <a:lnTo>
                    <a:pt x="4887862" y="335280"/>
                  </a:lnTo>
                  <a:lnTo>
                    <a:pt x="4899635" y="345440"/>
                  </a:lnTo>
                  <a:lnTo>
                    <a:pt x="4898822" y="356869"/>
                  </a:lnTo>
                  <a:lnTo>
                    <a:pt x="4914228" y="346709"/>
                  </a:lnTo>
                  <a:lnTo>
                    <a:pt x="5014100" y="346709"/>
                  </a:lnTo>
                  <a:lnTo>
                    <a:pt x="5003636" y="336550"/>
                  </a:lnTo>
                  <a:lnTo>
                    <a:pt x="5016844" y="332740"/>
                  </a:lnTo>
                  <a:lnTo>
                    <a:pt x="5004598" y="323850"/>
                  </a:lnTo>
                  <a:lnTo>
                    <a:pt x="4933976" y="323850"/>
                  </a:lnTo>
                  <a:lnTo>
                    <a:pt x="4926947" y="321309"/>
                  </a:lnTo>
                  <a:lnTo>
                    <a:pt x="4903915" y="321309"/>
                  </a:lnTo>
                  <a:lnTo>
                    <a:pt x="4892358" y="320040"/>
                  </a:lnTo>
                  <a:close/>
                </a:path>
                <a:path w="5760085" h="603250">
                  <a:moveTo>
                    <a:pt x="1156933" y="279400"/>
                  </a:moveTo>
                  <a:lnTo>
                    <a:pt x="1155018" y="327659"/>
                  </a:lnTo>
                  <a:lnTo>
                    <a:pt x="1153104" y="353059"/>
                  </a:lnTo>
                  <a:lnTo>
                    <a:pt x="1151189" y="355600"/>
                  </a:lnTo>
                  <a:lnTo>
                    <a:pt x="1165932" y="355600"/>
                  </a:lnTo>
                  <a:lnTo>
                    <a:pt x="1164553" y="341630"/>
                  </a:lnTo>
                  <a:lnTo>
                    <a:pt x="1162240" y="307340"/>
                  </a:lnTo>
                  <a:lnTo>
                    <a:pt x="1160381" y="289559"/>
                  </a:lnTo>
                  <a:lnTo>
                    <a:pt x="1158702" y="283209"/>
                  </a:lnTo>
                  <a:lnTo>
                    <a:pt x="1156933" y="279400"/>
                  </a:lnTo>
                  <a:close/>
                </a:path>
                <a:path w="5760085" h="603250">
                  <a:moveTo>
                    <a:pt x="5759996" y="347980"/>
                  </a:moveTo>
                  <a:lnTo>
                    <a:pt x="5397653" y="347980"/>
                  </a:lnTo>
                  <a:lnTo>
                    <a:pt x="5395382" y="355600"/>
                  </a:lnTo>
                  <a:lnTo>
                    <a:pt x="5759996" y="355600"/>
                  </a:lnTo>
                  <a:lnTo>
                    <a:pt x="5759996" y="347980"/>
                  </a:lnTo>
                  <a:close/>
                </a:path>
                <a:path w="5760085" h="603250">
                  <a:moveTo>
                    <a:pt x="5014100" y="346709"/>
                  </a:moveTo>
                  <a:lnTo>
                    <a:pt x="4914228" y="346709"/>
                  </a:lnTo>
                  <a:lnTo>
                    <a:pt x="4914050" y="353059"/>
                  </a:lnTo>
                  <a:lnTo>
                    <a:pt x="4930268" y="354330"/>
                  </a:lnTo>
                  <a:lnTo>
                    <a:pt x="4992294" y="354330"/>
                  </a:lnTo>
                  <a:lnTo>
                    <a:pt x="4988815" y="347980"/>
                  </a:lnTo>
                  <a:lnTo>
                    <a:pt x="5015408" y="347980"/>
                  </a:lnTo>
                  <a:lnTo>
                    <a:pt x="5014100" y="346709"/>
                  </a:lnTo>
                  <a:close/>
                </a:path>
                <a:path w="5760085" h="603250">
                  <a:moveTo>
                    <a:pt x="5203570" y="337820"/>
                  </a:moveTo>
                  <a:lnTo>
                    <a:pt x="5179658" y="337820"/>
                  </a:lnTo>
                  <a:lnTo>
                    <a:pt x="5176267" y="354330"/>
                  </a:lnTo>
                  <a:lnTo>
                    <a:pt x="5186846" y="342900"/>
                  </a:lnTo>
                  <a:lnTo>
                    <a:pt x="5193043" y="340359"/>
                  </a:lnTo>
                  <a:lnTo>
                    <a:pt x="5202272" y="340359"/>
                  </a:lnTo>
                  <a:lnTo>
                    <a:pt x="5203570" y="337820"/>
                  </a:lnTo>
                  <a:close/>
                </a:path>
                <a:path w="5760085" h="603250">
                  <a:moveTo>
                    <a:pt x="5309632" y="281940"/>
                  </a:moveTo>
                  <a:lnTo>
                    <a:pt x="5248707" y="281940"/>
                  </a:lnTo>
                  <a:lnTo>
                    <a:pt x="5241545" y="292100"/>
                  </a:lnTo>
                  <a:lnTo>
                    <a:pt x="5231702" y="298450"/>
                  </a:lnTo>
                  <a:lnTo>
                    <a:pt x="5225149" y="303530"/>
                  </a:lnTo>
                  <a:lnTo>
                    <a:pt x="5172927" y="335280"/>
                  </a:lnTo>
                  <a:lnTo>
                    <a:pt x="5361750" y="335280"/>
                  </a:lnTo>
                  <a:lnTo>
                    <a:pt x="5366500" y="337820"/>
                  </a:lnTo>
                  <a:lnTo>
                    <a:pt x="5366182" y="339090"/>
                  </a:lnTo>
                  <a:lnTo>
                    <a:pt x="5367008" y="339090"/>
                  </a:lnTo>
                  <a:lnTo>
                    <a:pt x="5378057" y="344170"/>
                  </a:lnTo>
                  <a:lnTo>
                    <a:pt x="5385067" y="345440"/>
                  </a:lnTo>
                  <a:lnTo>
                    <a:pt x="5381765" y="353059"/>
                  </a:lnTo>
                  <a:lnTo>
                    <a:pt x="5378467" y="354330"/>
                  </a:lnTo>
                  <a:lnTo>
                    <a:pt x="5393108" y="354330"/>
                  </a:lnTo>
                  <a:lnTo>
                    <a:pt x="5390836" y="350519"/>
                  </a:lnTo>
                  <a:lnTo>
                    <a:pt x="5388573" y="345440"/>
                  </a:lnTo>
                  <a:lnTo>
                    <a:pt x="5390655" y="345440"/>
                  </a:lnTo>
                  <a:lnTo>
                    <a:pt x="5388890" y="341630"/>
                  </a:lnTo>
                  <a:lnTo>
                    <a:pt x="5398148" y="331470"/>
                  </a:lnTo>
                  <a:lnTo>
                    <a:pt x="5759996" y="331470"/>
                  </a:lnTo>
                  <a:lnTo>
                    <a:pt x="5759996" y="317500"/>
                  </a:lnTo>
                  <a:lnTo>
                    <a:pt x="5359058" y="317500"/>
                  </a:lnTo>
                  <a:lnTo>
                    <a:pt x="5351374" y="316230"/>
                  </a:lnTo>
                  <a:lnTo>
                    <a:pt x="5328857" y="306070"/>
                  </a:lnTo>
                  <a:lnTo>
                    <a:pt x="5312550" y="289559"/>
                  </a:lnTo>
                  <a:lnTo>
                    <a:pt x="5309632" y="281940"/>
                  </a:lnTo>
                  <a:close/>
                </a:path>
                <a:path w="5760085" h="603250">
                  <a:moveTo>
                    <a:pt x="1229119" y="318770"/>
                  </a:moveTo>
                  <a:lnTo>
                    <a:pt x="1225830" y="321309"/>
                  </a:lnTo>
                  <a:lnTo>
                    <a:pt x="1222553" y="337820"/>
                  </a:lnTo>
                  <a:lnTo>
                    <a:pt x="1219286" y="353059"/>
                  </a:lnTo>
                  <a:lnTo>
                    <a:pt x="1238385" y="353059"/>
                  </a:lnTo>
                  <a:lnTo>
                    <a:pt x="1235693" y="341630"/>
                  </a:lnTo>
                  <a:lnTo>
                    <a:pt x="1232406" y="325120"/>
                  </a:lnTo>
                  <a:lnTo>
                    <a:pt x="1229119" y="318770"/>
                  </a:lnTo>
                  <a:close/>
                </a:path>
                <a:path w="5760085" h="603250">
                  <a:moveTo>
                    <a:pt x="5016717" y="349250"/>
                  </a:moveTo>
                  <a:lnTo>
                    <a:pt x="5007560" y="349250"/>
                  </a:lnTo>
                  <a:lnTo>
                    <a:pt x="5020641" y="353059"/>
                  </a:lnTo>
                  <a:lnTo>
                    <a:pt x="5016717" y="349250"/>
                  </a:lnTo>
                  <a:close/>
                </a:path>
                <a:path w="5760085" h="603250">
                  <a:moveTo>
                    <a:pt x="5223684" y="336550"/>
                  </a:moveTo>
                  <a:lnTo>
                    <a:pt x="5204219" y="336550"/>
                  </a:lnTo>
                  <a:lnTo>
                    <a:pt x="5207801" y="353059"/>
                  </a:lnTo>
                  <a:lnTo>
                    <a:pt x="5215154" y="344170"/>
                  </a:lnTo>
                  <a:lnTo>
                    <a:pt x="5220044" y="339090"/>
                  </a:lnTo>
                  <a:lnTo>
                    <a:pt x="5223684" y="336550"/>
                  </a:lnTo>
                  <a:close/>
                </a:path>
                <a:path w="5760085" h="603250">
                  <a:moveTo>
                    <a:pt x="5158747" y="347980"/>
                  </a:moveTo>
                  <a:lnTo>
                    <a:pt x="5136770" y="347980"/>
                  </a:lnTo>
                  <a:lnTo>
                    <a:pt x="5161319" y="350519"/>
                  </a:lnTo>
                  <a:lnTo>
                    <a:pt x="5158747" y="347980"/>
                  </a:lnTo>
                  <a:close/>
                </a:path>
                <a:path w="5760085" h="603250">
                  <a:moveTo>
                    <a:pt x="5759996" y="331470"/>
                  </a:moveTo>
                  <a:lnTo>
                    <a:pt x="5398148" y="331470"/>
                  </a:lnTo>
                  <a:lnTo>
                    <a:pt x="5394846" y="350519"/>
                  </a:lnTo>
                  <a:lnTo>
                    <a:pt x="5397653" y="347980"/>
                  </a:lnTo>
                  <a:lnTo>
                    <a:pt x="5759996" y="347980"/>
                  </a:lnTo>
                  <a:lnTo>
                    <a:pt x="5759996" y="331470"/>
                  </a:lnTo>
                  <a:close/>
                </a:path>
                <a:path w="5760085" h="603250">
                  <a:moveTo>
                    <a:pt x="5371885" y="344170"/>
                  </a:moveTo>
                  <a:lnTo>
                    <a:pt x="5371491" y="345440"/>
                  </a:lnTo>
                  <a:lnTo>
                    <a:pt x="5370691" y="349250"/>
                  </a:lnTo>
                  <a:lnTo>
                    <a:pt x="5374516" y="349250"/>
                  </a:lnTo>
                  <a:lnTo>
                    <a:pt x="5371885" y="344170"/>
                  </a:lnTo>
                  <a:close/>
                </a:path>
                <a:path w="5760085" h="603250">
                  <a:moveTo>
                    <a:pt x="1149274" y="336550"/>
                  </a:moveTo>
                  <a:lnTo>
                    <a:pt x="1145462" y="346709"/>
                  </a:lnTo>
                  <a:lnTo>
                    <a:pt x="1141643" y="347980"/>
                  </a:lnTo>
                  <a:lnTo>
                    <a:pt x="1150423" y="347980"/>
                  </a:lnTo>
                  <a:lnTo>
                    <a:pt x="1149274" y="336550"/>
                  </a:lnTo>
                  <a:close/>
                </a:path>
                <a:path w="5760085" h="603250">
                  <a:moveTo>
                    <a:pt x="4730154" y="336550"/>
                  </a:moveTo>
                  <a:lnTo>
                    <a:pt x="4721048" y="336550"/>
                  </a:lnTo>
                  <a:lnTo>
                    <a:pt x="4719473" y="347980"/>
                  </a:lnTo>
                  <a:lnTo>
                    <a:pt x="4723740" y="342900"/>
                  </a:lnTo>
                  <a:lnTo>
                    <a:pt x="4725887" y="341630"/>
                  </a:lnTo>
                  <a:lnTo>
                    <a:pt x="4730154" y="336550"/>
                  </a:lnTo>
                  <a:close/>
                </a:path>
                <a:path w="5760085" h="603250">
                  <a:moveTo>
                    <a:pt x="1088035" y="326390"/>
                  </a:moveTo>
                  <a:lnTo>
                    <a:pt x="1084196" y="345440"/>
                  </a:lnTo>
                  <a:lnTo>
                    <a:pt x="1091645" y="345440"/>
                  </a:lnTo>
                  <a:lnTo>
                    <a:pt x="1088035" y="326390"/>
                  </a:lnTo>
                  <a:close/>
                </a:path>
                <a:path w="5760085" h="603250">
                  <a:moveTo>
                    <a:pt x="4786001" y="334009"/>
                  </a:moveTo>
                  <a:lnTo>
                    <a:pt x="4711091" y="334009"/>
                  </a:lnTo>
                  <a:lnTo>
                    <a:pt x="4706062" y="344170"/>
                  </a:lnTo>
                  <a:lnTo>
                    <a:pt x="4721048" y="336550"/>
                  </a:lnTo>
                  <a:lnTo>
                    <a:pt x="4730154" y="336550"/>
                  </a:lnTo>
                  <a:lnTo>
                    <a:pt x="4739653" y="335280"/>
                  </a:lnTo>
                  <a:lnTo>
                    <a:pt x="4788052" y="335280"/>
                  </a:lnTo>
                  <a:lnTo>
                    <a:pt x="4786001" y="334009"/>
                  </a:lnTo>
                  <a:close/>
                </a:path>
                <a:path w="5760085" h="603250">
                  <a:moveTo>
                    <a:pt x="5164011" y="323850"/>
                  </a:moveTo>
                  <a:lnTo>
                    <a:pt x="5071593" y="323850"/>
                  </a:lnTo>
                  <a:lnTo>
                    <a:pt x="5064303" y="341630"/>
                  </a:lnTo>
                  <a:lnTo>
                    <a:pt x="5094695" y="326390"/>
                  </a:lnTo>
                  <a:lnTo>
                    <a:pt x="5165992" y="326390"/>
                  </a:lnTo>
                  <a:lnTo>
                    <a:pt x="5164011" y="323850"/>
                  </a:lnTo>
                  <a:close/>
                </a:path>
                <a:path w="5760085" h="603250">
                  <a:moveTo>
                    <a:pt x="5171936" y="334009"/>
                  </a:moveTo>
                  <a:lnTo>
                    <a:pt x="5154042" y="334009"/>
                  </a:lnTo>
                  <a:lnTo>
                    <a:pt x="5168012" y="339090"/>
                  </a:lnTo>
                  <a:lnTo>
                    <a:pt x="5168151" y="339090"/>
                  </a:lnTo>
                  <a:lnTo>
                    <a:pt x="5177892" y="341630"/>
                  </a:lnTo>
                  <a:lnTo>
                    <a:pt x="5175149" y="337820"/>
                  </a:lnTo>
                  <a:lnTo>
                    <a:pt x="5203570" y="337820"/>
                  </a:lnTo>
                  <a:lnTo>
                    <a:pt x="5204219" y="336550"/>
                  </a:lnTo>
                  <a:lnTo>
                    <a:pt x="5223684" y="336550"/>
                  </a:lnTo>
                  <a:lnTo>
                    <a:pt x="5225505" y="335280"/>
                  </a:lnTo>
                  <a:lnTo>
                    <a:pt x="5172927" y="335280"/>
                  </a:lnTo>
                  <a:lnTo>
                    <a:pt x="5171936" y="334009"/>
                  </a:lnTo>
                  <a:close/>
                </a:path>
                <a:path w="5760085" h="603250">
                  <a:moveTo>
                    <a:pt x="4803824" y="325120"/>
                  </a:moveTo>
                  <a:lnTo>
                    <a:pt x="4787850" y="325120"/>
                  </a:lnTo>
                  <a:lnTo>
                    <a:pt x="4801845" y="337820"/>
                  </a:lnTo>
                  <a:lnTo>
                    <a:pt x="4803824" y="325120"/>
                  </a:lnTo>
                  <a:close/>
                </a:path>
                <a:path w="5760085" h="603250">
                  <a:moveTo>
                    <a:pt x="4812310" y="322580"/>
                  </a:moveTo>
                  <a:lnTo>
                    <a:pt x="4804220" y="322580"/>
                  </a:lnTo>
                  <a:lnTo>
                    <a:pt x="4816463" y="337820"/>
                  </a:lnTo>
                  <a:lnTo>
                    <a:pt x="4812310" y="322580"/>
                  </a:lnTo>
                  <a:close/>
                </a:path>
                <a:path w="5760085" h="603250">
                  <a:moveTo>
                    <a:pt x="4800324" y="303530"/>
                  </a:moveTo>
                  <a:lnTo>
                    <a:pt x="4743590" y="303530"/>
                  </a:lnTo>
                  <a:lnTo>
                    <a:pt x="4747451" y="308609"/>
                  </a:lnTo>
                  <a:lnTo>
                    <a:pt x="4731157" y="318770"/>
                  </a:lnTo>
                  <a:lnTo>
                    <a:pt x="4695254" y="335280"/>
                  </a:lnTo>
                  <a:lnTo>
                    <a:pt x="4711091" y="334009"/>
                  </a:lnTo>
                  <a:lnTo>
                    <a:pt x="4786001" y="334009"/>
                  </a:lnTo>
                  <a:lnTo>
                    <a:pt x="4783951" y="332740"/>
                  </a:lnTo>
                  <a:lnTo>
                    <a:pt x="4785500" y="330200"/>
                  </a:lnTo>
                  <a:lnTo>
                    <a:pt x="4786300" y="328930"/>
                  </a:lnTo>
                  <a:lnTo>
                    <a:pt x="4787850" y="325120"/>
                  </a:lnTo>
                  <a:lnTo>
                    <a:pt x="4803824" y="325120"/>
                  </a:lnTo>
                  <a:lnTo>
                    <a:pt x="4804220" y="322580"/>
                  </a:lnTo>
                  <a:lnTo>
                    <a:pt x="4827422" y="322580"/>
                  </a:lnTo>
                  <a:lnTo>
                    <a:pt x="4824312" y="317500"/>
                  </a:lnTo>
                  <a:lnTo>
                    <a:pt x="4835970" y="317500"/>
                  </a:lnTo>
                  <a:lnTo>
                    <a:pt x="4813605" y="308609"/>
                  </a:lnTo>
                  <a:lnTo>
                    <a:pt x="4800324" y="303530"/>
                  </a:lnTo>
                  <a:close/>
                </a:path>
                <a:path w="5760085" h="603250">
                  <a:moveTo>
                    <a:pt x="1049635" y="288290"/>
                  </a:moveTo>
                  <a:lnTo>
                    <a:pt x="1045788" y="288290"/>
                  </a:lnTo>
                  <a:lnTo>
                    <a:pt x="1041934" y="323850"/>
                  </a:lnTo>
                  <a:lnTo>
                    <a:pt x="1034224" y="323850"/>
                  </a:lnTo>
                  <a:lnTo>
                    <a:pt x="1026542" y="330200"/>
                  </a:lnTo>
                  <a:lnTo>
                    <a:pt x="1018860" y="331470"/>
                  </a:lnTo>
                  <a:lnTo>
                    <a:pt x="1079706" y="331470"/>
                  </a:lnTo>
                  <a:lnTo>
                    <a:pt x="1077141" y="321309"/>
                  </a:lnTo>
                  <a:lnTo>
                    <a:pt x="1072668" y="321309"/>
                  </a:lnTo>
                  <a:lnTo>
                    <a:pt x="1072029" y="309880"/>
                  </a:lnTo>
                  <a:lnTo>
                    <a:pt x="1057326" y="309880"/>
                  </a:lnTo>
                  <a:lnTo>
                    <a:pt x="1053480" y="302259"/>
                  </a:lnTo>
                  <a:lnTo>
                    <a:pt x="1049635" y="288290"/>
                  </a:lnTo>
                  <a:close/>
                </a:path>
                <a:path w="5760085" h="603250">
                  <a:moveTo>
                    <a:pt x="5155866" y="285750"/>
                  </a:moveTo>
                  <a:lnTo>
                    <a:pt x="5099648" y="285750"/>
                  </a:lnTo>
                  <a:lnTo>
                    <a:pt x="5097209" y="289559"/>
                  </a:lnTo>
                  <a:lnTo>
                    <a:pt x="5095571" y="293370"/>
                  </a:lnTo>
                  <a:lnTo>
                    <a:pt x="5090783" y="297180"/>
                  </a:lnTo>
                  <a:lnTo>
                    <a:pt x="5070196" y="303530"/>
                  </a:lnTo>
                  <a:lnTo>
                    <a:pt x="5042637" y="303530"/>
                  </a:lnTo>
                  <a:lnTo>
                    <a:pt x="5059338" y="316230"/>
                  </a:lnTo>
                  <a:lnTo>
                    <a:pt x="5050486" y="331470"/>
                  </a:lnTo>
                  <a:lnTo>
                    <a:pt x="5071593" y="323850"/>
                  </a:lnTo>
                  <a:lnTo>
                    <a:pt x="5164011" y="323850"/>
                  </a:lnTo>
                  <a:lnTo>
                    <a:pt x="5163021" y="322580"/>
                  </a:lnTo>
                  <a:lnTo>
                    <a:pt x="5186516" y="313690"/>
                  </a:lnTo>
                  <a:lnTo>
                    <a:pt x="5154651" y="308609"/>
                  </a:lnTo>
                  <a:lnTo>
                    <a:pt x="5134446" y="302259"/>
                  </a:lnTo>
                  <a:lnTo>
                    <a:pt x="5130026" y="298450"/>
                  </a:lnTo>
                  <a:lnTo>
                    <a:pt x="5129874" y="295909"/>
                  </a:lnTo>
                  <a:lnTo>
                    <a:pt x="5137163" y="290830"/>
                  </a:lnTo>
                  <a:lnTo>
                    <a:pt x="5157806" y="290830"/>
                  </a:lnTo>
                  <a:lnTo>
                    <a:pt x="5155866" y="285750"/>
                  </a:lnTo>
                  <a:close/>
                </a:path>
                <a:path w="5760085" h="603250">
                  <a:moveTo>
                    <a:pt x="4827422" y="322580"/>
                  </a:moveTo>
                  <a:lnTo>
                    <a:pt x="4812310" y="322580"/>
                  </a:lnTo>
                  <a:lnTo>
                    <a:pt x="4831309" y="328930"/>
                  </a:lnTo>
                  <a:lnTo>
                    <a:pt x="4827422" y="322580"/>
                  </a:lnTo>
                  <a:close/>
                </a:path>
                <a:path w="5760085" h="603250">
                  <a:moveTo>
                    <a:pt x="76343" y="279400"/>
                  </a:moveTo>
                  <a:lnTo>
                    <a:pt x="73772" y="284480"/>
                  </a:lnTo>
                  <a:lnTo>
                    <a:pt x="71194" y="302259"/>
                  </a:lnTo>
                  <a:lnTo>
                    <a:pt x="68609" y="321309"/>
                  </a:lnTo>
                  <a:lnTo>
                    <a:pt x="66019" y="327659"/>
                  </a:lnTo>
                  <a:lnTo>
                    <a:pt x="1015966" y="327659"/>
                  </a:lnTo>
                  <a:lnTo>
                    <a:pt x="1012108" y="322580"/>
                  </a:lnTo>
                  <a:lnTo>
                    <a:pt x="459939" y="322580"/>
                  </a:lnTo>
                  <a:lnTo>
                    <a:pt x="459232" y="320040"/>
                  </a:lnTo>
                  <a:lnTo>
                    <a:pt x="156401" y="320040"/>
                  </a:lnTo>
                  <a:lnTo>
                    <a:pt x="148652" y="312420"/>
                  </a:lnTo>
                  <a:lnTo>
                    <a:pt x="145923" y="304800"/>
                  </a:lnTo>
                  <a:lnTo>
                    <a:pt x="90538" y="304800"/>
                  </a:lnTo>
                  <a:lnTo>
                    <a:pt x="88324" y="299720"/>
                  </a:lnTo>
                  <a:lnTo>
                    <a:pt x="78906" y="299720"/>
                  </a:lnTo>
                  <a:lnTo>
                    <a:pt x="76343" y="279400"/>
                  </a:lnTo>
                  <a:close/>
                </a:path>
                <a:path w="5760085" h="603250">
                  <a:moveTo>
                    <a:pt x="5017707" y="311150"/>
                  </a:moveTo>
                  <a:lnTo>
                    <a:pt x="4974451" y="322580"/>
                  </a:lnTo>
                  <a:lnTo>
                    <a:pt x="5002848" y="322580"/>
                  </a:lnTo>
                  <a:lnTo>
                    <a:pt x="5020209" y="325120"/>
                  </a:lnTo>
                  <a:lnTo>
                    <a:pt x="5011649" y="318770"/>
                  </a:lnTo>
                  <a:lnTo>
                    <a:pt x="5017707" y="311150"/>
                  </a:lnTo>
                  <a:close/>
                </a:path>
                <a:path w="5760085" h="603250">
                  <a:moveTo>
                    <a:pt x="4969482" y="307340"/>
                  </a:moveTo>
                  <a:lnTo>
                    <a:pt x="4943133" y="307340"/>
                  </a:lnTo>
                  <a:lnTo>
                    <a:pt x="4933976" y="323850"/>
                  </a:lnTo>
                  <a:lnTo>
                    <a:pt x="5004598" y="323850"/>
                  </a:lnTo>
                  <a:lnTo>
                    <a:pt x="5002848" y="322580"/>
                  </a:lnTo>
                  <a:lnTo>
                    <a:pt x="4974451" y="322580"/>
                  </a:lnTo>
                  <a:lnTo>
                    <a:pt x="4966272" y="316230"/>
                  </a:lnTo>
                  <a:lnTo>
                    <a:pt x="4960837" y="311150"/>
                  </a:lnTo>
                  <a:lnTo>
                    <a:pt x="4969573" y="311150"/>
                  </a:lnTo>
                  <a:lnTo>
                    <a:pt x="4969482" y="307340"/>
                  </a:lnTo>
                  <a:close/>
                </a:path>
                <a:path w="5760085" h="603250">
                  <a:moveTo>
                    <a:pt x="467754" y="283209"/>
                  </a:moveTo>
                  <a:lnTo>
                    <a:pt x="463833" y="316230"/>
                  </a:lnTo>
                  <a:lnTo>
                    <a:pt x="459939" y="322580"/>
                  </a:lnTo>
                  <a:lnTo>
                    <a:pt x="1012108" y="322580"/>
                  </a:lnTo>
                  <a:lnTo>
                    <a:pt x="1010178" y="320040"/>
                  </a:lnTo>
                  <a:lnTo>
                    <a:pt x="631203" y="320040"/>
                  </a:lnTo>
                  <a:lnTo>
                    <a:pt x="627294" y="309880"/>
                  </a:lnTo>
                  <a:lnTo>
                    <a:pt x="623533" y="292100"/>
                  </a:lnTo>
                  <a:lnTo>
                    <a:pt x="623090" y="289559"/>
                  </a:lnTo>
                  <a:lnTo>
                    <a:pt x="568998" y="289559"/>
                  </a:lnTo>
                  <a:lnTo>
                    <a:pt x="561203" y="288290"/>
                  </a:lnTo>
                  <a:lnTo>
                    <a:pt x="553417" y="285750"/>
                  </a:lnTo>
                  <a:lnTo>
                    <a:pt x="472885" y="285750"/>
                  </a:lnTo>
                  <a:lnTo>
                    <a:pt x="467754" y="283209"/>
                  </a:lnTo>
                  <a:close/>
                </a:path>
                <a:path w="5760085" h="603250">
                  <a:moveTo>
                    <a:pt x="1076500" y="318770"/>
                  </a:moveTo>
                  <a:lnTo>
                    <a:pt x="1072668" y="321309"/>
                  </a:lnTo>
                  <a:lnTo>
                    <a:pt x="1077141" y="321309"/>
                  </a:lnTo>
                  <a:lnTo>
                    <a:pt x="1076500" y="318770"/>
                  </a:lnTo>
                  <a:close/>
                </a:path>
                <a:path w="5760085" h="603250">
                  <a:moveTo>
                    <a:pt x="4895317" y="309880"/>
                  </a:moveTo>
                  <a:lnTo>
                    <a:pt x="4900486" y="316230"/>
                  </a:lnTo>
                  <a:lnTo>
                    <a:pt x="4903915" y="321309"/>
                  </a:lnTo>
                  <a:lnTo>
                    <a:pt x="4926947" y="321309"/>
                  </a:lnTo>
                  <a:lnTo>
                    <a:pt x="4895317" y="309880"/>
                  </a:lnTo>
                  <a:close/>
                </a:path>
                <a:path w="5760085" h="603250">
                  <a:moveTo>
                    <a:pt x="171959" y="293370"/>
                  </a:moveTo>
                  <a:lnTo>
                    <a:pt x="164169" y="313690"/>
                  </a:lnTo>
                  <a:lnTo>
                    <a:pt x="156401" y="320040"/>
                  </a:lnTo>
                  <a:lnTo>
                    <a:pt x="459232" y="320040"/>
                  </a:lnTo>
                  <a:lnTo>
                    <a:pt x="456755" y="311150"/>
                  </a:lnTo>
                  <a:lnTo>
                    <a:pt x="179723" y="311150"/>
                  </a:lnTo>
                  <a:lnTo>
                    <a:pt x="175843" y="307340"/>
                  </a:lnTo>
                  <a:lnTo>
                    <a:pt x="171959" y="293370"/>
                  </a:lnTo>
                  <a:close/>
                </a:path>
                <a:path w="5760085" h="603250">
                  <a:moveTo>
                    <a:pt x="639103" y="288290"/>
                  </a:moveTo>
                  <a:lnTo>
                    <a:pt x="635170" y="313690"/>
                  </a:lnTo>
                  <a:lnTo>
                    <a:pt x="631203" y="320040"/>
                  </a:lnTo>
                  <a:lnTo>
                    <a:pt x="848912" y="320040"/>
                  </a:lnTo>
                  <a:lnTo>
                    <a:pt x="843338" y="307340"/>
                  </a:lnTo>
                  <a:lnTo>
                    <a:pt x="681937" y="307340"/>
                  </a:lnTo>
                  <a:lnTo>
                    <a:pt x="680637" y="303530"/>
                  </a:lnTo>
                  <a:lnTo>
                    <a:pt x="643003" y="303530"/>
                  </a:lnTo>
                  <a:lnTo>
                    <a:pt x="639103" y="288290"/>
                  </a:lnTo>
                  <a:close/>
                </a:path>
                <a:path w="5760085" h="603250">
                  <a:moveTo>
                    <a:pt x="864423" y="295909"/>
                  </a:moveTo>
                  <a:lnTo>
                    <a:pt x="856666" y="300990"/>
                  </a:lnTo>
                  <a:lnTo>
                    <a:pt x="852794" y="320040"/>
                  </a:lnTo>
                  <a:lnTo>
                    <a:pt x="1010178" y="320040"/>
                  </a:lnTo>
                  <a:lnTo>
                    <a:pt x="1009214" y="318770"/>
                  </a:lnTo>
                  <a:lnTo>
                    <a:pt x="964934" y="318770"/>
                  </a:lnTo>
                  <a:lnTo>
                    <a:pt x="964039" y="314959"/>
                  </a:lnTo>
                  <a:lnTo>
                    <a:pt x="914665" y="314959"/>
                  </a:lnTo>
                  <a:lnTo>
                    <a:pt x="910807" y="307340"/>
                  </a:lnTo>
                  <a:lnTo>
                    <a:pt x="909707" y="304800"/>
                  </a:lnTo>
                  <a:lnTo>
                    <a:pt x="887629" y="304800"/>
                  </a:lnTo>
                  <a:lnTo>
                    <a:pt x="872167" y="297180"/>
                  </a:lnTo>
                  <a:lnTo>
                    <a:pt x="864423" y="295909"/>
                  </a:lnTo>
                  <a:close/>
                </a:path>
                <a:path w="5760085" h="603250">
                  <a:moveTo>
                    <a:pt x="976494" y="299720"/>
                  </a:moveTo>
                  <a:lnTo>
                    <a:pt x="972635" y="302259"/>
                  </a:lnTo>
                  <a:lnTo>
                    <a:pt x="968783" y="312420"/>
                  </a:lnTo>
                  <a:lnTo>
                    <a:pt x="964934" y="318770"/>
                  </a:lnTo>
                  <a:lnTo>
                    <a:pt x="1009214" y="318770"/>
                  </a:lnTo>
                  <a:lnTo>
                    <a:pt x="1007284" y="316230"/>
                  </a:lnTo>
                  <a:lnTo>
                    <a:pt x="995719" y="316230"/>
                  </a:lnTo>
                  <a:lnTo>
                    <a:pt x="995463" y="314959"/>
                  </a:lnTo>
                  <a:lnTo>
                    <a:pt x="980364" y="314959"/>
                  </a:lnTo>
                  <a:lnTo>
                    <a:pt x="976494" y="299720"/>
                  </a:lnTo>
                  <a:close/>
                </a:path>
                <a:path w="5760085" h="603250">
                  <a:moveTo>
                    <a:pt x="4939726" y="309880"/>
                  </a:moveTo>
                  <a:lnTo>
                    <a:pt x="4927753" y="309880"/>
                  </a:lnTo>
                  <a:lnTo>
                    <a:pt x="4927804" y="318770"/>
                  </a:lnTo>
                  <a:lnTo>
                    <a:pt x="4939726" y="309880"/>
                  </a:lnTo>
                  <a:close/>
                </a:path>
                <a:path w="5760085" h="603250">
                  <a:moveTo>
                    <a:pt x="5527333" y="256540"/>
                  </a:moveTo>
                  <a:lnTo>
                    <a:pt x="5438255" y="256540"/>
                  </a:lnTo>
                  <a:lnTo>
                    <a:pt x="5444453" y="257809"/>
                  </a:lnTo>
                  <a:lnTo>
                    <a:pt x="5448529" y="266700"/>
                  </a:lnTo>
                  <a:lnTo>
                    <a:pt x="5430622" y="281940"/>
                  </a:lnTo>
                  <a:lnTo>
                    <a:pt x="5444961" y="287020"/>
                  </a:lnTo>
                  <a:lnTo>
                    <a:pt x="5440020" y="295909"/>
                  </a:lnTo>
                  <a:lnTo>
                    <a:pt x="5359058" y="317500"/>
                  </a:lnTo>
                  <a:lnTo>
                    <a:pt x="5759996" y="317500"/>
                  </a:lnTo>
                  <a:lnTo>
                    <a:pt x="5759996" y="307340"/>
                  </a:lnTo>
                  <a:lnTo>
                    <a:pt x="5568127" y="307340"/>
                  </a:lnTo>
                  <a:lnTo>
                    <a:pt x="5563105" y="306070"/>
                  </a:lnTo>
                  <a:lnTo>
                    <a:pt x="5558070" y="300990"/>
                  </a:lnTo>
                  <a:lnTo>
                    <a:pt x="5541557" y="300990"/>
                  </a:lnTo>
                  <a:lnTo>
                    <a:pt x="5542214" y="300313"/>
                  </a:lnTo>
                  <a:lnTo>
                    <a:pt x="5529873" y="295909"/>
                  </a:lnTo>
                  <a:lnTo>
                    <a:pt x="5511191" y="287020"/>
                  </a:lnTo>
                  <a:lnTo>
                    <a:pt x="5509502" y="281940"/>
                  </a:lnTo>
                  <a:lnTo>
                    <a:pt x="5508829" y="279400"/>
                  </a:lnTo>
                  <a:lnTo>
                    <a:pt x="5507483" y="276859"/>
                  </a:lnTo>
                  <a:lnTo>
                    <a:pt x="5543521" y="276859"/>
                  </a:lnTo>
                  <a:lnTo>
                    <a:pt x="5530178" y="266700"/>
                  </a:lnTo>
                  <a:lnTo>
                    <a:pt x="5534267" y="265430"/>
                  </a:lnTo>
                  <a:lnTo>
                    <a:pt x="5527333" y="256540"/>
                  </a:lnTo>
                  <a:close/>
                </a:path>
                <a:path w="5760085" h="603250">
                  <a:moveTo>
                    <a:pt x="999584" y="304800"/>
                  </a:moveTo>
                  <a:lnTo>
                    <a:pt x="995719" y="316230"/>
                  </a:lnTo>
                  <a:lnTo>
                    <a:pt x="1007284" y="316230"/>
                  </a:lnTo>
                  <a:lnTo>
                    <a:pt x="1003434" y="307340"/>
                  </a:lnTo>
                  <a:lnTo>
                    <a:pt x="999584" y="304800"/>
                  </a:lnTo>
                  <a:close/>
                </a:path>
                <a:path w="5760085" h="603250">
                  <a:moveTo>
                    <a:pt x="941726" y="299720"/>
                  </a:moveTo>
                  <a:lnTo>
                    <a:pt x="933997" y="299720"/>
                  </a:lnTo>
                  <a:lnTo>
                    <a:pt x="926268" y="304800"/>
                  </a:lnTo>
                  <a:lnTo>
                    <a:pt x="918541" y="307340"/>
                  </a:lnTo>
                  <a:lnTo>
                    <a:pt x="914665" y="314959"/>
                  </a:lnTo>
                  <a:lnTo>
                    <a:pt x="953329" y="314959"/>
                  </a:lnTo>
                  <a:lnTo>
                    <a:pt x="949453" y="308609"/>
                  </a:lnTo>
                  <a:lnTo>
                    <a:pt x="941726" y="299720"/>
                  </a:lnTo>
                  <a:close/>
                </a:path>
                <a:path w="5760085" h="603250">
                  <a:moveTo>
                    <a:pt x="961058" y="302259"/>
                  </a:moveTo>
                  <a:lnTo>
                    <a:pt x="957193" y="307340"/>
                  </a:lnTo>
                  <a:lnTo>
                    <a:pt x="953329" y="314959"/>
                  </a:lnTo>
                  <a:lnTo>
                    <a:pt x="964039" y="314959"/>
                  </a:lnTo>
                  <a:lnTo>
                    <a:pt x="961058" y="302259"/>
                  </a:lnTo>
                  <a:close/>
                </a:path>
                <a:path w="5760085" h="603250">
                  <a:moveTo>
                    <a:pt x="988042" y="290830"/>
                  </a:moveTo>
                  <a:lnTo>
                    <a:pt x="984196" y="297180"/>
                  </a:lnTo>
                  <a:lnTo>
                    <a:pt x="980364" y="314959"/>
                  </a:lnTo>
                  <a:lnTo>
                    <a:pt x="995463" y="314959"/>
                  </a:lnTo>
                  <a:lnTo>
                    <a:pt x="991887" y="297180"/>
                  </a:lnTo>
                  <a:lnTo>
                    <a:pt x="988042" y="290830"/>
                  </a:lnTo>
                  <a:close/>
                </a:path>
                <a:path w="5760085" h="603250">
                  <a:moveTo>
                    <a:pt x="4969573" y="311150"/>
                  </a:moveTo>
                  <a:lnTo>
                    <a:pt x="4960837" y="311150"/>
                  </a:lnTo>
                  <a:lnTo>
                    <a:pt x="4969663" y="314959"/>
                  </a:lnTo>
                  <a:lnTo>
                    <a:pt x="4969573" y="311150"/>
                  </a:lnTo>
                  <a:close/>
                </a:path>
                <a:path w="5760085" h="603250">
                  <a:moveTo>
                    <a:pt x="9342" y="287020"/>
                  </a:moveTo>
                  <a:lnTo>
                    <a:pt x="5464" y="297180"/>
                  </a:lnTo>
                  <a:lnTo>
                    <a:pt x="1601" y="311150"/>
                  </a:lnTo>
                  <a:lnTo>
                    <a:pt x="20923" y="311150"/>
                  </a:lnTo>
                  <a:lnTo>
                    <a:pt x="17044" y="307340"/>
                  </a:lnTo>
                  <a:lnTo>
                    <a:pt x="13209" y="288290"/>
                  </a:lnTo>
                  <a:lnTo>
                    <a:pt x="9342" y="287020"/>
                  </a:lnTo>
                  <a:close/>
                </a:path>
                <a:path w="5760085" h="603250">
                  <a:moveTo>
                    <a:pt x="36396" y="264159"/>
                  </a:moveTo>
                  <a:lnTo>
                    <a:pt x="32563" y="299720"/>
                  </a:lnTo>
                  <a:lnTo>
                    <a:pt x="28671" y="306070"/>
                  </a:lnTo>
                  <a:lnTo>
                    <a:pt x="24794" y="311150"/>
                  </a:lnTo>
                  <a:lnTo>
                    <a:pt x="63770" y="311150"/>
                  </a:lnTo>
                  <a:lnTo>
                    <a:pt x="63424" y="308609"/>
                  </a:lnTo>
                  <a:lnTo>
                    <a:pt x="62144" y="306070"/>
                  </a:lnTo>
                  <a:lnTo>
                    <a:pt x="48007" y="306070"/>
                  </a:lnTo>
                  <a:lnTo>
                    <a:pt x="40252" y="265430"/>
                  </a:lnTo>
                  <a:lnTo>
                    <a:pt x="36396" y="264159"/>
                  </a:lnTo>
                  <a:close/>
                </a:path>
                <a:path w="5760085" h="603250">
                  <a:moveTo>
                    <a:pt x="191355" y="275590"/>
                  </a:moveTo>
                  <a:lnTo>
                    <a:pt x="187478" y="294640"/>
                  </a:lnTo>
                  <a:lnTo>
                    <a:pt x="183601" y="307340"/>
                  </a:lnTo>
                  <a:lnTo>
                    <a:pt x="179723" y="311150"/>
                  </a:lnTo>
                  <a:lnTo>
                    <a:pt x="456755" y="311150"/>
                  </a:lnTo>
                  <a:lnTo>
                    <a:pt x="456048" y="308609"/>
                  </a:lnTo>
                  <a:lnTo>
                    <a:pt x="455367" y="303530"/>
                  </a:lnTo>
                  <a:lnTo>
                    <a:pt x="214690" y="303530"/>
                  </a:lnTo>
                  <a:lnTo>
                    <a:pt x="210805" y="297180"/>
                  </a:lnTo>
                  <a:lnTo>
                    <a:pt x="207563" y="290830"/>
                  </a:lnTo>
                  <a:lnTo>
                    <a:pt x="199119" y="290830"/>
                  </a:lnTo>
                  <a:lnTo>
                    <a:pt x="195235" y="279400"/>
                  </a:lnTo>
                  <a:lnTo>
                    <a:pt x="191355" y="275590"/>
                  </a:lnTo>
                  <a:close/>
                </a:path>
                <a:path w="5760085" h="603250">
                  <a:moveTo>
                    <a:pt x="4913732" y="266700"/>
                  </a:moveTo>
                  <a:lnTo>
                    <a:pt x="4923778" y="280670"/>
                  </a:lnTo>
                  <a:lnTo>
                    <a:pt x="4912831" y="288290"/>
                  </a:lnTo>
                  <a:lnTo>
                    <a:pt x="4929201" y="290830"/>
                  </a:lnTo>
                  <a:lnTo>
                    <a:pt x="4914253" y="295909"/>
                  </a:lnTo>
                  <a:lnTo>
                    <a:pt x="4905045" y="299720"/>
                  </a:lnTo>
                  <a:lnTo>
                    <a:pt x="4918228" y="303530"/>
                  </a:lnTo>
                  <a:lnTo>
                    <a:pt x="4913059" y="311150"/>
                  </a:lnTo>
                  <a:lnTo>
                    <a:pt x="4918939" y="309880"/>
                  </a:lnTo>
                  <a:lnTo>
                    <a:pt x="4939726" y="309880"/>
                  </a:lnTo>
                  <a:lnTo>
                    <a:pt x="4943133" y="307340"/>
                  </a:lnTo>
                  <a:lnTo>
                    <a:pt x="4969482" y="307340"/>
                  </a:lnTo>
                  <a:lnTo>
                    <a:pt x="4969422" y="304800"/>
                  </a:lnTo>
                  <a:lnTo>
                    <a:pt x="4978096" y="304800"/>
                  </a:lnTo>
                  <a:lnTo>
                    <a:pt x="4976762" y="298450"/>
                  </a:lnTo>
                  <a:lnTo>
                    <a:pt x="4991532" y="292100"/>
                  </a:lnTo>
                  <a:lnTo>
                    <a:pt x="4976153" y="290830"/>
                  </a:lnTo>
                  <a:lnTo>
                    <a:pt x="4960443" y="281940"/>
                  </a:lnTo>
                  <a:lnTo>
                    <a:pt x="4978845" y="276859"/>
                  </a:lnTo>
                  <a:lnTo>
                    <a:pt x="4974039" y="271780"/>
                  </a:lnTo>
                  <a:lnTo>
                    <a:pt x="4925480" y="271780"/>
                  </a:lnTo>
                  <a:lnTo>
                    <a:pt x="4913732" y="266700"/>
                  </a:lnTo>
                  <a:close/>
                </a:path>
                <a:path w="5760085" h="603250">
                  <a:moveTo>
                    <a:pt x="1063088" y="265430"/>
                  </a:moveTo>
                  <a:lnTo>
                    <a:pt x="1061171" y="273050"/>
                  </a:lnTo>
                  <a:lnTo>
                    <a:pt x="1059250" y="290830"/>
                  </a:lnTo>
                  <a:lnTo>
                    <a:pt x="1057326" y="309880"/>
                  </a:lnTo>
                  <a:lnTo>
                    <a:pt x="1072029" y="309880"/>
                  </a:lnTo>
                  <a:lnTo>
                    <a:pt x="1070752" y="287020"/>
                  </a:lnTo>
                  <a:lnTo>
                    <a:pt x="1069655" y="276859"/>
                  </a:lnTo>
                  <a:lnTo>
                    <a:pt x="1064997" y="276859"/>
                  </a:lnTo>
                  <a:lnTo>
                    <a:pt x="1063088" y="265430"/>
                  </a:lnTo>
                  <a:close/>
                </a:path>
                <a:path w="5760085" h="603250">
                  <a:moveTo>
                    <a:pt x="4978096" y="304800"/>
                  </a:moveTo>
                  <a:lnTo>
                    <a:pt x="4969422" y="304800"/>
                  </a:lnTo>
                  <a:lnTo>
                    <a:pt x="4979163" y="309880"/>
                  </a:lnTo>
                  <a:lnTo>
                    <a:pt x="4978096" y="304800"/>
                  </a:lnTo>
                  <a:close/>
                </a:path>
                <a:path w="5760085" h="603250">
                  <a:moveTo>
                    <a:pt x="689707" y="289559"/>
                  </a:moveTo>
                  <a:lnTo>
                    <a:pt x="685851" y="292100"/>
                  </a:lnTo>
                  <a:lnTo>
                    <a:pt x="681937" y="307340"/>
                  </a:lnTo>
                  <a:lnTo>
                    <a:pt x="843338" y="307340"/>
                  </a:lnTo>
                  <a:lnTo>
                    <a:pt x="842781" y="306070"/>
                  </a:lnTo>
                  <a:lnTo>
                    <a:pt x="783017" y="306070"/>
                  </a:lnTo>
                  <a:lnTo>
                    <a:pt x="782027" y="304800"/>
                  </a:lnTo>
                  <a:lnTo>
                    <a:pt x="716936" y="304800"/>
                  </a:lnTo>
                  <a:lnTo>
                    <a:pt x="713052" y="302259"/>
                  </a:lnTo>
                  <a:lnTo>
                    <a:pt x="697490" y="302259"/>
                  </a:lnTo>
                  <a:lnTo>
                    <a:pt x="693591" y="298450"/>
                  </a:lnTo>
                  <a:lnTo>
                    <a:pt x="689707" y="289559"/>
                  </a:lnTo>
                  <a:close/>
                </a:path>
                <a:path w="5760085" h="603250">
                  <a:moveTo>
                    <a:pt x="4783722" y="297180"/>
                  </a:moveTo>
                  <a:lnTo>
                    <a:pt x="4738333" y="297180"/>
                  </a:lnTo>
                  <a:lnTo>
                    <a:pt x="4732224" y="307340"/>
                  </a:lnTo>
                  <a:lnTo>
                    <a:pt x="4743590" y="303530"/>
                  </a:lnTo>
                  <a:lnTo>
                    <a:pt x="4800324" y="303530"/>
                  </a:lnTo>
                  <a:lnTo>
                    <a:pt x="4783722" y="297180"/>
                  </a:lnTo>
                  <a:close/>
                </a:path>
                <a:path w="5760085" h="603250">
                  <a:moveTo>
                    <a:pt x="5366084" y="284480"/>
                  </a:moveTo>
                  <a:lnTo>
                    <a:pt x="5344999" y="284480"/>
                  </a:lnTo>
                  <a:lnTo>
                    <a:pt x="5358969" y="307340"/>
                  </a:lnTo>
                  <a:lnTo>
                    <a:pt x="5358258" y="300990"/>
                  </a:lnTo>
                  <a:lnTo>
                    <a:pt x="5357762" y="295909"/>
                  </a:lnTo>
                  <a:lnTo>
                    <a:pt x="5360645" y="292100"/>
                  </a:lnTo>
                  <a:lnTo>
                    <a:pt x="5377468" y="292100"/>
                  </a:lnTo>
                  <a:lnTo>
                    <a:pt x="5379175" y="290830"/>
                  </a:lnTo>
                  <a:lnTo>
                    <a:pt x="5366084" y="284480"/>
                  </a:lnTo>
                  <a:close/>
                </a:path>
                <a:path w="5760085" h="603250">
                  <a:moveTo>
                    <a:pt x="5588369" y="281940"/>
                  </a:moveTo>
                  <a:lnTo>
                    <a:pt x="5585435" y="281940"/>
                  </a:lnTo>
                  <a:lnTo>
                    <a:pt x="5582489" y="284480"/>
                  </a:lnTo>
                  <a:lnTo>
                    <a:pt x="5574501" y="284480"/>
                  </a:lnTo>
                  <a:lnTo>
                    <a:pt x="5576063" y="293370"/>
                  </a:lnTo>
                  <a:lnTo>
                    <a:pt x="5575085" y="295909"/>
                  </a:lnTo>
                  <a:lnTo>
                    <a:pt x="5574107" y="297180"/>
                  </a:lnTo>
                  <a:lnTo>
                    <a:pt x="5573129" y="299720"/>
                  </a:lnTo>
                  <a:lnTo>
                    <a:pt x="5568127" y="307340"/>
                  </a:lnTo>
                  <a:lnTo>
                    <a:pt x="5759996" y="307340"/>
                  </a:lnTo>
                  <a:lnTo>
                    <a:pt x="5759996" y="293369"/>
                  </a:lnTo>
                  <a:lnTo>
                    <a:pt x="5599024" y="293370"/>
                  </a:lnTo>
                  <a:lnTo>
                    <a:pt x="5596662" y="288290"/>
                  </a:lnTo>
                  <a:lnTo>
                    <a:pt x="5595494" y="287020"/>
                  </a:lnTo>
                  <a:lnTo>
                    <a:pt x="5597640" y="287020"/>
                  </a:lnTo>
                  <a:lnTo>
                    <a:pt x="5600312" y="283209"/>
                  </a:lnTo>
                  <a:lnTo>
                    <a:pt x="5591315" y="283209"/>
                  </a:lnTo>
                  <a:lnTo>
                    <a:pt x="5588369" y="281940"/>
                  </a:lnTo>
                  <a:close/>
                </a:path>
                <a:path w="5760085" h="603250">
                  <a:moveTo>
                    <a:pt x="55735" y="298450"/>
                  </a:moveTo>
                  <a:lnTo>
                    <a:pt x="51877" y="299720"/>
                  </a:lnTo>
                  <a:lnTo>
                    <a:pt x="48007" y="306070"/>
                  </a:lnTo>
                  <a:lnTo>
                    <a:pt x="62144" y="306070"/>
                  </a:lnTo>
                  <a:lnTo>
                    <a:pt x="59583" y="300990"/>
                  </a:lnTo>
                  <a:lnTo>
                    <a:pt x="55735" y="298450"/>
                  </a:lnTo>
                  <a:close/>
                </a:path>
                <a:path w="5760085" h="603250">
                  <a:moveTo>
                    <a:pt x="802391" y="280670"/>
                  </a:moveTo>
                  <a:lnTo>
                    <a:pt x="798525" y="287020"/>
                  </a:lnTo>
                  <a:lnTo>
                    <a:pt x="794627" y="295909"/>
                  </a:lnTo>
                  <a:lnTo>
                    <a:pt x="790846" y="302259"/>
                  </a:lnTo>
                  <a:lnTo>
                    <a:pt x="786961" y="306070"/>
                  </a:lnTo>
                  <a:lnTo>
                    <a:pt x="842781" y="306070"/>
                  </a:lnTo>
                  <a:lnTo>
                    <a:pt x="841109" y="302259"/>
                  </a:lnTo>
                  <a:lnTo>
                    <a:pt x="839823" y="300990"/>
                  </a:lnTo>
                  <a:lnTo>
                    <a:pt x="829506" y="300990"/>
                  </a:lnTo>
                  <a:lnTo>
                    <a:pt x="825628" y="298450"/>
                  </a:lnTo>
                  <a:lnTo>
                    <a:pt x="823053" y="293370"/>
                  </a:lnTo>
                  <a:lnTo>
                    <a:pt x="810146" y="293370"/>
                  </a:lnTo>
                  <a:lnTo>
                    <a:pt x="806255" y="281940"/>
                  </a:lnTo>
                  <a:lnTo>
                    <a:pt x="802391" y="280670"/>
                  </a:lnTo>
                  <a:close/>
                </a:path>
                <a:path w="5760085" h="603250">
                  <a:moveTo>
                    <a:pt x="106035" y="283209"/>
                  </a:moveTo>
                  <a:lnTo>
                    <a:pt x="102156" y="284480"/>
                  </a:lnTo>
                  <a:lnTo>
                    <a:pt x="98273" y="293370"/>
                  </a:lnTo>
                  <a:lnTo>
                    <a:pt x="94387" y="297180"/>
                  </a:lnTo>
                  <a:lnTo>
                    <a:pt x="90538" y="304800"/>
                  </a:lnTo>
                  <a:lnTo>
                    <a:pt x="145923" y="304800"/>
                  </a:lnTo>
                  <a:lnTo>
                    <a:pt x="145013" y="302259"/>
                  </a:lnTo>
                  <a:lnTo>
                    <a:pt x="133160" y="302259"/>
                  </a:lnTo>
                  <a:lnTo>
                    <a:pt x="129293" y="300990"/>
                  </a:lnTo>
                  <a:lnTo>
                    <a:pt x="128700" y="298450"/>
                  </a:lnTo>
                  <a:lnTo>
                    <a:pt x="109906" y="298450"/>
                  </a:lnTo>
                  <a:lnTo>
                    <a:pt x="106035" y="283209"/>
                  </a:lnTo>
                  <a:close/>
                </a:path>
                <a:path w="5760085" h="603250">
                  <a:moveTo>
                    <a:pt x="748012" y="271780"/>
                  </a:moveTo>
                  <a:lnTo>
                    <a:pt x="740248" y="274320"/>
                  </a:lnTo>
                  <a:lnTo>
                    <a:pt x="732486" y="290830"/>
                  </a:lnTo>
                  <a:lnTo>
                    <a:pt x="724708" y="300990"/>
                  </a:lnTo>
                  <a:lnTo>
                    <a:pt x="716936" y="304800"/>
                  </a:lnTo>
                  <a:lnTo>
                    <a:pt x="782027" y="304800"/>
                  </a:lnTo>
                  <a:lnTo>
                    <a:pt x="780047" y="302259"/>
                  </a:lnTo>
                  <a:lnTo>
                    <a:pt x="767454" y="302259"/>
                  </a:lnTo>
                  <a:lnTo>
                    <a:pt x="763575" y="293370"/>
                  </a:lnTo>
                  <a:lnTo>
                    <a:pt x="755785" y="279400"/>
                  </a:lnTo>
                  <a:lnTo>
                    <a:pt x="748012" y="271780"/>
                  </a:lnTo>
                  <a:close/>
                </a:path>
                <a:path w="5760085" h="603250">
                  <a:moveTo>
                    <a:pt x="891500" y="292100"/>
                  </a:moveTo>
                  <a:lnTo>
                    <a:pt x="887629" y="304800"/>
                  </a:lnTo>
                  <a:lnTo>
                    <a:pt x="909707" y="304800"/>
                  </a:lnTo>
                  <a:lnTo>
                    <a:pt x="909157" y="303530"/>
                  </a:lnTo>
                  <a:lnTo>
                    <a:pt x="903110" y="303530"/>
                  </a:lnTo>
                  <a:lnTo>
                    <a:pt x="899232" y="300990"/>
                  </a:lnTo>
                  <a:lnTo>
                    <a:pt x="895365" y="293370"/>
                  </a:lnTo>
                  <a:lnTo>
                    <a:pt x="891500" y="292100"/>
                  </a:lnTo>
                  <a:close/>
                </a:path>
                <a:path w="5760085" h="603250">
                  <a:moveTo>
                    <a:pt x="218580" y="295909"/>
                  </a:moveTo>
                  <a:lnTo>
                    <a:pt x="214690" y="303530"/>
                  </a:lnTo>
                  <a:lnTo>
                    <a:pt x="222452" y="303530"/>
                  </a:lnTo>
                  <a:lnTo>
                    <a:pt x="218580" y="295909"/>
                  </a:lnTo>
                  <a:close/>
                </a:path>
                <a:path w="5760085" h="603250">
                  <a:moveTo>
                    <a:pt x="253559" y="276859"/>
                  </a:moveTo>
                  <a:lnTo>
                    <a:pt x="249695" y="283209"/>
                  </a:lnTo>
                  <a:lnTo>
                    <a:pt x="245789" y="285750"/>
                  </a:lnTo>
                  <a:lnTo>
                    <a:pt x="237985" y="285750"/>
                  </a:lnTo>
                  <a:lnTo>
                    <a:pt x="234100" y="289559"/>
                  </a:lnTo>
                  <a:lnTo>
                    <a:pt x="230214" y="289559"/>
                  </a:lnTo>
                  <a:lnTo>
                    <a:pt x="226331" y="297180"/>
                  </a:lnTo>
                  <a:lnTo>
                    <a:pt x="222452" y="303530"/>
                  </a:lnTo>
                  <a:lnTo>
                    <a:pt x="455367" y="303530"/>
                  </a:lnTo>
                  <a:lnTo>
                    <a:pt x="455197" y="302259"/>
                  </a:lnTo>
                  <a:lnTo>
                    <a:pt x="440459" y="302259"/>
                  </a:lnTo>
                  <a:lnTo>
                    <a:pt x="439812" y="299720"/>
                  </a:lnTo>
                  <a:lnTo>
                    <a:pt x="362304" y="299720"/>
                  </a:lnTo>
                  <a:lnTo>
                    <a:pt x="361736" y="297180"/>
                  </a:lnTo>
                  <a:lnTo>
                    <a:pt x="323553" y="297180"/>
                  </a:lnTo>
                  <a:lnTo>
                    <a:pt x="319660" y="289559"/>
                  </a:lnTo>
                  <a:lnTo>
                    <a:pt x="319228" y="288290"/>
                  </a:lnTo>
                  <a:lnTo>
                    <a:pt x="276894" y="288290"/>
                  </a:lnTo>
                  <a:lnTo>
                    <a:pt x="275340" y="285750"/>
                  </a:lnTo>
                  <a:lnTo>
                    <a:pt x="245789" y="285750"/>
                  </a:lnTo>
                  <a:lnTo>
                    <a:pt x="241883" y="284480"/>
                  </a:lnTo>
                  <a:lnTo>
                    <a:pt x="261358" y="284480"/>
                  </a:lnTo>
                  <a:lnTo>
                    <a:pt x="257449" y="279400"/>
                  </a:lnTo>
                  <a:lnTo>
                    <a:pt x="253559" y="276859"/>
                  </a:lnTo>
                  <a:close/>
                </a:path>
                <a:path w="5760085" h="603250">
                  <a:moveTo>
                    <a:pt x="654648" y="292100"/>
                  </a:moveTo>
                  <a:lnTo>
                    <a:pt x="650776" y="292100"/>
                  </a:lnTo>
                  <a:lnTo>
                    <a:pt x="646894" y="299720"/>
                  </a:lnTo>
                  <a:lnTo>
                    <a:pt x="643003" y="303530"/>
                  </a:lnTo>
                  <a:lnTo>
                    <a:pt x="680637" y="303530"/>
                  </a:lnTo>
                  <a:lnTo>
                    <a:pt x="678903" y="298450"/>
                  </a:lnTo>
                  <a:lnTo>
                    <a:pt x="658563" y="298450"/>
                  </a:lnTo>
                  <a:lnTo>
                    <a:pt x="654648" y="292100"/>
                  </a:lnTo>
                  <a:close/>
                </a:path>
                <a:path w="5760085" h="603250">
                  <a:moveTo>
                    <a:pt x="906957" y="298450"/>
                  </a:moveTo>
                  <a:lnTo>
                    <a:pt x="903110" y="303530"/>
                  </a:lnTo>
                  <a:lnTo>
                    <a:pt x="909157" y="303530"/>
                  </a:lnTo>
                  <a:lnTo>
                    <a:pt x="906957" y="298450"/>
                  </a:lnTo>
                  <a:close/>
                </a:path>
                <a:path w="5760085" h="603250">
                  <a:moveTo>
                    <a:pt x="5218600" y="283209"/>
                  </a:moveTo>
                  <a:lnTo>
                    <a:pt x="5198860" y="283209"/>
                  </a:lnTo>
                  <a:lnTo>
                    <a:pt x="5177892" y="303530"/>
                  </a:lnTo>
                  <a:lnTo>
                    <a:pt x="5210823" y="288290"/>
                  </a:lnTo>
                  <a:lnTo>
                    <a:pt x="5217013" y="288290"/>
                  </a:lnTo>
                  <a:lnTo>
                    <a:pt x="5218600" y="283209"/>
                  </a:lnTo>
                  <a:close/>
                </a:path>
                <a:path w="5760085" h="603250">
                  <a:moveTo>
                    <a:pt x="140920" y="290830"/>
                  </a:moveTo>
                  <a:lnTo>
                    <a:pt x="137036" y="297180"/>
                  </a:lnTo>
                  <a:lnTo>
                    <a:pt x="133160" y="302259"/>
                  </a:lnTo>
                  <a:lnTo>
                    <a:pt x="145013" y="302259"/>
                  </a:lnTo>
                  <a:lnTo>
                    <a:pt x="140920" y="290830"/>
                  </a:lnTo>
                  <a:close/>
                </a:path>
                <a:path w="5760085" h="603250">
                  <a:moveTo>
                    <a:pt x="448243" y="269240"/>
                  </a:moveTo>
                  <a:lnTo>
                    <a:pt x="444350" y="287020"/>
                  </a:lnTo>
                  <a:lnTo>
                    <a:pt x="440459" y="302259"/>
                  </a:lnTo>
                  <a:lnTo>
                    <a:pt x="455197" y="302259"/>
                  </a:lnTo>
                  <a:lnTo>
                    <a:pt x="452133" y="279400"/>
                  </a:lnTo>
                  <a:lnTo>
                    <a:pt x="448243" y="269240"/>
                  </a:lnTo>
                  <a:close/>
                </a:path>
                <a:path w="5760085" h="603250">
                  <a:moveTo>
                    <a:pt x="701396" y="287020"/>
                  </a:moveTo>
                  <a:lnTo>
                    <a:pt x="697490" y="302259"/>
                  </a:lnTo>
                  <a:lnTo>
                    <a:pt x="713052" y="302259"/>
                  </a:lnTo>
                  <a:lnTo>
                    <a:pt x="709167" y="299720"/>
                  </a:lnTo>
                  <a:lnTo>
                    <a:pt x="701396" y="287020"/>
                  </a:lnTo>
                  <a:close/>
                </a:path>
                <a:path w="5760085" h="603250">
                  <a:moveTo>
                    <a:pt x="775186" y="299720"/>
                  </a:moveTo>
                  <a:lnTo>
                    <a:pt x="771321" y="302259"/>
                  </a:lnTo>
                  <a:lnTo>
                    <a:pt x="780047" y="302259"/>
                  </a:lnTo>
                  <a:lnTo>
                    <a:pt x="779057" y="300990"/>
                  </a:lnTo>
                  <a:lnTo>
                    <a:pt x="775186" y="299720"/>
                  </a:lnTo>
                  <a:close/>
                </a:path>
                <a:path w="5760085" h="603250">
                  <a:moveTo>
                    <a:pt x="837252" y="298450"/>
                  </a:moveTo>
                  <a:lnTo>
                    <a:pt x="829506" y="300990"/>
                  </a:lnTo>
                  <a:lnTo>
                    <a:pt x="839823" y="300990"/>
                  </a:lnTo>
                  <a:lnTo>
                    <a:pt x="837252" y="298450"/>
                  </a:lnTo>
                  <a:close/>
                </a:path>
                <a:path w="5760085" h="603250">
                  <a:moveTo>
                    <a:pt x="5217013" y="288290"/>
                  </a:moveTo>
                  <a:lnTo>
                    <a:pt x="5210823" y="288290"/>
                  </a:lnTo>
                  <a:lnTo>
                    <a:pt x="5213046" y="300990"/>
                  </a:lnTo>
                  <a:lnTo>
                    <a:pt x="5217013" y="288290"/>
                  </a:lnTo>
                  <a:close/>
                </a:path>
                <a:path w="5760085" h="603250">
                  <a:moveTo>
                    <a:pt x="5542214" y="300313"/>
                  </a:moveTo>
                  <a:lnTo>
                    <a:pt x="5541557" y="300990"/>
                  </a:lnTo>
                  <a:lnTo>
                    <a:pt x="5542449" y="300397"/>
                  </a:lnTo>
                  <a:lnTo>
                    <a:pt x="5542214" y="300313"/>
                  </a:lnTo>
                  <a:close/>
                </a:path>
                <a:path w="5760085" h="603250">
                  <a:moveTo>
                    <a:pt x="5542449" y="300397"/>
                  </a:moveTo>
                  <a:lnTo>
                    <a:pt x="5541557" y="300990"/>
                  </a:lnTo>
                  <a:lnTo>
                    <a:pt x="5544109" y="300990"/>
                  </a:lnTo>
                  <a:lnTo>
                    <a:pt x="5542449" y="300397"/>
                  </a:lnTo>
                  <a:close/>
                </a:path>
                <a:path w="5760085" h="603250">
                  <a:moveTo>
                    <a:pt x="5556052" y="298450"/>
                  </a:moveTo>
                  <a:lnTo>
                    <a:pt x="5545379" y="298450"/>
                  </a:lnTo>
                  <a:lnTo>
                    <a:pt x="5544541" y="300990"/>
                  </a:lnTo>
                  <a:lnTo>
                    <a:pt x="5558070" y="300990"/>
                  </a:lnTo>
                  <a:lnTo>
                    <a:pt x="5556052" y="298450"/>
                  </a:lnTo>
                  <a:close/>
                </a:path>
                <a:path w="5760085" h="603250">
                  <a:moveTo>
                    <a:pt x="5582857" y="279400"/>
                  </a:moveTo>
                  <a:lnTo>
                    <a:pt x="5562524" y="279400"/>
                  </a:lnTo>
                  <a:lnTo>
                    <a:pt x="5542214" y="300313"/>
                  </a:lnTo>
                  <a:lnTo>
                    <a:pt x="5542449" y="300397"/>
                  </a:lnTo>
                  <a:lnTo>
                    <a:pt x="5545379" y="298450"/>
                  </a:lnTo>
                  <a:lnTo>
                    <a:pt x="5556052" y="298450"/>
                  </a:lnTo>
                  <a:lnTo>
                    <a:pt x="5553025" y="294640"/>
                  </a:lnTo>
                  <a:lnTo>
                    <a:pt x="5565915" y="288290"/>
                  </a:lnTo>
                  <a:lnTo>
                    <a:pt x="5574501" y="284480"/>
                  </a:lnTo>
                  <a:lnTo>
                    <a:pt x="5582489" y="284480"/>
                  </a:lnTo>
                  <a:lnTo>
                    <a:pt x="5582857" y="279400"/>
                  </a:lnTo>
                  <a:close/>
                </a:path>
                <a:path w="5760085" h="603250">
                  <a:moveTo>
                    <a:pt x="82791" y="287020"/>
                  </a:moveTo>
                  <a:lnTo>
                    <a:pt x="78906" y="299720"/>
                  </a:lnTo>
                  <a:lnTo>
                    <a:pt x="88324" y="299720"/>
                  </a:lnTo>
                  <a:lnTo>
                    <a:pt x="82791" y="287020"/>
                  </a:lnTo>
                  <a:close/>
                </a:path>
                <a:path w="5760085" h="603250">
                  <a:moveTo>
                    <a:pt x="384557" y="274320"/>
                  </a:moveTo>
                  <a:lnTo>
                    <a:pt x="379400" y="278130"/>
                  </a:lnTo>
                  <a:lnTo>
                    <a:pt x="374168" y="281940"/>
                  </a:lnTo>
                  <a:lnTo>
                    <a:pt x="370225" y="281940"/>
                  </a:lnTo>
                  <a:lnTo>
                    <a:pt x="366223" y="293370"/>
                  </a:lnTo>
                  <a:lnTo>
                    <a:pt x="362304" y="299720"/>
                  </a:lnTo>
                  <a:lnTo>
                    <a:pt x="439812" y="299720"/>
                  </a:lnTo>
                  <a:lnTo>
                    <a:pt x="438517" y="294640"/>
                  </a:lnTo>
                  <a:lnTo>
                    <a:pt x="397569" y="294640"/>
                  </a:lnTo>
                  <a:lnTo>
                    <a:pt x="393663" y="292100"/>
                  </a:lnTo>
                  <a:lnTo>
                    <a:pt x="389751" y="281940"/>
                  </a:lnTo>
                  <a:lnTo>
                    <a:pt x="384557" y="274320"/>
                  </a:lnTo>
                  <a:close/>
                </a:path>
                <a:path w="5760085" h="603250">
                  <a:moveTo>
                    <a:pt x="121547" y="274320"/>
                  </a:moveTo>
                  <a:lnTo>
                    <a:pt x="117653" y="278130"/>
                  </a:lnTo>
                  <a:lnTo>
                    <a:pt x="109906" y="298450"/>
                  </a:lnTo>
                  <a:lnTo>
                    <a:pt x="128700" y="298450"/>
                  </a:lnTo>
                  <a:lnTo>
                    <a:pt x="125439" y="284480"/>
                  </a:lnTo>
                  <a:lnTo>
                    <a:pt x="121547" y="274320"/>
                  </a:lnTo>
                  <a:close/>
                </a:path>
                <a:path w="5760085" h="603250">
                  <a:moveTo>
                    <a:pt x="674138" y="280670"/>
                  </a:moveTo>
                  <a:lnTo>
                    <a:pt x="670230" y="287020"/>
                  </a:lnTo>
                  <a:lnTo>
                    <a:pt x="666351" y="288290"/>
                  </a:lnTo>
                  <a:lnTo>
                    <a:pt x="662463" y="294640"/>
                  </a:lnTo>
                  <a:lnTo>
                    <a:pt x="658563" y="298450"/>
                  </a:lnTo>
                  <a:lnTo>
                    <a:pt x="678903" y="298450"/>
                  </a:lnTo>
                  <a:lnTo>
                    <a:pt x="678036" y="295909"/>
                  </a:lnTo>
                  <a:lnTo>
                    <a:pt x="674138" y="280670"/>
                  </a:lnTo>
                  <a:close/>
                </a:path>
                <a:path w="5760085" h="603250">
                  <a:moveTo>
                    <a:pt x="4781451" y="279400"/>
                  </a:moveTo>
                  <a:lnTo>
                    <a:pt x="4753103" y="279400"/>
                  </a:lnTo>
                  <a:lnTo>
                    <a:pt x="4743044" y="287020"/>
                  </a:lnTo>
                  <a:lnTo>
                    <a:pt x="4729671" y="290830"/>
                  </a:lnTo>
                  <a:lnTo>
                    <a:pt x="4723169" y="298450"/>
                  </a:lnTo>
                  <a:lnTo>
                    <a:pt x="4732275" y="298450"/>
                  </a:lnTo>
                  <a:lnTo>
                    <a:pt x="4738333" y="297180"/>
                  </a:lnTo>
                  <a:lnTo>
                    <a:pt x="4783722" y="297180"/>
                  </a:lnTo>
                  <a:lnTo>
                    <a:pt x="4796664" y="292100"/>
                  </a:lnTo>
                  <a:lnTo>
                    <a:pt x="4781451" y="279400"/>
                  </a:lnTo>
                  <a:close/>
                </a:path>
                <a:path w="5760085" h="603250">
                  <a:moveTo>
                    <a:pt x="350651" y="254000"/>
                  </a:moveTo>
                  <a:lnTo>
                    <a:pt x="346859" y="261620"/>
                  </a:lnTo>
                  <a:lnTo>
                    <a:pt x="343053" y="267970"/>
                  </a:lnTo>
                  <a:lnTo>
                    <a:pt x="339162" y="274320"/>
                  </a:lnTo>
                  <a:lnTo>
                    <a:pt x="331357" y="279400"/>
                  </a:lnTo>
                  <a:lnTo>
                    <a:pt x="327445" y="285750"/>
                  </a:lnTo>
                  <a:lnTo>
                    <a:pt x="323553" y="297180"/>
                  </a:lnTo>
                  <a:lnTo>
                    <a:pt x="361736" y="297180"/>
                  </a:lnTo>
                  <a:lnTo>
                    <a:pt x="358611" y="283209"/>
                  </a:lnTo>
                  <a:lnTo>
                    <a:pt x="354533" y="257809"/>
                  </a:lnTo>
                  <a:lnTo>
                    <a:pt x="350651" y="254000"/>
                  </a:lnTo>
                  <a:close/>
                </a:path>
                <a:path w="5760085" h="603250">
                  <a:moveTo>
                    <a:pt x="5343517" y="262890"/>
                  </a:moveTo>
                  <a:lnTo>
                    <a:pt x="5320856" y="262890"/>
                  </a:lnTo>
                  <a:lnTo>
                    <a:pt x="5341176" y="297180"/>
                  </a:lnTo>
                  <a:lnTo>
                    <a:pt x="5344999" y="284480"/>
                  </a:lnTo>
                  <a:lnTo>
                    <a:pt x="5366084" y="284480"/>
                  </a:lnTo>
                  <a:lnTo>
                    <a:pt x="5360848" y="281940"/>
                  </a:lnTo>
                  <a:lnTo>
                    <a:pt x="5345913" y="267970"/>
                  </a:lnTo>
                  <a:lnTo>
                    <a:pt x="5343517" y="262890"/>
                  </a:lnTo>
                  <a:close/>
                </a:path>
                <a:path w="5760085" h="603250">
                  <a:moveTo>
                    <a:pt x="5377468" y="292100"/>
                  </a:moveTo>
                  <a:lnTo>
                    <a:pt x="5360645" y="292100"/>
                  </a:lnTo>
                  <a:lnTo>
                    <a:pt x="5366640" y="295909"/>
                  </a:lnTo>
                  <a:lnTo>
                    <a:pt x="5370640" y="297180"/>
                  </a:lnTo>
                  <a:lnTo>
                    <a:pt x="5377468" y="292100"/>
                  </a:lnTo>
                  <a:close/>
                </a:path>
                <a:path w="5760085" h="603250">
                  <a:moveTo>
                    <a:pt x="413163" y="271780"/>
                  </a:moveTo>
                  <a:lnTo>
                    <a:pt x="409263" y="276859"/>
                  </a:lnTo>
                  <a:lnTo>
                    <a:pt x="405359" y="285750"/>
                  </a:lnTo>
                  <a:lnTo>
                    <a:pt x="401469" y="293370"/>
                  </a:lnTo>
                  <a:lnTo>
                    <a:pt x="397569" y="294640"/>
                  </a:lnTo>
                  <a:lnTo>
                    <a:pt x="438517" y="294640"/>
                  </a:lnTo>
                  <a:lnTo>
                    <a:pt x="437223" y="289559"/>
                  </a:lnTo>
                  <a:lnTo>
                    <a:pt x="432664" y="289559"/>
                  </a:lnTo>
                  <a:lnTo>
                    <a:pt x="427980" y="281940"/>
                  </a:lnTo>
                  <a:lnTo>
                    <a:pt x="420968" y="281940"/>
                  </a:lnTo>
                  <a:lnTo>
                    <a:pt x="417064" y="273050"/>
                  </a:lnTo>
                  <a:lnTo>
                    <a:pt x="413163" y="271780"/>
                  </a:lnTo>
                  <a:close/>
                </a:path>
                <a:path w="5760085" h="603250">
                  <a:moveTo>
                    <a:pt x="5157806" y="290830"/>
                  </a:moveTo>
                  <a:lnTo>
                    <a:pt x="5150003" y="290830"/>
                  </a:lnTo>
                  <a:lnTo>
                    <a:pt x="5159261" y="294640"/>
                  </a:lnTo>
                  <a:lnTo>
                    <a:pt x="5157806" y="290830"/>
                  </a:lnTo>
                  <a:close/>
                </a:path>
                <a:path w="5760085" h="603250">
                  <a:moveTo>
                    <a:pt x="817887" y="285750"/>
                  </a:moveTo>
                  <a:lnTo>
                    <a:pt x="814008" y="285750"/>
                  </a:lnTo>
                  <a:lnTo>
                    <a:pt x="810146" y="293370"/>
                  </a:lnTo>
                  <a:lnTo>
                    <a:pt x="823053" y="293370"/>
                  </a:lnTo>
                  <a:lnTo>
                    <a:pt x="821766" y="290830"/>
                  </a:lnTo>
                  <a:lnTo>
                    <a:pt x="817887" y="285750"/>
                  </a:lnTo>
                  <a:close/>
                </a:path>
                <a:path w="5760085" h="603250">
                  <a:moveTo>
                    <a:pt x="5673275" y="279400"/>
                  </a:moveTo>
                  <a:lnTo>
                    <a:pt x="5612372" y="279400"/>
                  </a:lnTo>
                  <a:lnTo>
                    <a:pt x="5605209" y="288290"/>
                  </a:lnTo>
                  <a:lnTo>
                    <a:pt x="5599024" y="293370"/>
                  </a:lnTo>
                  <a:lnTo>
                    <a:pt x="5759996" y="293369"/>
                  </a:lnTo>
                  <a:lnTo>
                    <a:pt x="5759996" y="284480"/>
                  </a:lnTo>
                  <a:lnTo>
                    <a:pt x="5675173" y="284480"/>
                  </a:lnTo>
                  <a:lnTo>
                    <a:pt x="5673275" y="279400"/>
                  </a:lnTo>
                  <a:close/>
                </a:path>
                <a:path w="5760085" h="603250">
                  <a:moveTo>
                    <a:pt x="5322449" y="269240"/>
                  </a:moveTo>
                  <a:lnTo>
                    <a:pt x="5308855" y="269240"/>
                  </a:lnTo>
                  <a:lnTo>
                    <a:pt x="5326495" y="292100"/>
                  </a:lnTo>
                  <a:lnTo>
                    <a:pt x="5325911" y="287020"/>
                  </a:lnTo>
                  <a:lnTo>
                    <a:pt x="5324996" y="279400"/>
                  </a:lnTo>
                  <a:lnTo>
                    <a:pt x="5322449" y="269240"/>
                  </a:lnTo>
                  <a:close/>
                </a:path>
                <a:path w="5760085" h="603250">
                  <a:moveTo>
                    <a:pt x="206915" y="289559"/>
                  </a:moveTo>
                  <a:lnTo>
                    <a:pt x="203010" y="289559"/>
                  </a:lnTo>
                  <a:lnTo>
                    <a:pt x="199119" y="290830"/>
                  </a:lnTo>
                  <a:lnTo>
                    <a:pt x="207563" y="290830"/>
                  </a:lnTo>
                  <a:lnTo>
                    <a:pt x="206915" y="289559"/>
                  </a:lnTo>
                  <a:close/>
                </a:path>
                <a:path w="5760085" h="603250">
                  <a:moveTo>
                    <a:pt x="5351341" y="222250"/>
                  </a:moveTo>
                  <a:lnTo>
                    <a:pt x="5260823" y="222250"/>
                  </a:lnTo>
                  <a:lnTo>
                    <a:pt x="5259096" y="229870"/>
                  </a:lnTo>
                  <a:lnTo>
                    <a:pt x="5255565" y="237490"/>
                  </a:lnTo>
                  <a:lnTo>
                    <a:pt x="5242180" y="247650"/>
                  </a:lnTo>
                  <a:lnTo>
                    <a:pt x="5223854" y="255270"/>
                  </a:lnTo>
                  <a:lnTo>
                    <a:pt x="5204689" y="261620"/>
                  </a:lnTo>
                  <a:lnTo>
                    <a:pt x="5171237" y="271780"/>
                  </a:lnTo>
                  <a:lnTo>
                    <a:pt x="5181893" y="276859"/>
                  </a:lnTo>
                  <a:lnTo>
                    <a:pt x="5180750" y="290830"/>
                  </a:lnTo>
                  <a:lnTo>
                    <a:pt x="5198860" y="283209"/>
                  </a:lnTo>
                  <a:lnTo>
                    <a:pt x="5218600" y="283209"/>
                  </a:lnTo>
                  <a:lnTo>
                    <a:pt x="5221377" y="274320"/>
                  </a:lnTo>
                  <a:lnTo>
                    <a:pt x="5244351" y="274320"/>
                  </a:lnTo>
                  <a:lnTo>
                    <a:pt x="5253394" y="267970"/>
                  </a:lnTo>
                  <a:lnTo>
                    <a:pt x="5322130" y="267970"/>
                  </a:lnTo>
                  <a:lnTo>
                    <a:pt x="5320856" y="262890"/>
                  </a:lnTo>
                  <a:lnTo>
                    <a:pt x="5343517" y="262890"/>
                  </a:lnTo>
                  <a:lnTo>
                    <a:pt x="5342319" y="260350"/>
                  </a:lnTo>
                  <a:lnTo>
                    <a:pt x="5347767" y="251459"/>
                  </a:lnTo>
                  <a:lnTo>
                    <a:pt x="5362357" y="251459"/>
                  </a:lnTo>
                  <a:lnTo>
                    <a:pt x="5362207" y="250190"/>
                  </a:lnTo>
                  <a:lnTo>
                    <a:pt x="5375064" y="250190"/>
                  </a:lnTo>
                  <a:lnTo>
                    <a:pt x="5373777" y="243840"/>
                  </a:lnTo>
                  <a:lnTo>
                    <a:pt x="5396434" y="243840"/>
                  </a:lnTo>
                  <a:lnTo>
                    <a:pt x="5363401" y="231140"/>
                  </a:lnTo>
                  <a:lnTo>
                    <a:pt x="5361991" y="229870"/>
                  </a:lnTo>
                  <a:lnTo>
                    <a:pt x="5364595" y="228600"/>
                  </a:lnTo>
                  <a:lnTo>
                    <a:pt x="5368481" y="228600"/>
                  </a:lnTo>
                  <a:lnTo>
                    <a:pt x="5351341" y="222250"/>
                  </a:lnTo>
                  <a:close/>
                </a:path>
                <a:path w="5760085" h="603250">
                  <a:moveTo>
                    <a:pt x="5244351" y="274320"/>
                  </a:moveTo>
                  <a:lnTo>
                    <a:pt x="5221377" y="274320"/>
                  </a:lnTo>
                  <a:lnTo>
                    <a:pt x="5227283" y="283209"/>
                  </a:lnTo>
                  <a:lnTo>
                    <a:pt x="5228133" y="290830"/>
                  </a:lnTo>
                  <a:lnTo>
                    <a:pt x="5233975" y="289559"/>
                  </a:lnTo>
                  <a:lnTo>
                    <a:pt x="5244351" y="274320"/>
                  </a:lnTo>
                  <a:close/>
                </a:path>
                <a:path w="5760085" h="603250">
                  <a:moveTo>
                    <a:pt x="5543521" y="276859"/>
                  </a:moveTo>
                  <a:lnTo>
                    <a:pt x="5507483" y="276859"/>
                  </a:lnTo>
                  <a:lnTo>
                    <a:pt x="5533975" y="290830"/>
                  </a:lnTo>
                  <a:lnTo>
                    <a:pt x="5532413" y="281940"/>
                  </a:lnTo>
                  <a:lnTo>
                    <a:pt x="5556488" y="281940"/>
                  </a:lnTo>
                  <a:lnTo>
                    <a:pt x="5562524" y="279400"/>
                  </a:lnTo>
                  <a:lnTo>
                    <a:pt x="5582857" y="279400"/>
                  </a:lnTo>
                  <a:lnTo>
                    <a:pt x="5583221" y="278130"/>
                  </a:lnTo>
                  <a:lnTo>
                    <a:pt x="5545189" y="278130"/>
                  </a:lnTo>
                  <a:lnTo>
                    <a:pt x="5543521" y="276859"/>
                  </a:lnTo>
                  <a:close/>
                </a:path>
                <a:path w="5760085" h="603250">
                  <a:moveTo>
                    <a:pt x="436576" y="287020"/>
                  </a:moveTo>
                  <a:lnTo>
                    <a:pt x="432664" y="289559"/>
                  </a:lnTo>
                  <a:lnTo>
                    <a:pt x="437223" y="289559"/>
                  </a:lnTo>
                  <a:lnTo>
                    <a:pt x="436576" y="287020"/>
                  </a:lnTo>
                  <a:close/>
                </a:path>
                <a:path w="5760085" h="603250">
                  <a:moveTo>
                    <a:pt x="588500" y="271780"/>
                  </a:moveTo>
                  <a:lnTo>
                    <a:pt x="584615" y="274320"/>
                  </a:lnTo>
                  <a:lnTo>
                    <a:pt x="580723" y="281940"/>
                  </a:lnTo>
                  <a:lnTo>
                    <a:pt x="576797" y="285750"/>
                  </a:lnTo>
                  <a:lnTo>
                    <a:pt x="568998" y="289559"/>
                  </a:lnTo>
                  <a:lnTo>
                    <a:pt x="604069" y="289559"/>
                  </a:lnTo>
                  <a:lnTo>
                    <a:pt x="603096" y="287020"/>
                  </a:lnTo>
                  <a:lnTo>
                    <a:pt x="592405" y="287020"/>
                  </a:lnTo>
                  <a:lnTo>
                    <a:pt x="588500" y="271780"/>
                  </a:lnTo>
                  <a:close/>
                </a:path>
                <a:path w="5760085" h="603250">
                  <a:moveTo>
                    <a:pt x="615668" y="250190"/>
                  </a:moveTo>
                  <a:lnTo>
                    <a:pt x="611828" y="251459"/>
                  </a:lnTo>
                  <a:lnTo>
                    <a:pt x="607975" y="284480"/>
                  </a:lnTo>
                  <a:lnTo>
                    <a:pt x="604069" y="289559"/>
                  </a:lnTo>
                  <a:lnTo>
                    <a:pt x="623090" y="289559"/>
                  </a:lnTo>
                  <a:lnTo>
                    <a:pt x="619552" y="269240"/>
                  </a:lnTo>
                  <a:lnTo>
                    <a:pt x="615668" y="250190"/>
                  </a:lnTo>
                  <a:close/>
                </a:path>
                <a:path w="5760085" h="603250">
                  <a:moveTo>
                    <a:pt x="5165991" y="273050"/>
                  </a:moveTo>
                  <a:lnTo>
                    <a:pt x="5085906" y="273050"/>
                  </a:lnTo>
                  <a:lnTo>
                    <a:pt x="5077715" y="289559"/>
                  </a:lnTo>
                  <a:lnTo>
                    <a:pt x="5091139" y="285750"/>
                  </a:lnTo>
                  <a:lnTo>
                    <a:pt x="5155866" y="285750"/>
                  </a:lnTo>
                  <a:lnTo>
                    <a:pt x="5151502" y="274320"/>
                  </a:lnTo>
                  <a:lnTo>
                    <a:pt x="5166658" y="274320"/>
                  </a:lnTo>
                  <a:lnTo>
                    <a:pt x="5165991" y="273050"/>
                  </a:lnTo>
                  <a:close/>
                </a:path>
                <a:path w="5760085" h="603250">
                  <a:moveTo>
                    <a:pt x="284686" y="276859"/>
                  </a:moveTo>
                  <a:lnTo>
                    <a:pt x="280823" y="283209"/>
                  </a:lnTo>
                  <a:lnTo>
                    <a:pt x="276894" y="288290"/>
                  </a:lnTo>
                  <a:lnTo>
                    <a:pt x="319228" y="288290"/>
                  </a:lnTo>
                  <a:lnTo>
                    <a:pt x="318365" y="285750"/>
                  </a:lnTo>
                  <a:lnTo>
                    <a:pt x="296355" y="285750"/>
                  </a:lnTo>
                  <a:lnTo>
                    <a:pt x="288561" y="278130"/>
                  </a:lnTo>
                  <a:lnTo>
                    <a:pt x="284686" y="276859"/>
                  </a:lnTo>
                  <a:close/>
                </a:path>
                <a:path w="5760085" h="603250">
                  <a:moveTo>
                    <a:pt x="596290" y="271780"/>
                  </a:moveTo>
                  <a:lnTo>
                    <a:pt x="592405" y="287020"/>
                  </a:lnTo>
                  <a:lnTo>
                    <a:pt x="603096" y="287020"/>
                  </a:lnTo>
                  <a:lnTo>
                    <a:pt x="600176" y="279400"/>
                  </a:lnTo>
                  <a:lnTo>
                    <a:pt x="596290" y="271780"/>
                  </a:lnTo>
                  <a:close/>
                </a:path>
                <a:path w="5760085" h="603250">
                  <a:moveTo>
                    <a:pt x="5556488" y="281940"/>
                  </a:moveTo>
                  <a:lnTo>
                    <a:pt x="5544922" y="281940"/>
                  </a:lnTo>
                  <a:lnTo>
                    <a:pt x="5544414" y="287020"/>
                  </a:lnTo>
                  <a:lnTo>
                    <a:pt x="5556488" y="281940"/>
                  </a:lnTo>
                  <a:close/>
                </a:path>
                <a:path w="5760085" h="603250">
                  <a:moveTo>
                    <a:pt x="301524" y="275590"/>
                  </a:moveTo>
                  <a:lnTo>
                    <a:pt x="296355" y="285750"/>
                  </a:lnTo>
                  <a:lnTo>
                    <a:pt x="318365" y="285750"/>
                  </a:lnTo>
                  <a:lnTo>
                    <a:pt x="317070" y="281940"/>
                  </a:lnTo>
                  <a:lnTo>
                    <a:pt x="311913" y="281940"/>
                  </a:lnTo>
                  <a:lnTo>
                    <a:pt x="306744" y="279400"/>
                  </a:lnTo>
                  <a:lnTo>
                    <a:pt x="301524" y="275590"/>
                  </a:lnTo>
                  <a:close/>
                </a:path>
                <a:path w="5760085" h="603250">
                  <a:moveTo>
                    <a:pt x="491081" y="248920"/>
                  </a:moveTo>
                  <a:lnTo>
                    <a:pt x="487192" y="255270"/>
                  </a:lnTo>
                  <a:lnTo>
                    <a:pt x="483312" y="281940"/>
                  </a:lnTo>
                  <a:lnTo>
                    <a:pt x="478054" y="281940"/>
                  </a:lnTo>
                  <a:lnTo>
                    <a:pt x="472885" y="285750"/>
                  </a:lnTo>
                  <a:lnTo>
                    <a:pt x="506685" y="285750"/>
                  </a:lnTo>
                  <a:lnTo>
                    <a:pt x="502798" y="284480"/>
                  </a:lnTo>
                  <a:lnTo>
                    <a:pt x="498907" y="275590"/>
                  </a:lnTo>
                  <a:lnTo>
                    <a:pt x="494985" y="256540"/>
                  </a:lnTo>
                  <a:lnTo>
                    <a:pt x="491081" y="248920"/>
                  </a:lnTo>
                  <a:close/>
                </a:path>
                <a:path w="5760085" h="603250">
                  <a:moveTo>
                    <a:pt x="522293" y="257809"/>
                  </a:moveTo>
                  <a:lnTo>
                    <a:pt x="518397" y="260350"/>
                  </a:lnTo>
                  <a:lnTo>
                    <a:pt x="514490" y="276859"/>
                  </a:lnTo>
                  <a:lnTo>
                    <a:pt x="510579" y="281940"/>
                  </a:lnTo>
                  <a:lnTo>
                    <a:pt x="506685" y="285750"/>
                  </a:lnTo>
                  <a:lnTo>
                    <a:pt x="553417" y="285750"/>
                  </a:lnTo>
                  <a:lnTo>
                    <a:pt x="541739" y="281940"/>
                  </a:lnTo>
                  <a:lnTo>
                    <a:pt x="539798" y="278130"/>
                  </a:lnTo>
                  <a:lnTo>
                    <a:pt x="530086" y="278130"/>
                  </a:lnTo>
                  <a:lnTo>
                    <a:pt x="526186" y="265430"/>
                  </a:lnTo>
                  <a:lnTo>
                    <a:pt x="522293" y="257809"/>
                  </a:lnTo>
                  <a:close/>
                </a:path>
                <a:path w="5760085" h="603250">
                  <a:moveTo>
                    <a:pt x="4765358" y="196850"/>
                  </a:moveTo>
                  <a:lnTo>
                    <a:pt x="4761459" y="222250"/>
                  </a:lnTo>
                  <a:lnTo>
                    <a:pt x="4756354" y="228600"/>
                  </a:lnTo>
                  <a:lnTo>
                    <a:pt x="4759211" y="234950"/>
                  </a:lnTo>
                  <a:lnTo>
                    <a:pt x="4747210" y="240029"/>
                  </a:lnTo>
                  <a:lnTo>
                    <a:pt x="4748683" y="246379"/>
                  </a:lnTo>
                  <a:lnTo>
                    <a:pt x="4732148" y="251459"/>
                  </a:lnTo>
                  <a:lnTo>
                    <a:pt x="4756570" y="256540"/>
                  </a:lnTo>
                  <a:lnTo>
                    <a:pt x="4723499" y="271780"/>
                  </a:lnTo>
                  <a:lnTo>
                    <a:pt x="4736174" y="279400"/>
                  </a:lnTo>
                  <a:lnTo>
                    <a:pt x="4728985" y="285750"/>
                  </a:lnTo>
                  <a:lnTo>
                    <a:pt x="4741495" y="281940"/>
                  </a:lnTo>
                  <a:lnTo>
                    <a:pt x="4748454" y="280670"/>
                  </a:lnTo>
                  <a:lnTo>
                    <a:pt x="4753103" y="279400"/>
                  </a:lnTo>
                  <a:lnTo>
                    <a:pt x="4781451" y="279400"/>
                  </a:lnTo>
                  <a:lnTo>
                    <a:pt x="4775366" y="274320"/>
                  </a:lnTo>
                  <a:lnTo>
                    <a:pt x="4803953" y="274320"/>
                  </a:lnTo>
                  <a:lnTo>
                    <a:pt x="4808767" y="273050"/>
                  </a:lnTo>
                  <a:lnTo>
                    <a:pt x="4779887" y="259079"/>
                  </a:lnTo>
                  <a:lnTo>
                    <a:pt x="4789704" y="248920"/>
                  </a:lnTo>
                  <a:lnTo>
                    <a:pt x="4776534" y="241300"/>
                  </a:lnTo>
                  <a:lnTo>
                    <a:pt x="4778363" y="233679"/>
                  </a:lnTo>
                  <a:lnTo>
                    <a:pt x="4769892" y="228600"/>
                  </a:lnTo>
                  <a:lnTo>
                    <a:pt x="4772699" y="226059"/>
                  </a:lnTo>
                  <a:lnTo>
                    <a:pt x="4768165" y="219709"/>
                  </a:lnTo>
                  <a:lnTo>
                    <a:pt x="4765358" y="196850"/>
                  </a:lnTo>
                  <a:close/>
                </a:path>
                <a:path w="5760085" h="603250">
                  <a:moveTo>
                    <a:pt x="4803953" y="274320"/>
                  </a:moveTo>
                  <a:lnTo>
                    <a:pt x="4775366" y="274320"/>
                  </a:lnTo>
                  <a:lnTo>
                    <a:pt x="4804373" y="285750"/>
                  </a:lnTo>
                  <a:lnTo>
                    <a:pt x="4799140" y="275590"/>
                  </a:lnTo>
                  <a:lnTo>
                    <a:pt x="4803953" y="274320"/>
                  </a:lnTo>
                  <a:close/>
                </a:path>
                <a:path w="5760085" h="603250">
                  <a:moveTo>
                    <a:pt x="269122" y="275590"/>
                  </a:moveTo>
                  <a:lnTo>
                    <a:pt x="265278" y="283209"/>
                  </a:lnTo>
                  <a:lnTo>
                    <a:pt x="261358" y="284480"/>
                  </a:lnTo>
                  <a:lnTo>
                    <a:pt x="274562" y="284480"/>
                  </a:lnTo>
                  <a:lnTo>
                    <a:pt x="269122" y="275590"/>
                  </a:lnTo>
                  <a:close/>
                </a:path>
                <a:path w="5760085" h="603250">
                  <a:moveTo>
                    <a:pt x="5322130" y="267970"/>
                  </a:moveTo>
                  <a:lnTo>
                    <a:pt x="5253394" y="267970"/>
                  </a:lnTo>
                  <a:lnTo>
                    <a:pt x="5242548" y="280670"/>
                  </a:lnTo>
                  <a:lnTo>
                    <a:pt x="5244034" y="284480"/>
                  </a:lnTo>
                  <a:lnTo>
                    <a:pt x="5248707" y="281940"/>
                  </a:lnTo>
                  <a:lnTo>
                    <a:pt x="5309632" y="281940"/>
                  </a:lnTo>
                  <a:lnTo>
                    <a:pt x="5307686" y="276859"/>
                  </a:lnTo>
                  <a:lnTo>
                    <a:pt x="5308855" y="269240"/>
                  </a:lnTo>
                  <a:lnTo>
                    <a:pt x="5322449" y="269240"/>
                  </a:lnTo>
                  <a:lnTo>
                    <a:pt x="5322130" y="267970"/>
                  </a:lnTo>
                  <a:close/>
                </a:path>
                <a:path w="5760085" h="603250">
                  <a:moveTo>
                    <a:pt x="5759996" y="266700"/>
                  </a:moveTo>
                  <a:lnTo>
                    <a:pt x="5672519" y="266700"/>
                  </a:lnTo>
                  <a:lnTo>
                    <a:pt x="5679174" y="274320"/>
                  </a:lnTo>
                  <a:lnTo>
                    <a:pt x="5678260" y="275590"/>
                  </a:lnTo>
                  <a:lnTo>
                    <a:pt x="5677345" y="278130"/>
                  </a:lnTo>
                  <a:lnTo>
                    <a:pt x="5676418" y="281940"/>
                  </a:lnTo>
                  <a:lnTo>
                    <a:pt x="5675999" y="283209"/>
                  </a:lnTo>
                  <a:lnTo>
                    <a:pt x="5675580" y="283209"/>
                  </a:lnTo>
                  <a:lnTo>
                    <a:pt x="5675173" y="284480"/>
                  </a:lnTo>
                  <a:lnTo>
                    <a:pt x="5759996" y="284480"/>
                  </a:lnTo>
                  <a:lnTo>
                    <a:pt x="5759996" y="266700"/>
                  </a:lnTo>
                  <a:close/>
                </a:path>
                <a:path w="5760085" h="603250">
                  <a:moveTo>
                    <a:pt x="5161319" y="264159"/>
                  </a:moveTo>
                  <a:lnTo>
                    <a:pt x="5072660" y="264159"/>
                  </a:lnTo>
                  <a:lnTo>
                    <a:pt x="5061840" y="283209"/>
                  </a:lnTo>
                  <a:lnTo>
                    <a:pt x="5085906" y="273050"/>
                  </a:lnTo>
                  <a:lnTo>
                    <a:pt x="5165991" y="273050"/>
                  </a:lnTo>
                  <a:lnTo>
                    <a:pt x="5161319" y="264159"/>
                  </a:lnTo>
                  <a:close/>
                </a:path>
                <a:path w="5760085" h="603250">
                  <a:moveTo>
                    <a:pt x="5608016" y="271780"/>
                  </a:moveTo>
                  <a:lnTo>
                    <a:pt x="5585042" y="271780"/>
                  </a:lnTo>
                  <a:lnTo>
                    <a:pt x="5590960" y="279400"/>
                  </a:lnTo>
                  <a:lnTo>
                    <a:pt x="5591315" y="283209"/>
                  </a:lnTo>
                  <a:lnTo>
                    <a:pt x="5600312" y="283209"/>
                  </a:lnTo>
                  <a:lnTo>
                    <a:pt x="5603876" y="278130"/>
                  </a:lnTo>
                  <a:lnTo>
                    <a:pt x="5608016" y="271780"/>
                  </a:lnTo>
                  <a:close/>
                </a:path>
                <a:path w="5760085" h="603250">
                  <a:moveTo>
                    <a:pt x="315775" y="278130"/>
                  </a:moveTo>
                  <a:lnTo>
                    <a:pt x="311913" y="281940"/>
                  </a:lnTo>
                  <a:lnTo>
                    <a:pt x="317070" y="281940"/>
                  </a:lnTo>
                  <a:lnTo>
                    <a:pt x="315775" y="278130"/>
                  </a:lnTo>
                  <a:close/>
                </a:path>
                <a:path w="5760085" h="603250">
                  <a:moveTo>
                    <a:pt x="424858" y="276859"/>
                  </a:moveTo>
                  <a:lnTo>
                    <a:pt x="420968" y="281940"/>
                  </a:lnTo>
                  <a:lnTo>
                    <a:pt x="427980" y="281940"/>
                  </a:lnTo>
                  <a:lnTo>
                    <a:pt x="424858" y="276859"/>
                  </a:lnTo>
                  <a:close/>
                </a:path>
                <a:path w="5760085" h="603250">
                  <a:moveTo>
                    <a:pt x="5759996" y="264159"/>
                  </a:moveTo>
                  <a:lnTo>
                    <a:pt x="5617071" y="264159"/>
                  </a:lnTo>
                  <a:lnTo>
                    <a:pt x="5606225" y="276859"/>
                  </a:lnTo>
                  <a:lnTo>
                    <a:pt x="5607698" y="281940"/>
                  </a:lnTo>
                  <a:lnTo>
                    <a:pt x="5612372" y="279400"/>
                  </a:lnTo>
                  <a:lnTo>
                    <a:pt x="5673275" y="279400"/>
                  </a:lnTo>
                  <a:lnTo>
                    <a:pt x="5671376" y="274320"/>
                  </a:lnTo>
                  <a:lnTo>
                    <a:pt x="5672519" y="266700"/>
                  </a:lnTo>
                  <a:lnTo>
                    <a:pt x="5759996" y="266700"/>
                  </a:lnTo>
                  <a:lnTo>
                    <a:pt x="5759996" y="264159"/>
                  </a:lnTo>
                  <a:close/>
                </a:path>
                <a:path w="5760085" h="603250">
                  <a:moveTo>
                    <a:pt x="533972" y="269240"/>
                  </a:moveTo>
                  <a:lnTo>
                    <a:pt x="530086" y="278130"/>
                  </a:lnTo>
                  <a:lnTo>
                    <a:pt x="539798" y="278130"/>
                  </a:lnTo>
                  <a:lnTo>
                    <a:pt x="537857" y="274320"/>
                  </a:lnTo>
                  <a:lnTo>
                    <a:pt x="533972" y="269240"/>
                  </a:lnTo>
                  <a:close/>
                </a:path>
                <a:path w="5760085" h="603250">
                  <a:moveTo>
                    <a:pt x="5425593" y="267970"/>
                  </a:moveTo>
                  <a:lnTo>
                    <a:pt x="5417211" y="267970"/>
                  </a:lnTo>
                  <a:lnTo>
                    <a:pt x="5418532" y="278130"/>
                  </a:lnTo>
                  <a:lnTo>
                    <a:pt x="5425593" y="267970"/>
                  </a:lnTo>
                  <a:close/>
                </a:path>
                <a:path w="5760085" h="603250">
                  <a:moveTo>
                    <a:pt x="5550167" y="256540"/>
                  </a:moveTo>
                  <a:lnTo>
                    <a:pt x="5542535" y="256540"/>
                  </a:lnTo>
                  <a:lnTo>
                    <a:pt x="5553723" y="262890"/>
                  </a:lnTo>
                  <a:lnTo>
                    <a:pt x="5534915" y="269240"/>
                  </a:lnTo>
                  <a:lnTo>
                    <a:pt x="5545570" y="273050"/>
                  </a:lnTo>
                  <a:lnTo>
                    <a:pt x="5545189" y="278130"/>
                  </a:lnTo>
                  <a:lnTo>
                    <a:pt x="5583221" y="278130"/>
                  </a:lnTo>
                  <a:lnTo>
                    <a:pt x="5585042" y="271780"/>
                  </a:lnTo>
                  <a:lnTo>
                    <a:pt x="5608016" y="271780"/>
                  </a:lnTo>
                  <a:lnTo>
                    <a:pt x="5617071" y="264159"/>
                  </a:lnTo>
                  <a:lnTo>
                    <a:pt x="5759996" y="264159"/>
                  </a:lnTo>
                  <a:lnTo>
                    <a:pt x="5759996" y="262890"/>
                  </a:lnTo>
                  <a:lnTo>
                    <a:pt x="5554930" y="262890"/>
                  </a:lnTo>
                  <a:lnTo>
                    <a:pt x="5550167" y="256540"/>
                  </a:lnTo>
                  <a:close/>
                </a:path>
                <a:path w="5760085" h="603250">
                  <a:moveTo>
                    <a:pt x="1066914" y="266700"/>
                  </a:moveTo>
                  <a:lnTo>
                    <a:pt x="1064997" y="276859"/>
                  </a:lnTo>
                  <a:lnTo>
                    <a:pt x="1069655" y="276859"/>
                  </a:lnTo>
                  <a:lnTo>
                    <a:pt x="1068833" y="269240"/>
                  </a:lnTo>
                  <a:lnTo>
                    <a:pt x="1066914" y="266700"/>
                  </a:lnTo>
                  <a:close/>
                </a:path>
                <a:path w="5760085" h="603250">
                  <a:moveTo>
                    <a:pt x="5166658" y="274320"/>
                  </a:moveTo>
                  <a:lnTo>
                    <a:pt x="5151502" y="274320"/>
                  </a:lnTo>
                  <a:lnTo>
                    <a:pt x="5167326" y="275590"/>
                  </a:lnTo>
                  <a:lnTo>
                    <a:pt x="5166658" y="274320"/>
                  </a:lnTo>
                  <a:close/>
                </a:path>
                <a:path w="5760085" h="603250">
                  <a:moveTo>
                    <a:pt x="5362357" y="251459"/>
                  </a:moveTo>
                  <a:lnTo>
                    <a:pt x="5347767" y="251459"/>
                  </a:lnTo>
                  <a:lnTo>
                    <a:pt x="5352365" y="257809"/>
                  </a:lnTo>
                  <a:lnTo>
                    <a:pt x="5364900" y="273050"/>
                  </a:lnTo>
                  <a:lnTo>
                    <a:pt x="5362357" y="251459"/>
                  </a:lnTo>
                  <a:close/>
                </a:path>
                <a:path w="5760085" h="603250">
                  <a:moveTo>
                    <a:pt x="5437268" y="262890"/>
                  </a:moveTo>
                  <a:lnTo>
                    <a:pt x="5429124" y="262890"/>
                  </a:lnTo>
                  <a:lnTo>
                    <a:pt x="5435690" y="273050"/>
                  </a:lnTo>
                  <a:lnTo>
                    <a:pt x="5437268" y="262890"/>
                  </a:lnTo>
                  <a:close/>
                </a:path>
                <a:path w="5760085" h="603250">
                  <a:moveTo>
                    <a:pt x="4925759" y="260350"/>
                  </a:moveTo>
                  <a:lnTo>
                    <a:pt x="4932617" y="269240"/>
                  </a:lnTo>
                  <a:lnTo>
                    <a:pt x="4925480" y="271780"/>
                  </a:lnTo>
                  <a:lnTo>
                    <a:pt x="4974039" y="271780"/>
                  </a:lnTo>
                  <a:lnTo>
                    <a:pt x="4972838" y="270509"/>
                  </a:lnTo>
                  <a:lnTo>
                    <a:pt x="4980966" y="265430"/>
                  </a:lnTo>
                  <a:lnTo>
                    <a:pt x="4977867" y="264159"/>
                  </a:lnTo>
                  <a:lnTo>
                    <a:pt x="4945228" y="264159"/>
                  </a:lnTo>
                  <a:lnTo>
                    <a:pt x="4925759" y="260350"/>
                  </a:lnTo>
                  <a:close/>
                </a:path>
                <a:path w="5760085" h="603250">
                  <a:moveTo>
                    <a:pt x="5554670" y="245109"/>
                  </a:moveTo>
                  <a:lnTo>
                    <a:pt x="5424602" y="245109"/>
                  </a:lnTo>
                  <a:lnTo>
                    <a:pt x="5421186" y="254000"/>
                  </a:lnTo>
                  <a:lnTo>
                    <a:pt x="5402670" y="270509"/>
                  </a:lnTo>
                  <a:lnTo>
                    <a:pt x="5417211" y="267970"/>
                  </a:lnTo>
                  <a:lnTo>
                    <a:pt x="5425593" y="267970"/>
                  </a:lnTo>
                  <a:lnTo>
                    <a:pt x="5429124" y="262890"/>
                  </a:lnTo>
                  <a:lnTo>
                    <a:pt x="5437268" y="262890"/>
                  </a:lnTo>
                  <a:lnTo>
                    <a:pt x="5438255" y="256540"/>
                  </a:lnTo>
                  <a:lnTo>
                    <a:pt x="5527333" y="256540"/>
                  </a:lnTo>
                  <a:lnTo>
                    <a:pt x="5525352" y="254000"/>
                  </a:lnTo>
                  <a:lnTo>
                    <a:pt x="5548262" y="254000"/>
                  </a:lnTo>
                  <a:lnTo>
                    <a:pt x="5546357" y="251459"/>
                  </a:lnTo>
                  <a:lnTo>
                    <a:pt x="5552855" y="251459"/>
                  </a:lnTo>
                  <a:lnTo>
                    <a:pt x="5552631" y="246379"/>
                  </a:lnTo>
                  <a:lnTo>
                    <a:pt x="5554670" y="245109"/>
                  </a:lnTo>
                  <a:close/>
                </a:path>
                <a:path w="5760085" h="603250">
                  <a:moveTo>
                    <a:pt x="5056887" y="248920"/>
                  </a:moveTo>
                  <a:lnTo>
                    <a:pt x="5064049" y="257809"/>
                  </a:lnTo>
                  <a:lnTo>
                    <a:pt x="5059757" y="267970"/>
                  </a:lnTo>
                  <a:lnTo>
                    <a:pt x="5072660" y="264159"/>
                  </a:lnTo>
                  <a:lnTo>
                    <a:pt x="5161319" y="264159"/>
                  </a:lnTo>
                  <a:lnTo>
                    <a:pt x="5162948" y="260350"/>
                  </a:lnTo>
                  <a:lnTo>
                    <a:pt x="5098073" y="260350"/>
                  </a:lnTo>
                  <a:lnTo>
                    <a:pt x="5056887" y="248920"/>
                  </a:lnTo>
                  <a:close/>
                </a:path>
                <a:path w="5760085" h="603250">
                  <a:moveTo>
                    <a:pt x="5548262" y="254000"/>
                  </a:moveTo>
                  <a:lnTo>
                    <a:pt x="5525352" y="254000"/>
                  </a:lnTo>
                  <a:lnTo>
                    <a:pt x="5535156" y="255270"/>
                  </a:lnTo>
                  <a:lnTo>
                    <a:pt x="5541150" y="266700"/>
                  </a:lnTo>
                  <a:lnTo>
                    <a:pt x="5542535" y="256540"/>
                  </a:lnTo>
                  <a:lnTo>
                    <a:pt x="5550167" y="256540"/>
                  </a:lnTo>
                  <a:lnTo>
                    <a:pt x="5548262" y="254000"/>
                  </a:lnTo>
                  <a:close/>
                </a:path>
                <a:path w="5760085" h="603250">
                  <a:moveTo>
                    <a:pt x="4949915" y="204470"/>
                  </a:moveTo>
                  <a:lnTo>
                    <a:pt x="4947531" y="215879"/>
                  </a:lnTo>
                  <a:lnTo>
                    <a:pt x="4944898" y="246379"/>
                  </a:lnTo>
                  <a:lnTo>
                    <a:pt x="4932490" y="251459"/>
                  </a:lnTo>
                  <a:lnTo>
                    <a:pt x="4945228" y="264159"/>
                  </a:lnTo>
                  <a:lnTo>
                    <a:pt x="4977867" y="264159"/>
                  </a:lnTo>
                  <a:lnTo>
                    <a:pt x="4959274" y="256540"/>
                  </a:lnTo>
                  <a:lnTo>
                    <a:pt x="4967326" y="251459"/>
                  </a:lnTo>
                  <a:lnTo>
                    <a:pt x="4958335" y="245109"/>
                  </a:lnTo>
                  <a:lnTo>
                    <a:pt x="4953864" y="232409"/>
                  </a:lnTo>
                  <a:lnTo>
                    <a:pt x="4953229" y="209550"/>
                  </a:lnTo>
                  <a:lnTo>
                    <a:pt x="4949915" y="204470"/>
                  </a:lnTo>
                  <a:close/>
                </a:path>
                <a:path w="5760085" h="603250">
                  <a:moveTo>
                    <a:pt x="5375064" y="250190"/>
                  </a:moveTo>
                  <a:lnTo>
                    <a:pt x="5362207" y="250190"/>
                  </a:lnTo>
                  <a:lnTo>
                    <a:pt x="5377638" y="262890"/>
                  </a:lnTo>
                  <a:lnTo>
                    <a:pt x="5375064" y="250190"/>
                  </a:lnTo>
                  <a:close/>
                </a:path>
                <a:path w="5760085" h="603250">
                  <a:moveTo>
                    <a:pt x="5715011" y="218440"/>
                  </a:moveTo>
                  <a:lnTo>
                    <a:pt x="5624500" y="218440"/>
                  </a:lnTo>
                  <a:lnTo>
                    <a:pt x="5622761" y="227329"/>
                  </a:lnTo>
                  <a:lnTo>
                    <a:pt x="5619230" y="234950"/>
                  </a:lnTo>
                  <a:lnTo>
                    <a:pt x="5605844" y="245109"/>
                  </a:lnTo>
                  <a:lnTo>
                    <a:pt x="5587518" y="252729"/>
                  </a:lnTo>
                  <a:lnTo>
                    <a:pt x="5568354" y="257809"/>
                  </a:lnTo>
                  <a:lnTo>
                    <a:pt x="5554930" y="262890"/>
                  </a:lnTo>
                  <a:lnTo>
                    <a:pt x="5759996" y="262890"/>
                  </a:lnTo>
                  <a:lnTo>
                    <a:pt x="5759996" y="261620"/>
                  </a:lnTo>
                  <a:lnTo>
                    <a:pt x="5707939" y="261620"/>
                  </a:lnTo>
                  <a:lnTo>
                    <a:pt x="5705996" y="257809"/>
                  </a:lnTo>
                  <a:lnTo>
                    <a:pt x="5711445" y="248920"/>
                  </a:lnTo>
                  <a:lnTo>
                    <a:pt x="5759996" y="248920"/>
                  </a:lnTo>
                  <a:lnTo>
                    <a:pt x="5759996" y="234950"/>
                  </a:lnTo>
                  <a:lnTo>
                    <a:pt x="5744795" y="234950"/>
                  </a:lnTo>
                  <a:lnTo>
                    <a:pt x="5727078" y="228600"/>
                  </a:lnTo>
                  <a:lnTo>
                    <a:pt x="5725669" y="227329"/>
                  </a:lnTo>
                  <a:lnTo>
                    <a:pt x="5732146" y="224790"/>
                  </a:lnTo>
                  <a:lnTo>
                    <a:pt x="5715011" y="218440"/>
                  </a:lnTo>
                  <a:close/>
                </a:path>
                <a:path w="5760085" h="603250">
                  <a:moveTo>
                    <a:pt x="5759996" y="248920"/>
                  </a:moveTo>
                  <a:lnTo>
                    <a:pt x="5711445" y="248920"/>
                  </a:lnTo>
                  <a:lnTo>
                    <a:pt x="5716029" y="255270"/>
                  </a:lnTo>
                  <a:lnTo>
                    <a:pt x="5719090" y="259079"/>
                  </a:lnTo>
                  <a:lnTo>
                    <a:pt x="5707939" y="261620"/>
                  </a:lnTo>
                  <a:lnTo>
                    <a:pt x="5759996" y="261620"/>
                  </a:lnTo>
                  <a:lnTo>
                    <a:pt x="5759996" y="248920"/>
                  </a:lnTo>
                  <a:close/>
                </a:path>
                <a:path w="5760085" h="603250">
                  <a:moveTo>
                    <a:pt x="5128057" y="245109"/>
                  </a:moveTo>
                  <a:lnTo>
                    <a:pt x="5099876" y="245109"/>
                  </a:lnTo>
                  <a:lnTo>
                    <a:pt x="5105909" y="246379"/>
                  </a:lnTo>
                  <a:lnTo>
                    <a:pt x="5108233" y="251459"/>
                  </a:lnTo>
                  <a:lnTo>
                    <a:pt x="5098073" y="260350"/>
                  </a:lnTo>
                  <a:lnTo>
                    <a:pt x="5145583" y="260350"/>
                  </a:lnTo>
                  <a:lnTo>
                    <a:pt x="5141964" y="259079"/>
                  </a:lnTo>
                  <a:lnTo>
                    <a:pt x="5125746" y="259079"/>
                  </a:lnTo>
                  <a:lnTo>
                    <a:pt x="5122190" y="254000"/>
                  </a:lnTo>
                  <a:lnTo>
                    <a:pt x="5128057" y="245109"/>
                  </a:lnTo>
                  <a:close/>
                </a:path>
                <a:path w="5760085" h="603250">
                  <a:moveTo>
                    <a:pt x="5166716" y="250190"/>
                  </a:moveTo>
                  <a:lnTo>
                    <a:pt x="5145583" y="260350"/>
                  </a:lnTo>
                  <a:lnTo>
                    <a:pt x="5162948" y="260350"/>
                  </a:lnTo>
                  <a:lnTo>
                    <a:pt x="5163490" y="259079"/>
                  </a:lnTo>
                  <a:lnTo>
                    <a:pt x="5166716" y="250190"/>
                  </a:lnTo>
                  <a:close/>
                </a:path>
                <a:path w="5760085" h="603250">
                  <a:moveTo>
                    <a:pt x="5134725" y="256540"/>
                  </a:moveTo>
                  <a:lnTo>
                    <a:pt x="5125746" y="259079"/>
                  </a:lnTo>
                  <a:lnTo>
                    <a:pt x="5141964" y="259079"/>
                  </a:lnTo>
                  <a:lnTo>
                    <a:pt x="5134725" y="256540"/>
                  </a:lnTo>
                  <a:close/>
                </a:path>
                <a:path w="5760085" h="603250">
                  <a:moveTo>
                    <a:pt x="5512533" y="193040"/>
                  </a:moveTo>
                  <a:lnTo>
                    <a:pt x="5456022" y="193040"/>
                  </a:lnTo>
                  <a:lnTo>
                    <a:pt x="5459083" y="205740"/>
                  </a:lnTo>
                  <a:lnTo>
                    <a:pt x="5436820" y="219709"/>
                  </a:lnTo>
                  <a:lnTo>
                    <a:pt x="5398161" y="227329"/>
                  </a:lnTo>
                  <a:lnTo>
                    <a:pt x="5401234" y="232409"/>
                  </a:lnTo>
                  <a:lnTo>
                    <a:pt x="5382896" y="232409"/>
                  </a:lnTo>
                  <a:lnTo>
                    <a:pt x="5401895" y="245109"/>
                  </a:lnTo>
                  <a:lnTo>
                    <a:pt x="5394097" y="254000"/>
                  </a:lnTo>
                  <a:lnTo>
                    <a:pt x="5424602" y="245109"/>
                  </a:lnTo>
                  <a:lnTo>
                    <a:pt x="5554670" y="245109"/>
                  </a:lnTo>
                  <a:lnTo>
                    <a:pt x="5568938" y="236220"/>
                  </a:lnTo>
                  <a:lnTo>
                    <a:pt x="5515357" y="227329"/>
                  </a:lnTo>
                  <a:lnTo>
                    <a:pt x="5509045" y="222250"/>
                  </a:lnTo>
                  <a:lnTo>
                    <a:pt x="5514785" y="222250"/>
                  </a:lnTo>
                  <a:lnTo>
                    <a:pt x="5508588" y="214629"/>
                  </a:lnTo>
                  <a:lnTo>
                    <a:pt x="5534051" y="214629"/>
                  </a:lnTo>
                  <a:lnTo>
                    <a:pt x="5541569" y="207009"/>
                  </a:lnTo>
                  <a:lnTo>
                    <a:pt x="5495875" y="195579"/>
                  </a:lnTo>
                  <a:lnTo>
                    <a:pt x="5512563" y="194309"/>
                  </a:lnTo>
                  <a:lnTo>
                    <a:pt x="5512533" y="193040"/>
                  </a:lnTo>
                  <a:close/>
                </a:path>
                <a:path w="5760085" h="603250">
                  <a:moveTo>
                    <a:pt x="5552855" y="251459"/>
                  </a:moveTo>
                  <a:lnTo>
                    <a:pt x="5546357" y="251459"/>
                  </a:lnTo>
                  <a:lnTo>
                    <a:pt x="5552911" y="252729"/>
                  </a:lnTo>
                  <a:lnTo>
                    <a:pt x="5552855" y="251459"/>
                  </a:lnTo>
                  <a:close/>
                </a:path>
                <a:path w="5760085" h="603250">
                  <a:moveTo>
                    <a:pt x="5078972" y="224790"/>
                  </a:moveTo>
                  <a:lnTo>
                    <a:pt x="5093755" y="237490"/>
                  </a:lnTo>
                  <a:lnTo>
                    <a:pt x="5092218" y="247650"/>
                  </a:lnTo>
                  <a:lnTo>
                    <a:pt x="5099876" y="245109"/>
                  </a:lnTo>
                  <a:lnTo>
                    <a:pt x="5128057" y="245109"/>
                  </a:lnTo>
                  <a:lnTo>
                    <a:pt x="5128896" y="243840"/>
                  </a:lnTo>
                  <a:lnTo>
                    <a:pt x="5141050" y="243840"/>
                  </a:lnTo>
                  <a:lnTo>
                    <a:pt x="5138865" y="238759"/>
                  </a:lnTo>
                  <a:lnTo>
                    <a:pt x="5139157" y="234950"/>
                  </a:lnTo>
                  <a:lnTo>
                    <a:pt x="5142111" y="229870"/>
                  </a:lnTo>
                  <a:lnTo>
                    <a:pt x="5108372" y="229870"/>
                  </a:lnTo>
                  <a:lnTo>
                    <a:pt x="5078972" y="224790"/>
                  </a:lnTo>
                  <a:close/>
                </a:path>
                <a:path w="5760085" h="603250">
                  <a:moveTo>
                    <a:pt x="5141050" y="243840"/>
                  </a:moveTo>
                  <a:lnTo>
                    <a:pt x="5128896" y="243840"/>
                  </a:lnTo>
                  <a:lnTo>
                    <a:pt x="5141596" y="245109"/>
                  </a:lnTo>
                  <a:lnTo>
                    <a:pt x="5141050" y="243840"/>
                  </a:lnTo>
                  <a:close/>
                </a:path>
                <a:path w="5760085" h="603250">
                  <a:moveTo>
                    <a:pt x="5344486" y="219709"/>
                  </a:moveTo>
                  <a:lnTo>
                    <a:pt x="5243907" y="219709"/>
                  </a:lnTo>
                  <a:lnTo>
                    <a:pt x="5245583" y="237490"/>
                  </a:lnTo>
                  <a:lnTo>
                    <a:pt x="5260823" y="222250"/>
                  </a:lnTo>
                  <a:lnTo>
                    <a:pt x="5351341" y="222250"/>
                  </a:lnTo>
                  <a:lnTo>
                    <a:pt x="5344486" y="219709"/>
                  </a:lnTo>
                  <a:close/>
                </a:path>
                <a:path w="5760085" h="603250">
                  <a:moveTo>
                    <a:pt x="5231334" y="207009"/>
                  </a:moveTo>
                  <a:lnTo>
                    <a:pt x="5211877" y="207009"/>
                  </a:lnTo>
                  <a:lnTo>
                    <a:pt x="5211001" y="213359"/>
                  </a:lnTo>
                  <a:lnTo>
                    <a:pt x="5197031" y="234950"/>
                  </a:lnTo>
                  <a:lnTo>
                    <a:pt x="5209680" y="224790"/>
                  </a:lnTo>
                  <a:lnTo>
                    <a:pt x="5231334" y="207009"/>
                  </a:lnTo>
                  <a:close/>
                </a:path>
                <a:path w="5760085" h="603250">
                  <a:moveTo>
                    <a:pt x="5759996" y="228600"/>
                  </a:moveTo>
                  <a:lnTo>
                    <a:pt x="5744795" y="234950"/>
                  </a:lnTo>
                  <a:lnTo>
                    <a:pt x="5759996" y="234950"/>
                  </a:lnTo>
                  <a:lnTo>
                    <a:pt x="5759996" y="228600"/>
                  </a:lnTo>
                  <a:close/>
                </a:path>
                <a:path w="5760085" h="603250">
                  <a:moveTo>
                    <a:pt x="5711584" y="217170"/>
                  </a:moveTo>
                  <a:lnTo>
                    <a:pt x="5607584" y="217170"/>
                  </a:lnTo>
                  <a:lnTo>
                    <a:pt x="5609248" y="233679"/>
                  </a:lnTo>
                  <a:lnTo>
                    <a:pt x="5624500" y="218440"/>
                  </a:lnTo>
                  <a:lnTo>
                    <a:pt x="5715011" y="218440"/>
                  </a:lnTo>
                  <a:lnTo>
                    <a:pt x="5711584" y="217170"/>
                  </a:lnTo>
                  <a:close/>
                </a:path>
                <a:path w="5760085" h="603250">
                  <a:moveTo>
                    <a:pt x="5686908" y="204470"/>
                  </a:moveTo>
                  <a:lnTo>
                    <a:pt x="5575555" y="204470"/>
                  </a:lnTo>
                  <a:lnTo>
                    <a:pt x="5574691" y="210820"/>
                  </a:lnTo>
                  <a:lnTo>
                    <a:pt x="5560696" y="232409"/>
                  </a:lnTo>
                  <a:lnTo>
                    <a:pt x="5573358" y="220979"/>
                  </a:lnTo>
                  <a:lnTo>
                    <a:pt x="5593038" y="220979"/>
                  </a:lnTo>
                  <a:lnTo>
                    <a:pt x="5595011" y="219709"/>
                  </a:lnTo>
                  <a:lnTo>
                    <a:pt x="5604974" y="219709"/>
                  </a:lnTo>
                  <a:lnTo>
                    <a:pt x="5607584" y="217170"/>
                  </a:lnTo>
                  <a:lnTo>
                    <a:pt x="5711584" y="217170"/>
                  </a:lnTo>
                  <a:lnTo>
                    <a:pt x="5708157" y="215900"/>
                  </a:lnTo>
                  <a:lnTo>
                    <a:pt x="5691023" y="209550"/>
                  </a:lnTo>
                  <a:lnTo>
                    <a:pt x="5686908" y="204470"/>
                  </a:lnTo>
                  <a:close/>
                </a:path>
                <a:path w="5760085" h="603250">
                  <a:moveTo>
                    <a:pt x="5593038" y="220979"/>
                  </a:moveTo>
                  <a:lnTo>
                    <a:pt x="5573358" y="220979"/>
                  </a:lnTo>
                  <a:lnTo>
                    <a:pt x="5577256" y="231140"/>
                  </a:lnTo>
                  <a:lnTo>
                    <a:pt x="5593038" y="220979"/>
                  </a:lnTo>
                  <a:close/>
                </a:path>
                <a:path w="5760085" h="603250">
                  <a:moveTo>
                    <a:pt x="5115777" y="158750"/>
                  </a:moveTo>
                  <a:lnTo>
                    <a:pt x="5111205" y="162559"/>
                  </a:lnTo>
                  <a:lnTo>
                    <a:pt x="5112030" y="184150"/>
                  </a:lnTo>
                  <a:lnTo>
                    <a:pt x="5109719" y="193040"/>
                  </a:lnTo>
                  <a:lnTo>
                    <a:pt x="5099267" y="193040"/>
                  </a:lnTo>
                  <a:lnTo>
                    <a:pt x="5110570" y="220979"/>
                  </a:lnTo>
                  <a:lnTo>
                    <a:pt x="5108372" y="229870"/>
                  </a:lnTo>
                  <a:lnTo>
                    <a:pt x="5131144" y="229870"/>
                  </a:lnTo>
                  <a:lnTo>
                    <a:pt x="5121161" y="228600"/>
                  </a:lnTo>
                  <a:lnTo>
                    <a:pt x="5119371" y="223520"/>
                  </a:lnTo>
                  <a:lnTo>
                    <a:pt x="5120285" y="213359"/>
                  </a:lnTo>
                  <a:lnTo>
                    <a:pt x="5129436" y="195579"/>
                  </a:lnTo>
                  <a:lnTo>
                    <a:pt x="5124933" y="195579"/>
                  </a:lnTo>
                  <a:lnTo>
                    <a:pt x="5118012" y="187959"/>
                  </a:lnTo>
                  <a:lnTo>
                    <a:pt x="5118126" y="162559"/>
                  </a:lnTo>
                  <a:lnTo>
                    <a:pt x="5115777" y="158750"/>
                  </a:lnTo>
                  <a:close/>
                </a:path>
                <a:path w="5760085" h="603250">
                  <a:moveTo>
                    <a:pt x="5144326" y="226059"/>
                  </a:moveTo>
                  <a:lnTo>
                    <a:pt x="5131144" y="229870"/>
                  </a:lnTo>
                  <a:lnTo>
                    <a:pt x="5142111" y="229870"/>
                  </a:lnTo>
                  <a:lnTo>
                    <a:pt x="5144326" y="226059"/>
                  </a:lnTo>
                  <a:close/>
                </a:path>
                <a:path w="5760085" h="603250">
                  <a:moveTo>
                    <a:pt x="5322505" y="207009"/>
                  </a:moveTo>
                  <a:lnTo>
                    <a:pt x="5231334" y="207009"/>
                  </a:lnTo>
                  <a:lnTo>
                    <a:pt x="5233480" y="229870"/>
                  </a:lnTo>
                  <a:lnTo>
                    <a:pt x="5243907" y="219709"/>
                  </a:lnTo>
                  <a:lnTo>
                    <a:pt x="5344486" y="219709"/>
                  </a:lnTo>
                  <a:lnTo>
                    <a:pt x="5327346" y="213359"/>
                  </a:lnTo>
                  <a:lnTo>
                    <a:pt x="5322505" y="207009"/>
                  </a:lnTo>
                  <a:close/>
                </a:path>
                <a:path w="5760085" h="603250">
                  <a:moveTo>
                    <a:pt x="5604974" y="219709"/>
                  </a:moveTo>
                  <a:lnTo>
                    <a:pt x="5595011" y="219709"/>
                  </a:lnTo>
                  <a:lnTo>
                    <a:pt x="5597145" y="227329"/>
                  </a:lnTo>
                  <a:lnTo>
                    <a:pt x="5604974" y="219709"/>
                  </a:lnTo>
                  <a:close/>
                </a:path>
                <a:path w="5760085" h="603250">
                  <a:moveTo>
                    <a:pt x="5758894" y="208279"/>
                  </a:moveTo>
                  <a:lnTo>
                    <a:pt x="5740083" y="208279"/>
                  </a:lnTo>
                  <a:lnTo>
                    <a:pt x="5736768" y="227329"/>
                  </a:lnTo>
                  <a:lnTo>
                    <a:pt x="5749964" y="218440"/>
                  </a:lnTo>
                  <a:lnTo>
                    <a:pt x="5757579" y="218440"/>
                  </a:lnTo>
                  <a:lnTo>
                    <a:pt x="5758894" y="208279"/>
                  </a:lnTo>
                  <a:close/>
                </a:path>
                <a:path w="5760085" h="603250">
                  <a:moveTo>
                    <a:pt x="5757579" y="218440"/>
                  </a:moveTo>
                  <a:lnTo>
                    <a:pt x="5749964" y="218440"/>
                  </a:lnTo>
                  <a:lnTo>
                    <a:pt x="5756593" y="226059"/>
                  </a:lnTo>
                  <a:lnTo>
                    <a:pt x="5757579" y="218440"/>
                  </a:lnTo>
                  <a:close/>
                </a:path>
                <a:path w="5760085" h="603250">
                  <a:moveTo>
                    <a:pt x="5534051" y="214629"/>
                  </a:moveTo>
                  <a:lnTo>
                    <a:pt x="5508588" y="214629"/>
                  </a:lnTo>
                  <a:lnTo>
                    <a:pt x="5537823" y="222250"/>
                  </a:lnTo>
                  <a:lnTo>
                    <a:pt x="5534051" y="214629"/>
                  </a:lnTo>
                  <a:close/>
                </a:path>
                <a:path w="5760085" h="603250">
                  <a:moveTo>
                    <a:pt x="5759996" y="203200"/>
                  </a:moveTo>
                  <a:lnTo>
                    <a:pt x="5731739" y="203200"/>
                  </a:lnTo>
                  <a:lnTo>
                    <a:pt x="5726875" y="222250"/>
                  </a:lnTo>
                  <a:lnTo>
                    <a:pt x="5740083" y="208279"/>
                  </a:lnTo>
                  <a:lnTo>
                    <a:pt x="5758894" y="208279"/>
                  </a:lnTo>
                  <a:lnTo>
                    <a:pt x="5759387" y="204470"/>
                  </a:lnTo>
                  <a:lnTo>
                    <a:pt x="5759996" y="204470"/>
                  </a:lnTo>
                  <a:lnTo>
                    <a:pt x="5759996" y="203200"/>
                  </a:lnTo>
                  <a:close/>
                </a:path>
                <a:path w="5760085" h="603250">
                  <a:moveTo>
                    <a:pt x="5310021" y="154940"/>
                  </a:moveTo>
                  <a:lnTo>
                    <a:pt x="5260887" y="154940"/>
                  </a:lnTo>
                  <a:lnTo>
                    <a:pt x="5266767" y="158750"/>
                  </a:lnTo>
                  <a:lnTo>
                    <a:pt x="5260430" y="166370"/>
                  </a:lnTo>
                  <a:lnTo>
                    <a:pt x="5256188" y="172720"/>
                  </a:lnTo>
                  <a:lnTo>
                    <a:pt x="5221593" y="186690"/>
                  </a:lnTo>
                  <a:lnTo>
                    <a:pt x="5189360" y="187959"/>
                  </a:lnTo>
                  <a:lnTo>
                    <a:pt x="5199203" y="200659"/>
                  </a:lnTo>
                  <a:lnTo>
                    <a:pt x="5186719" y="217170"/>
                  </a:lnTo>
                  <a:lnTo>
                    <a:pt x="5211877" y="207009"/>
                  </a:lnTo>
                  <a:lnTo>
                    <a:pt x="5322505" y="207009"/>
                  </a:lnTo>
                  <a:lnTo>
                    <a:pt x="5310887" y="191770"/>
                  </a:lnTo>
                  <a:lnTo>
                    <a:pt x="5308639" y="181609"/>
                  </a:lnTo>
                  <a:lnTo>
                    <a:pt x="5351776" y="181609"/>
                  </a:lnTo>
                  <a:lnTo>
                    <a:pt x="5343107" y="179070"/>
                  </a:lnTo>
                  <a:lnTo>
                    <a:pt x="5351489" y="173990"/>
                  </a:lnTo>
                  <a:lnTo>
                    <a:pt x="5322253" y="167640"/>
                  </a:lnTo>
                  <a:lnTo>
                    <a:pt x="5309909" y="156209"/>
                  </a:lnTo>
                  <a:lnTo>
                    <a:pt x="5310021" y="154940"/>
                  </a:lnTo>
                  <a:close/>
                </a:path>
                <a:path w="5760085" h="603250">
                  <a:moveTo>
                    <a:pt x="5708119" y="215885"/>
                  </a:moveTo>
                  <a:close/>
                </a:path>
                <a:path w="5760085" h="603250">
                  <a:moveTo>
                    <a:pt x="5759996" y="199390"/>
                  </a:moveTo>
                  <a:lnTo>
                    <a:pt x="5711610" y="199390"/>
                  </a:lnTo>
                  <a:lnTo>
                    <a:pt x="5715217" y="200659"/>
                  </a:lnTo>
                  <a:lnTo>
                    <a:pt x="5708102" y="215879"/>
                  </a:lnTo>
                  <a:lnTo>
                    <a:pt x="5731739" y="203200"/>
                  </a:lnTo>
                  <a:lnTo>
                    <a:pt x="5759996" y="203200"/>
                  </a:lnTo>
                  <a:lnTo>
                    <a:pt x="5759996" y="199390"/>
                  </a:lnTo>
                  <a:close/>
                </a:path>
                <a:path w="5760085" h="603250">
                  <a:moveTo>
                    <a:pt x="5673914" y="149859"/>
                  </a:moveTo>
                  <a:lnTo>
                    <a:pt x="5625110" y="149859"/>
                  </a:lnTo>
                  <a:lnTo>
                    <a:pt x="5630444" y="156209"/>
                  </a:lnTo>
                  <a:lnTo>
                    <a:pt x="5619852" y="168909"/>
                  </a:lnTo>
                  <a:lnTo>
                    <a:pt x="5585257" y="184150"/>
                  </a:lnTo>
                  <a:lnTo>
                    <a:pt x="5553025" y="185420"/>
                  </a:lnTo>
                  <a:lnTo>
                    <a:pt x="5562867" y="198120"/>
                  </a:lnTo>
                  <a:lnTo>
                    <a:pt x="5550396" y="213359"/>
                  </a:lnTo>
                  <a:lnTo>
                    <a:pt x="5575555" y="204470"/>
                  </a:lnTo>
                  <a:lnTo>
                    <a:pt x="5686908" y="204470"/>
                  </a:lnTo>
                  <a:lnTo>
                    <a:pt x="5674564" y="189229"/>
                  </a:lnTo>
                  <a:lnTo>
                    <a:pt x="5672303" y="179070"/>
                  </a:lnTo>
                  <a:lnTo>
                    <a:pt x="5719776" y="179070"/>
                  </a:lnTo>
                  <a:lnTo>
                    <a:pt x="5706758" y="176529"/>
                  </a:lnTo>
                  <a:lnTo>
                    <a:pt x="5715153" y="171450"/>
                  </a:lnTo>
                  <a:lnTo>
                    <a:pt x="5685918" y="163829"/>
                  </a:lnTo>
                  <a:lnTo>
                    <a:pt x="5678526" y="157479"/>
                  </a:lnTo>
                  <a:lnTo>
                    <a:pt x="5673586" y="153670"/>
                  </a:lnTo>
                  <a:lnTo>
                    <a:pt x="5673914" y="149859"/>
                  </a:lnTo>
                  <a:close/>
                </a:path>
                <a:path w="5760085" h="603250">
                  <a:moveTo>
                    <a:pt x="5512444" y="189229"/>
                  </a:moveTo>
                  <a:lnTo>
                    <a:pt x="5437798" y="189229"/>
                  </a:lnTo>
                  <a:lnTo>
                    <a:pt x="5426050" y="212090"/>
                  </a:lnTo>
                  <a:lnTo>
                    <a:pt x="5437125" y="204470"/>
                  </a:lnTo>
                  <a:lnTo>
                    <a:pt x="5449866" y="204470"/>
                  </a:lnTo>
                  <a:lnTo>
                    <a:pt x="5456022" y="193040"/>
                  </a:lnTo>
                  <a:lnTo>
                    <a:pt x="5512533" y="193040"/>
                  </a:lnTo>
                  <a:lnTo>
                    <a:pt x="5512444" y="189229"/>
                  </a:lnTo>
                  <a:close/>
                </a:path>
                <a:path w="5760085" h="603250">
                  <a:moveTo>
                    <a:pt x="5449866" y="204470"/>
                  </a:moveTo>
                  <a:lnTo>
                    <a:pt x="5437125" y="204470"/>
                  </a:lnTo>
                  <a:lnTo>
                    <a:pt x="5446446" y="210820"/>
                  </a:lnTo>
                  <a:lnTo>
                    <a:pt x="5449866" y="204470"/>
                  </a:lnTo>
                  <a:close/>
                </a:path>
                <a:path w="5760085" h="603250">
                  <a:moveTo>
                    <a:pt x="5361966" y="191770"/>
                  </a:moveTo>
                  <a:lnTo>
                    <a:pt x="5334039" y="191770"/>
                  </a:lnTo>
                  <a:lnTo>
                    <a:pt x="5338433" y="198120"/>
                  </a:lnTo>
                  <a:lnTo>
                    <a:pt x="5348326" y="208279"/>
                  </a:lnTo>
                  <a:lnTo>
                    <a:pt x="5347564" y="195579"/>
                  </a:lnTo>
                  <a:lnTo>
                    <a:pt x="5363579" y="195579"/>
                  </a:lnTo>
                  <a:lnTo>
                    <a:pt x="5361966" y="191770"/>
                  </a:lnTo>
                  <a:close/>
                </a:path>
                <a:path w="5760085" h="603250">
                  <a:moveTo>
                    <a:pt x="5351776" y="181609"/>
                  </a:moveTo>
                  <a:lnTo>
                    <a:pt x="5308639" y="181609"/>
                  </a:lnTo>
                  <a:lnTo>
                    <a:pt x="5314151" y="182879"/>
                  </a:lnTo>
                  <a:lnTo>
                    <a:pt x="5331867" y="205740"/>
                  </a:lnTo>
                  <a:lnTo>
                    <a:pt x="5332299" y="203200"/>
                  </a:lnTo>
                  <a:lnTo>
                    <a:pt x="5332566" y="200659"/>
                  </a:lnTo>
                  <a:lnTo>
                    <a:pt x="5331423" y="193040"/>
                  </a:lnTo>
                  <a:lnTo>
                    <a:pt x="5334039" y="191770"/>
                  </a:lnTo>
                  <a:lnTo>
                    <a:pt x="5361966" y="191770"/>
                  </a:lnTo>
                  <a:lnTo>
                    <a:pt x="5380445" y="184150"/>
                  </a:lnTo>
                  <a:lnTo>
                    <a:pt x="5356111" y="182879"/>
                  </a:lnTo>
                  <a:lnTo>
                    <a:pt x="5351776" y="181609"/>
                  </a:lnTo>
                  <a:close/>
                </a:path>
                <a:path w="5760085" h="603250">
                  <a:moveTo>
                    <a:pt x="5759996" y="179070"/>
                  </a:moveTo>
                  <a:lnTo>
                    <a:pt x="5725681" y="187959"/>
                  </a:lnTo>
                  <a:lnTo>
                    <a:pt x="5697716" y="187959"/>
                  </a:lnTo>
                  <a:lnTo>
                    <a:pt x="5699342" y="190500"/>
                  </a:lnTo>
                  <a:lnTo>
                    <a:pt x="5700129" y="191770"/>
                  </a:lnTo>
                  <a:lnTo>
                    <a:pt x="5701755" y="195579"/>
                  </a:lnTo>
                  <a:lnTo>
                    <a:pt x="5702732" y="195579"/>
                  </a:lnTo>
                  <a:lnTo>
                    <a:pt x="5712016" y="205740"/>
                  </a:lnTo>
                  <a:lnTo>
                    <a:pt x="5711610" y="199390"/>
                  </a:lnTo>
                  <a:lnTo>
                    <a:pt x="5759996" y="199390"/>
                  </a:lnTo>
                  <a:lnTo>
                    <a:pt x="5759996" y="179070"/>
                  </a:lnTo>
                  <a:close/>
                </a:path>
                <a:path w="5760085" h="603250">
                  <a:moveTo>
                    <a:pt x="5759996" y="204470"/>
                  </a:moveTo>
                  <a:lnTo>
                    <a:pt x="5759387" y="204470"/>
                  </a:lnTo>
                  <a:lnTo>
                    <a:pt x="5759996" y="205740"/>
                  </a:lnTo>
                  <a:lnTo>
                    <a:pt x="5759996" y="204470"/>
                  </a:lnTo>
                  <a:close/>
                </a:path>
                <a:path w="5760085" h="603250">
                  <a:moveTo>
                    <a:pt x="5363579" y="195579"/>
                  </a:moveTo>
                  <a:lnTo>
                    <a:pt x="5352492" y="195579"/>
                  </a:lnTo>
                  <a:lnTo>
                    <a:pt x="5366805" y="203200"/>
                  </a:lnTo>
                  <a:lnTo>
                    <a:pt x="5363579" y="195579"/>
                  </a:lnTo>
                  <a:close/>
                </a:path>
                <a:path w="5760085" h="603250">
                  <a:moveTo>
                    <a:pt x="5719776" y="179070"/>
                  </a:moveTo>
                  <a:lnTo>
                    <a:pt x="5672303" y="179070"/>
                  </a:lnTo>
                  <a:lnTo>
                    <a:pt x="5677840" y="180340"/>
                  </a:lnTo>
                  <a:lnTo>
                    <a:pt x="5695557" y="203200"/>
                  </a:lnTo>
                  <a:lnTo>
                    <a:pt x="5696243" y="198120"/>
                  </a:lnTo>
                  <a:lnTo>
                    <a:pt x="5695100" y="189229"/>
                  </a:lnTo>
                  <a:lnTo>
                    <a:pt x="5697716" y="187959"/>
                  </a:lnTo>
                  <a:lnTo>
                    <a:pt x="5725631" y="187959"/>
                  </a:lnTo>
                  <a:lnTo>
                    <a:pt x="5744109" y="180340"/>
                  </a:lnTo>
                  <a:lnTo>
                    <a:pt x="5719776" y="179070"/>
                  </a:lnTo>
                  <a:close/>
                </a:path>
                <a:path w="5760085" h="603250">
                  <a:moveTo>
                    <a:pt x="5436225" y="190500"/>
                  </a:moveTo>
                  <a:lnTo>
                    <a:pt x="5419065" y="190500"/>
                  </a:lnTo>
                  <a:lnTo>
                    <a:pt x="5425212" y="199390"/>
                  </a:lnTo>
                  <a:lnTo>
                    <a:pt x="5436225" y="190500"/>
                  </a:lnTo>
                  <a:close/>
                </a:path>
                <a:path w="5760085" h="603250">
                  <a:moveTo>
                    <a:pt x="5526990" y="186690"/>
                  </a:moveTo>
                  <a:lnTo>
                    <a:pt x="5512385" y="186690"/>
                  </a:lnTo>
                  <a:lnTo>
                    <a:pt x="5527790" y="198120"/>
                  </a:lnTo>
                  <a:lnTo>
                    <a:pt x="5526990" y="186690"/>
                  </a:lnTo>
                  <a:close/>
                </a:path>
                <a:path w="5760085" h="603250">
                  <a:moveTo>
                    <a:pt x="5130089" y="194309"/>
                  </a:moveTo>
                  <a:lnTo>
                    <a:pt x="5124933" y="195579"/>
                  </a:lnTo>
                  <a:lnTo>
                    <a:pt x="5129436" y="195579"/>
                  </a:lnTo>
                  <a:lnTo>
                    <a:pt x="5130089" y="194309"/>
                  </a:lnTo>
                  <a:close/>
                </a:path>
                <a:path w="5760085" h="603250">
                  <a:moveTo>
                    <a:pt x="5447836" y="162559"/>
                  </a:moveTo>
                  <a:lnTo>
                    <a:pt x="5423764" y="162559"/>
                  </a:lnTo>
                  <a:lnTo>
                    <a:pt x="5409769" y="173990"/>
                  </a:lnTo>
                  <a:lnTo>
                    <a:pt x="5422977" y="177800"/>
                  </a:lnTo>
                  <a:lnTo>
                    <a:pt x="5405984" y="194309"/>
                  </a:lnTo>
                  <a:lnTo>
                    <a:pt x="5419065" y="190500"/>
                  </a:lnTo>
                  <a:lnTo>
                    <a:pt x="5436225" y="190500"/>
                  </a:lnTo>
                  <a:lnTo>
                    <a:pt x="5437798" y="189229"/>
                  </a:lnTo>
                  <a:lnTo>
                    <a:pt x="5512444" y="189229"/>
                  </a:lnTo>
                  <a:lnTo>
                    <a:pt x="5512385" y="186690"/>
                  </a:lnTo>
                  <a:lnTo>
                    <a:pt x="5526990" y="186690"/>
                  </a:lnTo>
                  <a:lnTo>
                    <a:pt x="5538737" y="176529"/>
                  </a:lnTo>
                  <a:lnTo>
                    <a:pt x="5521961" y="175259"/>
                  </a:lnTo>
                  <a:lnTo>
                    <a:pt x="5525085" y="168909"/>
                  </a:lnTo>
                  <a:lnTo>
                    <a:pt x="5528742" y="166370"/>
                  </a:lnTo>
                  <a:lnTo>
                    <a:pt x="5531505" y="163829"/>
                  </a:lnTo>
                  <a:lnTo>
                    <a:pt x="5452161" y="163829"/>
                  </a:lnTo>
                  <a:lnTo>
                    <a:pt x="5447836" y="162559"/>
                  </a:lnTo>
                  <a:close/>
                </a:path>
                <a:path w="5760085" h="603250">
                  <a:moveTo>
                    <a:pt x="5408905" y="151129"/>
                  </a:moveTo>
                  <a:lnTo>
                    <a:pt x="5414950" y="158750"/>
                  </a:lnTo>
                  <a:lnTo>
                    <a:pt x="5406416" y="165100"/>
                  </a:lnTo>
                  <a:lnTo>
                    <a:pt x="5423764" y="162559"/>
                  </a:lnTo>
                  <a:lnTo>
                    <a:pt x="5447836" y="162559"/>
                  </a:lnTo>
                  <a:lnTo>
                    <a:pt x="5408905" y="151129"/>
                  </a:lnTo>
                  <a:close/>
                </a:path>
                <a:path w="5760085" h="603250">
                  <a:moveTo>
                    <a:pt x="5485769" y="152400"/>
                  </a:moveTo>
                  <a:lnTo>
                    <a:pt x="5465776" y="152400"/>
                  </a:lnTo>
                  <a:lnTo>
                    <a:pt x="5452161" y="163829"/>
                  </a:lnTo>
                  <a:lnTo>
                    <a:pt x="5492636" y="163829"/>
                  </a:lnTo>
                  <a:lnTo>
                    <a:pt x="5485769" y="152400"/>
                  </a:lnTo>
                  <a:close/>
                </a:path>
                <a:path w="5760085" h="603250">
                  <a:moveTo>
                    <a:pt x="5531308" y="149859"/>
                  </a:moveTo>
                  <a:lnTo>
                    <a:pt x="5492636" y="163829"/>
                  </a:lnTo>
                  <a:lnTo>
                    <a:pt x="5531505" y="163829"/>
                  </a:lnTo>
                  <a:lnTo>
                    <a:pt x="5534267" y="161290"/>
                  </a:lnTo>
                  <a:lnTo>
                    <a:pt x="5522685" y="161290"/>
                  </a:lnTo>
                  <a:lnTo>
                    <a:pt x="5531308" y="149859"/>
                  </a:lnTo>
                  <a:close/>
                </a:path>
                <a:path w="5760085" h="603250">
                  <a:moveTo>
                    <a:pt x="5510975" y="148590"/>
                  </a:moveTo>
                  <a:lnTo>
                    <a:pt x="5483480" y="148590"/>
                  </a:lnTo>
                  <a:lnTo>
                    <a:pt x="5498796" y="160020"/>
                  </a:lnTo>
                  <a:lnTo>
                    <a:pt x="5498847" y="151129"/>
                  </a:lnTo>
                  <a:lnTo>
                    <a:pt x="5512694" y="151129"/>
                  </a:lnTo>
                  <a:lnTo>
                    <a:pt x="5510975" y="148590"/>
                  </a:lnTo>
                  <a:close/>
                </a:path>
                <a:path w="5760085" h="603250">
                  <a:moveTo>
                    <a:pt x="5312142" y="139700"/>
                  </a:moveTo>
                  <a:lnTo>
                    <a:pt x="5251120" y="139700"/>
                  </a:lnTo>
                  <a:lnTo>
                    <a:pt x="5251260" y="148590"/>
                  </a:lnTo>
                  <a:lnTo>
                    <a:pt x="5239436" y="157479"/>
                  </a:lnTo>
                  <a:lnTo>
                    <a:pt x="5260887" y="154940"/>
                  </a:lnTo>
                  <a:lnTo>
                    <a:pt x="5310021" y="154940"/>
                  </a:lnTo>
                  <a:lnTo>
                    <a:pt x="5310468" y="149859"/>
                  </a:lnTo>
                  <a:lnTo>
                    <a:pt x="5322944" y="149859"/>
                  </a:lnTo>
                  <a:lnTo>
                    <a:pt x="5312142" y="139700"/>
                  </a:lnTo>
                  <a:close/>
                </a:path>
                <a:path w="5760085" h="603250">
                  <a:moveTo>
                    <a:pt x="5509256" y="146050"/>
                  </a:moveTo>
                  <a:lnTo>
                    <a:pt x="5457178" y="146050"/>
                  </a:lnTo>
                  <a:lnTo>
                    <a:pt x="5456949" y="156209"/>
                  </a:lnTo>
                  <a:lnTo>
                    <a:pt x="5465776" y="152400"/>
                  </a:lnTo>
                  <a:lnTo>
                    <a:pt x="5485769" y="152400"/>
                  </a:lnTo>
                  <a:lnTo>
                    <a:pt x="5483480" y="148590"/>
                  </a:lnTo>
                  <a:lnTo>
                    <a:pt x="5510975" y="148590"/>
                  </a:lnTo>
                  <a:lnTo>
                    <a:pt x="5509256" y="146050"/>
                  </a:lnTo>
                  <a:close/>
                </a:path>
                <a:path w="5760085" h="603250">
                  <a:moveTo>
                    <a:pt x="5676360" y="137159"/>
                  </a:moveTo>
                  <a:lnTo>
                    <a:pt x="5614798" y="137159"/>
                  </a:lnTo>
                  <a:lnTo>
                    <a:pt x="5614925" y="146050"/>
                  </a:lnTo>
                  <a:lnTo>
                    <a:pt x="5603114" y="154940"/>
                  </a:lnTo>
                  <a:lnTo>
                    <a:pt x="5625110" y="149859"/>
                  </a:lnTo>
                  <a:lnTo>
                    <a:pt x="5673914" y="149859"/>
                  </a:lnTo>
                  <a:lnTo>
                    <a:pt x="5674132" y="147320"/>
                  </a:lnTo>
                  <a:lnTo>
                    <a:pt x="5687881" y="147320"/>
                  </a:lnTo>
                  <a:lnTo>
                    <a:pt x="5676360" y="137159"/>
                  </a:lnTo>
                  <a:close/>
                </a:path>
                <a:path w="5760085" h="603250">
                  <a:moveTo>
                    <a:pt x="5322944" y="149859"/>
                  </a:moveTo>
                  <a:lnTo>
                    <a:pt x="5310468" y="149859"/>
                  </a:lnTo>
                  <a:lnTo>
                    <a:pt x="5325644" y="152400"/>
                  </a:lnTo>
                  <a:lnTo>
                    <a:pt x="5322944" y="149859"/>
                  </a:lnTo>
                  <a:close/>
                </a:path>
                <a:path w="5760085" h="603250">
                  <a:moveTo>
                    <a:pt x="5512694" y="151129"/>
                  </a:moveTo>
                  <a:lnTo>
                    <a:pt x="5498847" y="151129"/>
                  </a:lnTo>
                  <a:lnTo>
                    <a:pt x="5513553" y="152400"/>
                  </a:lnTo>
                  <a:lnTo>
                    <a:pt x="5512694" y="151129"/>
                  </a:lnTo>
                  <a:close/>
                </a:path>
                <a:path w="5760085" h="603250">
                  <a:moveTo>
                    <a:pt x="5759996" y="144779"/>
                  </a:moveTo>
                  <a:lnTo>
                    <a:pt x="5759133" y="144779"/>
                  </a:lnTo>
                  <a:lnTo>
                    <a:pt x="5759996" y="152400"/>
                  </a:lnTo>
                  <a:lnTo>
                    <a:pt x="5759996" y="144779"/>
                  </a:lnTo>
                  <a:close/>
                </a:path>
                <a:path w="5760085" h="603250">
                  <a:moveTo>
                    <a:pt x="5476698" y="44450"/>
                  </a:moveTo>
                  <a:lnTo>
                    <a:pt x="5473383" y="49529"/>
                  </a:lnTo>
                  <a:lnTo>
                    <a:pt x="5472748" y="73659"/>
                  </a:lnTo>
                  <a:lnTo>
                    <a:pt x="5468290" y="86359"/>
                  </a:lnTo>
                  <a:lnTo>
                    <a:pt x="5459286" y="91440"/>
                  </a:lnTo>
                  <a:lnTo>
                    <a:pt x="5467338" y="97790"/>
                  </a:lnTo>
                  <a:lnTo>
                    <a:pt x="5445646" y="106679"/>
                  </a:lnTo>
                  <a:lnTo>
                    <a:pt x="5453774" y="111759"/>
                  </a:lnTo>
                  <a:lnTo>
                    <a:pt x="5447767" y="118109"/>
                  </a:lnTo>
                  <a:lnTo>
                    <a:pt x="5466170" y="123190"/>
                  </a:lnTo>
                  <a:lnTo>
                    <a:pt x="5450460" y="132079"/>
                  </a:lnTo>
                  <a:lnTo>
                    <a:pt x="5435080" y="133350"/>
                  </a:lnTo>
                  <a:lnTo>
                    <a:pt x="5449850" y="139700"/>
                  </a:lnTo>
                  <a:lnTo>
                    <a:pt x="5447462" y="151129"/>
                  </a:lnTo>
                  <a:lnTo>
                    <a:pt x="5457178" y="146050"/>
                  </a:lnTo>
                  <a:lnTo>
                    <a:pt x="5509256" y="146050"/>
                  </a:lnTo>
                  <a:lnTo>
                    <a:pt x="5508397" y="144779"/>
                  </a:lnTo>
                  <a:lnTo>
                    <a:pt x="5521580" y="140970"/>
                  </a:lnTo>
                  <a:lnTo>
                    <a:pt x="5512359" y="137159"/>
                  </a:lnTo>
                  <a:lnTo>
                    <a:pt x="5497412" y="132079"/>
                  </a:lnTo>
                  <a:lnTo>
                    <a:pt x="5513769" y="128270"/>
                  </a:lnTo>
                  <a:lnTo>
                    <a:pt x="5502834" y="120650"/>
                  </a:lnTo>
                  <a:lnTo>
                    <a:pt x="5508862" y="113029"/>
                  </a:lnTo>
                  <a:lnTo>
                    <a:pt x="5501133" y="113029"/>
                  </a:lnTo>
                  <a:lnTo>
                    <a:pt x="5493995" y="110490"/>
                  </a:lnTo>
                  <a:lnTo>
                    <a:pt x="5497914" y="105409"/>
                  </a:lnTo>
                  <a:lnTo>
                    <a:pt x="5481384" y="105409"/>
                  </a:lnTo>
                  <a:lnTo>
                    <a:pt x="5494122" y="92709"/>
                  </a:lnTo>
                  <a:lnTo>
                    <a:pt x="5481727" y="87629"/>
                  </a:lnTo>
                  <a:lnTo>
                    <a:pt x="5479098" y="55879"/>
                  </a:lnTo>
                  <a:lnTo>
                    <a:pt x="5476698" y="44450"/>
                  </a:lnTo>
                  <a:close/>
                </a:path>
                <a:path w="5760085" h="603250">
                  <a:moveTo>
                    <a:pt x="5687881" y="147320"/>
                  </a:moveTo>
                  <a:lnTo>
                    <a:pt x="5674132" y="147320"/>
                  </a:lnTo>
                  <a:lnTo>
                    <a:pt x="5689321" y="148590"/>
                  </a:lnTo>
                  <a:lnTo>
                    <a:pt x="5687881" y="147320"/>
                  </a:lnTo>
                  <a:close/>
                </a:path>
                <a:path w="5760085" h="603250">
                  <a:moveTo>
                    <a:pt x="5228756" y="125729"/>
                  </a:moveTo>
                  <a:lnTo>
                    <a:pt x="5237785" y="134620"/>
                  </a:lnTo>
                  <a:lnTo>
                    <a:pt x="5231689" y="147320"/>
                  </a:lnTo>
                  <a:lnTo>
                    <a:pt x="5251120" y="139700"/>
                  </a:lnTo>
                  <a:lnTo>
                    <a:pt x="5312142" y="139700"/>
                  </a:lnTo>
                  <a:lnTo>
                    <a:pt x="5304041" y="132079"/>
                  </a:lnTo>
                  <a:lnTo>
                    <a:pt x="5332856" y="132079"/>
                  </a:lnTo>
                  <a:lnTo>
                    <a:pt x="5332891" y="127000"/>
                  </a:lnTo>
                  <a:lnTo>
                    <a:pt x="5256556" y="127000"/>
                  </a:lnTo>
                  <a:lnTo>
                    <a:pt x="5228756" y="125729"/>
                  </a:lnTo>
                  <a:close/>
                </a:path>
                <a:path w="5760085" h="603250">
                  <a:moveTo>
                    <a:pt x="5759996" y="129540"/>
                  </a:moveTo>
                  <a:lnTo>
                    <a:pt x="5744592" y="147320"/>
                  </a:lnTo>
                  <a:lnTo>
                    <a:pt x="5759133" y="144779"/>
                  </a:lnTo>
                  <a:lnTo>
                    <a:pt x="5759996" y="144779"/>
                  </a:lnTo>
                  <a:lnTo>
                    <a:pt x="5759996" y="129540"/>
                  </a:lnTo>
                  <a:close/>
                </a:path>
                <a:path w="5760085" h="603250">
                  <a:moveTo>
                    <a:pt x="5666355" y="107950"/>
                  </a:moveTo>
                  <a:lnTo>
                    <a:pt x="5629682" y="107950"/>
                  </a:lnTo>
                  <a:lnTo>
                    <a:pt x="5632984" y="118109"/>
                  </a:lnTo>
                  <a:lnTo>
                    <a:pt x="5620233" y="123190"/>
                  </a:lnTo>
                  <a:lnTo>
                    <a:pt x="5592420" y="123190"/>
                  </a:lnTo>
                  <a:lnTo>
                    <a:pt x="5601450" y="132079"/>
                  </a:lnTo>
                  <a:lnTo>
                    <a:pt x="5595354" y="144779"/>
                  </a:lnTo>
                  <a:lnTo>
                    <a:pt x="5614798" y="137159"/>
                  </a:lnTo>
                  <a:lnTo>
                    <a:pt x="5676360" y="137159"/>
                  </a:lnTo>
                  <a:lnTo>
                    <a:pt x="5667719" y="129540"/>
                  </a:lnTo>
                  <a:lnTo>
                    <a:pt x="5680050" y="128270"/>
                  </a:lnTo>
                  <a:lnTo>
                    <a:pt x="5696533" y="128270"/>
                  </a:lnTo>
                  <a:lnTo>
                    <a:pt x="5696586" y="121920"/>
                  </a:lnTo>
                  <a:lnTo>
                    <a:pt x="5709413" y="114300"/>
                  </a:lnTo>
                  <a:lnTo>
                    <a:pt x="5676177" y="113029"/>
                  </a:lnTo>
                  <a:lnTo>
                    <a:pt x="5666355" y="107950"/>
                  </a:lnTo>
                  <a:close/>
                </a:path>
                <a:path w="5760085" h="603250">
                  <a:moveTo>
                    <a:pt x="5332856" y="132079"/>
                  </a:moveTo>
                  <a:lnTo>
                    <a:pt x="5316373" y="132079"/>
                  </a:lnTo>
                  <a:lnTo>
                    <a:pt x="5332794" y="140970"/>
                  </a:lnTo>
                  <a:lnTo>
                    <a:pt x="5332856" y="132079"/>
                  </a:lnTo>
                  <a:close/>
                </a:path>
                <a:path w="5760085" h="603250">
                  <a:moveTo>
                    <a:pt x="5696533" y="128270"/>
                  </a:moveTo>
                  <a:lnTo>
                    <a:pt x="5680050" y="128270"/>
                  </a:lnTo>
                  <a:lnTo>
                    <a:pt x="5696459" y="137159"/>
                  </a:lnTo>
                  <a:lnTo>
                    <a:pt x="5696533" y="128270"/>
                  </a:lnTo>
                  <a:close/>
                </a:path>
                <a:path w="5760085" h="603250">
                  <a:moveTo>
                    <a:pt x="5759996" y="100329"/>
                  </a:moveTo>
                  <a:lnTo>
                    <a:pt x="5740096" y="104140"/>
                  </a:lnTo>
                  <a:lnTo>
                    <a:pt x="5743144" y="109220"/>
                  </a:lnTo>
                  <a:lnTo>
                    <a:pt x="5724830" y="110490"/>
                  </a:lnTo>
                  <a:lnTo>
                    <a:pt x="5743830" y="123190"/>
                  </a:lnTo>
                  <a:lnTo>
                    <a:pt x="5736019" y="132079"/>
                  </a:lnTo>
                  <a:lnTo>
                    <a:pt x="5759996" y="124459"/>
                  </a:lnTo>
                  <a:lnTo>
                    <a:pt x="5759996" y="100329"/>
                  </a:lnTo>
                  <a:close/>
                </a:path>
                <a:path w="5760085" h="603250">
                  <a:moveTo>
                    <a:pt x="5305140" y="111759"/>
                  </a:moveTo>
                  <a:lnTo>
                    <a:pt x="5266018" y="111759"/>
                  </a:lnTo>
                  <a:lnTo>
                    <a:pt x="5269320" y="121920"/>
                  </a:lnTo>
                  <a:lnTo>
                    <a:pt x="5256556" y="127000"/>
                  </a:lnTo>
                  <a:lnTo>
                    <a:pt x="5332891" y="127000"/>
                  </a:lnTo>
                  <a:lnTo>
                    <a:pt x="5332908" y="124459"/>
                  </a:lnTo>
                  <a:lnTo>
                    <a:pt x="5345735" y="116840"/>
                  </a:lnTo>
                  <a:lnTo>
                    <a:pt x="5312500" y="115570"/>
                  </a:lnTo>
                  <a:lnTo>
                    <a:pt x="5305140" y="111759"/>
                  </a:lnTo>
                  <a:close/>
                </a:path>
                <a:path w="5760085" h="603250">
                  <a:moveTo>
                    <a:pt x="5299165" y="104140"/>
                  </a:moveTo>
                  <a:lnTo>
                    <a:pt x="5250739" y="104140"/>
                  </a:lnTo>
                  <a:lnTo>
                    <a:pt x="5250714" y="116840"/>
                  </a:lnTo>
                  <a:lnTo>
                    <a:pt x="5266018" y="111759"/>
                  </a:lnTo>
                  <a:lnTo>
                    <a:pt x="5305140" y="111759"/>
                  </a:lnTo>
                  <a:lnTo>
                    <a:pt x="5297780" y="107950"/>
                  </a:lnTo>
                  <a:lnTo>
                    <a:pt x="5299165" y="104140"/>
                  </a:lnTo>
                  <a:close/>
                </a:path>
                <a:path w="5760085" h="603250">
                  <a:moveTo>
                    <a:pt x="5229276" y="78740"/>
                  </a:moveTo>
                  <a:lnTo>
                    <a:pt x="5235982" y="97790"/>
                  </a:lnTo>
                  <a:lnTo>
                    <a:pt x="5228591" y="101600"/>
                  </a:lnTo>
                  <a:lnTo>
                    <a:pt x="5235957" y="101600"/>
                  </a:lnTo>
                  <a:lnTo>
                    <a:pt x="5230191" y="115570"/>
                  </a:lnTo>
                  <a:lnTo>
                    <a:pt x="5250739" y="104140"/>
                  </a:lnTo>
                  <a:lnTo>
                    <a:pt x="5318562" y="104140"/>
                  </a:lnTo>
                  <a:lnTo>
                    <a:pt x="5317872" y="100329"/>
                  </a:lnTo>
                  <a:lnTo>
                    <a:pt x="5332547" y="100329"/>
                  </a:lnTo>
                  <a:lnTo>
                    <a:pt x="5330356" y="93979"/>
                  </a:lnTo>
                  <a:lnTo>
                    <a:pt x="5265408" y="93979"/>
                  </a:lnTo>
                  <a:lnTo>
                    <a:pt x="5246383" y="87629"/>
                  </a:lnTo>
                  <a:lnTo>
                    <a:pt x="5229276" y="78740"/>
                  </a:lnTo>
                  <a:close/>
                </a:path>
                <a:path w="5760085" h="603250">
                  <a:moveTo>
                    <a:pt x="5512880" y="107950"/>
                  </a:moveTo>
                  <a:lnTo>
                    <a:pt x="5501133" y="113029"/>
                  </a:lnTo>
                  <a:lnTo>
                    <a:pt x="5508862" y="113029"/>
                  </a:lnTo>
                  <a:lnTo>
                    <a:pt x="5512880" y="107950"/>
                  </a:lnTo>
                  <a:close/>
                </a:path>
                <a:path w="5760085" h="603250">
                  <a:moveTo>
                    <a:pt x="5592954" y="76200"/>
                  </a:moveTo>
                  <a:lnTo>
                    <a:pt x="5599659" y="93979"/>
                  </a:lnTo>
                  <a:lnTo>
                    <a:pt x="5592255" y="99059"/>
                  </a:lnTo>
                  <a:lnTo>
                    <a:pt x="5599621" y="99059"/>
                  </a:lnTo>
                  <a:lnTo>
                    <a:pt x="5593855" y="113029"/>
                  </a:lnTo>
                  <a:lnTo>
                    <a:pt x="5614404" y="101600"/>
                  </a:lnTo>
                  <a:lnTo>
                    <a:pt x="5662483" y="101600"/>
                  </a:lnTo>
                  <a:lnTo>
                    <a:pt x="5662829" y="100329"/>
                  </a:lnTo>
                  <a:lnTo>
                    <a:pt x="5682075" y="100329"/>
                  </a:lnTo>
                  <a:lnTo>
                    <a:pt x="5681549" y="97790"/>
                  </a:lnTo>
                  <a:lnTo>
                    <a:pt x="5696374" y="97790"/>
                  </a:lnTo>
                  <a:lnTo>
                    <a:pt x="5694020" y="90170"/>
                  </a:lnTo>
                  <a:lnTo>
                    <a:pt x="5629085" y="90170"/>
                  </a:lnTo>
                  <a:lnTo>
                    <a:pt x="5610061" y="83820"/>
                  </a:lnTo>
                  <a:lnTo>
                    <a:pt x="5592954" y="76200"/>
                  </a:lnTo>
                  <a:close/>
                </a:path>
                <a:path w="5760085" h="603250">
                  <a:moveTo>
                    <a:pt x="5662483" y="101600"/>
                  </a:moveTo>
                  <a:lnTo>
                    <a:pt x="5614404" y="101600"/>
                  </a:lnTo>
                  <a:lnTo>
                    <a:pt x="5614391" y="113029"/>
                  </a:lnTo>
                  <a:lnTo>
                    <a:pt x="5629682" y="107950"/>
                  </a:lnTo>
                  <a:lnTo>
                    <a:pt x="5666355" y="107950"/>
                  </a:lnTo>
                  <a:lnTo>
                    <a:pt x="5661445" y="105409"/>
                  </a:lnTo>
                  <a:lnTo>
                    <a:pt x="5662483" y="101600"/>
                  </a:lnTo>
                  <a:close/>
                </a:path>
                <a:path w="5760085" h="603250">
                  <a:moveTo>
                    <a:pt x="5318562" y="104140"/>
                  </a:moveTo>
                  <a:lnTo>
                    <a:pt x="5299165" y="104140"/>
                  </a:lnTo>
                  <a:lnTo>
                    <a:pt x="5305972" y="105409"/>
                  </a:lnTo>
                  <a:lnTo>
                    <a:pt x="5319713" y="110490"/>
                  </a:lnTo>
                  <a:lnTo>
                    <a:pt x="5318562" y="104140"/>
                  </a:lnTo>
                  <a:close/>
                </a:path>
                <a:path w="5760085" h="603250">
                  <a:moveTo>
                    <a:pt x="5682075" y="100329"/>
                  </a:moveTo>
                  <a:lnTo>
                    <a:pt x="5662829" y="100329"/>
                  </a:lnTo>
                  <a:lnTo>
                    <a:pt x="5669624" y="101600"/>
                  </a:lnTo>
                  <a:lnTo>
                    <a:pt x="5683390" y="106679"/>
                  </a:lnTo>
                  <a:lnTo>
                    <a:pt x="5682075" y="100329"/>
                  </a:lnTo>
                  <a:close/>
                </a:path>
                <a:path w="5760085" h="603250">
                  <a:moveTo>
                    <a:pt x="5500853" y="101600"/>
                  </a:moveTo>
                  <a:lnTo>
                    <a:pt x="5481384" y="105409"/>
                  </a:lnTo>
                  <a:lnTo>
                    <a:pt x="5497914" y="105409"/>
                  </a:lnTo>
                  <a:lnTo>
                    <a:pt x="5500853" y="101600"/>
                  </a:lnTo>
                  <a:close/>
                </a:path>
                <a:path w="5760085" h="603250">
                  <a:moveTo>
                    <a:pt x="5332547" y="100329"/>
                  </a:moveTo>
                  <a:lnTo>
                    <a:pt x="5317872" y="100329"/>
                  </a:lnTo>
                  <a:lnTo>
                    <a:pt x="5333861" y="104140"/>
                  </a:lnTo>
                  <a:lnTo>
                    <a:pt x="5332547" y="100329"/>
                  </a:lnTo>
                  <a:close/>
                </a:path>
                <a:path w="5760085" h="603250">
                  <a:moveTo>
                    <a:pt x="5696374" y="97790"/>
                  </a:moveTo>
                  <a:lnTo>
                    <a:pt x="5681549" y="97790"/>
                  </a:lnTo>
                  <a:lnTo>
                    <a:pt x="5697551" y="101600"/>
                  </a:lnTo>
                  <a:lnTo>
                    <a:pt x="5696374" y="97790"/>
                  </a:lnTo>
                  <a:close/>
                </a:path>
                <a:path w="5760085" h="603250">
                  <a:moveTo>
                    <a:pt x="5314151" y="72390"/>
                  </a:moveTo>
                  <a:lnTo>
                    <a:pt x="5270209" y="72390"/>
                  </a:lnTo>
                  <a:lnTo>
                    <a:pt x="5277981" y="74929"/>
                  </a:lnTo>
                  <a:lnTo>
                    <a:pt x="5276749" y="82550"/>
                  </a:lnTo>
                  <a:lnTo>
                    <a:pt x="5263274" y="82550"/>
                  </a:lnTo>
                  <a:lnTo>
                    <a:pt x="5266475" y="88900"/>
                  </a:lnTo>
                  <a:lnTo>
                    <a:pt x="5273079" y="92709"/>
                  </a:lnTo>
                  <a:lnTo>
                    <a:pt x="5265408" y="93979"/>
                  </a:lnTo>
                  <a:lnTo>
                    <a:pt x="5330356" y="93979"/>
                  </a:lnTo>
                  <a:lnTo>
                    <a:pt x="5333646" y="88900"/>
                  </a:lnTo>
                  <a:lnTo>
                    <a:pt x="5309096" y="88900"/>
                  </a:lnTo>
                  <a:lnTo>
                    <a:pt x="5295977" y="83820"/>
                  </a:lnTo>
                  <a:lnTo>
                    <a:pt x="5300828" y="73659"/>
                  </a:lnTo>
                  <a:lnTo>
                    <a:pt x="5306150" y="73659"/>
                  </a:lnTo>
                  <a:lnTo>
                    <a:pt x="5314151" y="72390"/>
                  </a:lnTo>
                  <a:close/>
                </a:path>
                <a:path w="5760085" h="603250">
                  <a:moveTo>
                    <a:pt x="5664493" y="69850"/>
                  </a:moveTo>
                  <a:lnTo>
                    <a:pt x="5633886" y="69850"/>
                  </a:lnTo>
                  <a:lnTo>
                    <a:pt x="5641658" y="71120"/>
                  </a:lnTo>
                  <a:lnTo>
                    <a:pt x="5640414" y="78740"/>
                  </a:lnTo>
                  <a:lnTo>
                    <a:pt x="5632273" y="80009"/>
                  </a:lnTo>
                  <a:lnTo>
                    <a:pt x="5626939" y="80009"/>
                  </a:lnTo>
                  <a:lnTo>
                    <a:pt x="5630139" y="86359"/>
                  </a:lnTo>
                  <a:lnTo>
                    <a:pt x="5636756" y="90170"/>
                  </a:lnTo>
                  <a:lnTo>
                    <a:pt x="5694020" y="90170"/>
                  </a:lnTo>
                  <a:lnTo>
                    <a:pt x="5696694" y="86359"/>
                  </a:lnTo>
                  <a:lnTo>
                    <a:pt x="5672760" y="86359"/>
                  </a:lnTo>
                  <a:lnTo>
                    <a:pt x="5664899" y="82550"/>
                  </a:lnTo>
                  <a:lnTo>
                    <a:pt x="5659654" y="81279"/>
                  </a:lnTo>
                  <a:lnTo>
                    <a:pt x="5664493" y="69850"/>
                  </a:lnTo>
                  <a:close/>
                </a:path>
                <a:path w="5760085" h="603250">
                  <a:moveTo>
                    <a:pt x="5341049" y="77470"/>
                  </a:moveTo>
                  <a:lnTo>
                    <a:pt x="5309096" y="88900"/>
                  </a:lnTo>
                  <a:lnTo>
                    <a:pt x="5333646" y="88900"/>
                  </a:lnTo>
                  <a:lnTo>
                    <a:pt x="5341049" y="77470"/>
                  </a:lnTo>
                  <a:close/>
                </a:path>
                <a:path w="5760085" h="603250">
                  <a:moveTo>
                    <a:pt x="5704714" y="74929"/>
                  </a:moveTo>
                  <a:lnTo>
                    <a:pt x="5672760" y="86359"/>
                  </a:lnTo>
                  <a:lnTo>
                    <a:pt x="5696694" y="86359"/>
                  </a:lnTo>
                  <a:lnTo>
                    <a:pt x="5704714" y="74929"/>
                  </a:lnTo>
                  <a:close/>
                </a:path>
                <a:path w="5760085" h="603250">
                  <a:moveTo>
                    <a:pt x="5250765" y="53340"/>
                  </a:moveTo>
                  <a:lnTo>
                    <a:pt x="5262512" y="64770"/>
                  </a:lnTo>
                  <a:lnTo>
                    <a:pt x="5261230" y="69850"/>
                  </a:lnTo>
                  <a:lnTo>
                    <a:pt x="5259274" y="76200"/>
                  </a:lnTo>
                  <a:lnTo>
                    <a:pt x="5270209" y="72390"/>
                  </a:lnTo>
                  <a:lnTo>
                    <a:pt x="5314151" y="72390"/>
                  </a:lnTo>
                  <a:lnTo>
                    <a:pt x="5310937" y="67309"/>
                  </a:lnTo>
                  <a:lnTo>
                    <a:pt x="5315567" y="60959"/>
                  </a:lnTo>
                  <a:lnTo>
                    <a:pt x="5299927" y="60959"/>
                  </a:lnTo>
                  <a:lnTo>
                    <a:pt x="5299175" y="59690"/>
                  </a:lnTo>
                  <a:lnTo>
                    <a:pt x="5280140" y="59690"/>
                  </a:lnTo>
                  <a:lnTo>
                    <a:pt x="5250765" y="53340"/>
                  </a:lnTo>
                  <a:close/>
                </a:path>
                <a:path w="5760085" h="603250">
                  <a:moveTo>
                    <a:pt x="5614429" y="49529"/>
                  </a:moveTo>
                  <a:lnTo>
                    <a:pt x="5626190" y="62229"/>
                  </a:lnTo>
                  <a:lnTo>
                    <a:pt x="5622938" y="73659"/>
                  </a:lnTo>
                  <a:lnTo>
                    <a:pt x="5633886" y="69850"/>
                  </a:lnTo>
                  <a:lnTo>
                    <a:pt x="5677815" y="69850"/>
                  </a:lnTo>
                  <a:lnTo>
                    <a:pt x="5674602" y="64770"/>
                  </a:lnTo>
                  <a:lnTo>
                    <a:pt x="5678816" y="58420"/>
                  </a:lnTo>
                  <a:lnTo>
                    <a:pt x="5663604" y="58420"/>
                  </a:lnTo>
                  <a:lnTo>
                    <a:pt x="5662977" y="57150"/>
                  </a:lnTo>
                  <a:lnTo>
                    <a:pt x="5643804" y="57150"/>
                  </a:lnTo>
                  <a:lnTo>
                    <a:pt x="5614429" y="49529"/>
                  </a:lnTo>
                  <a:close/>
                </a:path>
                <a:path w="5760085" h="603250">
                  <a:moveTo>
                    <a:pt x="5759996" y="59690"/>
                  </a:moveTo>
                  <a:lnTo>
                    <a:pt x="5747906" y="71120"/>
                  </a:lnTo>
                  <a:lnTo>
                    <a:pt x="5759996" y="67309"/>
                  </a:lnTo>
                  <a:lnTo>
                    <a:pt x="5759996" y="59690"/>
                  </a:lnTo>
                  <a:close/>
                </a:path>
                <a:path w="5760085" h="603250">
                  <a:moveTo>
                    <a:pt x="5320196" y="54609"/>
                  </a:moveTo>
                  <a:lnTo>
                    <a:pt x="5299927" y="60959"/>
                  </a:lnTo>
                  <a:lnTo>
                    <a:pt x="5315567" y="60959"/>
                  </a:lnTo>
                  <a:lnTo>
                    <a:pt x="5320196" y="54609"/>
                  </a:lnTo>
                  <a:close/>
                </a:path>
                <a:path w="5760085" h="603250">
                  <a:moveTo>
                    <a:pt x="5267656" y="40640"/>
                  </a:moveTo>
                  <a:lnTo>
                    <a:pt x="5278019" y="49529"/>
                  </a:lnTo>
                  <a:lnTo>
                    <a:pt x="5280140" y="59690"/>
                  </a:lnTo>
                  <a:lnTo>
                    <a:pt x="5299175" y="59690"/>
                  </a:lnTo>
                  <a:lnTo>
                    <a:pt x="5296167" y="54609"/>
                  </a:lnTo>
                  <a:lnTo>
                    <a:pt x="5300191" y="46990"/>
                  </a:lnTo>
                  <a:lnTo>
                    <a:pt x="5298098" y="46990"/>
                  </a:lnTo>
                  <a:lnTo>
                    <a:pt x="5292591" y="41909"/>
                  </a:lnTo>
                  <a:lnTo>
                    <a:pt x="5278235" y="41909"/>
                  </a:lnTo>
                  <a:lnTo>
                    <a:pt x="5267656" y="40640"/>
                  </a:lnTo>
                  <a:close/>
                </a:path>
                <a:path w="5760085" h="603250">
                  <a:moveTo>
                    <a:pt x="5683873" y="50800"/>
                  </a:moveTo>
                  <a:lnTo>
                    <a:pt x="5663604" y="58420"/>
                  </a:lnTo>
                  <a:lnTo>
                    <a:pt x="5678816" y="58420"/>
                  </a:lnTo>
                  <a:lnTo>
                    <a:pt x="5683873" y="50800"/>
                  </a:lnTo>
                  <a:close/>
                </a:path>
                <a:path w="5760085" h="603250">
                  <a:moveTo>
                    <a:pt x="5651310" y="0"/>
                  </a:moveTo>
                  <a:lnTo>
                    <a:pt x="5648897" y="7620"/>
                  </a:lnTo>
                  <a:lnTo>
                    <a:pt x="5648516" y="27940"/>
                  </a:lnTo>
                  <a:lnTo>
                    <a:pt x="5641912" y="38100"/>
                  </a:lnTo>
                  <a:lnTo>
                    <a:pt x="5631333" y="38100"/>
                  </a:lnTo>
                  <a:lnTo>
                    <a:pt x="5641696" y="46990"/>
                  </a:lnTo>
                  <a:lnTo>
                    <a:pt x="5643804" y="57150"/>
                  </a:lnTo>
                  <a:lnTo>
                    <a:pt x="5662977" y="57150"/>
                  </a:lnTo>
                  <a:lnTo>
                    <a:pt x="5659845" y="50800"/>
                  </a:lnTo>
                  <a:lnTo>
                    <a:pt x="5664306" y="43179"/>
                  </a:lnTo>
                  <a:lnTo>
                    <a:pt x="5661775" y="43179"/>
                  </a:lnTo>
                  <a:lnTo>
                    <a:pt x="5654879" y="36829"/>
                  </a:lnTo>
                  <a:lnTo>
                    <a:pt x="5655349" y="2540"/>
                  </a:lnTo>
                  <a:lnTo>
                    <a:pt x="5653723" y="1270"/>
                  </a:lnTo>
                  <a:lnTo>
                    <a:pt x="5652923" y="1270"/>
                  </a:lnTo>
                  <a:lnTo>
                    <a:pt x="5651310" y="0"/>
                  </a:lnTo>
                  <a:close/>
                </a:path>
                <a:path w="5760085" h="603250">
                  <a:moveTo>
                    <a:pt x="5759996" y="44450"/>
                  </a:moveTo>
                  <a:lnTo>
                    <a:pt x="5751691" y="50800"/>
                  </a:lnTo>
                  <a:lnTo>
                    <a:pt x="5759996" y="53340"/>
                  </a:lnTo>
                  <a:lnTo>
                    <a:pt x="5759996" y="44450"/>
                  </a:lnTo>
                  <a:close/>
                </a:path>
                <a:path w="5760085" h="603250">
                  <a:moveTo>
                    <a:pt x="5302873" y="41909"/>
                  </a:moveTo>
                  <a:lnTo>
                    <a:pt x="5298098" y="46990"/>
                  </a:lnTo>
                  <a:lnTo>
                    <a:pt x="5300191" y="46990"/>
                  </a:lnTo>
                  <a:lnTo>
                    <a:pt x="5302873" y="41909"/>
                  </a:lnTo>
                  <a:close/>
                </a:path>
                <a:path w="5760085" h="603250">
                  <a:moveTo>
                    <a:pt x="5666537" y="39370"/>
                  </a:moveTo>
                  <a:lnTo>
                    <a:pt x="5661775" y="43179"/>
                  </a:lnTo>
                  <a:lnTo>
                    <a:pt x="5664306" y="43179"/>
                  </a:lnTo>
                  <a:lnTo>
                    <a:pt x="5666537" y="39370"/>
                  </a:lnTo>
                  <a:close/>
                </a:path>
                <a:path w="5760085" h="603250">
                  <a:moveTo>
                    <a:pt x="5287620" y="3809"/>
                  </a:moveTo>
                  <a:lnTo>
                    <a:pt x="5285220" y="11429"/>
                  </a:lnTo>
                  <a:lnTo>
                    <a:pt x="5284839" y="31750"/>
                  </a:lnTo>
                  <a:lnTo>
                    <a:pt x="5278235" y="41909"/>
                  </a:lnTo>
                  <a:lnTo>
                    <a:pt x="5292591" y="41909"/>
                  </a:lnTo>
                  <a:lnTo>
                    <a:pt x="5291214" y="40640"/>
                  </a:lnTo>
                  <a:lnTo>
                    <a:pt x="5291684" y="5079"/>
                  </a:lnTo>
                  <a:lnTo>
                    <a:pt x="5287620" y="3809"/>
                  </a:lnTo>
                  <a:close/>
                </a:path>
                <a:path w="5760085" h="603250">
                  <a:moveTo>
                    <a:pt x="5750827" y="29209"/>
                  </a:moveTo>
                  <a:lnTo>
                    <a:pt x="5756885" y="36829"/>
                  </a:lnTo>
                  <a:lnTo>
                    <a:pt x="5748338" y="41909"/>
                  </a:lnTo>
                  <a:lnTo>
                    <a:pt x="5759996" y="40640"/>
                  </a:lnTo>
                  <a:lnTo>
                    <a:pt x="5759996" y="31750"/>
                  </a:lnTo>
                  <a:lnTo>
                    <a:pt x="5750827" y="29209"/>
                  </a:lnTo>
                  <a:close/>
                </a:path>
              </a:pathLst>
            </a:custGeom>
            <a:solidFill>
              <a:srgbClr val="001E1A">
                <a:alpha val="39999"/>
              </a:srgbClr>
            </a:solidFill>
          </p:spPr>
          <p:txBody>
            <a:bodyPr wrap="square" lIns="0" tIns="0" rIns="0" bIns="0" rtlCol="0"/>
            <a:lstStyle/>
            <a:p>
              <a:endParaRPr/>
            </a:p>
          </p:txBody>
        </p:sp>
        <p:sp>
          <p:nvSpPr>
            <p:cNvPr id="11" name="object 11"/>
            <p:cNvSpPr/>
            <p:nvPr/>
          </p:nvSpPr>
          <p:spPr>
            <a:xfrm>
              <a:off x="916393" y="6312408"/>
              <a:ext cx="544830" cy="318770"/>
            </a:xfrm>
            <a:custGeom>
              <a:avLst/>
              <a:gdLst/>
              <a:ahLst/>
              <a:cxnLst/>
              <a:rect l="l" t="t" r="r" b="b"/>
              <a:pathLst>
                <a:path w="544830" h="318770">
                  <a:moveTo>
                    <a:pt x="17106" y="82016"/>
                  </a:moveTo>
                  <a:lnTo>
                    <a:pt x="16725" y="81813"/>
                  </a:lnTo>
                  <a:lnTo>
                    <a:pt x="0" y="104673"/>
                  </a:lnTo>
                  <a:lnTo>
                    <a:pt x="17106" y="82016"/>
                  </a:lnTo>
                  <a:close/>
                </a:path>
                <a:path w="544830" h="318770">
                  <a:moveTo>
                    <a:pt x="64122" y="99593"/>
                  </a:moveTo>
                  <a:lnTo>
                    <a:pt x="56362" y="97053"/>
                  </a:lnTo>
                  <a:lnTo>
                    <a:pt x="48691" y="95783"/>
                  </a:lnTo>
                  <a:lnTo>
                    <a:pt x="41173" y="93243"/>
                  </a:lnTo>
                  <a:lnTo>
                    <a:pt x="33820" y="89433"/>
                  </a:lnTo>
                  <a:lnTo>
                    <a:pt x="26631" y="86893"/>
                  </a:lnTo>
                  <a:lnTo>
                    <a:pt x="19608" y="83083"/>
                  </a:lnTo>
                  <a:lnTo>
                    <a:pt x="17233" y="81851"/>
                  </a:lnTo>
                  <a:lnTo>
                    <a:pt x="17106" y="82016"/>
                  </a:lnTo>
                  <a:lnTo>
                    <a:pt x="19240" y="83083"/>
                  </a:lnTo>
                  <a:lnTo>
                    <a:pt x="26301" y="86893"/>
                  </a:lnTo>
                  <a:lnTo>
                    <a:pt x="33515" y="90703"/>
                  </a:lnTo>
                  <a:lnTo>
                    <a:pt x="40919" y="93243"/>
                  </a:lnTo>
                  <a:lnTo>
                    <a:pt x="56210" y="98323"/>
                  </a:lnTo>
                  <a:lnTo>
                    <a:pt x="64122" y="99593"/>
                  </a:lnTo>
                  <a:close/>
                </a:path>
                <a:path w="544830" h="318770">
                  <a:moveTo>
                    <a:pt x="75463" y="4178"/>
                  </a:moveTo>
                  <a:lnTo>
                    <a:pt x="74599" y="5080"/>
                  </a:lnTo>
                  <a:lnTo>
                    <a:pt x="74637" y="5270"/>
                  </a:lnTo>
                  <a:lnTo>
                    <a:pt x="75463" y="4178"/>
                  </a:lnTo>
                  <a:close/>
                </a:path>
                <a:path w="544830" h="318770">
                  <a:moveTo>
                    <a:pt x="214299" y="220154"/>
                  </a:moveTo>
                  <a:lnTo>
                    <a:pt x="213842" y="220243"/>
                  </a:lnTo>
                  <a:lnTo>
                    <a:pt x="214096" y="220243"/>
                  </a:lnTo>
                  <a:lnTo>
                    <a:pt x="214299" y="220154"/>
                  </a:lnTo>
                  <a:close/>
                </a:path>
                <a:path w="544830" h="318770">
                  <a:moveTo>
                    <a:pt x="227037" y="154203"/>
                  </a:moveTo>
                  <a:lnTo>
                    <a:pt x="224904" y="155473"/>
                  </a:lnTo>
                  <a:lnTo>
                    <a:pt x="226999" y="154305"/>
                  </a:lnTo>
                  <a:close/>
                </a:path>
                <a:path w="544830" h="318770">
                  <a:moveTo>
                    <a:pt x="281901" y="221513"/>
                  </a:moveTo>
                  <a:lnTo>
                    <a:pt x="281736" y="221627"/>
                  </a:lnTo>
                  <a:lnTo>
                    <a:pt x="281190" y="222783"/>
                  </a:lnTo>
                  <a:lnTo>
                    <a:pt x="281406" y="222783"/>
                  </a:lnTo>
                  <a:lnTo>
                    <a:pt x="281901" y="221513"/>
                  </a:lnTo>
                  <a:close/>
                </a:path>
                <a:path w="544830" h="318770">
                  <a:moveTo>
                    <a:pt x="301053" y="155473"/>
                  </a:moveTo>
                  <a:lnTo>
                    <a:pt x="298424" y="154203"/>
                  </a:lnTo>
                  <a:lnTo>
                    <a:pt x="294144" y="150393"/>
                  </a:lnTo>
                  <a:lnTo>
                    <a:pt x="292366" y="147853"/>
                  </a:lnTo>
                  <a:lnTo>
                    <a:pt x="290525" y="145313"/>
                  </a:lnTo>
                  <a:lnTo>
                    <a:pt x="290195" y="144043"/>
                  </a:lnTo>
                  <a:lnTo>
                    <a:pt x="289852" y="144043"/>
                  </a:lnTo>
                  <a:lnTo>
                    <a:pt x="290068" y="145313"/>
                  </a:lnTo>
                  <a:lnTo>
                    <a:pt x="290245" y="145313"/>
                  </a:lnTo>
                  <a:lnTo>
                    <a:pt x="292138" y="147853"/>
                  </a:lnTo>
                  <a:lnTo>
                    <a:pt x="293941" y="150393"/>
                  </a:lnTo>
                  <a:lnTo>
                    <a:pt x="298259" y="154203"/>
                  </a:lnTo>
                  <a:lnTo>
                    <a:pt x="300951" y="155473"/>
                  </a:lnTo>
                  <a:close/>
                </a:path>
                <a:path w="544830" h="318770">
                  <a:moveTo>
                    <a:pt x="301815" y="173253"/>
                  </a:moveTo>
                  <a:lnTo>
                    <a:pt x="300875" y="170713"/>
                  </a:lnTo>
                  <a:lnTo>
                    <a:pt x="301155" y="171856"/>
                  </a:lnTo>
                  <a:lnTo>
                    <a:pt x="301815" y="173253"/>
                  </a:lnTo>
                  <a:close/>
                </a:path>
                <a:path w="544830" h="318770">
                  <a:moveTo>
                    <a:pt x="302615" y="174028"/>
                  </a:moveTo>
                  <a:lnTo>
                    <a:pt x="302514" y="173812"/>
                  </a:lnTo>
                  <a:lnTo>
                    <a:pt x="302209" y="173710"/>
                  </a:lnTo>
                  <a:lnTo>
                    <a:pt x="302615" y="174028"/>
                  </a:lnTo>
                  <a:close/>
                </a:path>
                <a:path w="544830" h="318770">
                  <a:moveTo>
                    <a:pt x="311607" y="202107"/>
                  </a:moveTo>
                  <a:lnTo>
                    <a:pt x="310578" y="201193"/>
                  </a:lnTo>
                  <a:lnTo>
                    <a:pt x="310629" y="201383"/>
                  </a:lnTo>
                  <a:lnTo>
                    <a:pt x="311607" y="202107"/>
                  </a:lnTo>
                  <a:close/>
                </a:path>
                <a:path w="544830" h="318770">
                  <a:moveTo>
                    <a:pt x="317741" y="227863"/>
                  </a:moveTo>
                  <a:lnTo>
                    <a:pt x="315595" y="226593"/>
                  </a:lnTo>
                  <a:lnTo>
                    <a:pt x="313588" y="225323"/>
                  </a:lnTo>
                  <a:lnTo>
                    <a:pt x="312191" y="225323"/>
                  </a:lnTo>
                  <a:lnTo>
                    <a:pt x="310718" y="223888"/>
                  </a:lnTo>
                  <a:lnTo>
                    <a:pt x="309651" y="222783"/>
                  </a:lnTo>
                  <a:lnTo>
                    <a:pt x="309384" y="222783"/>
                  </a:lnTo>
                  <a:lnTo>
                    <a:pt x="310705" y="224104"/>
                  </a:lnTo>
                  <a:lnTo>
                    <a:pt x="312039" y="225323"/>
                  </a:lnTo>
                  <a:lnTo>
                    <a:pt x="315544" y="226593"/>
                  </a:lnTo>
                  <a:lnTo>
                    <a:pt x="317741" y="227863"/>
                  </a:lnTo>
                  <a:close/>
                </a:path>
                <a:path w="544830" h="318770">
                  <a:moveTo>
                    <a:pt x="321894" y="201193"/>
                  </a:moveTo>
                  <a:lnTo>
                    <a:pt x="320319" y="199923"/>
                  </a:lnTo>
                  <a:lnTo>
                    <a:pt x="321856" y="201193"/>
                  </a:lnTo>
                  <a:close/>
                </a:path>
                <a:path w="544830" h="318770">
                  <a:moveTo>
                    <a:pt x="321919" y="229133"/>
                  </a:moveTo>
                  <a:lnTo>
                    <a:pt x="321792" y="229133"/>
                  </a:lnTo>
                  <a:lnTo>
                    <a:pt x="320967" y="231673"/>
                  </a:lnTo>
                  <a:lnTo>
                    <a:pt x="320027" y="232943"/>
                  </a:lnTo>
                  <a:lnTo>
                    <a:pt x="318770" y="235483"/>
                  </a:lnTo>
                  <a:lnTo>
                    <a:pt x="317779" y="236804"/>
                  </a:lnTo>
                  <a:lnTo>
                    <a:pt x="316699" y="238023"/>
                  </a:lnTo>
                  <a:lnTo>
                    <a:pt x="314248" y="239293"/>
                  </a:lnTo>
                  <a:lnTo>
                    <a:pt x="316801" y="239293"/>
                  </a:lnTo>
                  <a:lnTo>
                    <a:pt x="317931" y="236740"/>
                  </a:lnTo>
                  <a:lnTo>
                    <a:pt x="318884" y="235483"/>
                  </a:lnTo>
                  <a:lnTo>
                    <a:pt x="320141" y="234213"/>
                  </a:lnTo>
                  <a:lnTo>
                    <a:pt x="321106" y="231673"/>
                  </a:lnTo>
                  <a:lnTo>
                    <a:pt x="321919" y="229133"/>
                  </a:lnTo>
                  <a:close/>
                </a:path>
                <a:path w="544830" h="318770">
                  <a:moveTo>
                    <a:pt x="323938" y="222618"/>
                  </a:moveTo>
                  <a:lnTo>
                    <a:pt x="323494" y="224053"/>
                  </a:lnTo>
                  <a:lnTo>
                    <a:pt x="323684" y="223951"/>
                  </a:lnTo>
                  <a:lnTo>
                    <a:pt x="323938" y="222618"/>
                  </a:lnTo>
                  <a:close/>
                </a:path>
                <a:path w="544830" h="318770">
                  <a:moveTo>
                    <a:pt x="324294" y="221513"/>
                  </a:moveTo>
                  <a:lnTo>
                    <a:pt x="324167" y="221513"/>
                  </a:lnTo>
                  <a:lnTo>
                    <a:pt x="323938" y="222618"/>
                  </a:lnTo>
                  <a:lnTo>
                    <a:pt x="324294" y="221513"/>
                  </a:lnTo>
                  <a:close/>
                </a:path>
                <a:path w="544830" h="318770">
                  <a:moveTo>
                    <a:pt x="326326" y="71120"/>
                  </a:moveTo>
                  <a:lnTo>
                    <a:pt x="212280" y="38100"/>
                  </a:lnTo>
                  <a:lnTo>
                    <a:pt x="212813" y="38519"/>
                  </a:lnTo>
                  <a:lnTo>
                    <a:pt x="326326" y="71120"/>
                  </a:lnTo>
                  <a:close/>
                </a:path>
                <a:path w="544830" h="318770">
                  <a:moveTo>
                    <a:pt x="328917" y="197383"/>
                  </a:moveTo>
                  <a:lnTo>
                    <a:pt x="328333" y="198653"/>
                  </a:lnTo>
                  <a:lnTo>
                    <a:pt x="326834" y="199923"/>
                  </a:lnTo>
                  <a:lnTo>
                    <a:pt x="325856" y="201193"/>
                  </a:lnTo>
                  <a:lnTo>
                    <a:pt x="326885" y="199923"/>
                  </a:lnTo>
                  <a:lnTo>
                    <a:pt x="328371" y="198653"/>
                  </a:lnTo>
                  <a:lnTo>
                    <a:pt x="328917" y="197383"/>
                  </a:lnTo>
                  <a:close/>
                </a:path>
                <a:path w="544830" h="318770">
                  <a:moveTo>
                    <a:pt x="328955" y="224866"/>
                  </a:moveTo>
                  <a:lnTo>
                    <a:pt x="328168" y="224053"/>
                  </a:lnTo>
                  <a:lnTo>
                    <a:pt x="328193" y="224231"/>
                  </a:lnTo>
                  <a:lnTo>
                    <a:pt x="328955" y="224866"/>
                  </a:lnTo>
                  <a:close/>
                </a:path>
                <a:path w="544830" h="318770">
                  <a:moveTo>
                    <a:pt x="329501" y="229133"/>
                  </a:moveTo>
                  <a:lnTo>
                    <a:pt x="328993" y="226593"/>
                  </a:lnTo>
                  <a:lnTo>
                    <a:pt x="329412" y="229133"/>
                  </a:lnTo>
                  <a:close/>
                </a:path>
                <a:path w="544830" h="318770">
                  <a:moveTo>
                    <a:pt x="329641" y="231648"/>
                  </a:moveTo>
                  <a:lnTo>
                    <a:pt x="326796" y="229133"/>
                  </a:lnTo>
                  <a:lnTo>
                    <a:pt x="326288" y="229133"/>
                  </a:lnTo>
                  <a:lnTo>
                    <a:pt x="329641" y="231648"/>
                  </a:lnTo>
                  <a:close/>
                </a:path>
                <a:path w="544830" h="318770">
                  <a:moveTo>
                    <a:pt x="329946" y="152933"/>
                  </a:moveTo>
                  <a:lnTo>
                    <a:pt x="329069" y="150393"/>
                  </a:lnTo>
                  <a:lnTo>
                    <a:pt x="328244" y="147853"/>
                  </a:lnTo>
                  <a:lnTo>
                    <a:pt x="327456" y="145313"/>
                  </a:lnTo>
                  <a:lnTo>
                    <a:pt x="327406" y="144043"/>
                  </a:lnTo>
                  <a:lnTo>
                    <a:pt x="327164" y="144043"/>
                  </a:lnTo>
                  <a:lnTo>
                    <a:pt x="327266" y="145313"/>
                  </a:lnTo>
                  <a:lnTo>
                    <a:pt x="328917" y="150393"/>
                  </a:lnTo>
                  <a:lnTo>
                    <a:pt x="329806" y="152933"/>
                  </a:lnTo>
                  <a:lnTo>
                    <a:pt x="329946" y="152933"/>
                  </a:lnTo>
                  <a:close/>
                </a:path>
                <a:path w="544830" h="318770">
                  <a:moveTo>
                    <a:pt x="331635" y="205003"/>
                  </a:moveTo>
                  <a:lnTo>
                    <a:pt x="330314" y="199923"/>
                  </a:lnTo>
                  <a:lnTo>
                    <a:pt x="329692" y="197383"/>
                  </a:lnTo>
                  <a:lnTo>
                    <a:pt x="329501" y="196113"/>
                  </a:lnTo>
                  <a:lnTo>
                    <a:pt x="329196" y="196113"/>
                  </a:lnTo>
                  <a:lnTo>
                    <a:pt x="329399" y="197383"/>
                  </a:lnTo>
                  <a:lnTo>
                    <a:pt x="329628" y="197383"/>
                  </a:lnTo>
                  <a:lnTo>
                    <a:pt x="330898" y="202463"/>
                  </a:lnTo>
                  <a:lnTo>
                    <a:pt x="331584" y="205003"/>
                  </a:lnTo>
                  <a:close/>
                </a:path>
                <a:path w="544830" h="318770">
                  <a:moveTo>
                    <a:pt x="332968" y="227838"/>
                  </a:moveTo>
                  <a:lnTo>
                    <a:pt x="329933" y="229133"/>
                  </a:lnTo>
                  <a:lnTo>
                    <a:pt x="332968" y="227838"/>
                  </a:lnTo>
                  <a:close/>
                </a:path>
                <a:path w="544830" h="318770">
                  <a:moveTo>
                    <a:pt x="333222" y="211353"/>
                  </a:moveTo>
                  <a:lnTo>
                    <a:pt x="332765" y="208813"/>
                  </a:lnTo>
                  <a:lnTo>
                    <a:pt x="333184" y="211353"/>
                  </a:lnTo>
                  <a:close/>
                </a:path>
                <a:path w="544830" h="318770">
                  <a:moveTo>
                    <a:pt x="336588" y="207911"/>
                  </a:moveTo>
                  <a:lnTo>
                    <a:pt x="336321" y="207543"/>
                  </a:lnTo>
                  <a:lnTo>
                    <a:pt x="336473" y="207848"/>
                  </a:lnTo>
                  <a:close/>
                </a:path>
                <a:path w="544830" h="318770">
                  <a:moveTo>
                    <a:pt x="336740" y="221449"/>
                  </a:moveTo>
                  <a:lnTo>
                    <a:pt x="335508" y="217957"/>
                  </a:lnTo>
                  <a:lnTo>
                    <a:pt x="336080" y="220243"/>
                  </a:lnTo>
                  <a:lnTo>
                    <a:pt x="336740" y="221449"/>
                  </a:lnTo>
                  <a:close/>
                </a:path>
                <a:path w="544830" h="318770">
                  <a:moveTo>
                    <a:pt x="337235" y="223164"/>
                  </a:moveTo>
                  <a:lnTo>
                    <a:pt x="336804" y="221627"/>
                  </a:lnTo>
                  <a:lnTo>
                    <a:pt x="336740" y="221449"/>
                  </a:lnTo>
                  <a:lnTo>
                    <a:pt x="337235" y="223164"/>
                  </a:lnTo>
                  <a:close/>
                </a:path>
                <a:path w="544830" h="318770">
                  <a:moveTo>
                    <a:pt x="337299" y="245833"/>
                  </a:moveTo>
                  <a:lnTo>
                    <a:pt x="336080" y="244373"/>
                  </a:lnTo>
                  <a:lnTo>
                    <a:pt x="334200" y="240563"/>
                  </a:lnTo>
                  <a:lnTo>
                    <a:pt x="333387" y="239293"/>
                  </a:lnTo>
                  <a:lnTo>
                    <a:pt x="331647" y="235483"/>
                  </a:lnTo>
                  <a:lnTo>
                    <a:pt x="330746" y="232816"/>
                  </a:lnTo>
                  <a:lnTo>
                    <a:pt x="330377" y="231673"/>
                  </a:lnTo>
                  <a:lnTo>
                    <a:pt x="330771" y="232943"/>
                  </a:lnTo>
                  <a:lnTo>
                    <a:pt x="331609" y="235483"/>
                  </a:lnTo>
                  <a:lnTo>
                    <a:pt x="333336" y="239331"/>
                  </a:lnTo>
                  <a:lnTo>
                    <a:pt x="334124" y="240563"/>
                  </a:lnTo>
                  <a:lnTo>
                    <a:pt x="335064" y="243103"/>
                  </a:lnTo>
                  <a:lnTo>
                    <a:pt x="336029" y="244373"/>
                  </a:lnTo>
                  <a:lnTo>
                    <a:pt x="337096" y="245643"/>
                  </a:lnTo>
                  <a:lnTo>
                    <a:pt x="337299" y="245833"/>
                  </a:lnTo>
                  <a:close/>
                </a:path>
                <a:path w="544830" h="318770">
                  <a:moveTo>
                    <a:pt x="338429" y="225323"/>
                  </a:moveTo>
                  <a:lnTo>
                    <a:pt x="337527" y="224078"/>
                  </a:lnTo>
                  <a:lnTo>
                    <a:pt x="338378" y="225323"/>
                  </a:lnTo>
                  <a:lnTo>
                    <a:pt x="335394" y="226745"/>
                  </a:lnTo>
                  <a:lnTo>
                    <a:pt x="332968" y="227838"/>
                  </a:lnTo>
                  <a:lnTo>
                    <a:pt x="335749" y="226593"/>
                  </a:lnTo>
                  <a:lnTo>
                    <a:pt x="338429" y="225323"/>
                  </a:lnTo>
                  <a:close/>
                </a:path>
                <a:path w="544830" h="318770">
                  <a:moveTo>
                    <a:pt x="338975" y="226745"/>
                  </a:moveTo>
                  <a:lnTo>
                    <a:pt x="338924" y="226593"/>
                  </a:lnTo>
                  <a:lnTo>
                    <a:pt x="338442" y="225323"/>
                  </a:lnTo>
                  <a:lnTo>
                    <a:pt x="338975" y="226745"/>
                  </a:lnTo>
                  <a:close/>
                </a:path>
                <a:path w="544830" h="318770">
                  <a:moveTo>
                    <a:pt x="339140" y="248094"/>
                  </a:moveTo>
                  <a:lnTo>
                    <a:pt x="338493" y="246913"/>
                  </a:lnTo>
                  <a:lnTo>
                    <a:pt x="337299" y="245833"/>
                  </a:lnTo>
                  <a:lnTo>
                    <a:pt x="339140" y="248094"/>
                  </a:lnTo>
                  <a:close/>
                </a:path>
                <a:path w="544830" h="318770">
                  <a:moveTo>
                    <a:pt x="339229" y="248183"/>
                  </a:moveTo>
                  <a:close/>
                </a:path>
                <a:path w="544830" h="318770">
                  <a:moveTo>
                    <a:pt x="341210" y="230403"/>
                  </a:moveTo>
                  <a:lnTo>
                    <a:pt x="340880" y="229133"/>
                  </a:lnTo>
                  <a:lnTo>
                    <a:pt x="340601" y="229133"/>
                  </a:lnTo>
                  <a:lnTo>
                    <a:pt x="341210" y="230403"/>
                  </a:lnTo>
                  <a:close/>
                </a:path>
                <a:path w="544830" h="318770">
                  <a:moveTo>
                    <a:pt x="341566" y="228053"/>
                  </a:moveTo>
                  <a:lnTo>
                    <a:pt x="339813" y="226593"/>
                  </a:lnTo>
                  <a:lnTo>
                    <a:pt x="339852" y="226733"/>
                  </a:lnTo>
                  <a:lnTo>
                    <a:pt x="341566" y="228053"/>
                  </a:lnTo>
                  <a:close/>
                </a:path>
                <a:path w="544830" h="318770">
                  <a:moveTo>
                    <a:pt x="341680" y="174523"/>
                  </a:moveTo>
                  <a:lnTo>
                    <a:pt x="341045" y="173253"/>
                  </a:lnTo>
                  <a:lnTo>
                    <a:pt x="340829" y="173253"/>
                  </a:lnTo>
                  <a:lnTo>
                    <a:pt x="341426" y="174523"/>
                  </a:lnTo>
                  <a:lnTo>
                    <a:pt x="341680" y="174523"/>
                  </a:lnTo>
                  <a:close/>
                </a:path>
                <a:path w="544830" h="318770">
                  <a:moveTo>
                    <a:pt x="341820" y="249453"/>
                  </a:moveTo>
                  <a:lnTo>
                    <a:pt x="340029" y="248183"/>
                  </a:lnTo>
                  <a:lnTo>
                    <a:pt x="341820" y="249453"/>
                  </a:lnTo>
                  <a:close/>
                </a:path>
                <a:path w="544830" h="318770">
                  <a:moveTo>
                    <a:pt x="342595" y="231673"/>
                  </a:moveTo>
                  <a:lnTo>
                    <a:pt x="342049" y="230403"/>
                  </a:lnTo>
                  <a:lnTo>
                    <a:pt x="342595" y="231673"/>
                  </a:lnTo>
                  <a:close/>
                </a:path>
                <a:path w="544830" h="318770">
                  <a:moveTo>
                    <a:pt x="343636" y="232816"/>
                  </a:moveTo>
                  <a:lnTo>
                    <a:pt x="343560" y="231673"/>
                  </a:lnTo>
                  <a:lnTo>
                    <a:pt x="343636" y="232816"/>
                  </a:lnTo>
                  <a:close/>
                </a:path>
                <a:path w="544830" h="318770">
                  <a:moveTo>
                    <a:pt x="345579" y="248183"/>
                  </a:moveTo>
                  <a:lnTo>
                    <a:pt x="343738" y="248183"/>
                  </a:lnTo>
                  <a:lnTo>
                    <a:pt x="342836" y="249453"/>
                  </a:lnTo>
                  <a:lnTo>
                    <a:pt x="345579" y="248183"/>
                  </a:lnTo>
                  <a:close/>
                </a:path>
                <a:path w="544830" h="318770">
                  <a:moveTo>
                    <a:pt x="345909" y="174523"/>
                  </a:moveTo>
                  <a:lnTo>
                    <a:pt x="342900" y="174523"/>
                  </a:lnTo>
                  <a:lnTo>
                    <a:pt x="344614" y="175793"/>
                  </a:lnTo>
                  <a:lnTo>
                    <a:pt x="345909" y="174523"/>
                  </a:lnTo>
                  <a:close/>
                </a:path>
                <a:path w="544830" h="318770">
                  <a:moveTo>
                    <a:pt x="348043" y="245643"/>
                  </a:moveTo>
                  <a:lnTo>
                    <a:pt x="346887" y="246913"/>
                  </a:lnTo>
                  <a:lnTo>
                    <a:pt x="345579" y="248183"/>
                  </a:lnTo>
                  <a:lnTo>
                    <a:pt x="346913" y="246913"/>
                  </a:lnTo>
                  <a:lnTo>
                    <a:pt x="348043" y="245643"/>
                  </a:lnTo>
                  <a:close/>
                </a:path>
                <a:path w="544830" h="318770">
                  <a:moveTo>
                    <a:pt x="348653" y="221513"/>
                  </a:moveTo>
                  <a:lnTo>
                    <a:pt x="347560" y="220243"/>
                  </a:lnTo>
                  <a:lnTo>
                    <a:pt x="347002" y="218973"/>
                  </a:lnTo>
                  <a:lnTo>
                    <a:pt x="348475" y="217703"/>
                  </a:lnTo>
                  <a:lnTo>
                    <a:pt x="346938" y="218973"/>
                  </a:lnTo>
                  <a:lnTo>
                    <a:pt x="347459" y="220243"/>
                  </a:lnTo>
                  <a:lnTo>
                    <a:pt x="348564" y="221513"/>
                  </a:lnTo>
                  <a:close/>
                </a:path>
                <a:path w="544830" h="318770">
                  <a:moveTo>
                    <a:pt x="349224" y="240563"/>
                  </a:moveTo>
                  <a:lnTo>
                    <a:pt x="348310" y="239293"/>
                  </a:lnTo>
                  <a:lnTo>
                    <a:pt x="349224" y="240563"/>
                  </a:lnTo>
                  <a:close/>
                </a:path>
                <a:path w="544830" h="318770">
                  <a:moveTo>
                    <a:pt x="351104" y="257073"/>
                  </a:moveTo>
                  <a:lnTo>
                    <a:pt x="350520" y="256667"/>
                  </a:lnTo>
                  <a:lnTo>
                    <a:pt x="351104" y="257073"/>
                  </a:lnTo>
                  <a:close/>
                </a:path>
                <a:path w="544830" h="318770">
                  <a:moveTo>
                    <a:pt x="351282" y="284035"/>
                  </a:moveTo>
                  <a:lnTo>
                    <a:pt x="348665" y="285013"/>
                  </a:lnTo>
                  <a:lnTo>
                    <a:pt x="349681" y="285013"/>
                  </a:lnTo>
                  <a:lnTo>
                    <a:pt x="351282" y="284035"/>
                  </a:lnTo>
                  <a:close/>
                </a:path>
                <a:path w="544830" h="318770">
                  <a:moveTo>
                    <a:pt x="351282" y="257251"/>
                  </a:moveTo>
                  <a:lnTo>
                    <a:pt x="351243" y="257073"/>
                  </a:lnTo>
                  <a:lnTo>
                    <a:pt x="351282" y="257251"/>
                  </a:lnTo>
                  <a:close/>
                </a:path>
                <a:path w="544830" h="318770">
                  <a:moveTo>
                    <a:pt x="351396" y="215163"/>
                  </a:moveTo>
                  <a:lnTo>
                    <a:pt x="350443" y="216014"/>
                  </a:lnTo>
                  <a:lnTo>
                    <a:pt x="351396" y="215201"/>
                  </a:lnTo>
                  <a:close/>
                </a:path>
                <a:path w="544830" h="318770">
                  <a:moveTo>
                    <a:pt x="351459" y="229133"/>
                  </a:moveTo>
                  <a:lnTo>
                    <a:pt x="351269" y="227863"/>
                  </a:lnTo>
                  <a:lnTo>
                    <a:pt x="351002" y="227863"/>
                  </a:lnTo>
                  <a:lnTo>
                    <a:pt x="351231" y="229133"/>
                  </a:lnTo>
                  <a:lnTo>
                    <a:pt x="351459" y="229133"/>
                  </a:lnTo>
                  <a:close/>
                </a:path>
                <a:path w="544830" h="318770">
                  <a:moveTo>
                    <a:pt x="352171" y="260502"/>
                  </a:moveTo>
                  <a:lnTo>
                    <a:pt x="351701" y="258635"/>
                  </a:lnTo>
                  <a:lnTo>
                    <a:pt x="351866" y="259613"/>
                  </a:lnTo>
                  <a:lnTo>
                    <a:pt x="352171" y="260502"/>
                  </a:lnTo>
                  <a:close/>
                </a:path>
                <a:path w="544830" h="318770">
                  <a:moveTo>
                    <a:pt x="352310" y="260883"/>
                  </a:moveTo>
                  <a:lnTo>
                    <a:pt x="352171" y="260502"/>
                  </a:lnTo>
                  <a:lnTo>
                    <a:pt x="352272" y="260883"/>
                  </a:lnTo>
                  <a:close/>
                </a:path>
                <a:path w="544830" h="318770">
                  <a:moveTo>
                    <a:pt x="352361" y="220243"/>
                  </a:moveTo>
                  <a:lnTo>
                    <a:pt x="351739" y="216433"/>
                  </a:lnTo>
                  <a:lnTo>
                    <a:pt x="351434" y="215163"/>
                  </a:lnTo>
                  <a:lnTo>
                    <a:pt x="351993" y="218973"/>
                  </a:lnTo>
                  <a:lnTo>
                    <a:pt x="352323" y="220243"/>
                  </a:lnTo>
                  <a:lnTo>
                    <a:pt x="351853" y="220243"/>
                  </a:lnTo>
                  <a:lnTo>
                    <a:pt x="351345" y="221513"/>
                  </a:lnTo>
                  <a:lnTo>
                    <a:pt x="351904" y="221513"/>
                  </a:lnTo>
                  <a:lnTo>
                    <a:pt x="352361" y="220243"/>
                  </a:lnTo>
                  <a:close/>
                </a:path>
                <a:path w="544830" h="318770">
                  <a:moveTo>
                    <a:pt x="352704" y="262153"/>
                  </a:moveTo>
                  <a:lnTo>
                    <a:pt x="352602" y="260883"/>
                  </a:lnTo>
                  <a:lnTo>
                    <a:pt x="352374" y="260883"/>
                  </a:lnTo>
                  <a:lnTo>
                    <a:pt x="352704" y="262153"/>
                  </a:lnTo>
                  <a:close/>
                </a:path>
                <a:path w="544830" h="318770">
                  <a:moveTo>
                    <a:pt x="352882" y="210083"/>
                  </a:moveTo>
                  <a:lnTo>
                    <a:pt x="352869" y="208813"/>
                  </a:lnTo>
                  <a:lnTo>
                    <a:pt x="352717" y="208813"/>
                  </a:lnTo>
                  <a:lnTo>
                    <a:pt x="352602" y="206273"/>
                  </a:lnTo>
                  <a:lnTo>
                    <a:pt x="352437" y="206273"/>
                  </a:lnTo>
                  <a:lnTo>
                    <a:pt x="352437" y="205003"/>
                  </a:lnTo>
                  <a:lnTo>
                    <a:pt x="352374" y="206273"/>
                  </a:lnTo>
                  <a:lnTo>
                    <a:pt x="352221" y="206273"/>
                  </a:lnTo>
                  <a:lnTo>
                    <a:pt x="352120" y="207302"/>
                  </a:lnTo>
                  <a:lnTo>
                    <a:pt x="352094" y="208813"/>
                  </a:lnTo>
                  <a:lnTo>
                    <a:pt x="351929" y="208813"/>
                  </a:lnTo>
                  <a:lnTo>
                    <a:pt x="351929" y="210083"/>
                  </a:lnTo>
                  <a:lnTo>
                    <a:pt x="352221" y="210083"/>
                  </a:lnTo>
                  <a:lnTo>
                    <a:pt x="352094" y="211353"/>
                  </a:lnTo>
                  <a:lnTo>
                    <a:pt x="352094" y="212623"/>
                  </a:lnTo>
                  <a:lnTo>
                    <a:pt x="352374" y="212623"/>
                  </a:lnTo>
                  <a:lnTo>
                    <a:pt x="352221" y="213893"/>
                  </a:lnTo>
                  <a:lnTo>
                    <a:pt x="352094" y="213893"/>
                  </a:lnTo>
                  <a:lnTo>
                    <a:pt x="352094" y="215163"/>
                  </a:lnTo>
                  <a:lnTo>
                    <a:pt x="352374" y="215163"/>
                  </a:lnTo>
                  <a:lnTo>
                    <a:pt x="352374" y="216433"/>
                  </a:lnTo>
                  <a:lnTo>
                    <a:pt x="352437" y="215163"/>
                  </a:lnTo>
                  <a:lnTo>
                    <a:pt x="352717" y="215163"/>
                  </a:lnTo>
                  <a:lnTo>
                    <a:pt x="352717" y="213893"/>
                  </a:lnTo>
                  <a:lnTo>
                    <a:pt x="352437" y="212623"/>
                  </a:lnTo>
                  <a:lnTo>
                    <a:pt x="352717" y="212623"/>
                  </a:lnTo>
                  <a:lnTo>
                    <a:pt x="352602" y="210083"/>
                  </a:lnTo>
                  <a:lnTo>
                    <a:pt x="352882" y="210083"/>
                  </a:lnTo>
                  <a:close/>
                </a:path>
                <a:path w="544830" h="318770">
                  <a:moveTo>
                    <a:pt x="353009" y="164185"/>
                  </a:moveTo>
                  <a:lnTo>
                    <a:pt x="352907" y="164363"/>
                  </a:lnTo>
                  <a:lnTo>
                    <a:pt x="352082" y="166903"/>
                  </a:lnTo>
                  <a:lnTo>
                    <a:pt x="351942" y="167246"/>
                  </a:lnTo>
                  <a:lnTo>
                    <a:pt x="352196" y="166903"/>
                  </a:lnTo>
                  <a:lnTo>
                    <a:pt x="353009" y="164185"/>
                  </a:lnTo>
                  <a:close/>
                </a:path>
                <a:path w="544830" h="318770">
                  <a:moveTo>
                    <a:pt x="354126" y="264934"/>
                  </a:moveTo>
                  <a:lnTo>
                    <a:pt x="354025" y="264693"/>
                  </a:lnTo>
                  <a:lnTo>
                    <a:pt x="353771" y="264528"/>
                  </a:lnTo>
                  <a:lnTo>
                    <a:pt x="353809" y="264693"/>
                  </a:lnTo>
                  <a:lnTo>
                    <a:pt x="354126" y="264934"/>
                  </a:lnTo>
                  <a:close/>
                </a:path>
                <a:path w="544830" h="318770">
                  <a:moveTo>
                    <a:pt x="354368" y="233476"/>
                  </a:moveTo>
                  <a:lnTo>
                    <a:pt x="353656" y="233476"/>
                  </a:lnTo>
                  <a:lnTo>
                    <a:pt x="353860" y="234086"/>
                  </a:lnTo>
                  <a:lnTo>
                    <a:pt x="354368" y="233476"/>
                  </a:lnTo>
                  <a:close/>
                </a:path>
                <a:path w="544830" h="318770">
                  <a:moveTo>
                    <a:pt x="354444" y="265150"/>
                  </a:moveTo>
                  <a:lnTo>
                    <a:pt x="354317" y="264934"/>
                  </a:lnTo>
                  <a:lnTo>
                    <a:pt x="354241" y="264693"/>
                  </a:lnTo>
                  <a:lnTo>
                    <a:pt x="354063" y="264693"/>
                  </a:lnTo>
                  <a:lnTo>
                    <a:pt x="354164" y="264960"/>
                  </a:lnTo>
                  <a:lnTo>
                    <a:pt x="354444" y="265150"/>
                  </a:lnTo>
                  <a:close/>
                </a:path>
                <a:path w="544830" h="318770">
                  <a:moveTo>
                    <a:pt x="354799" y="265963"/>
                  </a:moveTo>
                  <a:lnTo>
                    <a:pt x="354444" y="265150"/>
                  </a:lnTo>
                  <a:lnTo>
                    <a:pt x="354126" y="264934"/>
                  </a:lnTo>
                  <a:lnTo>
                    <a:pt x="354431" y="265963"/>
                  </a:lnTo>
                  <a:lnTo>
                    <a:pt x="354799" y="265963"/>
                  </a:lnTo>
                  <a:close/>
                </a:path>
                <a:path w="544830" h="318770">
                  <a:moveTo>
                    <a:pt x="355117" y="265645"/>
                  </a:moveTo>
                  <a:lnTo>
                    <a:pt x="354355" y="264960"/>
                  </a:lnTo>
                  <a:lnTo>
                    <a:pt x="354444" y="265150"/>
                  </a:lnTo>
                  <a:lnTo>
                    <a:pt x="355117" y="265645"/>
                  </a:lnTo>
                  <a:close/>
                </a:path>
                <a:path w="544830" h="318770">
                  <a:moveTo>
                    <a:pt x="358343" y="272313"/>
                  </a:moveTo>
                  <a:lnTo>
                    <a:pt x="357035" y="269773"/>
                  </a:lnTo>
                  <a:lnTo>
                    <a:pt x="358343" y="272313"/>
                  </a:lnTo>
                  <a:close/>
                </a:path>
                <a:path w="544830" h="318770">
                  <a:moveTo>
                    <a:pt x="358533" y="236804"/>
                  </a:moveTo>
                  <a:lnTo>
                    <a:pt x="357593" y="237769"/>
                  </a:lnTo>
                  <a:lnTo>
                    <a:pt x="357720" y="238023"/>
                  </a:lnTo>
                  <a:lnTo>
                    <a:pt x="358533" y="236804"/>
                  </a:lnTo>
                  <a:close/>
                </a:path>
                <a:path w="544830" h="318770">
                  <a:moveTo>
                    <a:pt x="359041" y="178333"/>
                  </a:moveTo>
                  <a:lnTo>
                    <a:pt x="358076" y="175793"/>
                  </a:lnTo>
                  <a:lnTo>
                    <a:pt x="357619" y="174523"/>
                  </a:lnTo>
                  <a:lnTo>
                    <a:pt x="357974" y="175793"/>
                  </a:lnTo>
                  <a:lnTo>
                    <a:pt x="358978" y="178333"/>
                  </a:lnTo>
                  <a:close/>
                </a:path>
                <a:path w="544830" h="318770">
                  <a:moveTo>
                    <a:pt x="359854" y="273583"/>
                  </a:moveTo>
                  <a:lnTo>
                    <a:pt x="359333" y="272313"/>
                  </a:lnTo>
                  <a:lnTo>
                    <a:pt x="359854" y="273583"/>
                  </a:lnTo>
                  <a:close/>
                </a:path>
                <a:path w="544830" h="318770">
                  <a:moveTo>
                    <a:pt x="360133" y="183413"/>
                  </a:moveTo>
                  <a:lnTo>
                    <a:pt x="359956" y="183413"/>
                  </a:lnTo>
                  <a:lnTo>
                    <a:pt x="359943" y="180873"/>
                  </a:lnTo>
                  <a:lnTo>
                    <a:pt x="359956" y="179603"/>
                  </a:lnTo>
                  <a:lnTo>
                    <a:pt x="359956" y="175793"/>
                  </a:lnTo>
                  <a:lnTo>
                    <a:pt x="359168" y="175793"/>
                  </a:lnTo>
                  <a:lnTo>
                    <a:pt x="359168" y="177673"/>
                  </a:lnTo>
                  <a:lnTo>
                    <a:pt x="359168" y="183413"/>
                  </a:lnTo>
                  <a:lnTo>
                    <a:pt x="359003" y="183413"/>
                  </a:lnTo>
                  <a:lnTo>
                    <a:pt x="359003" y="188493"/>
                  </a:lnTo>
                  <a:lnTo>
                    <a:pt x="360133" y="188493"/>
                  </a:lnTo>
                  <a:lnTo>
                    <a:pt x="360133" y="183413"/>
                  </a:lnTo>
                  <a:close/>
                </a:path>
                <a:path w="544830" h="318770">
                  <a:moveTo>
                    <a:pt x="360972" y="274853"/>
                  </a:moveTo>
                  <a:lnTo>
                    <a:pt x="359867" y="273583"/>
                  </a:lnTo>
                  <a:lnTo>
                    <a:pt x="360972" y="274853"/>
                  </a:lnTo>
                  <a:close/>
                </a:path>
                <a:path w="544830" h="318770">
                  <a:moveTo>
                    <a:pt x="361569" y="248183"/>
                  </a:moveTo>
                  <a:lnTo>
                    <a:pt x="359638" y="244373"/>
                  </a:lnTo>
                  <a:lnTo>
                    <a:pt x="360540" y="246913"/>
                  </a:lnTo>
                  <a:lnTo>
                    <a:pt x="361569" y="248183"/>
                  </a:lnTo>
                  <a:close/>
                </a:path>
                <a:path w="544830" h="318770">
                  <a:moveTo>
                    <a:pt x="363664" y="188493"/>
                  </a:moveTo>
                  <a:lnTo>
                    <a:pt x="362305" y="185953"/>
                  </a:lnTo>
                  <a:lnTo>
                    <a:pt x="363664" y="188493"/>
                  </a:lnTo>
                  <a:close/>
                </a:path>
                <a:path w="544830" h="318770">
                  <a:moveTo>
                    <a:pt x="363829" y="226593"/>
                  </a:moveTo>
                  <a:lnTo>
                    <a:pt x="362267" y="227990"/>
                  </a:lnTo>
                  <a:lnTo>
                    <a:pt x="363778" y="226745"/>
                  </a:lnTo>
                  <a:lnTo>
                    <a:pt x="363829" y="226593"/>
                  </a:lnTo>
                  <a:close/>
                </a:path>
                <a:path w="544830" h="318770">
                  <a:moveTo>
                    <a:pt x="364210" y="257251"/>
                  </a:moveTo>
                  <a:lnTo>
                    <a:pt x="364172" y="256997"/>
                  </a:lnTo>
                  <a:lnTo>
                    <a:pt x="360286" y="254533"/>
                  </a:lnTo>
                  <a:lnTo>
                    <a:pt x="360324" y="254673"/>
                  </a:lnTo>
                  <a:lnTo>
                    <a:pt x="364109" y="257441"/>
                  </a:lnTo>
                  <a:lnTo>
                    <a:pt x="364210" y="257251"/>
                  </a:lnTo>
                  <a:close/>
                </a:path>
                <a:path w="544830" h="318770">
                  <a:moveTo>
                    <a:pt x="365010" y="251993"/>
                  </a:moveTo>
                  <a:lnTo>
                    <a:pt x="362712" y="250723"/>
                  </a:lnTo>
                  <a:lnTo>
                    <a:pt x="364261" y="251993"/>
                  </a:lnTo>
                  <a:lnTo>
                    <a:pt x="365010" y="251993"/>
                  </a:lnTo>
                  <a:close/>
                </a:path>
                <a:path w="544830" h="318770">
                  <a:moveTo>
                    <a:pt x="365975" y="253263"/>
                  </a:moveTo>
                  <a:lnTo>
                    <a:pt x="365074" y="252044"/>
                  </a:lnTo>
                  <a:lnTo>
                    <a:pt x="365975" y="253263"/>
                  </a:lnTo>
                  <a:close/>
                </a:path>
                <a:path w="544830" h="318770">
                  <a:moveTo>
                    <a:pt x="366001" y="205003"/>
                  </a:moveTo>
                  <a:lnTo>
                    <a:pt x="363829" y="198653"/>
                  </a:lnTo>
                  <a:lnTo>
                    <a:pt x="362724" y="192303"/>
                  </a:lnTo>
                  <a:lnTo>
                    <a:pt x="362381" y="187223"/>
                  </a:lnTo>
                  <a:lnTo>
                    <a:pt x="362280" y="185953"/>
                  </a:lnTo>
                  <a:lnTo>
                    <a:pt x="362140" y="184683"/>
                  </a:lnTo>
                  <a:lnTo>
                    <a:pt x="361035" y="183413"/>
                  </a:lnTo>
                  <a:lnTo>
                    <a:pt x="360121" y="180873"/>
                  </a:lnTo>
                  <a:lnTo>
                    <a:pt x="360946" y="183413"/>
                  </a:lnTo>
                  <a:lnTo>
                    <a:pt x="362127" y="185953"/>
                  </a:lnTo>
                  <a:lnTo>
                    <a:pt x="361149" y="192303"/>
                  </a:lnTo>
                  <a:lnTo>
                    <a:pt x="360095" y="198653"/>
                  </a:lnTo>
                  <a:lnTo>
                    <a:pt x="358559" y="205003"/>
                  </a:lnTo>
                  <a:lnTo>
                    <a:pt x="358063" y="207543"/>
                  </a:lnTo>
                  <a:lnTo>
                    <a:pt x="357619" y="208813"/>
                  </a:lnTo>
                  <a:lnTo>
                    <a:pt x="356489" y="212623"/>
                  </a:lnTo>
                  <a:lnTo>
                    <a:pt x="355765" y="215201"/>
                  </a:lnTo>
                  <a:lnTo>
                    <a:pt x="354406" y="217703"/>
                  </a:lnTo>
                  <a:lnTo>
                    <a:pt x="353872" y="218973"/>
                  </a:lnTo>
                  <a:lnTo>
                    <a:pt x="352983" y="220243"/>
                  </a:lnTo>
                  <a:lnTo>
                    <a:pt x="353999" y="218973"/>
                  </a:lnTo>
                  <a:lnTo>
                    <a:pt x="354533" y="217703"/>
                  </a:lnTo>
                  <a:lnTo>
                    <a:pt x="355904" y="215163"/>
                  </a:lnTo>
                  <a:lnTo>
                    <a:pt x="356603" y="212623"/>
                  </a:lnTo>
                  <a:lnTo>
                    <a:pt x="357746" y="208813"/>
                  </a:lnTo>
                  <a:lnTo>
                    <a:pt x="358190" y="207543"/>
                  </a:lnTo>
                  <a:lnTo>
                    <a:pt x="358609" y="205003"/>
                  </a:lnTo>
                  <a:lnTo>
                    <a:pt x="360197" y="198653"/>
                  </a:lnTo>
                  <a:lnTo>
                    <a:pt x="361226" y="192303"/>
                  </a:lnTo>
                  <a:lnTo>
                    <a:pt x="362191" y="186016"/>
                  </a:lnTo>
                  <a:lnTo>
                    <a:pt x="362623" y="192303"/>
                  </a:lnTo>
                  <a:lnTo>
                    <a:pt x="363740" y="198653"/>
                  </a:lnTo>
                  <a:lnTo>
                    <a:pt x="365925" y="205003"/>
                  </a:lnTo>
                  <a:close/>
                </a:path>
                <a:path w="544830" h="318770">
                  <a:moveTo>
                    <a:pt x="366128" y="205295"/>
                  </a:moveTo>
                  <a:lnTo>
                    <a:pt x="366102" y="205003"/>
                  </a:lnTo>
                  <a:lnTo>
                    <a:pt x="366128" y="205295"/>
                  </a:lnTo>
                  <a:close/>
                </a:path>
                <a:path w="544830" h="318770">
                  <a:moveTo>
                    <a:pt x="366661" y="207302"/>
                  </a:moveTo>
                  <a:lnTo>
                    <a:pt x="366522" y="206273"/>
                  </a:lnTo>
                  <a:lnTo>
                    <a:pt x="366128" y="205295"/>
                  </a:lnTo>
                  <a:lnTo>
                    <a:pt x="366255" y="206273"/>
                  </a:lnTo>
                  <a:lnTo>
                    <a:pt x="366661" y="207302"/>
                  </a:lnTo>
                  <a:close/>
                </a:path>
                <a:path w="544830" h="318770">
                  <a:moveTo>
                    <a:pt x="366763" y="207543"/>
                  </a:moveTo>
                  <a:lnTo>
                    <a:pt x="366661" y="207302"/>
                  </a:lnTo>
                  <a:lnTo>
                    <a:pt x="366699" y="207543"/>
                  </a:lnTo>
                  <a:close/>
                </a:path>
                <a:path w="544830" h="318770">
                  <a:moveTo>
                    <a:pt x="368769" y="211353"/>
                  </a:moveTo>
                  <a:lnTo>
                    <a:pt x="368223" y="210083"/>
                  </a:lnTo>
                  <a:lnTo>
                    <a:pt x="367741" y="208813"/>
                  </a:lnTo>
                  <a:lnTo>
                    <a:pt x="368198" y="210083"/>
                  </a:lnTo>
                  <a:lnTo>
                    <a:pt x="368769" y="211353"/>
                  </a:lnTo>
                  <a:close/>
                </a:path>
                <a:path w="544830" h="318770">
                  <a:moveTo>
                    <a:pt x="370636" y="249453"/>
                  </a:moveTo>
                  <a:lnTo>
                    <a:pt x="369176" y="251853"/>
                  </a:lnTo>
                  <a:lnTo>
                    <a:pt x="369290" y="251688"/>
                  </a:lnTo>
                  <a:lnTo>
                    <a:pt x="370636" y="249453"/>
                  </a:lnTo>
                  <a:close/>
                </a:path>
                <a:path w="544830" h="318770">
                  <a:moveTo>
                    <a:pt x="371246" y="245643"/>
                  </a:moveTo>
                  <a:lnTo>
                    <a:pt x="370979" y="246913"/>
                  </a:lnTo>
                  <a:lnTo>
                    <a:pt x="370636" y="249453"/>
                  </a:lnTo>
                  <a:lnTo>
                    <a:pt x="370992" y="246913"/>
                  </a:lnTo>
                  <a:lnTo>
                    <a:pt x="371246" y="245643"/>
                  </a:lnTo>
                  <a:close/>
                </a:path>
                <a:path w="544830" h="318770">
                  <a:moveTo>
                    <a:pt x="371551" y="198653"/>
                  </a:moveTo>
                  <a:lnTo>
                    <a:pt x="369290" y="197383"/>
                  </a:lnTo>
                  <a:lnTo>
                    <a:pt x="367004" y="193573"/>
                  </a:lnTo>
                  <a:lnTo>
                    <a:pt x="365163" y="191033"/>
                  </a:lnTo>
                  <a:lnTo>
                    <a:pt x="363664" y="188493"/>
                  </a:lnTo>
                  <a:lnTo>
                    <a:pt x="365137" y="191033"/>
                  </a:lnTo>
                  <a:lnTo>
                    <a:pt x="366941" y="193573"/>
                  </a:lnTo>
                  <a:lnTo>
                    <a:pt x="369239" y="197383"/>
                  </a:lnTo>
                  <a:lnTo>
                    <a:pt x="371513" y="198653"/>
                  </a:lnTo>
                  <a:close/>
                </a:path>
                <a:path w="544830" h="318770">
                  <a:moveTo>
                    <a:pt x="371690" y="239293"/>
                  </a:moveTo>
                  <a:lnTo>
                    <a:pt x="371678" y="238023"/>
                  </a:lnTo>
                  <a:lnTo>
                    <a:pt x="371551" y="238023"/>
                  </a:lnTo>
                  <a:lnTo>
                    <a:pt x="371449" y="236753"/>
                  </a:lnTo>
                  <a:lnTo>
                    <a:pt x="371309" y="236753"/>
                  </a:lnTo>
                  <a:lnTo>
                    <a:pt x="371309" y="235483"/>
                  </a:lnTo>
                  <a:lnTo>
                    <a:pt x="371246" y="236753"/>
                  </a:lnTo>
                  <a:lnTo>
                    <a:pt x="371119" y="236753"/>
                  </a:lnTo>
                  <a:lnTo>
                    <a:pt x="371005" y="238023"/>
                  </a:lnTo>
                  <a:lnTo>
                    <a:pt x="370865" y="238023"/>
                  </a:lnTo>
                  <a:lnTo>
                    <a:pt x="370865" y="239293"/>
                  </a:lnTo>
                  <a:lnTo>
                    <a:pt x="371005" y="239293"/>
                  </a:lnTo>
                  <a:lnTo>
                    <a:pt x="371005" y="240563"/>
                  </a:lnTo>
                  <a:lnTo>
                    <a:pt x="371246" y="240563"/>
                  </a:lnTo>
                  <a:lnTo>
                    <a:pt x="371119" y="241833"/>
                  </a:lnTo>
                  <a:lnTo>
                    <a:pt x="371005" y="243103"/>
                  </a:lnTo>
                  <a:lnTo>
                    <a:pt x="371005" y="244373"/>
                  </a:lnTo>
                  <a:lnTo>
                    <a:pt x="371246" y="244373"/>
                  </a:lnTo>
                  <a:lnTo>
                    <a:pt x="371246" y="245643"/>
                  </a:lnTo>
                  <a:lnTo>
                    <a:pt x="371309" y="244373"/>
                  </a:lnTo>
                  <a:lnTo>
                    <a:pt x="371551" y="244373"/>
                  </a:lnTo>
                  <a:lnTo>
                    <a:pt x="371449" y="243103"/>
                  </a:lnTo>
                  <a:lnTo>
                    <a:pt x="371551" y="241833"/>
                  </a:lnTo>
                  <a:lnTo>
                    <a:pt x="371309" y="240563"/>
                  </a:lnTo>
                  <a:lnTo>
                    <a:pt x="371551" y="240563"/>
                  </a:lnTo>
                  <a:lnTo>
                    <a:pt x="371551" y="239293"/>
                  </a:lnTo>
                  <a:lnTo>
                    <a:pt x="371690" y="239293"/>
                  </a:lnTo>
                  <a:close/>
                </a:path>
                <a:path w="544830" h="318770">
                  <a:moveTo>
                    <a:pt x="374065" y="65062"/>
                  </a:moveTo>
                  <a:lnTo>
                    <a:pt x="373227" y="64770"/>
                  </a:lnTo>
                  <a:lnTo>
                    <a:pt x="372605" y="65252"/>
                  </a:lnTo>
                  <a:lnTo>
                    <a:pt x="374065" y="65062"/>
                  </a:lnTo>
                  <a:close/>
                </a:path>
                <a:path w="544830" h="318770">
                  <a:moveTo>
                    <a:pt x="374167" y="194843"/>
                  </a:moveTo>
                  <a:lnTo>
                    <a:pt x="373989" y="194843"/>
                  </a:lnTo>
                  <a:lnTo>
                    <a:pt x="372910" y="198653"/>
                  </a:lnTo>
                  <a:lnTo>
                    <a:pt x="370776" y="205003"/>
                  </a:lnTo>
                  <a:lnTo>
                    <a:pt x="370611" y="205003"/>
                  </a:lnTo>
                  <a:lnTo>
                    <a:pt x="368782" y="211353"/>
                  </a:lnTo>
                  <a:lnTo>
                    <a:pt x="368249" y="212623"/>
                  </a:lnTo>
                  <a:lnTo>
                    <a:pt x="365607" y="210083"/>
                  </a:lnTo>
                  <a:lnTo>
                    <a:pt x="367220" y="208813"/>
                  </a:lnTo>
                  <a:lnTo>
                    <a:pt x="370611" y="205003"/>
                  </a:lnTo>
                  <a:lnTo>
                    <a:pt x="370471" y="205003"/>
                  </a:lnTo>
                  <a:lnTo>
                    <a:pt x="367169" y="207543"/>
                  </a:lnTo>
                  <a:lnTo>
                    <a:pt x="365429" y="208813"/>
                  </a:lnTo>
                  <a:lnTo>
                    <a:pt x="362267" y="205003"/>
                  </a:lnTo>
                  <a:lnTo>
                    <a:pt x="361924" y="205003"/>
                  </a:lnTo>
                  <a:lnTo>
                    <a:pt x="368147" y="213893"/>
                  </a:lnTo>
                  <a:lnTo>
                    <a:pt x="368554" y="212623"/>
                  </a:lnTo>
                  <a:lnTo>
                    <a:pt x="368947" y="211353"/>
                  </a:lnTo>
                  <a:lnTo>
                    <a:pt x="369874" y="212623"/>
                  </a:lnTo>
                  <a:lnTo>
                    <a:pt x="370941" y="215163"/>
                  </a:lnTo>
                  <a:lnTo>
                    <a:pt x="372364" y="216433"/>
                  </a:lnTo>
                  <a:lnTo>
                    <a:pt x="373113" y="216433"/>
                  </a:lnTo>
                  <a:lnTo>
                    <a:pt x="370967" y="215163"/>
                  </a:lnTo>
                  <a:lnTo>
                    <a:pt x="369900" y="212623"/>
                  </a:lnTo>
                  <a:lnTo>
                    <a:pt x="368973" y="211353"/>
                  </a:lnTo>
                  <a:lnTo>
                    <a:pt x="370979" y="205003"/>
                  </a:lnTo>
                  <a:lnTo>
                    <a:pt x="373214" y="198653"/>
                  </a:lnTo>
                  <a:lnTo>
                    <a:pt x="374167" y="194843"/>
                  </a:lnTo>
                  <a:close/>
                </a:path>
                <a:path w="544830" h="318770">
                  <a:moveTo>
                    <a:pt x="374840" y="194843"/>
                  </a:moveTo>
                  <a:lnTo>
                    <a:pt x="374548" y="194843"/>
                  </a:lnTo>
                  <a:lnTo>
                    <a:pt x="374319" y="196113"/>
                  </a:lnTo>
                  <a:lnTo>
                    <a:pt x="374586" y="196113"/>
                  </a:lnTo>
                  <a:lnTo>
                    <a:pt x="374840" y="194843"/>
                  </a:lnTo>
                  <a:close/>
                </a:path>
                <a:path w="544830" h="318770">
                  <a:moveTo>
                    <a:pt x="374929" y="196113"/>
                  </a:moveTo>
                  <a:lnTo>
                    <a:pt x="374434" y="197383"/>
                  </a:lnTo>
                  <a:lnTo>
                    <a:pt x="373519" y="198653"/>
                  </a:lnTo>
                  <a:lnTo>
                    <a:pt x="374446" y="197383"/>
                  </a:lnTo>
                  <a:lnTo>
                    <a:pt x="374929" y="196113"/>
                  </a:lnTo>
                  <a:close/>
                </a:path>
                <a:path w="544830" h="318770">
                  <a:moveTo>
                    <a:pt x="375742" y="264693"/>
                  </a:moveTo>
                  <a:lnTo>
                    <a:pt x="375526" y="264337"/>
                  </a:lnTo>
                  <a:lnTo>
                    <a:pt x="373684" y="265938"/>
                  </a:lnTo>
                  <a:lnTo>
                    <a:pt x="375742" y="264693"/>
                  </a:lnTo>
                  <a:close/>
                </a:path>
                <a:path w="544830" h="318770">
                  <a:moveTo>
                    <a:pt x="376656" y="205003"/>
                  </a:moveTo>
                  <a:lnTo>
                    <a:pt x="376148" y="202463"/>
                  </a:lnTo>
                  <a:lnTo>
                    <a:pt x="375704" y="198653"/>
                  </a:lnTo>
                  <a:lnTo>
                    <a:pt x="375348" y="196113"/>
                  </a:lnTo>
                  <a:lnTo>
                    <a:pt x="375666" y="198653"/>
                  </a:lnTo>
                  <a:lnTo>
                    <a:pt x="376097" y="202463"/>
                  </a:lnTo>
                  <a:lnTo>
                    <a:pt x="376618" y="205003"/>
                  </a:lnTo>
                  <a:close/>
                </a:path>
                <a:path w="544830" h="318770">
                  <a:moveTo>
                    <a:pt x="377863" y="215163"/>
                  </a:moveTo>
                  <a:lnTo>
                    <a:pt x="376682" y="216433"/>
                  </a:lnTo>
                  <a:lnTo>
                    <a:pt x="377380" y="216433"/>
                  </a:lnTo>
                  <a:lnTo>
                    <a:pt x="377863" y="215163"/>
                  </a:lnTo>
                  <a:close/>
                </a:path>
                <a:path w="544830" h="318770">
                  <a:moveTo>
                    <a:pt x="378587" y="213893"/>
                  </a:moveTo>
                  <a:lnTo>
                    <a:pt x="377863" y="211353"/>
                  </a:lnTo>
                  <a:lnTo>
                    <a:pt x="377228" y="208813"/>
                  </a:lnTo>
                  <a:lnTo>
                    <a:pt x="376707" y="205003"/>
                  </a:lnTo>
                  <a:lnTo>
                    <a:pt x="377190" y="208813"/>
                  </a:lnTo>
                  <a:lnTo>
                    <a:pt x="377825" y="211353"/>
                  </a:lnTo>
                  <a:lnTo>
                    <a:pt x="378587" y="213893"/>
                  </a:lnTo>
                  <a:close/>
                </a:path>
                <a:path w="544830" h="318770">
                  <a:moveTo>
                    <a:pt x="378599" y="213893"/>
                  </a:moveTo>
                  <a:lnTo>
                    <a:pt x="378244" y="215163"/>
                  </a:lnTo>
                  <a:lnTo>
                    <a:pt x="378599" y="213893"/>
                  </a:lnTo>
                  <a:close/>
                </a:path>
                <a:path w="544830" h="318770">
                  <a:moveTo>
                    <a:pt x="379577" y="211353"/>
                  </a:moveTo>
                  <a:lnTo>
                    <a:pt x="379412" y="211353"/>
                  </a:lnTo>
                  <a:lnTo>
                    <a:pt x="379412" y="210083"/>
                  </a:lnTo>
                  <a:lnTo>
                    <a:pt x="379285" y="208813"/>
                  </a:lnTo>
                  <a:lnTo>
                    <a:pt x="379412" y="208813"/>
                  </a:lnTo>
                  <a:lnTo>
                    <a:pt x="379412" y="206273"/>
                  </a:lnTo>
                  <a:lnTo>
                    <a:pt x="378777" y="206273"/>
                  </a:lnTo>
                  <a:lnTo>
                    <a:pt x="378777" y="208813"/>
                  </a:lnTo>
                  <a:lnTo>
                    <a:pt x="378904" y="208813"/>
                  </a:lnTo>
                  <a:lnTo>
                    <a:pt x="378777" y="210083"/>
                  </a:lnTo>
                  <a:lnTo>
                    <a:pt x="378777" y="211353"/>
                  </a:lnTo>
                  <a:lnTo>
                    <a:pt x="378625" y="211353"/>
                  </a:lnTo>
                  <a:lnTo>
                    <a:pt x="378625" y="212623"/>
                  </a:lnTo>
                  <a:lnTo>
                    <a:pt x="378904" y="212623"/>
                  </a:lnTo>
                  <a:lnTo>
                    <a:pt x="378828" y="213372"/>
                  </a:lnTo>
                  <a:lnTo>
                    <a:pt x="378625" y="213690"/>
                  </a:lnTo>
                  <a:lnTo>
                    <a:pt x="378650" y="213829"/>
                  </a:lnTo>
                  <a:lnTo>
                    <a:pt x="378726" y="214109"/>
                  </a:lnTo>
                  <a:lnTo>
                    <a:pt x="378701" y="215163"/>
                  </a:lnTo>
                  <a:lnTo>
                    <a:pt x="378625" y="216433"/>
                  </a:lnTo>
                  <a:lnTo>
                    <a:pt x="379133" y="216433"/>
                  </a:lnTo>
                  <a:lnTo>
                    <a:pt x="379577" y="216433"/>
                  </a:lnTo>
                  <a:lnTo>
                    <a:pt x="379577" y="215163"/>
                  </a:lnTo>
                  <a:lnTo>
                    <a:pt x="379412" y="215163"/>
                  </a:lnTo>
                  <a:lnTo>
                    <a:pt x="379336" y="212623"/>
                  </a:lnTo>
                  <a:lnTo>
                    <a:pt x="379577" y="212623"/>
                  </a:lnTo>
                  <a:lnTo>
                    <a:pt x="379577" y="211353"/>
                  </a:lnTo>
                  <a:close/>
                </a:path>
                <a:path w="544830" h="318770">
                  <a:moveTo>
                    <a:pt x="380009" y="219443"/>
                  </a:moveTo>
                  <a:lnTo>
                    <a:pt x="379641" y="217703"/>
                  </a:lnTo>
                  <a:lnTo>
                    <a:pt x="380009" y="219443"/>
                  </a:lnTo>
                  <a:close/>
                </a:path>
                <a:path w="544830" h="318770">
                  <a:moveTo>
                    <a:pt x="382028" y="229628"/>
                  </a:moveTo>
                  <a:lnTo>
                    <a:pt x="381063" y="222821"/>
                  </a:lnTo>
                  <a:lnTo>
                    <a:pt x="381482" y="226745"/>
                  </a:lnTo>
                  <a:lnTo>
                    <a:pt x="382028" y="229628"/>
                  </a:lnTo>
                  <a:close/>
                </a:path>
                <a:path w="544830" h="318770">
                  <a:moveTo>
                    <a:pt x="383171" y="234213"/>
                  </a:moveTo>
                  <a:lnTo>
                    <a:pt x="382181" y="230403"/>
                  </a:lnTo>
                  <a:lnTo>
                    <a:pt x="382028" y="229628"/>
                  </a:lnTo>
                  <a:lnTo>
                    <a:pt x="382155" y="230454"/>
                  </a:lnTo>
                  <a:lnTo>
                    <a:pt x="383171" y="234213"/>
                  </a:lnTo>
                  <a:close/>
                </a:path>
                <a:path w="544830" h="318770">
                  <a:moveTo>
                    <a:pt x="383247" y="226745"/>
                  </a:moveTo>
                  <a:lnTo>
                    <a:pt x="383159" y="226593"/>
                  </a:lnTo>
                  <a:lnTo>
                    <a:pt x="382358" y="225323"/>
                  </a:lnTo>
                  <a:lnTo>
                    <a:pt x="383247" y="226745"/>
                  </a:lnTo>
                  <a:close/>
                </a:path>
                <a:path w="544830" h="318770">
                  <a:moveTo>
                    <a:pt x="383438" y="243103"/>
                  </a:moveTo>
                  <a:lnTo>
                    <a:pt x="383260" y="241833"/>
                  </a:lnTo>
                  <a:lnTo>
                    <a:pt x="383019" y="241833"/>
                  </a:lnTo>
                  <a:lnTo>
                    <a:pt x="383235" y="243103"/>
                  </a:lnTo>
                  <a:lnTo>
                    <a:pt x="383438" y="243103"/>
                  </a:lnTo>
                  <a:close/>
                </a:path>
                <a:path w="544830" h="318770">
                  <a:moveTo>
                    <a:pt x="383514" y="235483"/>
                  </a:moveTo>
                  <a:lnTo>
                    <a:pt x="383171" y="234213"/>
                  </a:lnTo>
                  <a:lnTo>
                    <a:pt x="383489" y="235483"/>
                  </a:lnTo>
                  <a:close/>
                </a:path>
                <a:path w="544830" h="318770">
                  <a:moveTo>
                    <a:pt x="386092" y="229133"/>
                  </a:moveTo>
                  <a:lnTo>
                    <a:pt x="384060" y="227863"/>
                  </a:lnTo>
                  <a:lnTo>
                    <a:pt x="385406" y="229133"/>
                  </a:lnTo>
                  <a:lnTo>
                    <a:pt x="386092" y="229133"/>
                  </a:lnTo>
                  <a:close/>
                </a:path>
                <a:path w="544830" h="318770">
                  <a:moveTo>
                    <a:pt x="386461" y="252044"/>
                  </a:moveTo>
                  <a:lnTo>
                    <a:pt x="386080" y="250799"/>
                  </a:lnTo>
                  <a:lnTo>
                    <a:pt x="386461" y="252044"/>
                  </a:lnTo>
                  <a:close/>
                </a:path>
                <a:path w="544830" h="318770">
                  <a:moveTo>
                    <a:pt x="386499" y="244373"/>
                  </a:moveTo>
                  <a:lnTo>
                    <a:pt x="385546" y="241833"/>
                  </a:lnTo>
                  <a:lnTo>
                    <a:pt x="386499" y="244373"/>
                  </a:lnTo>
                  <a:close/>
                </a:path>
                <a:path w="544830" h="318770">
                  <a:moveTo>
                    <a:pt x="387565" y="246913"/>
                  </a:moveTo>
                  <a:lnTo>
                    <a:pt x="386511" y="244373"/>
                  </a:lnTo>
                  <a:lnTo>
                    <a:pt x="387565" y="246913"/>
                  </a:lnTo>
                  <a:close/>
                </a:path>
                <a:path w="544830" h="318770">
                  <a:moveTo>
                    <a:pt x="389318" y="248183"/>
                  </a:moveTo>
                  <a:lnTo>
                    <a:pt x="388086" y="246913"/>
                  </a:lnTo>
                  <a:lnTo>
                    <a:pt x="388696" y="248183"/>
                  </a:lnTo>
                  <a:lnTo>
                    <a:pt x="389318" y="248183"/>
                  </a:lnTo>
                  <a:close/>
                </a:path>
                <a:path w="544830" h="318770">
                  <a:moveTo>
                    <a:pt x="390055" y="253263"/>
                  </a:moveTo>
                  <a:lnTo>
                    <a:pt x="389102" y="254368"/>
                  </a:lnTo>
                  <a:lnTo>
                    <a:pt x="390055" y="253263"/>
                  </a:lnTo>
                  <a:close/>
                </a:path>
                <a:path w="544830" h="318770">
                  <a:moveTo>
                    <a:pt x="390055" y="249453"/>
                  </a:moveTo>
                  <a:lnTo>
                    <a:pt x="389331" y="248183"/>
                  </a:lnTo>
                  <a:lnTo>
                    <a:pt x="390055" y="249453"/>
                  </a:lnTo>
                  <a:close/>
                </a:path>
                <a:path w="544830" h="318770">
                  <a:moveTo>
                    <a:pt x="390880" y="226593"/>
                  </a:moveTo>
                  <a:lnTo>
                    <a:pt x="390283" y="226593"/>
                  </a:lnTo>
                  <a:lnTo>
                    <a:pt x="390601" y="227863"/>
                  </a:lnTo>
                  <a:lnTo>
                    <a:pt x="390880" y="226593"/>
                  </a:lnTo>
                  <a:close/>
                </a:path>
                <a:path w="544830" h="318770">
                  <a:moveTo>
                    <a:pt x="391274" y="251688"/>
                  </a:moveTo>
                  <a:lnTo>
                    <a:pt x="390080" y="253161"/>
                  </a:lnTo>
                  <a:lnTo>
                    <a:pt x="391274" y="251688"/>
                  </a:lnTo>
                  <a:close/>
                </a:path>
                <a:path w="544830" h="318770">
                  <a:moveTo>
                    <a:pt x="392760" y="268249"/>
                  </a:moveTo>
                  <a:lnTo>
                    <a:pt x="391325" y="267233"/>
                  </a:lnTo>
                  <a:lnTo>
                    <a:pt x="392760" y="268249"/>
                  </a:lnTo>
                  <a:close/>
                </a:path>
                <a:path w="544830" h="318770">
                  <a:moveTo>
                    <a:pt x="393090" y="249453"/>
                  </a:moveTo>
                  <a:lnTo>
                    <a:pt x="392811" y="249453"/>
                  </a:lnTo>
                  <a:lnTo>
                    <a:pt x="391274" y="251688"/>
                  </a:lnTo>
                  <a:lnTo>
                    <a:pt x="393090" y="249453"/>
                  </a:lnTo>
                  <a:close/>
                </a:path>
                <a:path w="544830" h="318770">
                  <a:moveTo>
                    <a:pt x="394995" y="237020"/>
                  </a:moveTo>
                  <a:lnTo>
                    <a:pt x="394855" y="236969"/>
                  </a:lnTo>
                  <a:lnTo>
                    <a:pt x="394855" y="236639"/>
                  </a:lnTo>
                  <a:lnTo>
                    <a:pt x="394741" y="236372"/>
                  </a:lnTo>
                  <a:lnTo>
                    <a:pt x="394614" y="236334"/>
                  </a:lnTo>
                  <a:lnTo>
                    <a:pt x="394614" y="235877"/>
                  </a:lnTo>
                  <a:lnTo>
                    <a:pt x="394550" y="236334"/>
                  </a:lnTo>
                  <a:lnTo>
                    <a:pt x="394411" y="236372"/>
                  </a:lnTo>
                  <a:lnTo>
                    <a:pt x="394309" y="236639"/>
                  </a:lnTo>
                  <a:lnTo>
                    <a:pt x="394309" y="236969"/>
                  </a:lnTo>
                  <a:lnTo>
                    <a:pt x="394182" y="236969"/>
                  </a:lnTo>
                  <a:lnTo>
                    <a:pt x="394169" y="237109"/>
                  </a:lnTo>
                  <a:lnTo>
                    <a:pt x="394550" y="237147"/>
                  </a:lnTo>
                  <a:lnTo>
                    <a:pt x="394411" y="237185"/>
                  </a:lnTo>
                  <a:lnTo>
                    <a:pt x="394309" y="237451"/>
                  </a:lnTo>
                  <a:lnTo>
                    <a:pt x="394309" y="237782"/>
                  </a:lnTo>
                  <a:lnTo>
                    <a:pt x="394182" y="237782"/>
                  </a:lnTo>
                  <a:lnTo>
                    <a:pt x="394169" y="237921"/>
                  </a:lnTo>
                  <a:lnTo>
                    <a:pt x="394550" y="237959"/>
                  </a:lnTo>
                  <a:lnTo>
                    <a:pt x="394411" y="237998"/>
                  </a:lnTo>
                  <a:lnTo>
                    <a:pt x="394309" y="238277"/>
                  </a:lnTo>
                  <a:lnTo>
                    <a:pt x="394309" y="238594"/>
                  </a:lnTo>
                  <a:lnTo>
                    <a:pt x="394182" y="238594"/>
                  </a:lnTo>
                  <a:lnTo>
                    <a:pt x="394169" y="238734"/>
                  </a:lnTo>
                  <a:lnTo>
                    <a:pt x="394550" y="238785"/>
                  </a:lnTo>
                  <a:lnTo>
                    <a:pt x="394411" y="238810"/>
                  </a:lnTo>
                  <a:lnTo>
                    <a:pt x="394309" y="239077"/>
                  </a:lnTo>
                  <a:lnTo>
                    <a:pt x="394309" y="239420"/>
                  </a:lnTo>
                  <a:lnTo>
                    <a:pt x="394182" y="239420"/>
                  </a:lnTo>
                  <a:lnTo>
                    <a:pt x="394169" y="239547"/>
                  </a:lnTo>
                  <a:lnTo>
                    <a:pt x="394550" y="239585"/>
                  </a:lnTo>
                  <a:lnTo>
                    <a:pt x="394411" y="239636"/>
                  </a:lnTo>
                  <a:lnTo>
                    <a:pt x="394309" y="239890"/>
                  </a:lnTo>
                  <a:lnTo>
                    <a:pt x="394309" y="240220"/>
                  </a:lnTo>
                  <a:lnTo>
                    <a:pt x="394182" y="240220"/>
                  </a:lnTo>
                  <a:lnTo>
                    <a:pt x="394169" y="240360"/>
                  </a:lnTo>
                  <a:lnTo>
                    <a:pt x="394550" y="240398"/>
                  </a:lnTo>
                  <a:lnTo>
                    <a:pt x="394411" y="240449"/>
                  </a:lnTo>
                  <a:lnTo>
                    <a:pt x="394309" y="240715"/>
                  </a:lnTo>
                  <a:lnTo>
                    <a:pt x="394309" y="241033"/>
                  </a:lnTo>
                  <a:lnTo>
                    <a:pt x="394182" y="241033"/>
                  </a:lnTo>
                  <a:lnTo>
                    <a:pt x="394169" y="241185"/>
                  </a:lnTo>
                  <a:lnTo>
                    <a:pt x="394550" y="241223"/>
                  </a:lnTo>
                  <a:lnTo>
                    <a:pt x="394411" y="241249"/>
                  </a:lnTo>
                  <a:lnTo>
                    <a:pt x="394309" y="241528"/>
                  </a:lnTo>
                  <a:lnTo>
                    <a:pt x="394309" y="241858"/>
                  </a:lnTo>
                  <a:lnTo>
                    <a:pt x="394182" y="241858"/>
                  </a:lnTo>
                  <a:lnTo>
                    <a:pt x="394169" y="241985"/>
                  </a:lnTo>
                  <a:lnTo>
                    <a:pt x="394550" y="242036"/>
                  </a:lnTo>
                  <a:lnTo>
                    <a:pt x="394411" y="242074"/>
                  </a:lnTo>
                  <a:lnTo>
                    <a:pt x="394309" y="242328"/>
                  </a:lnTo>
                  <a:lnTo>
                    <a:pt x="394309" y="242671"/>
                  </a:lnTo>
                  <a:lnTo>
                    <a:pt x="394182" y="242671"/>
                  </a:lnTo>
                  <a:lnTo>
                    <a:pt x="394169" y="242798"/>
                  </a:lnTo>
                  <a:lnTo>
                    <a:pt x="394550" y="242849"/>
                  </a:lnTo>
                  <a:lnTo>
                    <a:pt x="394411" y="242887"/>
                  </a:lnTo>
                  <a:lnTo>
                    <a:pt x="394309" y="243154"/>
                  </a:lnTo>
                  <a:lnTo>
                    <a:pt x="394309" y="243471"/>
                  </a:lnTo>
                  <a:lnTo>
                    <a:pt x="394182" y="243471"/>
                  </a:lnTo>
                  <a:lnTo>
                    <a:pt x="394169" y="243624"/>
                  </a:lnTo>
                  <a:lnTo>
                    <a:pt x="394550" y="243662"/>
                  </a:lnTo>
                  <a:lnTo>
                    <a:pt x="394411" y="243700"/>
                  </a:lnTo>
                  <a:lnTo>
                    <a:pt x="394309" y="243967"/>
                  </a:lnTo>
                  <a:lnTo>
                    <a:pt x="394309" y="244297"/>
                  </a:lnTo>
                  <a:lnTo>
                    <a:pt x="394182" y="244297"/>
                  </a:lnTo>
                  <a:lnTo>
                    <a:pt x="394169" y="244436"/>
                  </a:lnTo>
                  <a:lnTo>
                    <a:pt x="394550" y="244475"/>
                  </a:lnTo>
                  <a:lnTo>
                    <a:pt x="394550" y="245122"/>
                  </a:lnTo>
                  <a:lnTo>
                    <a:pt x="394614" y="244475"/>
                  </a:lnTo>
                  <a:lnTo>
                    <a:pt x="394944" y="244475"/>
                  </a:lnTo>
                  <a:lnTo>
                    <a:pt x="394995" y="244335"/>
                  </a:lnTo>
                  <a:lnTo>
                    <a:pt x="394855" y="244297"/>
                  </a:lnTo>
                  <a:lnTo>
                    <a:pt x="394855" y="243967"/>
                  </a:lnTo>
                  <a:lnTo>
                    <a:pt x="394741" y="243700"/>
                  </a:lnTo>
                  <a:lnTo>
                    <a:pt x="394614" y="243662"/>
                  </a:lnTo>
                  <a:lnTo>
                    <a:pt x="394970" y="243662"/>
                  </a:lnTo>
                  <a:lnTo>
                    <a:pt x="394995" y="243522"/>
                  </a:lnTo>
                  <a:lnTo>
                    <a:pt x="394855" y="243471"/>
                  </a:lnTo>
                  <a:lnTo>
                    <a:pt x="394855" y="243154"/>
                  </a:lnTo>
                  <a:lnTo>
                    <a:pt x="394741" y="242887"/>
                  </a:lnTo>
                  <a:lnTo>
                    <a:pt x="394614" y="242849"/>
                  </a:lnTo>
                  <a:lnTo>
                    <a:pt x="394970" y="242849"/>
                  </a:lnTo>
                  <a:lnTo>
                    <a:pt x="394995" y="242709"/>
                  </a:lnTo>
                  <a:lnTo>
                    <a:pt x="394855" y="242671"/>
                  </a:lnTo>
                  <a:lnTo>
                    <a:pt x="394855" y="242328"/>
                  </a:lnTo>
                  <a:lnTo>
                    <a:pt x="394741" y="242074"/>
                  </a:lnTo>
                  <a:lnTo>
                    <a:pt x="394614" y="242036"/>
                  </a:lnTo>
                  <a:lnTo>
                    <a:pt x="394970" y="242036"/>
                  </a:lnTo>
                  <a:lnTo>
                    <a:pt x="394995" y="241896"/>
                  </a:lnTo>
                  <a:lnTo>
                    <a:pt x="394855" y="241858"/>
                  </a:lnTo>
                  <a:lnTo>
                    <a:pt x="394855" y="241528"/>
                  </a:lnTo>
                  <a:lnTo>
                    <a:pt x="394741" y="241249"/>
                  </a:lnTo>
                  <a:lnTo>
                    <a:pt x="394614" y="241223"/>
                  </a:lnTo>
                  <a:lnTo>
                    <a:pt x="394970" y="241223"/>
                  </a:lnTo>
                  <a:lnTo>
                    <a:pt x="394995" y="241071"/>
                  </a:lnTo>
                  <a:lnTo>
                    <a:pt x="394855" y="241033"/>
                  </a:lnTo>
                  <a:lnTo>
                    <a:pt x="394855" y="240715"/>
                  </a:lnTo>
                  <a:lnTo>
                    <a:pt x="394741" y="240449"/>
                  </a:lnTo>
                  <a:lnTo>
                    <a:pt x="394614" y="240411"/>
                  </a:lnTo>
                  <a:lnTo>
                    <a:pt x="394970" y="240398"/>
                  </a:lnTo>
                  <a:lnTo>
                    <a:pt x="394995" y="240271"/>
                  </a:lnTo>
                  <a:lnTo>
                    <a:pt x="394855" y="240220"/>
                  </a:lnTo>
                  <a:lnTo>
                    <a:pt x="394855" y="239890"/>
                  </a:lnTo>
                  <a:lnTo>
                    <a:pt x="394741" y="239636"/>
                  </a:lnTo>
                  <a:lnTo>
                    <a:pt x="394614" y="239585"/>
                  </a:lnTo>
                  <a:lnTo>
                    <a:pt x="394970" y="239585"/>
                  </a:lnTo>
                  <a:lnTo>
                    <a:pt x="394995" y="239458"/>
                  </a:lnTo>
                  <a:lnTo>
                    <a:pt x="394855" y="239420"/>
                  </a:lnTo>
                  <a:lnTo>
                    <a:pt x="394855" y="239077"/>
                  </a:lnTo>
                  <a:lnTo>
                    <a:pt x="394741" y="238810"/>
                  </a:lnTo>
                  <a:lnTo>
                    <a:pt x="394614" y="238785"/>
                  </a:lnTo>
                  <a:lnTo>
                    <a:pt x="394970" y="238785"/>
                  </a:lnTo>
                  <a:lnTo>
                    <a:pt x="394995" y="238633"/>
                  </a:lnTo>
                  <a:lnTo>
                    <a:pt x="394855" y="238594"/>
                  </a:lnTo>
                  <a:lnTo>
                    <a:pt x="394855" y="238277"/>
                  </a:lnTo>
                  <a:lnTo>
                    <a:pt x="394741" y="237998"/>
                  </a:lnTo>
                  <a:lnTo>
                    <a:pt x="394614" y="237972"/>
                  </a:lnTo>
                  <a:lnTo>
                    <a:pt x="394970" y="237959"/>
                  </a:lnTo>
                  <a:lnTo>
                    <a:pt x="394995" y="237820"/>
                  </a:lnTo>
                  <a:lnTo>
                    <a:pt x="394855" y="237782"/>
                  </a:lnTo>
                  <a:lnTo>
                    <a:pt x="394855" y="237451"/>
                  </a:lnTo>
                  <a:lnTo>
                    <a:pt x="394741" y="237185"/>
                  </a:lnTo>
                  <a:lnTo>
                    <a:pt x="394614" y="237147"/>
                  </a:lnTo>
                  <a:lnTo>
                    <a:pt x="394970" y="237147"/>
                  </a:lnTo>
                  <a:lnTo>
                    <a:pt x="394995" y="237020"/>
                  </a:lnTo>
                  <a:close/>
                </a:path>
                <a:path w="544830" h="318770">
                  <a:moveTo>
                    <a:pt x="401548" y="257073"/>
                  </a:moveTo>
                  <a:lnTo>
                    <a:pt x="401421" y="257073"/>
                  </a:lnTo>
                  <a:lnTo>
                    <a:pt x="401320" y="255803"/>
                  </a:lnTo>
                  <a:lnTo>
                    <a:pt x="401320" y="251993"/>
                  </a:lnTo>
                  <a:lnTo>
                    <a:pt x="401320" y="250723"/>
                  </a:lnTo>
                  <a:lnTo>
                    <a:pt x="401193" y="250723"/>
                  </a:lnTo>
                  <a:lnTo>
                    <a:pt x="401193" y="249453"/>
                  </a:lnTo>
                  <a:lnTo>
                    <a:pt x="401154" y="250723"/>
                  </a:lnTo>
                  <a:lnTo>
                    <a:pt x="401027" y="250723"/>
                  </a:lnTo>
                  <a:lnTo>
                    <a:pt x="400926" y="251993"/>
                  </a:lnTo>
                  <a:lnTo>
                    <a:pt x="400926" y="255803"/>
                  </a:lnTo>
                  <a:lnTo>
                    <a:pt x="400926" y="257073"/>
                  </a:lnTo>
                  <a:lnTo>
                    <a:pt x="400799" y="257073"/>
                  </a:lnTo>
                  <a:lnTo>
                    <a:pt x="400799" y="258343"/>
                  </a:lnTo>
                  <a:lnTo>
                    <a:pt x="401548" y="258343"/>
                  </a:lnTo>
                  <a:lnTo>
                    <a:pt x="401548" y="257073"/>
                  </a:lnTo>
                  <a:close/>
                </a:path>
                <a:path w="544830" h="318770">
                  <a:moveTo>
                    <a:pt x="405168" y="276123"/>
                  </a:moveTo>
                  <a:lnTo>
                    <a:pt x="403288" y="277393"/>
                  </a:lnTo>
                  <a:lnTo>
                    <a:pt x="405168" y="276123"/>
                  </a:lnTo>
                  <a:close/>
                </a:path>
                <a:path w="544830" h="318770">
                  <a:moveTo>
                    <a:pt x="406628" y="274980"/>
                  </a:moveTo>
                  <a:lnTo>
                    <a:pt x="405218" y="275996"/>
                  </a:lnTo>
                  <a:lnTo>
                    <a:pt x="405333" y="276123"/>
                  </a:lnTo>
                  <a:lnTo>
                    <a:pt x="406628" y="274980"/>
                  </a:lnTo>
                  <a:close/>
                </a:path>
                <a:path w="544830" h="318770">
                  <a:moveTo>
                    <a:pt x="410095" y="267233"/>
                  </a:moveTo>
                  <a:lnTo>
                    <a:pt x="408762" y="268249"/>
                  </a:lnTo>
                  <a:lnTo>
                    <a:pt x="410057" y="267347"/>
                  </a:lnTo>
                  <a:close/>
                </a:path>
                <a:path w="544830" h="318770">
                  <a:moveTo>
                    <a:pt x="410425" y="251841"/>
                  </a:moveTo>
                  <a:lnTo>
                    <a:pt x="408889" y="249453"/>
                  </a:lnTo>
                  <a:lnTo>
                    <a:pt x="408609" y="249453"/>
                  </a:lnTo>
                  <a:lnTo>
                    <a:pt x="410425" y="251841"/>
                  </a:lnTo>
                  <a:close/>
                </a:path>
                <a:path w="544830" h="318770">
                  <a:moveTo>
                    <a:pt x="411441" y="253161"/>
                  </a:moveTo>
                  <a:lnTo>
                    <a:pt x="410425" y="251841"/>
                  </a:lnTo>
                  <a:lnTo>
                    <a:pt x="411353" y="253263"/>
                  </a:lnTo>
                  <a:close/>
                </a:path>
                <a:path w="544830" h="318770">
                  <a:moveTo>
                    <a:pt x="412127" y="254063"/>
                  </a:moveTo>
                  <a:lnTo>
                    <a:pt x="411505" y="253250"/>
                  </a:lnTo>
                  <a:lnTo>
                    <a:pt x="412127" y="254063"/>
                  </a:lnTo>
                  <a:close/>
                </a:path>
                <a:path w="544830" h="318770">
                  <a:moveTo>
                    <a:pt x="414947" y="251980"/>
                  </a:moveTo>
                  <a:lnTo>
                    <a:pt x="413550" y="255803"/>
                  </a:lnTo>
                  <a:lnTo>
                    <a:pt x="412127" y="254063"/>
                  </a:lnTo>
                  <a:lnTo>
                    <a:pt x="413461" y="255803"/>
                  </a:lnTo>
                  <a:lnTo>
                    <a:pt x="410210" y="267233"/>
                  </a:lnTo>
                  <a:lnTo>
                    <a:pt x="410057" y="267347"/>
                  </a:lnTo>
                  <a:lnTo>
                    <a:pt x="408432" y="272313"/>
                  </a:lnTo>
                  <a:lnTo>
                    <a:pt x="406781" y="269773"/>
                  </a:lnTo>
                  <a:lnTo>
                    <a:pt x="408762" y="268249"/>
                  </a:lnTo>
                  <a:lnTo>
                    <a:pt x="406603" y="269773"/>
                  </a:lnTo>
                  <a:lnTo>
                    <a:pt x="408266" y="272313"/>
                  </a:lnTo>
                  <a:lnTo>
                    <a:pt x="403364" y="272313"/>
                  </a:lnTo>
                  <a:lnTo>
                    <a:pt x="406539" y="269824"/>
                  </a:lnTo>
                  <a:lnTo>
                    <a:pt x="403072" y="272275"/>
                  </a:lnTo>
                  <a:lnTo>
                    <a:pt x="403072" y="277393"/>
                  </a:lnTo>
                  <a:lnTo>
                    <a:pt x="402958" y="277253"/>
                  </a:lnTo>
                  <a:lnTo>
                    <a:pt x="402958" y="277393"/>
                  </a:lnTo>
                  <a:lnTo>
                    <a:pt x="399021" y="277393"/>
                  </a:lnTo>
                  <a:lnTo>
                    <a:pt x="400964" y="276123"/>
                  </a:lnTo>
                  <a:lnTo>
                    <a:pt x="402958" y="277393"/>
                  </a:lnTo>
                  <a:lnTo>
                    <a:pt x="402958" y="277253"/>
                  </a:lnTo>
                  <a:lnTo>
                    <a:pt x="402094" y="276123"/>
                  </a:lnTo>
                  <a:lnTo>
                    <a:pt x="401116" y="274853"/>
                  </a:lnTo>
                  <a:lnTo>
                    <a:pt x="402945" y="273583"/>
                  </a:lnTo>
                  <a:lnTo>
                    <a:pt x="403072" y="277393"/>
                  </a:lnTo>
                  <a:lnTo>
                    <a:pt x="403072" y="272275"/>
                  </a:lnTo>
                  <a:lnTo>
                    <a:pt x="402704" y="272313"/>
                  </a:lnTo>
                  <a:lnTo>
                    <a:pt x="402704" y="273583"/>
                  </a:lnTo>
                  <a:lnTo>
                    <a:pt x="400964" y="274853"/>
                  </a:lnTo>
                  <a:lnTo>
                    <a:pt x="400837" y="274764"/>
                  </a:lnTo>
                  <a:lnTo>
                    <a:pt x="398894" y="277393"/>
                  </a:lnTo>
                  <a:lnTo>
                    <a:pt x="399059" y="273583"/>
                  </a:lnTo>
                  <a:lnTo>
                    <a:pt x="400837" y="274853"/>
                  </a:lnTo>
                  <a:lnTo>
                    <a:pt x="399199" y="273583"/>
                  </a:lnTo>
                  <a:lnTo>
                    <a:pt x="402704" y="273583"/>
                  </a:lnTo>
                  <a:lnTo>
                    <a:pt x="402704" y="272313"/>
                  </a:lnTo>
                  <a:lnTo>
                    <a:pt x="398995" y="272313"/>
                  </a:lnTo>
                  <a:lnTo>
                    <a:pt x="398843" y="272224"/>
                  </a:lnTo>
                  <a:lnTo>
                    <a:pt x="398843" y="273583"/>
                  </a:lnTo>
                  <a:lnTo>
                    <a:pt x="398691" y="277393"/>
                  </a:lnTo>
                  <a:lnTo>
                    <a:pt x="396392" y="276123"/>
                  </a:lnTo>
                  <a:lnTo>
                    <a:pt x="398843" y="273583"/>
                  </a:lnTo>
                  <a:lnTo>
                    <a:pt x="398843" y="272224"/>
                  </a:lnTo>
                  <a:lnTo>
                    <a:pt x="398703" y="272135"/>
                  </a:lnTo>
                  <a:lnTo>
                    <a:pt x="398703" y="273583"/>
                  </a:lnTo>
                  <a:lnTo>
                    <a:pt x="396354" y="275996"/>
                  </a:lnTo>
                  <a:lnTo>
                    <a:pt x="396265" y="276123"/>
                  </a:lnTo>
                  <a:lnTo>
                    <a:pt x="396113" y="275996"/>
                  </a:lnTo>
                  <a:lnTo>
                    <a:pt x="393344" y="273583"/>
                  </a:lnTo>
                  <a:lnTo>
                    <a:pt x="398703" y="273583"/>
                  </a:lnTo>
                  <a:lnTo>
                    <a:pt x="398703" y="272135"/>
                  </a:lnTo>
                  <a:lnTo>
                    <a:pt x="395173" y="269824"/>
                  </a:lnTo>
                  <a:lnTo>
                    <a:pt x="398640" y="272313"/>
                  </a:lnTo>
                  <a:lnTo>
                    <a:pt x="393242" y="272313"/>
                  </a:lnTo>
                  <a:lnTo>
                    <a:pt x="395097" y="269773"/>
                  </a:lnTo>
                  <a:lnTo>
                    <a:pt x="392760" y="268249"/>
                  </a:lnTo>
                  <a:lnTo>
                    <a:pt x="394931" y="269773"/>
                  </a:lnTo>
                  <a:lnTo>
                    <a:pt x="393065" y="272313"/>
                  </a:lnTo>
                  <a:lnTo>
                    <a:pt x="391350" y="267335"/>
                  </a:lnTo>
                  <a:lnTo>
                    <a:pt x="391210" y="267233"/>
                  </a:lnTo>
                  <a:lnTo>
                    <a:pt x="387934" y="255803"/>
                  </a:lnTo>
                  <a:lnTo>
                    <a:pt x="389102" y="254368"/>
                  </a:lnTo>
                  <a:lnTo>
                    <a:pt x="387858" y="255803"/>
                  </a:lnTo>
                  <a:lnTo>
                    <a:pt x="386461" y="252044"/>
                  </a:lnTo>
                  <a:lnTo>
                    <a:pt x="392950" y="273583"/>
                  </a:lnTo>
                  <a:lnTo>
                    <a:pt x="398678" y="278663"/>
                  </a:lnTo>
                  <a:lnTo>
                    <a:pt x="397573" y="306603"/>
                  </a:lnTo>
                  <a:lnTo>
                    <a:pt x="397802" y="306603"/>
                  </a:lnTo>
                  <a:lnTo>
                    <a:pt x="397954" y="302793"/>
                  </a:lnTo>
                  <a:lnTo>
                    <a:pt x="398056" y="300253"/>
                  </a:lnTo>
                  <a:lnTo>
                    <a:pt x="398297" y="293954"/>
                  </a:lnTo>
                  <a:lnTo>
                    <a:pt x="400799" y="296443"/>
                  </a:lnTo>
                  <a:lnTo>
                    <a:pt x="398106" y="298983"/>
                  </a:lnTo>
                  <a:lnTo>
                    <a:pt x="400748" y="300253"/>
                  </a:lnTo>
                  <a:lnTo>
                    <a:pt x="397967" y="302793"/>
                  </a:lnTo>
                  <a:lnTo>
                    <a:pt x="400723" y="304063"/>
                  </a:lnTo>
                  <a:lnTo>
                    <a:pt x="397802" y="306603"/>
                  </a:lnTo>
                  <a:lnTo>
                    <a:pt x="398005" y="306603"/>
                  </a:lnTo>
                  <a:lnTo>
                    <a:pt x="400926" y="305333"/>
                  </a:lnTo>
                  <a:lnTo>
                    <a:pt x="403771" y="306603"/>
                  </a:lnTo>
                  <a:lnTo>
                    <a:pt x="402488" y="305333"/>
                  </a:lnTo>
                  <a:lnTo>
                    <a:pt x="401116" y="304063"/>
                  </a:lnTo>
                  <a:lnTo>
                    <a:pt x="403745" y="302806"/>
                  </a:lnTo>
                  <a:lnTo>
                    <a:pt x="403860" y="306603"/>
                  </a:lnTo>
                  <a:lnTo>
                    <a:pt x="404088" y="306603"/>
                  </a:lnTo>
                  <a:lnTo>
                    <a:pt x="403771" y="295173"/>
                  </a:lnTo>
                  <a:lnTo>
                    <a:pt x="403745" y="294335"/>
                  </a:lnTo>
                  <a:lnTo>
                    <a:pt x="403745" y="302793"/>
                  </a:lnTo>
                  <a:lnTo>
                    <a:pt x="401129" y="300253"/>
                  </a:lnTo>
                  <a:lnTo>
                    <a:pt x="403631" y="298996"/>
                  </a:lnTo>
                  <a:lnTo>
                    <a:pt x="403745" y="302793"/>
                  </a:lnTo>
                  <a:lnTo>
                    <a:pt x="403745" y="294335"/>
                  </a:lnTo>
                  <a:lnTo>
                    <a:pt x="403733" y="293903"/>
                  </a:lnTo>
                  <a:lnTo>
                    <a:pt x="403631" y="290093"/>
                  </a:lnTo>
                  <a:lnTo>
                    <a:pt x="403631" y="298983"/>
                  </a:lnTo>
                  <a:lnTo>
                    <a:pt x="400939" y="300253"/>
                  </a:lnTo>
                  <a:lnTo>
                    <a:pt x="403504" y="302793"/>
                  </a:lnTo>
                  <a:lnTo>
                    <a:pt x="400926" y="304063"/>
                  </a:lnTo>
                  <a:lnTo>
                    <a:pt x="398348" y="302793"/>
                  </a:lnTo>
                  <a:lnTo>
                    <a:pt x="400939" y="300253"/>
                  </a:lnTo>
                  <a:lnTo>
                    <a:pt x="398348" y="298983"/>
                  </a:lnTo>
                  <a:lnTo>
                    <a:pt x="400977" y="296443"/>
                  </a:lnTo>
                  <a:lnTo>
                    <a:pt x="398665" y="293903"/>
                  </a:lnTo>
                  <a:lnTo>
                    <a:pt x="401002" y="292633"/>
                  </a:lnTo>
                  <a:lnTo>
                    <a:pt x="398741" y="290093"/>
                  </a:lnTo>
                  <a:lnTo>
                    <a:pt x="401129" y="288823"/>
                  </a:lnTo>
                  <a:lnTo>
                    <a:pt x="400951" y="288632"/>
                  </a:lnTo>
                  <a:lnTo>
                    <a:pt x="400951" y="288823"/>
                  </a:lnTo>
                  <a:lnTo>
                    <a:pt x="398475" y="290093"/>
                  </a:lnTo>
                  <a:lnTo>
                    <a:pt x="400824" y="292633"/>
                  </a:lnTo>
                  <a:lnTo>
                    <a:pt x="398297" y="293890"/>
                  </a:lnTo>
                  <a:lnTo>
                    <a:pt x="398881" y="278663"/>
                  </a:lnTo>
                  <a:lnTo>
                    <a:pt x="400710" y="279933"/>
                  </a:lnTo>
                  <a:lnTo>
                    <a:pt x="398805" y="281203"/>
                  </a:lnTo>
                  <a:lnTo>
                    <a:pt x="398780" y="282473"/>
                  </a:lnTo>
                  <a:lnTo>
                    <a:pt x="400685" y="283743"/>
                  </a:lnTo>
                  <a:lnTo>
                    <a:pt x="398653" y="285013"/>
                  </a:lnTo>
                  <a:lnTo>
                    <a:pt x="398602" y="286283"/>
                  </a:lnTo>
                  <a:lnTo>
                    <a:pt x="400951" y="288823"/>
                  </a:lnTo>
                  <a:lnTo>
                    <a:pt x="400951" y="288632"/>
                  </a:lnTo>
                  <a:lnTo>
                    <a:pt x="398818" y="286283"/>
                  </a:lnTo>
                  <a:lnTo>
                    <a:pt x="400862" y="283743"/>
                  </a:lnTo>
                  <a:lnTo>
                    <a:pt x="398995" y="282473"/>
                  </a:lnTo>
                  <a:lnTo>
                    <a:pt x="399008" y="281203"/>
                  </a:lnTo>
                  <a:lnTo>
                    <a:pt x="400888" y="279933"/>
                  </a:lnTo>
                  <a:lnTo>
                    <a:pt x="399084" y="278663"/>
                  </a:lnTo>
                  <a:lnTo>
                    <a:pt x="402755" y="278663"/>
                  </a:lnTo>
                  <a:lnTo>
                    <a:pt x="400888" y="279933"/>
                  </a:lnTo>
                  <a:lnTo>
                    <a:pt x="403123" y="282473"/>
                  </a:lnTo>
                  <a:lnTo>
                    <a:pt x="400862" y="283743"/>
                  </a:lnTo>
                  <a:lnTo>
                    <a:pt x="403136" y="286118"/>
                  </a:lnTo>
                  <a:lnTo>
                    <a:pt x="401040" y="283743"/>
                  </a:lnTo>
                  <a:lnTo>
                    <a:pt x="403199" y="282473"/>
                  </a:lnTo>
                  <a:lnTo>
                    <a:pt x="403301" y="286283"/>
                  </a:lnTo>
                  <a:lnTo>
                    <a:pt x="401129" y="288823"/>
                  </a:lnTo>
                  <a:lnTo>
                    <a:pt x="403352" y="290093"/>
                  </a:lnTo>
                  <a:lnTo>
                    <a:pt x="401002" y="292633"/>
                  </a:lnTo>
                  <a:lnTo>
                    <a:pt x="403313" y="293903"/>
                  </a:lnTo>
                  <a:lnTo>
                    <a:pt x="400977" y="296443"/>
                  </a:lnTo>
                  <a:lnTo>
                    <a:pt x="403580" y="298983"/>
                  </a:lnTo>
                  <a:lnTo>
                    <a:pt x="401154" y="296443"/>
                  </a:lnTo>
                  <a:lnTo>
                    <a:pt x="403529" y="295173"/>
                  </a:lnTo>
                  <a:lnTo>
                    <a:pt x="403631" y="298983"/>
                  </a:lnTo>
                  <a:lnTo>
                    <a:pt x="403631" y="290093"/>
                  </a:lnTo>
                  <a:lnTo>
                    <a:pt x="403529" y="286283"/>
                  </a:lnTo>
                  <a:lnTo>
                    <a:pt x="403517" y="285813"/>
                  </a:lnTo>
                  <a:lnTo>
                    <a:pt x="403517" y="293903"/>
                  </a:lnTo>
                  <a:lnTo>
                    <a:pt x="401180" y="292633"/>
                  </a:lnTo>
                  <a:lnTo>
                    <a:pt x="403415" y="290106"/>
                  </a:lnTo>
                  <a:lnTo>
                    <a:pt x="403517" y="293903"/>
                  </a:lnTo>
                  <a:lnTo>
                    <a:pt x="403517" y="285813"/>
                  </a:lnTo>
                  <a:lnTo>
                    <a:pt x="403428" y="282473"/>
                  </a:lnTo>
                  <a:lnTo>
                    <a:pt x="403415" y="282054"/>
                  </a:lnTo>
                  <a:lnTo>
                    <a:pt x="403415" y="290093"/>
                  </a:lnTo>
                  <a:lnTo>
                    <a:pt x="401307" y="288823"/>
                  </a:lnTo>
                  <a:lnTo>
                    <a:pt x="403326" y="286283"/>
                  </a:lnTo>
                  <a:lnTo>
                    <a:pt x="403415" y="290093"/>
                  </a:lnTo>
                  <a:lnTo>
                    <a:pt x="403415" y="282054"/>
                  </a:lnTo>
                  <a:lnTo>
                    <a:pt x="403390" y="281203"/>
                  </a:lnTo>
                  <a:lnTo>
                    <a:pt x="403326" y="278663"/>
                  </a:lnTo>
                  <a:lnTo>
                    <a:pt x="403288" y="277393"/>
                  </a:lnTo>
                  <a:lnTo>
                    <a:pt x="403186" y="274015"/>
                  </a:lnTo>
                  <a:lnTo>
                    <a:pt x="403186" y="281203"/>
                  </a:lnTo>
                  <a:lnTo>
                    <a:pt x="401053" y="279933"/>
                  </a:lnTo>
                  <a:lnTo>
                    <a:pt x="403085" y="278663"/>
                  </a:lnTo>
                  <a:lnTo>
                    <a:pt x="403186" y="281203"/>
                  </a:lnTo>
                  <a:lnTo>
                    <a:pt x="403186" y="274015"/>
                  </a:lnTo>
                  <a:lnTo>
                    <a:pt x="403174" y="273583"/>
                  </a:lnTo>
                  <a:lnTo>
                    <a:pt x="405117" y="276072"/>
                  </a:lnTo>
                  <a:lnTo>
                    <a:pt x="403288" y="273583"/>
                  </a:lnTo>
                  <a:lnTo>
                    <a:pt x="408178" y="273583"/>
                  </a:lnTo>
                  <a:lnTo>
                    <a:pt x="406628" y="274980"/>
                  </a:lnTo>
                  <a:lnTo>
                    <a:pt x="408533" y="273583"/>
                  </a:lnTo>
                  <a:lnTo>
                    <a:pt x="408901" y="272313"/>
                  </a:lnTo>
                  <a:lnTo>
                    <a:pt x="414947" y="251980"/>
                  </a:lnTo>
                  <a:close/>
                </a:path>
                <a:path w="544830" h="318770">
                  <a:moveTo>
                    <a:pt x="415404" y="250723"/>
                  </a:moveTo>
                  <a:lnTo>
                    <a:pt x="414947" y="251980"/>
                  </a:lnTo>
                  <a:lnTo>
                    <a:pt x="415404" y="250723"/>
                  </a:lnTo>
                  <a:close/>
                </a:path>
                <a:path w="544830" h="318770">
                  <a:moveTo>
                    <a:pt x="418185" y="241833"/>
                  </a:moveTo>
                  <a:lnTo>
                    <a:pt x="418045" y="241833"/>
                  </a:lnTo>
                  <a:lnTo>
                    <a:pt x="415531" y="249453"/>
                  </a:lnTo>
                  <a:lnTo>
                    <a:pt x="415290" y="249453"/>
                  </a:lnTo>
                  <a:lnTo>
                    <a:pt x="411454" y="253161"/>
                  </a:lnTo>
                  <a:lnTo>
                    <a:pt x="415290" y="250799"/>
                  </a:lnTo>
                  <a:lnTo>
                    <a:pt x="415696" y="249453"/>
                  </a:lnTo>
                  <a:lnTo>
                    <a:pt x="418185" y="241833"/>
                  </a:lnTo>
                  <a:close/>
                </a:path>
                <a:path w="544830" h="318770">
                  <a:moveTo>
                    <a:pt x="418719" y="241833"/>
                  </a:moveTo>
                  <a:lnTo>
                    <a:pt x="418477" y="241833"/>
                  </a:lnTo>
                  <a:lnTo>
                    <a:pt x="418299" y="243103"/>
                  </a:lnTo>
                  <a:lnTo>
                    <a:pt x="418503" y="243103"/>
                  </a:lnTo>
                  <a:lnTo>
                    <a:pt x="418719" y="241833"/>
                  </a:lnTo>
                  <a:close/>
                </a:path>
                <a:path w="544830" h="318770">
                  <a:moveTo>
                    <a:pt x="422402" y="250952"/>
                  </a:moveTo>
                  <a:lnTo>
                    <a:pt x="422275" y="250913"/>
                  </a:lnTo>
                  <a:lnTo>
                    <a:pt x="422275" y="250621"/>
                  </a:lnTo>
                  <a:lnTo>
                    <a:pt x="422186" y="250367"/>
                  </a:lnTo>
                  <a:lnTo>
                    <a:pt x="422059" y="250342"/>
                  </a:lnTo>
                  <a:lnTo>
                    <a:pt x="422059" y="249910"/>
                  </a:lnTo>
                  <a:lnTo>
                    <a:pt x="422008" y="250342"/>
                  </a:lnTo>
                  <a:lnTo>
                    <a:pt x="421881" y="250367"/>
                  </a:lnTo>
                  <a:lnTo>
                    <a:pt x="421792" y="250621"/>
                  </a:lnTo>
                  <a:lnTo>
                    <a:pt x="421792" y="250913"/>
                  </a:lnTo>
                  <a:lnTo>
                    <a:pt x="421652" y="250952"/>
                  </a:lnTo>
                  <a:lnTo>
                    <a:pt x="421703" y="251079"/>
                  </a:lnTo>
                  <a:lnTo>
                    <a:pt x="422008" y="251079"/>
                  </a:lnTo>
                  <a:lnTo>
                    <a:pt x="421881" y="251117"/>
                  </a:lnTo>
                  <a:lnTo>
                    <a:pt x="421792" y="251371"/>
                  </a:lnTo>
                  <a:lnTo>
                    <a:pt x="421792" y="251663"/>
                  </a:lnTo>
                  <a:lnTo>
                    <a:pt x="421652" y="251714"/>
                  </a:lnTo>
                  <a:lnTo>
                    <a:pt x="422008" y="251828"/>
                  </a:lnTo>
                  <a:lnTo>
                    <a:pt x="421881" y="251866"/>
                  </a:lnTo>
                  <a:lnTo>
                    <a:pt x="421792" y="252107"/>
                  </a:lnTo>
                  <a:lnTo>
                    <a:pt x="421792" y="252412"/>
                  </a:lnTo>
                  <a:lnTo>
                    <a:pt x="421652" y="252450"/>
                  </a:lnTo>
                  <a:lnTo>
                    <a:pt x="421703" y="252577"/>
                  </a:lnTo>
                  <a:lnTo>
                    <a:pt x="422008" y="252577"/>
                  </a:lnTo>
                  <a:lnTo>
                    <a:pt x="421881" y="252615"/>
                  </a:lnTo>
                  <a:lnTo>
                    <a:pt x="421792" y="252857"/>
                  </a:lnTo>
                  <a:lnTo>
                    <a:pt x="421792" y="253161"/>
                  </a:lnTo>
                  <a:lnTo>
                    <a:pt x="421652" y="253199"/>
                  </a:lnTo>
                  <a:lnTo>
                    <a:pt x="421703" y="253326"/>
                  </a:lnTo>
                  <a:lnTo>
                    <a:pt x="422008" y="253326"/>
                  </a:lnTo>
                  <a:lnTo>
                    <a:pt x="421881" y="253365"/>
                  </a:lnTo>
                  <a:lnTo>
                    <a:pt x="421792" y="253606"/>
                  </a:lnTo>
                  <a:lnTo>
                    <a:pt x="421792" y="253911"/>
                  </a:lnTo>
                  <a:lnTo>
                    <a:pt x="421652" y="253949"/>
                  </a:lnTo>
                  <a:lnTo>
                    <a:pt x="421703" y="254076"/>
                  </a:lnTo>
                  <a:lnTo>
                    <a:pt x="422008" y="254076"/>
                  </a:lnTo>
                  <a:lnTo>
                    <a:pt x="421881" y="254114"/>
                  </a:lnTo>
                  <a:lnTo>
                    <a:pt x="421792" y="254355"/>
                  </a:lnTo>
                  <a:lnTo>
                    <a:pt x="421792" y="254660"/>
                  </a:lnTo>
                  <a:lnTo>
                    <a:pt x="421652" y="254698"/>
                  </a:lnTo>
                  <a:lnTo>
                    <a:pt x="421703" y="254825"/>
                  </a:lnTo>
                  <a:lnTo>
                    <a:pt x="422008" y="254825"/>
                  </a:lnTo>
                  <a:lnTo>
                    <a:pt x="421881" y="254850"/>
                  </a:lnTo>
                  <a:lnTo>
                    <a:pt x="421792" y="255104"/>
                  </a:lnTo>
                  <a:lnTo>
                    <a:pt x="421792" y="255409"/>
                  </a:lnTo>
                  <a:lnTo>
                    <a:pt x="421652" y="255447"/>
                  </a:lnTo>
                  <a:lnTo>
                    <a:pt x="421703" y="255574"/>
                  </a:lnTo>
                  <a:lnTo>
                    <a:pt x="422008" y="255574"/>
                  </a:lnTo>
                  <a:lnTo>
                    <a:pt x="421881" y="255600"/>
                  </a:lnTo>
                  <a:lnTo>
                    <a:pt x="421792" y="255854"/>
                  </a:lnTo>
                  <a:lnTo>
                    <a:pt x="421792" y="256159"/>
                  </a:lnTo>
                  <a:lnTo>
                    <a:pt x="421652" y="256197"/>
                  </a:lnTo>
                  <a:lnTo>
                    <a:pt x="421703" y="256324"/>
                  </a:lnTo>
                  <a:lnTo>
                    <a:pt x="422008" y="256324"/>
                  </a:lnTo>
                  <a:lnTo>
                    <a:pt x="421881" y="256349"/>
                  </a:lnTo>
                  <a:lnTo>
                    <a:pt x="421792" y="256603"/>
                  </a:lnTo>
                  <a:lnTo>
                    <a:pt x="421792" y="256908"/>
                  </a:lnTo>
                  <a:lnTo>
                    <a:pt x="421652" y="256946"/>
                  </a:lnTo>
                  <a:lnTo>
                    <a:pt x="421690" y="257073"/>
                  </a:lnTo>
                  <a:lnTo>
                    <a:pt x="422008" y="257073"/>
                  </a:lnTo>
                  <a:lnTo>
                    <a:pt x="421881" y="257098"/>
                  </a:lnTo>
                  <a:lnTo>
                    <a:pt x="421792" y="257352"/>
                  </a:lnTo>
                  <a:lnTo>
                    <a:pt x="421792" y="257657"/>
                  </a:lnTo>
                  <a:lnTo>
                    <a:pt x="421652" y="257695"/>
                  </a:lnTo>
                  <a:lnTo>
                    <a:pt x="421690" y="257822"/>
                  </a:lnTo>
                  <a:lnTo>
                    <a:pt x="422008" y="257822"/>
                  </a:lnTo>
                  <a:lnTo>
                    <a:pt x="422008" y="258406"/>
                  </a:lnTo>
                  <a:lnTo>
                    <a:pt x="422059" y="257822"/>
                  </a:lnTo>
                  <a:lnTo>
                    <a:pt x="422376" y="257822"/>
                  </a:lnTo>
                  <a:lnTo>
                    <a:pt x="422402" y="257695"/>
                  </a:lnTo>
                  <a:lnTo>
                    <a:pt x="422275" y="257657"/>
                  </a:lnTo>
                  <a:lnTo>
                    <a:pt x="422275" y="257352"/>
                  </a:lnTo>
                  <a:lnTo>
                    <a:pt x="422186" y="257098"/>
                  </a:lnTo>
                  <a:lnTo>
                    <a:pt x="422059" y="257073"/>
                  </a:lnTo>
                  <a:lnTo>
                    <a:pt x="422376" y="257073"/>
                  </a:lnTo>
                  <a:lnTo>
                    <a:pt x="422402" y="256946"/>
                  </a:lnTo>
                  <a:lnTo>
                    <a:pt x="422275" y="256908"/>
                  </a:lnTo>
                  <a:lnTo>
                    <a:pt x="422275" y="256603"/>
                  </a:lnTo>
                  <a:lnTo>
                    <a:pt x="422186" y="256349"/>
                  </a:lnTo>
                  <a:lnTo>
                    <a:pt x="422059" y="256324"/>
                  </a:lnTo>
                  <a:lnTo>
                    <a:pt x="422376" y="256324"/>
                  </a:lnTo>
                  <a:lnTo>
                    <a:pt x="422402" y="256197"/>
                  </a:lnTo>
                  <a:lnTo>
                    <a:pt x="422275" y="256159"/>
                  </a:lnTo>
                  <a:lnTo>
                    <a:pt x="422275" y="255854"/>
                  </a:lnTo>
                  <a:lnTo>
                    <a:pt x="422186" y="255600"/>
                  </a:lnTo>
                  <a:lnTo>
                    <a:pt x="422059" y="255574"/>
                  </a:lnTo>
                  <a:lnTo>
                    <a:pt x="422376" y="255574"/>
                  </a:lnTo>
                  <a:lnTo>
                    <a:pt x="422402" y="255447"/>
                  </a:lnTo>
                  <a:lnTo>
                    <a:pt x="422275" y="255409"/>
                  </a:lnTo>
                  <a:lnTo>
                    <a:pt x="422275" y="255104"/>
                  </a:lnTo>
                  <a:lnTo>
                    <a:pt x="422186" y="254850"/>
                  </a:lnTo>
                  <a:lnTo>
                    <a:pt x="422059" y="254825"/>
                  </a:lnTo>
                  <a:lnTo>
                    <a:pt x="422376" y="254825"/>
                  </a:lnTo>
                  <a:lnTo>
                    <a:pt x="422402" y="254698"/>
                  </a:lnTo>
                  <a:lnTo>
                    <a:pt x="422275" y="254660"/>
                  </a:lnTo>
                  <a:lnTo>
                    <a:pt x="422275" y="254355"/>
                  </a:lnTo>
                  <a:lnTo>
                    <a:pt x="422186" y="254114"/>
                  </a:lnTo>
                  <a:lnTo>
                    <a:pt x="422059" y="254076"/>
                  </a:lnTo>
                  <a:lnTo>
                    <a:pt x="422376" y="254076"/>
                  </a:lnTo>
                  <a:lnTo>
                    <a:pt x="422402" y="253949"/>
                  </a:lnTo>
                  <a:lnTo>
                    <a:pt x="422275" y="253911"/>
                  </a:lnTo>
                  <a:lnTo>
                    <a:pt x="422275" y="253606"/>
                  </a:lnTo>
                  <a:lnTo>
                    <a:pt x="422186" y="253365"/>
                  </a:lnTo>
                  <a:lnTo>
                    <a:pt x="422059" y="253326"/>
                  </a:lnTo>
                  <a:lnTo>
                    <a:pt x="422376" y="253326"/>
                  </a:lnTo>
                  <a:lnTo>
                    <a:pt x="422402" y="253199"/>
                  </a:lnTo>
                  <a:lnTo>
                    <a:pt x="422275" y="253161"/>
                  </a:lnTo>
                  <a:lnTo>
                    <a:pt x="422275" y="252857"/>
                  </a:lnTo>
                  <a:lnTo>
                    <a:pt x="422186" y="252615"/>
                  </a:lnTo>
                  <a:lnTo>
                    <a:pt x="422059" y="252577"/>
                  </a:lnTo>
                  <a:lnTo>
                    <a:pt x="422376" y="252577"/>
                  </a:lnTo>
                  <a:lnTo>
                    <a:pt x="422402" y="252450"/>
                  </a:lnTo>
                  <a:lnTo>
                    <a:pt x="422275" y="252412"/>
                  </a:lnTo>
                  <a:lnTo>
                    <a:pt x="422275" y="252107"/>
                  </a:lnTo>
                  <a:lnTo>
                    <a:pt x="422186" y="251866"/>
                  </a:lnTo>
                  <a:lnTo>
                    <a:pt x="422059" y="251828"/>
                  </a:lnTo>
                  <a:lnTo>
                    <a:pt x="422376" y="251828"/>
                  </a:lnTo>
                  <a:lnTo>
                    <a:pt x="422376" y="251663"/>
                  </a:lnTo>
                  <a:lnTo>
                    <a:pt x="422275" y="251371"/>
                  </a:lnTo>
                  <a:lnTo>
                    <a:pt x="422186" y="251117"/>
                  </a:lnTo>
                  <a:lnTo>
                    <a:pt x="422059" y="251079"/>
                  </a:lnTo>
                  <a:lnTo>
                    <a:pt x="422376" y="251079"/>
                  </a:lnTo>
                  <a:lnTo>
                    <a:pt x="422402" y="250952"/>
                  </a:lnTo>
                  <a:close/>
                </a:path>
                <a:path w="544830" h="318770">
                  <a:moveTo>
                    <a:pt x="454571" y="80010"/>
                  </a:moveTo>
                  <a:close/>
                </a:path>
                <a:path w="544830" h="318770">
                  <a:moveTo>
                    <a:pt x="461429" y="82575"/>
                  </a:moveTo>
                  <a:lnTo>
                    <a:pt x="457847" y="81280"/>
                  </a:lnTo>
                  <a:lnTo>
                    <a:pt x="454571" y="80022"/>
                  </a:lnTo>
                  <a:lnTo>
                    <a:pt x="454571" y="80213"/>
                  </a:lnTo>
                  <a:lnTo>
                    <a:pt x="457542" y="81280"/>
                  </a:lnTo>
                  <a:lnTo>
                    <a:pt x="461225" y="82550"/>
                  </a:lnTo>
                  <a:lnTo>
                    <a:pt x="461429" y="82575"/>
                  </a:lnTo>
                  <a:close/>
                </a:path>
                <a:path w="544830" h="318770">
                  <a:moveTo>
                    <a:pt x="480250" y="142748"/>
                  </a:moveTo>
                  <a:lnTo>
                    <a:pt x="478523" y="143510"/>
                  </a:lnTo>
                  <a:lnTo>
                    <a:pt x="480250" y="142748"/>
                  </a:lnTo>
                  <a:close/>
                </a:path>
                <a:path w="544830" h="318770">
                  <a:moveTo>
                    <a:pt x="483844" y="140970"/>
                  </a:moveTo>
                  <a:lnTo>
                    <a:pt x="481355" y="142240"/>
                  </a:lnTo>
                  <a:lnTo>
                    <a:pt x="480250" y="142748"/>
                  </a:lnTo>
                  <a:lnTo>
                    <a:pt x="481406" y="142240"/>
                  </a:lnTo>
                  <a:lnTo>
                    <a:pt x="483819" y="141058"/>
                  </a:lnTo>
                  <a:close/>
                </a:path>
                <a:path w="544830" h="318770">
                  <a:moveTo>
                    <a:pt x="500722" y="121589"/>
                  </a:moveTo>
                  <a:lnTo>
                    <a:pt x="499821" y="123190"/>
                  </a:lnTo>
                  <a:lnTo>
                    <a:pt x="496316" y="128270"/>
                  </a:lnTo>
                  <a:lnTo>
                    <a:pt x="496849" y="128270"/>
                  </a:lnTo>
                  <a:lnTo>
                    <a:pt x="498030" y="127000"/>
                  </a:lnTo>
                  <a:lnTo>
                    <a:pt x="500722" y="121589"/>
                  </a:lnTo>
                  <a:close/>
                </a:path>
                <a:path w="544830" h="318770">
                  <a:moveTo>
                    <a:pt x="505777" y="218859"/>
                  </a:moveTo>
                  <a:lnTo>
                    <a:pt x="504215" y="217258"/>
                  </a:lnTo>
                  <a:lnTo>
                    <a:pt x="505231" y="218440"/>
                  </a:lnTo>
                  <a:lnTo>
                    <a:pt x="505777" y="218859"/>
                  </a:lnTo>
                  <a:close/>
                </a:path>
                <a:path w="544830" h="318770">
                  <a:moveTo>
                    <a:pt x="514769" y="226060"/>
                  </a:moveTo>
                  <a:lnTo>
                    <a:pt x="512572" y="224790"/>
                  </a:lnTo>
                  <a:lnTo>
                    <a:pt x="508647" y="220980"/>
                  </a:lnTo>
                  <a:lnTo>
                    <a:pt x="506882" y="219710"/>
                  </a:lnTo>
                  <a:lnTo>
                    <a:pt x="505777" y="218859"/>
                  </a:lnTo>
                  <a:lnTo>
                    <a:pt x="506603" y="219710"/>
                  </a:lnTo>
                  <a:lnTo>
                    <a:pt x="508393" y="222250"/>
                  </a:lnTo>
                  <a:lnTo>
                    <a:pt x="512368" y="224790"/>
                  </a:lnTo>
                  <a:lnTo>
                    <a:pt x="514629" y="226060"/>
                  </a:lnTo>
                  <a:lnTo>
                    <a:pt x="514769" y="226060"/>
                  </a:lnTo>
                  <a:close/>
                </a:path>
                <a:path w="544830" h="318770">
                  <a:moveTo>
                    <a:pt x="518439" y="38100"/>
                  </a:moveTo>
                  <a:lnTo>
                    <a:pt x="517855" y="38658"/>
                  </a:lnTo>
                  <a:lnTo>
                    <a:pt x="518261" y="38557"/>
                  </a:lnTo>
                  <a:lnTo>
                    <a:pt x="518439" y="38100"/>
                  </a:lnTo>
                  <a:close/>
                </a:path>
                <a:path w="544830" h="318770">
                  <a:moveTo>
                    <a:pt x="519658" y="38201"/>
                  </a:moveTo>
                  <a:lnTo>
                    <a:pt x="519036" y="38100"/>
                  </a:lnTo>
                  <a:lnTo>
                    <a:pt x="518922" y="38379"/>
                  </a:lnTo>
                  <a:lnTo>
                    <a:pt x="519658" y="38201"/>
                  </a:lnTo>
                  <a:close/>
                </a:path>
                <a:path w="544830" h="318770">
                  <a:moveTo>
                    <a:pt x="523659" y="224790"/>
                  </a:moveTo>
                  <a:lnTo>
                    <a:pt x="523392" y="224497"/>
                  </a:lnTo>
                  <a:lnTo>
                    <a:pt x="523570" y="224790"/>
                  </a:lnTo>
                  <a:close/>
                </a:path>
                <a:path w="544830" h="318770">
                  <a:moveTo>
                    <a:pt x="523862" y="224790"/>
                  </a:moveTo>
                  <a:lnTo>
                    <a:pt x="523659" y="224790"/>
                  </a:lnTo>
                  <a:lnTo>
                    <a:pt x="521639" y="226060"/>
                  </a:lnTo>
                  <a:lnTo>
                    <a:pt x="521779" y="226060"/>
                  </a:lnTo>
                  <a:lnTo>
                    <a:pt x="523862" y="224790"/>
                  </a:lnTo>
                  <a:close/>
                </a:path>
                <a:path w="544830" h="318770">
                  <a:moveTo>
                    <a:pt x="536219" y="232410"/>
                  </a:moveTo>
                  <a:lnTo>
                    <a:pt x="532892" y="232410"/>
                  </a:lnTo>
                  <a:lnTo>
                    <a:pt x="534492" y="233680"/>
                  </a:lnTo>
                  <a:lnTo>
                    <a:pt x="536219" y="232410"/>
                  </a:lnTo>
                  <a:close/>
                </a:path>
                <a:path w="544830" h="318770">
                  <a:moveTo>
                    <a:pt x="538556" y="208254"/>
                  </a:moveTo>
                  <a:lnTo>
                    <a:pt x="537159" y="232410"/>
                  </a:lnTo>
                  <a:lnTo>
                    <a:pt x="538556" y="208254"/>
                  </a:lnTo>
                  <a:close/>
                </a:path>
                <a:path w="544830" h="318770">
                  <a:moveTo>
                    <a:pt x="538911" y="201930"/>
                  </a:moveTo>
                  <a:lnTo>
                    <a:pt x="538149" y="204470"/>
                  </a:lnTo>
                  <a:lnTo>
                    <a:pt x="536829" y="207010"/>
                  </a:lnTo>
                  <a:lnTo>
                    <a:pt x="534885" y="212090"/>
                  </a:lnTo>
                  <a:lnTo>
                    <a:pt x="532676" y="215900"/>
                  </a:lnTo>
                  <a:lnTo>
                    <a:pt x="528053" y="222250"/>
                  </a:lnTo>
                  <a:lnTo>
                    <a:pt x="526249" y="223520"/>
                  </a:lnTo>
                  <a:lnTo>
                    <a:pt x="523989" y="224790"/>
                  </a:lnTo>
                  <a:lnTo>
                    <a:pt x="523862" y="224790"/>
                  </a:lnTo>
                  <a:lnTo>
                    <a:pt x="525221" y="227330"/>
                  </a:lnTo>
                  <a:lnTo>
                    <a:pt x="526732" y="228600"/>
                  </a:lnTo>
                  <a:lnTo>
                    <a:pt x="529844" y="231140"/>
                  </a:lnTo>
                  <a:lnTo>
                    <a:pt x="531279" y="232410"/>
                  </a:lnTo>
                  <a:lnTo>
                    <a:pt x="531431" y="232410"/>
                  </a:lnTo>
                  <a:lnTo>
                    <a:pt x="530021" y="231140"/>
                  </a:lnTo>
                  <a:lnTo>
                    <a:pt x="525513" y="227330"/>
                  </a:lnTo>
                  <a:lnTo>
                    <a:pt x="524192" y="224790"/>
                  </a:lnTo>
                  <a:lnTo>
                    <a:pt x="526478" y="223520"/>
                  </a:lnTo>
                  <a:lnTo>
                    <a:pt x="528307" y="222250"/>
                  </a:lnTo>
                  <a:lnTo>
                    <a:pt x="532980" y="215900"/>
                  </a:lnTo>
                  <a:lnTo>
                    <a:pt x="535190" y="212090"/>
                  </a:lnTo>
                  <a:lnTo>
                    <a:pt x="537133" y="207010"/>
                  </a:lnTo>
                  <a:lnTo>
                    <a:pt x="538441" y="204470"/>
                  </a:lnTo>
                  <a:lnTo>
                    <a:pt x="538848" y="203200"/>
                  </a:lnTo>
                  <a:lnTo>
                    <a:pt x="538911" y="201930"/>
                  </a:lnTo>
                  <a:close/>
                </a:path>
                <a:path w="544830" h="318770">
                  <a:moveTo>
                    <a:pt x="539673" y="189230"/>
                  </a:moveTo>
                  <a:lnTo>
                    <a:pt x="539356" y="194310"/>
                  </a:lnTo>
                  <a:lnTo>
                    <a:pt x="539673" y="189230"/>
                  </a:lnTo>
                  <a:close/>
                </a:path>
                <a:path w="544830" h="318770">
                  <a:moveTo>
                    <a:pt x="541185" y="162560"/>
                  </a:moveTo>
                  <a:lnTo>
                    <a:pt x="539991" y="182880"/>
                  </a:lnTo>
                  <a:lnTo>
                    <a:pt x="541185" y="162560"/>
                  </a:lnTo>
                  <a:close/>
                </a:path>
                <a:path w="544830" h="318770">
                  <a:moveTo>
                    <a:pt x="544487" y="105410"/>
                  </a:moveTo>
                  <a:lnTo>
                    <a:pt x="543115" y="128270"/>
                  </a:lnTo>
                  <a:lnTo>
                    <a:pt x="541756" y="128270"/>
                  </a:lnTo>
                  <a:lnTo>
                    <a:pt x="541261" y="126758"/>
                  </a:lnTo>
                  <a:lnTo>
                    <a:pt x="541261" y="128270"/>
                  </a:lnTo>
                  <a:lnTo>
                    <a:pt x="529424" y="128270"/>
                  </a:lnTo>
                  <a:lnTo>
                    <a:pt x="529424" y="129540"/>
                  </a:lnTo>
                  <a:lnTo>
                    <a:pt x="523189" y="137160"/>
                  </a:lnTo>
                  <a:lnTo>
                    <a:pt x="522541" y="136867"/>
                  </a:lnTo>
                  <a:lnTo>
                    <a:pt x="522541" y="138430"/>
                  </a:lnTo>
                  <a:lnTo>
                    <a:pt x="521093" y="139700"/>
                  </a:lnTo>
                  <a:lnTo>
                    <a:pt x="520941" y="139509"/>
                  </a:lnTo>
                  <a:lnTo>
                    <a:pt x="520941" y="140970"/>
                  </a:lnTo>
                  <a:lnTo>
                    <a:pt x="517486" y="144780"/>
                  </a:lnTo>
                  <a:lnTo>
                    <a:pt x="517944" y="143510"/>
                  </a:lnTo>
                  <a:lnTo>
                    <a:pt x="518858" y="140970"/>
                  </a:lnTo>
                  <a:lnTo>
                    <a:pt x="519506" y="138430"/>
                  </a:lnTo>
                  <a:lnTo>
                    <a:pt x="520941" y="140970"/>
                  </a:lnTo>
                  <a:lnTo>
                    <a:pt x="520941" y="139509"/>
                  </a:lnTo>
                  <a:lnTo>
                    <a:pt x="520090" y="138430"/>
                  </a:lnTo>
                  <a:lnTo>
                    <a:pt x="519620" y="138430"/>
                  </a:lnTo>
                  <a:lnTo>
                    <a:pt x="520077" y="135890"/>
                  </a:lnTo>
                  <a:lnTo>
                    <a:pt x="522541" y="138430"/>
                  </a:lnTo>
                  <a:lnTo>
                    <a:pt x="522541" y="136867"/>
                  </a:lnTo>
                  <a:lnTo>
                    <a:pt x="520395" y="135890"/>
                  </a:lnTo>
                  <a:lnTo>
                    <a:pt x="521512" y="132080"/>
                  </a:lnTo>
                  <a:lnTo>
                    <a:pt x="522046" y="129540"/>
                  </a:lnTo>
                  <a:lnTo>
                    <a:pt x="529424" y="129540"/>
                  </a:lnTo>
                  <a:lnTo>
                    <a:pt x="529424" y="128270"/>
                  </a:lnTo>
                  <a:lnTo>
                    <a:pt x="522351" y="128270"/>
                  </a:lnTo>
                  <a:lnTo>
                    <a:pt x="524560" y="120650"/>
                  </a:lnTo>
                  <a:lnTo>
                    <a:pt x="526643" y="113030"/>
                  </a:lnTo>
                  <a:lnTo>
                    <a:pt x="528637" y="105410"/>
                  </a:lnTo>
                  <a:lnTo>
                    <a:pt x="530542" y="96520"/>
                  </a:lnTo>
                  <a:lnTo>
                    <a:pt x="531215" y="96520"/>
                  </a:lnTo>
                  <a:lnTo>
                    <a:pt x="533819" y="104140"/>
                  </a:lnTo>
                  <a:lnTo>
                    <a:pt x="536346" y="113030"/>
                  </a:lnTo>
                  <a:lnTo>
                    <a:pt x="539229" y="121920"/>
                  </a:lnTo>
                  <a:lnTo>
                    <a:pt x="541261" y="128270"/>
                  </a:lnTo>
                  <a:lnTo>
                    <a:pt x="541261" y="126758"/>
                  </a:lnTo>
                  <a:lnTo>
                    <a:pt x="539267" y="120650"/>
                  </a:lnTo>
                  <a:lnTo>
                    <a:pt x="536727" y="111760"/>
                  </a:lnTo>
                  <a:lnTo>
                    <a:pt x="534136" y="104140"/>
                  </a:lnTo>
                  <a:lnTo>
                    <a:pt x="531850" y="96520"/>
                  </a:lnTo>
                  <a:lnTo>
                    <a:pt x="531469" y="95250"/>
                  </a:lnTo>
                  <a:lnTo>
                    <a:pt x="531469" y="93980"/>
                  </a:lnTo>
                  <a:lnTo>
                    <a:pt x="532815" y="93980"/>
                  </a:lnTo>
                  <a:lnTo>
                    <a:pt x="532815" y="92710"/>
                  </a:lnTo>
                  <a:lnTo>
                    <a:pt x="532257" y="92710"/>
                  </a:lnTo>
                  <a:lnTo>
                    <a:pt x="532155" y="91440"/>
                  </a:lnTo>
                  <a:lnTo>
                    <a:pt x="532815" y="91440"/>
                  </a:lnTo>
                  <a:lnTo>
                    <a:pt x="532815" y="90170"/>
                  </a:lnTo>
                  <a:lnTo>
                    <a:pt x="532257" y="90170"/>
                  </a:lnTo>
                  <a:lnTo>
                    <a:pt x="532155" y="88900"/>
                  </a:lnTo>
                  <a:lnTo>
                    <a:pt x="532815" y="88900"/>
                  </a:lnTo>
                  <a:lnTo>
                    <a:pt x="532815" y="87630"/>
                  </a:lnTo>
                  <a:lnTo>
                    <a:pt x="532295" y="87630"/>
                  </a:lnTo>
                  <a:lnTo>
                    <a:pt x="532257" y="86360"/>
                  </a:lnTo>
                  <a:lnTo>
                    <a:pt x="532536" y="86360"/>
                  </a:lnTo>
                  <a:lnTo>
                    <a:pt x="532815" y="85090"/>
                  </a:lnTo>
                  <a:lnTo>
                    <a:pt x="532599" y="83820"/>
                  </a:lnTo>
                  <a:lnTo>
                    <a:pt x="532155" y="83820"/>
                  </a:lnTo>
                  <a:lnTo>
                    <a:pt x="531990" y="82550"/>
                  </a:lnTo>
                  <a:lnTo>
                    <a:pt x="532815" y="82550"/>
                  </a:lnTo>
                  <a:lnTo>
                    <a:pt x="532815" y="81280"/>
                  </a:lnTo>
                  <a:lnTo>
                    <a:pt x="532257" y="81280"/>
                  </a:lnTo>
                  <a:lnTo>
                    <a:pt x="532155" y="80010"/>
                  </a:lnTo>
                  <a:lnTo>
                    <a:pt x="532815" y="80010"/>
                  </a:lnTo>
                  <a:lnTo>
                    <a:pt x="532815" y="78740"/>
                  </a:lnTo>
                  <a:lnTo>
                    <a:pt x="532295" y="78740"/>
                  </a:lnTo>
                  <a:lnTo>
                    <a:pt x="532257" y="77470"/>
                  </a:lnTo>
                  <a:lnTo>
                    <a:pt x="532498" y="77470"/>
                  </a:lnTo>
                  <a:lnTo>
                    <a:pt x="532752" y="76200"/>
                  </a:lnTo>
                  <a:lnTo>
                    <a:pt x="536257" y="86360"/>
                  </a:lnTo>
                  <a:lnTo>
                    <a:pt x="539877" y="95250"/>
                  </a:lnTo>
                  <a:lnTo>
                    <a:pt x="543699" y="104140"/>
                  </a:lnTo>
                  <a:lnTo>
                    <a:pt x="544436" y="105410"/>
                  </a:lnTo>
                  <a:lnTo>
                    <a:pt x="543941" y="104140"/>
                  </a:lnTo>
                  <a:lnTo>
                    <a:pt x="540042" y="93980"/>
                  </a:lnTo>
                  <a:lnTo>
                    <a:pt x="536371" y="85090"/>
                  </a:lnTo>
                  <a:lnTo>
                    <a:pt x="532409" y="73660"/>
                  </a:lnTo>
                  <a:lnTo>
                    <a:pt x="532815" y="73660"/>
                  </a:lnTo>
                  <a:lnTo>
                    <a:pt x="532599" y="72390"/>
                  </a:lnTo>
                  <a:lnTo>
                    <a:pt x="532257" y="72390"/>
                  </a:lnTo>
                  <a:lnTo>
                    <a:pt x="532155" y="71120"/>
                  </a:lnTo>
                  <a:lnTo>
                    <a:pt x="532815" y="71120"/>
                  </a:lnTo>
                  <a:lnTo>
                    <a:pt x="532815" y="69850"/>
                  </a:lnTo>
                  <a:lnTo>
                    <a:pt x="532257" y="69850"/>
                  </a:lnTo>
                  <a:lnTo>
                    <a:pt x="532155" y="68580"/>
                  </a:lnTo>
                  <a:lnTo>
                    <a:pt x="532815" y="68580"/>
                  </a:lnTo>
                  <a:lnTo>
                    <a:pt x="532815" y="67310"/>
                  </a:lnTo>
                  <a:lnTo>
                    <a:pt x="532295" y="67310"/>
                  </a:lnTo>
                  <a:lnTo>
                    <a:pt x="532257" y="66040"/>
                  </a:lnTo>
                  <a:lnTo>
                    <a:pt x="532104" y="66040"/>
                  </a:lnTo>
                  <a:lnTo>
                    <a:pt x="531876" y="64770"/>
                  </a:lnTo>
                  <a:lnTo>
                    <a:pt x="533641" y="64770"/>
                  </a:lnTo>
                  <a:lnTo>
                    <a:pt x="533641" y="63500"/>
                  </a:lnTo>
                  <a:lnTo>
                    <a:pt x="530364" y="63500"/>
                  </a:lnTo>
                  <a:lnTo>
                    <a:pt x="530364" y="93980"/>
                  </a:lnTo>
                  <a:lnTo>
                    <a:pt x="530364" y="95250"/>
                  </a:lnTo>
                  <a:lnTo>
                    <a:pt x="528370" y="104140"/>
                  </a:lnTo>
                  <a:lnTo>
                    <a:pt x="526288" y="111760"/>
                  </a:lnTo>
                  <a:lnTo>
                    <a:pt x="524090" y="120650"/>
                  </a:lnTo>
                  <a:lnTo>
                    <a:pt x="521766" y="128270"/>
                  </a:lnTo>
                  <a:lnTo>
                    <a:pt x="521449" y="128270"/>
                  </a:lnTo>
                  <a:lnTo>
                    <a:pt x="521449" y="129540"/>
                  </a:lnTo>
                  <a:lnTo>
                    <a:pt x="519912" y="134620"/>
                  </a:lnTo>
                  <a:lnTo>
                    <a:pt x="519607" y="134442"/>
                  </a:lnTo>
                  <a:lnTo>
                    <a:pt x="519607" y="135890"/>
                  </a:lnTo>
                  <a:lnTo>
                    <a:pt x="519226" y="137160"/>
                  </a:lnTo>
                  <a:lnTo>
                    <a:pt x="519112" y="136956"/>
                  </a:lnTo>
                  <a:lnTo>
                    <a:pt x="519112" y="137160"/>
                  </a:lnTo>
                  <a:lnTo>
                    <a:pt x="518464" y="139700"/>
                  </a:lnTo>
                  <a:lnTo>
                    <a:pt x="517080" y="143510"/>
                  </a:lnTo>
                  <a:lnTo>
                    <a:pt x="516547" y="141909"/>
                  </a:lnTo>
                  <a:lnTo>
                    <a:pt x="516547" y="146050"/>
                  </a:lnTo>
                  <a:lnTo>
                    <a:pt x="514705" y="151130"/>
                  </a:lnTo>
                  <a:lnTo>
                    <a:pt x="508863" y="166370"/>
                  </a:lnTo>
                  <a:lnTo>
                    <a:pt x="506996" y="171450"/>
                  </a:lnTo>
                  <a:lnTo>
                    <a:pt x="504990" y="175260"/>
                  </a:lnTo>
                  <a:lnTo>
                    <a:pt x="504710" y="174244"/>
                  </a:lnTo>
                  <a:lnTo>
                    <a:pt x="504710" y="176530"/>
                  </a:lnTo>
                  <a:lnTo>
                    <a:pt x="501878" y="182880"/>
                  </a:lnTo>
                  <a:lnTo>
                    <a:pt x="498754" y="187960"/>
                  </a:lnTo>
                  <a:lnTo>
                    <a:pt x="494182" y="195580"/>
                  </a:lnTo>
                  <a:lnTo>
                    <a:pt x="492125" y="198120"/>
                  </a:lnTo>
                  <a:lnTo>
                    <a:pt x="490194" y="194310"/>
                  </a:lnTo>
                  <a:lnTo>
                    <a:pt x="488365" y="191770"/>
                  </a:lnTo>
                  <a:lnTo>
                    <a:pt x="486638" y="187960"/>
                  </a:lnTo>
                  <a:lnTo>
                    <a:pt x="487172" y="186690"/>
                  </a:lnTo>
                  <a:lnTo>
                    <a:pt x="487705" y="185420"/>
                  </a:lnTo>
                  <a:lnTo>
                    <a:pt x="488708" y="182880"/>
                  </a:lnTo>
                  <a:lnTo>
                    <a:pt x="489661" y="179070"/>
                  </a:lnTo>
                  <a:lnTo>
                    <a:pt x="491998" y="172720"/>
                  </a:lnTo>
                  <a:lnTo>
                    <a:pt x="494144" y="165100"/>
                  </a:lnTo>
                  <a:lnTo>
                    <a:pt x="496125" y="158750"/>
                  </a:lnTo>
                  <a:lnTo>
                    <a:pt x="497967" y="151130"/>
                  </a:lnTo>
                  <a:lnTo>
                    <a:pt x="498094" y="151130"/>
                  </a:lnTo>
                  <a:lnTo>
                    <a:pt x="499681" y="157480"/>
                  </a:lnTo>
                  <a:lnTo>
                    <a:pt x="501307" y="163830"/>
                  </a:lnTo>
                  <a:lnTo>
                    <a:pt x="502983" y="170180"/>
                  </a:lnTo>
                  <a:lnTo>
                    <a:pt x="504710" y="176530"/>
                  </a:lnTo>
                  <a:lnTo>
                    <a:pt x="504710" y="174244"/>
                  </a:lnTo>
                  <a:lnTo>
                    <a:pt x="503262" y="168910"/>
                  </a:lnTo>
                  <a:lnTo>
                    <a:pt x="501599" y="162560"/>
                  </a:lnTo>
                  <a:lnTo>
                    <a:pt x="499973" y="157480"/>
                  </a:lnTo>
                  <a:lnTo>
                    <a:pt x="498386" y="151130"/>
                  </a:lnTo>
                  <a:lnTo>
                    <a:pt x="498386" y="149860"/>
                  </a:lnTo>
                  <a:lnTo>
                    <a:pt x="499275" y="149860"/>
                  </a:lnTo>
                  <a:lnTo>
                    <a:pt x="499275" y="148590"/>
                  </a:lnTo>
                  <a:lnTo>
                    <a:pt x="498830" y="148590"/>
                  </a:lnTo>
                  <a:lnTo>
                    <a:pt x="498690" y="147320"/>
                  </a:lnTo>
                  <a:lnTo>
                    <a:pt x="498932" y="147320"/>
                  </a:lnTo>
                  <a:lnTo>
                    <a:pt x="498919" y="146050"/>
                  </a:lnTo>
                  <a:lnTo>
                    <a:pt x="499275" y="146050"/>
                  </a:lnTo>
                  <a:lnTo>
                    <a:pt x="499275" y="144780"/>
                  </a:lnTo>
                  <a:lnTo>
                    <a:pt x="498830" y="144780"/>
                  </a:lnTo>
                  <a:lnTo>
                    <a:pt x="498690" y="143510"/>
                  </a:lnTo>
                  <a:lnTo>
                    <a:pt x="498932" y="143510"/>
                  </a:lnTo>
                  <a:lnTo>
                    <a:pt x="498919" y="142240"/>
                  </a:lnTo>
                  <a:lnTo>
                    <a:pt x="499275" y="142240"/>
                  </a:lnTo>
                  <a:lnTo>
                    <a:pt x="499275" y="140970"/>
                  </a:lnTo>
                  <a:lnTo>
                    <a:pt x="498830" y="140970"/>
                  </a:lnTo>
                  <a:lnTo>
                    <a:pt x="498690" y="139700"/>
                  </a:lnTo>
                  <a:lnTo>
                    <a:pt x="498932" y="139700"/>
                  </a:lnTo>
                  <a:lnTo>
                    <a:pt x="498919" y="138430"/>
                  </a:lnTo>
                  <a:lnTo>
                    <a:pt x="499275" y="138430"/>
                  </a:lnTo>
                  <a:lnTo>
                    <a:pt x="499275" y="137160"/>
                  </a:lnTo>
                  <a:lnTo>
                    <a:pt x="498830" y="137160"/>
                  </a:lnTo>
                  <a:lnTo>
                    <a:pt x="498690" y="135890"/>
                  </a:lnTo>
                  <a:lnTo>
                    <a:pt x="498932" y="135890"/>
                  </a:lnTo>
                  <a:lnTo>
                    <a:pt x="498919" y="134620"/>
                  </a:lnTo>
                  <a:lnTo>
                    <a:pt x="499275" y="134620"/>
                  </a:lnTo>
                  <a:lnTo>
                    <a:pt x="499275" y="133350"/>
                  </a:lnTo>
                  <a:lnTo>
                    <a:pt x="498830" y="133350"/>
                  </a:lnTo>
                  <a:lnTo>
                    <a:pt x="498690" y="132080"/>
                  </a:lnTo>
                  <a:lnTo>
                    <a:pt x="498932" y="132080"/>
                  </a:lnTo>
                  <a:lnTo>
                    <a:pt x="498906" y="130810"/>
                  </a:lnTo>
                  <a:lnTo>
                    <a:pt x="498386" y="130810"/>
                  </a:lnTo>
                  <a:lnTo>
                    <a:pt x="498386" y="129540"/>
                  </a:lnTo>
                  <a:lnTo>
                    <a:pt x="511556" y="129540"/>
                  </a:lnTo>
                  <a:lnTo>
                    <a:pt x="516547" y="146050"/>
                  </a:lnTo>
                  <a:lnTo>
                    <a:pt x="516547" y="141909"/>
                  </a:lnTo>
                  <a:lnTo>
                    <a:pt x="512876" y="130810"/>
                  </a:lnTo>
                  <a:lnTo>
                    <a:pt x="516597" y="133350"/>
                  </a:lnTo>
                  <a:lnTo>
                    <a:pt x="517436" y="134620"/>
                  </a:lnTo>
                  <a:lnTo>
                    <a:pt x="517194" y="134620"/>
                  </a:lnTo>
                  <a:lnTo>
                    <a:pt x="517563" y="134810"/>
                  </a:lnTo>
                  <a:lnTo>
                    <a:pt x="519112" y="137160"/>
                  </a:lnTo>
                  <a:lnTo>
                    <a:pt x="519112" y="136956"/>
                  </a:lnTo>
                  <a:lnTo>
                    <a:pt x="518121" y="135102"/>
                  </a:lnTo>
                  <a:lnTo>
                    <a:pt x="519607" y="135890"/>
                  </a:lnTo>
                  <a:lnTo>
                    <a:pt x="519607" y="134442"/>
                  </a:lnTo>
                  <a:lnTo>
                    <a:pt x="515734" y="132080"/>
                  </a:lnTo>
                  <a:lnTo>
                    <a:pt x="515188" y="130810"/>
                  </a:lnTo>
                  <a:lnTo>
                    <a:pt x="513372" y="129540"/>
                  </a:lnTo>
                  <a:lnTo>
                    <a:pt x="514324" y="129540"/>
                  </a:lnTo>
                  <a:lnTo>
                    <a:pt x="515162" y="130810"/>
                  </a:lnTo>
                  <a:lnTo>
                    <a:pt x="514629" y="129540"/>
                  </a:lnTo>
                  <a:lnTo>
                    <a:pt x="521449" y="129540"/>
                  </a:lnTo>
                  <a:lnTo>
                    <a:pt x="521449" y="128270"/>
                  </a:lnTo>
                  <a:lnTo>
                    <a:pt x="514032" y="128270"/>
                  </a:lnTo>
                  <a:lnTo>
                    <a:pt x="513727" y="127736"/>
                  </a:lnTo>
                  <a:lnTo>
                    <a:pt x="513727" y="128270"/>
                  </a:lnTo>
                  <a:lnTo>
                    <a:pt x="512267" y="128270"/>
                  </a:lnTo>
                  <a:lnTo>
                    <a:pt x="510311" y="121920"/>
                  </a:lnTo>
                  <a:lnTo>
                    <a:pt x="512559" y="127000"/>
                  </a:lnTo>
                  <a:lnTo>
                    <a:pt x="513727" y="128270"/>
                  </a:lnTo>
                  <a:lnTo>
                    <a:pt x="513727" y="127736"/>
                  </a:lnTo>
                  <a:lnTo>
                    <a:pt x="512584" y="125730"/>
                  </a:lnTo>
                  <a:lnTo>
                    <a:pt x="511187" y="123190"/>
                  </a:lnTo>
                  <a:lnTo>
                    <a:pt x="510514" y="121920"/>
                  </a:lnTo>
                  <a:lnTo>
                    <a:pt x="509841" y="120650"/>
                  </a:lnTo>
                  <a:lnTo>
                    <a:pt x="507415" y="113030"/>
                  </a:lnTo>
                  <a:lnTo>
                    <a:pt x="506590" y="110426"/>
                  </a:lnTo>
                  <a:lnTo>
                    <a:pt x="506590" y="114198"/>
                  </a:lnTo>
                  <a:lnTo>
                    <a:pt x="505828" y="113030"/>
                  </a:lnTo>
                  <a:lnTo>
                    <a:pt x="506196" y="113030"/>
                  </a:lnTo>
                  <a:lnTo>
                    <a:pt x="506590" y="114198"/>
                  </a:lnTo>
                  <a:lnTo>
                    <a:pt x="506590" y="110426"/>
                  </a:lnTo>
                  <a:lnTo>
                    <a:pt x="506209" y="109220"/>
                  </a:lnTo>
                  <a:lnTo>
                    <a:pt x="504647" y="109220"/>
                  </a:lnTo>
                  <a:lnTo>
                    <a:pt x="505104" y="111760"/>
                  </a:lnTo>
                  <a:lnTo>
                    <a:pt x="501815" y="119380"/>
                  </a:lnTo>
                  <a:lnTo>
                    <a:pt x="500722" y="121589"/>
                  </a:lnTo>
                  <a:lnTo>
                    <a:pt x="502666" y="118110"/>
                  </a:lnTo>
                  <a:lnTo>
                    <a:pt x="505206" y="113030"/>
                  </a:lnTo>
                  <a:lnTo>
                    <a:pt x="505536" y="113030"/>
                  </a:lnTo>
                  <a:lnTo>
                    <a:pt x="506933" y="115570"/>
                  </a:lnTo>
                  <a:lnTo>
                    <a:pt x="507631" y="116840"/>
                  </a:lnTo>
                  <a:lnTo>
                    <a:pt x="511225" y="128270"/>
                  </a:lnTo>
                  <a:lnTo>
                    <a:pt x="497801" y="128270"/>
                  </a:lnTo>
                  <a:lnTo>
                    <a:pt x="497801" y="129540"/>
                  </a:lnTo>
                  <a:lnTo>
                    <a:pt x="497801" y="130810"/>
                  </a:lnTo>
                  <a:lnTo>
                    <a:pt x="497293" y="130810"/>
                  </a:lnTo>
                  <a:lnTo>
                    <a:pt x="497255" y="132080"/>
                  </a:lnTo>
                  <a:lnTo>
                    <a:pt x="497509" y="132080"/>
                  </a:lnTo>
                  <a:lnTo>
                    <a:pt x="497357" y="133350"/>
                  </a:lnTo>
                  <a:lnTo>
                    <a:pt x="496925" y="133350"/>
                  </a:lnTo>
                  <a:lnTo>
                    <a:pt x="496925" y="134620"/>
                  </a:lnTo>
                  <a:lnTo>
                    <a:pt x="497281" y="134620"/>
                  </a:lnTo>
                  <a:lnTo>
                    <a:pt x="497255" y="135890"/>
                  </a:lnTo>
                  <a:lnTo>
                    <a:pt x="497509" y="135890"/>
                  </a:lnTo>
                  <a:lnTo>
                    <a:pt x="497357" y="137160"/>
                  </a:lnTo>
                  <a:lnTo>
                    <a:pt x="496925" y="137160"/>
                  </a:lnTo>
                  <a:lnTo>
                    <a:pt x="496925" y="138430"/>
                  </a:lnTo>
                  <a:lnTo>
                    <a:pt x="497281" y="138430"/>
                  </a:lnTo>
                  <a:lnTo>
                    <a:pt x="497255" y="139700"/>
                  </a:lnTo>
                  <a:lnTo>
                    <a:pt x="497509" y="139700"/>
                  </a:lnTo>
                  <a:lnTo>
                    <a:pt x="497357" y="140970"/>
                  </a:lnTo>
                  <a:lnTo>
                    <a:pt x="496925" y="140970"/>
                  </a:lnTo>
                  <a:lnTo>
                    <a:pt x="496925" y="142240"/>
                  </a:lnTo>
                  <a:lnTo>
                    <a:pt x="497281" y="142240"/>
                  </a:lnTo>
                  <a:lnTo>
                    <a:pt x="497255" y="143510"/>
                  </a:lnTo>
                  <a:lnTo>
                    <a:pt x="497509" y="143510"/>
                  </a:lnTo>
                  <a:lnTo>
                    <a:pt x="497357" y="144780"/>
                  </a:lnTo>
                  <a:lnTo>
                    <a:pt x="496925" y="144780"/>
                  </a:lnTo>
                  <a:lnTo>
                    <a:pt x="496925" y="146050"/>
                  </a:lnTo>
                  <a:lnTo>
                    <a:pt x="497281" y="146050"/>
                  </a:lnTo>
                  <a:lnTo>
                    <a:pt x="497255" y="147320"/>
                  </a:lnTo>
                  <a:lnTo>
                    <a:pt x="497509" y="147320"/>
                  </a:lnTo>
                  <a:lnTo>
                    <a:pt x="497357" y="148590"/>
                  </a:lnTo>
                  <a:lnTo>
                    <a:pt x="496925" y="148590"/>
                  </a:lnTo>
                  <a:lnTo>
                    <a:pt x="496925" y="149860"/>
                  </a:lnTo>
                  <a:lnTo>
                    <a:pt x="497801" y="149860"/>
                  </a:lnTo>
                  <a:lnTo>
                    <a:pt x="495896" y="157480"/>
                  </a:lnTo>
                  <a:lnTo>
                    <a:pt x="493852" y="165100"/>
                  </a:lnTo>
                  <a:lnTo>
                    <a:pt x="491629" y="172720"/>
                  </a:lnTo>
                  <a:lnTo>
                    <a:pt x="489077" y="179387"/>
                  </a:lnTo>
                  <a:lnTo>
                    <a:pt x="488302" y="181610"/>
                  </a:lnTo>
                  <a:lnTo>
                    <a:pt x="486346" y="186690"/>
                  </a:lnTo>
                  <a:lnTo>
                    <a:pt x="486117" y="186169"/>
                  </a:lnTo>
                  <a:lnTo>
                    <a:pt x="486117" y="187960"/>
                  </a:lnTo>
                  <a:lnTo>
                    <a:pt x="484428" y="191770"/>
                  </a:lnTo>
                  <a:lnTo>
                    <a:pt x="481304" y="198323"/>
                  </a:lnTo>
                  <a:lnTo>
                    <a:pt x="479018" y="203200"/>
                  </a:lnTo>
                  <a:lnTo>
                    <a:pt x="473354" y="210820"/>
                  </a:lnTo>
                  <a:lnTo>
                    <a:pt x="470065" y="214630"/>
                  </a:lnTo>
                  <a:lnTo>
                    <a:pt x="465721" y="218440"/>
                  </a:lnTo>
                  <a:lnTo>
                    <a:pt x="462559" y="218440"/>
                  </a:lnTo>
                  <a:lnTo>
                    <a:pt x="462559" y="283210"/>
                  </a:lnTo>
                  <a:lnTo>
                    <a:pt x="461886" y="282752"/>
                  </a:lnTo>
                  <a:lnTo>
                    <a:pt x="461886" y="284480"/>
                  </a:lnTo>
                  <a:lnTo>
                    <a:pt x="451510" y="290830"/>
                  </a:lnTo>
                  <a:lnTo>
                    <a:pt x="449834" y="289801"/>
                  </a:lnTo>
                  <a:lnTo>
                    <a:pt x="449834" y="292100"/>
                  </a:lnTo>
                  <a:lnTo>
                    <a:pt x="439597" y="298450"/>
                  </a:lnTo>
                  <a:lnTo>
                    <a:pt x="440055" y="285750"/>
                  </a:lnTo>
                  <a:lnTo>
                    <a:pt x="449834" y="292100"/>
                  </a:lnTo>
                  <a:lnTo>
                    <a:pt x="449834" y="289801"/>
                  </a:lnTo>
                  <a:lnTo>
                    <a:pt x="443318" y="285750"/>
                  </a:lnTo>
                  <a:lnTo>
                    <a:pt x="441274" y="284480"/>
                  </a:lnTo>
                  <a:lnTo>
                    <a:pt x="443014" y="283210"/>
                  </a:lnTo>
                  <a:lnTo>
                    <a:pt x="451700" y="276860"/>
                  </a:lnTo>
                  <a:lnTo>
                    <a:pt x="461886" y="284480"/>
                  </a:lnTo>
                  <a:lnTo>
                    <a:pt x="461886" y="282752"/>
                  </a:lnTo>
                  <a:lnTo>
                    <a:pt x="453263" y="276860"/>
                  </a:lnTo>
                  <a:lnTo>
                    <a:pt x="455053" y="275590"/>
                  </a:lnTo>
                  <a:lnTo>
                    <a:pt x="462229" y="270510"/>
                  </a:lnTo>
                  <a:lnTo>
                    <a:pt x="462559" y="283210"/>
                  </a:lnTo>
                  <a:lnTo>
                    <a:pt x="462559" y="218440"/>
                  </a:lnTo>
                  <a:lnTo>
                    <a:pt x="462280" y="208280"/>
                  </a:lnTo>
                  <a:lnTo>
                    <a:pt x="462127" y="202425"/>
                  </a:lnTo>
                  <a:lnTo>
                    <a:pt x="462127" y="266700"/>
                  </a:lnTo>
                  <a:lnTo>
                    <a:pt x="460248" y="265353"/>
                  </a:lnTo>
                  <a:lnTo>
                    <a:pt x="460248" y="267970"/>
                  </a:lnTo>
                  <a:lnTo>
                    <a:pt x="460184" y="269240"/>
                  </a:lnTo>
                  <a:lnTo>
                    <a:pt x="451700" y="275590"/>
                  </a:lnTo>
                  <a:lnTo>
                    <a:pt x="450151" y="274434"/>
                  </a:lnTo>
                  <a:lnTo>
                    <a:pt x="450151" y="276860"/>
                  </a:lnTo>
                  <a:lnTo>
                    <a:pt x="440156" y="283210"/>
                  </a:lnTo>
                  <a:lnTo>
                    <a:pt x="440524" y="272897"/>
                  </a:lnTo>
                  <a:lnTo>
                    <a:pt x="441452" y="269887"/>
                  </a:lnTo>
                  <a:lnTo>
                    <a:pt x="450151" y="276860"/>
                  </a:lnTo>
                  <a:lnTo>
                    <a:pt x="450151" y="274434"/>
                  </a:lnTo>
                  <a:lnTo>
                    <a:pt x="443217" y="269240"/>
                  </a:lnTo>
                  <a:lnTo>
                    <a:pt x="460184" y="269240"/>
                  </a:lnTo>
                  <a:lnTo>
                    <a:pt x="460184" y="267970"/>
                  </a:lnTo>
                  <a:lnTo>
                    <a:pt x="449719" y="267970"/>
                  </a:lnTo>
                  <a:lnTo>
                    <a:pt x="449630" y="267614"/>
                  </a:lnTo>
                  <a:lnTo>
                    <a:pt x="449554" y="267411"/>
                  </a:lnTo>
                  <a:lnTo>
                    <a:pt x="449719" y="267385"/>
                  </a:lnTo>
                  <a:lnTo>
                    <a:pt x="449719" y="267246"/>
                  </a:lnTo>
                  <a:lnTo>
                    <a:pt x="449630" y="266992"/>
                  </a:lnTo>
                  <a:lnTo>
                    <a:pt x="449554" y="266801"/>
                  </a:lnTo>
                  <a:lnTo>
                    <a:pt x="449719" y="266763"/>
                  </a:lnTo>
                  <a:lnTo>
                    <a:pt x="449719" y="266636"/>
                  </a:lnTo>
                  <a:lnTo>
                    <a:pt x="449630" y="266382"/>
                  </a:lnTo>
                  <a:lnTo>
                    <a:pt x="449554" y="266179"/>
                  </a:lnTo>
                  <a:lnTo>
                    <a:pt x="449719" y="266153"/>
                  </a:lnTo>
                  <a:lnTo>
                    <a:pt x="449719" y="266014"/>
                  </a:lnTo>
                  <a:lnTo>
                    <a:pt x="449630" y="265772"/>
                  </a:lnTo>
                  <a:lnTo>
                    <a:pt x="449554" y="265557"/>
                  </a:lnTo>
                  <a:lnTo>
                    <a:pt x="449719" y="265531"/>
                  </a:lnTo>
                  <a:lnTo>
                    <a:pt x="449719" y="265391"/>
                  </a:lnTo>
                  <a:lnTo>
                    <a:pt x="449630" y="265150"/>
                  </a:lnTo>
                  <a:lnTo>
                    <a:pt x="449554" y="264947"/>
                  </a:lnTo>
                  <a:lnTo>
                    <a:pt x="449719" y="264922"/>
                  </a:lnTo>
                  <a:lnTo>
                    <a:pt x="449719" y="264782"/>
                  </a:lnTo>
                  <a:lnTo>
                    <a:pt x="449630" y="264528"/>
                  </a:lnTo>
                  <a:lnTo>
                    <a:pt x="449554" y="264325"/>
                  </a:lnTo>
                  <a:lnTo>
                    <a:pt x="449719" y="264299"/>
                  </a:lnTo>
                  <a:lnTo>
                    <a:pt x="449719" y="264160"/>
                  </a:lnTo>
                  <a:lnTo>
                    <a:pt x="449630" y="263918"/>
                  </a:lnTo>
                  <a:lnTo>
                    <a:pt x="449554" y="263715"/>
                  </a:lnTo>
                  <a:lnTo>
                    <a:pt x="449719" y="263677"/>
                  </a:lnTo>
                  <a:lnTo>
                    <a:pt x="449719" y="263550"/>
                  </a:lnTo>
                  <a:lnTo>
                    <a:pt x="449630" y="263296"/>
                  </a:lnTo>
                  <a:lnTo>
                    <a:pt x="451764" y="261620"/>
                  </a:lnTo>
                  <a:lnTo>
                    <a:pt x="460248" y="267970"/>
                  </a:lnTo>
                  <a:lnTo>
                    <a:pt x="460248" y="265353"/>
                  </a:lnTo>
                  <a:lnTo>
                    <a:pt x="455066" y="261620"/>
                  </a:lnTo>
                  <a:lnTo>
                    <a:pt x="453301" y="260350"/>
                  </a:lnTo>
                  <a:lnTo>
                    <a:pt x="455434" y="259080"/>
                  </a:lnTo>
                  <a:lnTo>
                    <a:pt x="461810" y="255270"/>
                  </a:lnTo>
                  <a:lnTo>
                    <a:pt x="462127" y="266700"/>
                  </a:lnTo>
                  <a:lnTo>
                    <a:pt x="462127" y="202425"/>
                  </a:lnTo>
                  <a:lnTo>
                    <a:pt x="462114" y="201930"/>
                  </a:lnTo>
                  <a:lnTo>
                    <a:pt x="461810" y="190500"/>
                  </a:lnTo>
                  <a:lnTo>
                    <a:pt x="461721" y="187172"/>
                  </a:lnTo>
                  <a:lnTo>
                    <a:pt x="461721" y="251460"/>
                  </a:lnTo>
                  <a:lnTo>
                    <a:pt x="461175" y="251053"/>
                  </a:lnTo>
                  <a:lnTo>
                    <a:pt x="461175" y="252730"/>
                  </a:lnTo>
                  <a:lnTo>
                    <a:pt x="451777" y="259080"/>
                  </a:lnTo>
                  <a:lnTo>
                    <a:pt x="450227" y="258025"/>
                  </a:lnTo>
                  <a:lnTo>
                    <a:pt x="450227" y="260350"/>
                  </a:lnTo>
                  <a:lnTo>
                    <a:pt x="449414" y="260896"/>
                  </a:lnTo>
                  <a:lnTo>
                    <a:pt x="449402" y="263677"/>
                  </a:lnTo>
                  <a:lnTo>
                    <a:pt x="449224" y="263918"/>
                  </a:lnTo>
                  <a:lnTo>
                    <a:pt x="449224" y="264160"/>
                  </a:lnTo>
                  <a:lnTo>
                    <a:pt x="449135" y="264299"/>
                  </a:lnTo>
                  <a:lnTo>
                    <a:pt x="449402" y="264299"/>
                  </a:lnTo>
                  <a:lnTo>
                    <a:pt x="449224" y="264528"/>
                  </a:lnTo>
                  <a:lnTo>
                    <a:pt x="449224" y="264782"/>
                  </a:lnTo>
                  <a:lnTo>
                    <a:pt x="449135" y="264922"/>
                  </a:lnTo>
                  <a:lnTo>
                    <a:pt x="449402" y="264922"/>
                  </a:lnTo>
                  <a:lnTo>
                    <a:pt x="449224" y="265150"/>
                  </a:lnTo>
                  <a:lnTo>
                    <a:pt x="449224" y="265391"/>
                  </a:lnTo>
                  <a:lnTo>
                    <a:pt x="449135" y="265531"/>
                  </a:lnTo>
                  <a:lnTo>
                    <a:pt x="449402" y="265531"/>
                  </a:lnTo>
                  <a:lnTo>
                    <a:pt x="449224" y="265772"/>
                  </a:lnTo>
                  <a:lnTo>
                    <a:pt x="449224" y="266014"/>
                  </a:lnTo>
                  <a:lnTo>
                    <a:pt x="449135" y="266153"/>
                  </a:lnTo>
                  <a:lnTo>
                    <a:pt x="449402" y="266153"/>
                  </a:lnTo>
                  <a:lnTo>
                    <a:pt x="449224" y="266382"/>
                  </a:lnTo>
                  <a:lnTo>
                    <a:pt x="449224" y="266636"/>
                  </a:lnTo>
                  <a:lnTo>
                    <a:pt x="449135" y="266763"/>
                  </a:lnTo>
                  <a:lnTo>
                    <a:pt x="449402" y="266763"/>
                  </a:lnTo>
                  <a:lnTo>
                    <a:pt x="449224" y="266992"/>
                  </a:lnTo>
                  <a:lnTo>
                    <a:pt x="449224" y="267246"/>
                  </a:lnTo>
                  <a:lnTo>
                    <a:pt x="449135" y="267385"/>
                  </a:lnTo>
                  <a:lnTo>
                    <a:pt x="449402" y="267385"/>
                  </a:lnTo>
                  <a:lnTo>
                    <a:pt x="449224" y="267614"/>
                  </a:lnTo>
                  <a:lnTo>
                    <a:pt x="449224" y="267855"/>
                  </a:lnTo>
                  <a:lnTo>
                    <a:pt x="443191" y="267970"/>
                  </a:lnTo>
                  <a:lnTo>
                    <a:pt x="444906" y="266700"/>
                  </a:lnTo>
                  <a:lnTo>
                    <a:pt x="449122" y="263588"/>
                  </a:lnTo>
                  <a:lnTo>
                    <a:pt x="449402" y="263677"/>
                  </a:lnTo>
                  <a:lnTo>
                    <a:pt x="449402" y="260896"/>
                  </a:lnTo>
                  <a:lnTo>
                    <a:pt x="449224" y="260896"/>
                  </a:lnTo>
                  <a:lnTo>
                    <a:pt x="449224" y="263512"/>
                  </a:lnTo>
                  <a:lnTo>
                    <a:pt x="449224" y="260896"/>
                  </a:lnTo>
                  <a:lnTo>
                    <a:pt x="449211" y="261023"/>
                  </a:lnTo>
                  <a:lnTo>
                    <a:pt x="442887" y="265277"/>
                  </a:lnTo>
                  <a:lnTo>
                    <a:pt x="444119" y="261277"/>
                  </a:lnTo>
                  <a:lnTo>
                    <a:pt x="444195" y="261023"/>
                  </a:lnTo>
                  <a:lnTo>
                    <a:pt x="449211" y="261023"/>
                  </a:lnTo>
                  <a:lnTo>
                    <a:pt x="449211" y="260896"/>
                  </a:lnTo>
                  <a:lnTo>
                    <a:pt x="444246" y="260896"/>
                  </a:lnTo>
                  <a:lnTo>
                    <a:pt x="445452" y="256984"/>
                  </a:lnTo>
                  <a:lnTo>
                    <a:pt x="450227" y="260350"/>
                  </a:lnTo>
                  <a:lnTo>
                    <a:pt x="450227" y="258025"/>
                  </a:lnTo>
                  <a:lnTo>
                    <a:pt x="446011" y="255143"/>
                  </a:lnTo>
                  <a:lnTo>
                    <a:pt x="446239" y="254419"/>
                  </a:lnTo>
                  <a:lnTo>
                    <a:pt x="446481" y="254546"/>
                  </a:lnTo>
                  <a:lnTo>
                    <a:pt x="446328" y="255308"/>
                  </a:lnTo>
                  <a:lnTo>
                    <a:pt x="446506" y="255308"/>
                  </a:lnTo>
                  <a:lnTo>
                    <a:pt x="446620" y="254800"/>
                  </a:lnTo>
                  <a:lnTo>
                    <a:pt x="446659" y="254419"/>
                  </a:lnTo>
                  <a:lnTo>
                    <a:pt x="446201" y="254165"/>
                  </a:lnTo>
                  <a:lnTo>
                    <a:pt x="446112" y="254292"/>
                  </a:lnTo>
                  <a:lnTo>
                    <a:pt x="445871" y="255041"/>
                  </a:lnTo>
                  <a:lnTo>
                    <a:pt x="445300" y="254647"/>
                  </a:lnTo>
                  <a:lnTo>
                    <a:pt x="445300" y="256882"/>
                  </a:lnTo>
                  <a:lnTo>
                    <a:pt x="444055" y="260896"/>
                  </a:lnTo>
                  <a:lnTo>
                    <a:pt x="443953" y="261277"/>
                  </a:lnTo>
                  <a:lnTo>
                    <a:pt x="442671" y="265417"/>
                  </a:lnTo>
                  <a:lnTo>
                    <a:pt x="442099" y="265798"/>
                  </a:lnTo>
                  <a:lnTo>
                    <a:pt x="441998" y="265671"/>
                  </a:lnTo>
                  <a:lnTo>
                    <a:pt x="441998" y="265874"/>
                  </a:lnTo>
                  <a:lnTo>
                    <a:pt x="441299" y="266344"/>
                  </a:lnTo>
                  <a:lnTo>
                    <a:pt x="441299" y="269760"/>
                  </a:lnTo>
                  <a:lnTo>
                    <a:pt x="440550" y="272199"/>
                  </a:lnTo>
                  <a:lnTo>
                    <a:pt x="440664" y="269240"/>
                  </a:lnTo>
                  <a:lnTo>
                    <a:pt x="441299" y="269760"/>
                  </a:lnTo>
                  <a:lnTo>
                    <a:pt x="441299" y="266344"/>
                  </a:lnTo>
                  <a:lnTo>
                    <a:pt x="440753" y="266700"/>
                  </a:lnTo>
                  <a:lnTo>
                    <a:pt x="440842" y="264337"/>
                  </a:lnTo>
                  <a:lnTo>
                    <a:pt x="441998" y="265874"/>
                  </a:lnTo>
                  <a:lnTo>
                    <a:pt x="441998" y="265671"/>
                  </a:lnTo>
                  <a:lnTo>
                    <a:pt x="440842" y="264121"/>
                  </a:lnTo>
                  <a:lnTo>
                    <a:pt x="440855" y="263829"/>
                  </a:lnTo>
                  <a:lnTo>
                    <a:pt x="443953" y="261277"/>
                  </a:lnTo>
                  <a:lnTo>
                    <a:pt x="443953" y="260896"/>
                  </a:lnTo>
                  <a:lnTo>
                    <a:pt x="443865" y="261023"/>
                  </a:lnTo>
                  <a:lnTo>
                    <a:pt x="440867" y="263601"/>
                  </a:lnTo>
                  <a:lnTo>
                    <a:pt x="440969" y="261023"/>
                  </a:lnTo>
                  <a:lnTo>
                    <a:pt x="443865" y="261023"/>
                  </a:lnTo>
                  <a:lnTo>
                    <a:pt x="443865" y="260896"/>
                  </a:lnTo>
                  <a:lnTo>
                    <a:pt x="440969" y="260896"/>
                  </a:lnTo>
                  <a:lnTo>
                    <a:pt x="441248" y="254000"/>
                  </a:lnTo>
                  <a:lnTo>
                    <a:pt x="445300" y="256882"/>
                  </a:lnTo>
                  <a:lnTo>
                    <a:pt x="445300" y="254647"/>
                  </a:lnTo>
                  <a:lnTo>
                    <a:pt x="444373" y="254000"/>
                  </a:lnTo>
                  <a:lnTo>
                    <a:pt x="442518" y="252730"/>
                  </a:lnTo>
                  <a:lnTo>
                    <a:pt x="444398" y="251460"/>
                  </a:lnTo>
                  <a:lnTo>
                    <a:pt x="451916" y="246380"/>
                  </a:lnTo>
                  <a:lnTo>
                    <a:pt x="461175" y="252730"/>
                  </a:lnTo>
                  <a:lnTo>
                    <a:pt x="461175" y="251053"/>
                  </a:lnTo>
                  <a:lnTo>
                    <a:pt x="455015" y="246380"/>
                  </a:lnTo>
                  <a:lnTo>
                    <a:pt x="453339" y="245110"/>
                  </a:lnTo>
                  <a:lnTo>
                    <a:pt x="454939" y="243840"/>
                  </a:lnTo>
                  <a:lnTo>
                    <a:pt x="461365" y="238760"/>
                  </a:lnTo>
                  <a:lnTo>
                    <a:pt x="461721" y="251460"/>
                  </a:lnTo>
                  <a:lnTo>
                    <a:pt x="461721" y="187172"/>
                  </a:lnTo>
                  <a:lnTo>
                    <a:pt x="461708" y="186690"/>
                  </a:lnTo>
                  <a:lnTo>
                    <a:pt x="461391" y="175260"/>
                  </a:lnTo>
                  <a:lnTo>
                    <a:pt x="461365" y="173990"/>
                  </a:lnTo>
                  <a:lnTo>
                    <a:pt x="461327" y="172720"/>
                  </a:lnTo>
                  <a:lnTo>
                    <a:pt x="462800" y="171450"/>
                  </a:lnTo>
                  <a:lnTo>
                    <a:pt x="471614" y="163830"/>
                  </a:lnTo>
                  <a:lnTo>
                    <a:pt x="474548" y="161290"/>
                  </a:lnTo>
                  <a:lnTo>
                    <a:pt x="477151" y="167640"/>
                  </a:lnTo>
                  <a:lnTo>
                    <a:pt x="479856" y="173990"/>
                  </a:lnTo>
                  <a:lnTo>
                    <a:pt x="483844" y="182880"/>
                  </a:lnTo>
                  <a:lnTo>
                    <a:pt x="484962" y="185420"/>
                  </a:lnTo>
                  <a:lnTo>
                    <a:pt x="486117" y="187960"/>
                  </a:lnTo>
                  <a:lnTo>
                    <a:pt x="486117" y="186169"/>
                  </a:lnTo>
                  <a:lnTo>
                    <a:pt x="485254" y="184150"/>
                  </a:lnTo>
                  <a:lnTo>
                    <a:pt x="484187" y="182880"/>
                  </a:lnTo>
                  <a:lnTo>
                    <a:pt x="480250" y="173990"/>
                  </a:lnTo>
                  <a:lnTo>
                    <a:pt x="477532" y="167640"/>
                  </a:lnTo>
                  <a:lnTo>
                    <a:pt x="475361" y="161290"/>
                  </a:lnTo>
                  <a:lnTo>
                    <a:pt x="474929" y="160020"/>
                  </a:lnTo>
                  <a:lnTo>
                    <a:pt x="476567" y="158750"/>
                  </a:lnTo>
                  <a:lnTo>
                    <a:pt x="481469" y="154940"/>
                  </a:lnTo>
                  <a:lnTo>
                    <a:pt x="481520" y="153670"/>
                  </a:lnTo>
                  <a:lnTo>
                    <a:pt x="481939" y="152400"/>
                  </a:lnTo>
                  <a:lnTo>
                    <a:pt x="482358" y="151130"/>
                  </a:lnTo>
                  <a:lnTo>
                    <a:pt x="486105" y="139700"/>
                  </a:lnTo>
                  <a:lnTo>
                    <a:pt x="487438" y="138430"/>
                  </a:lnTo>
                  <a:lnTo>
                    <a:pt x="488759" y="137160"/>
                  </a:lnTo>
                  <a:lnTo>
                    <a:pt x="491121" y="134620"/>
                  </a:lnTo>
                  <a:lnTo>
                    <a:pt x="494182" y="132080"/>
                  </a:lnTo>
                  <a:lnTo>
                    <a:pt x="495960" y="129540"/>
                  </a:lnTo>
                  <a:lnTo>
                    <a:pt x="497801" y="129540"/>
                  </a:lnTo>
                  <a:lnTo>
                    <a:pt x="497801" y="128270"/>
                  </a:lnTo>
                  <a:lnTo>
                    <a:pt x="496849" y="128270"/>
                  </a:lnTo>
                  <a:lnTo>
                    <a:pt x="490969" y="134620"/>
                  </a:lnTo>
                  <a:lnTo>
                    <a:pt x="488746" y="137160"/>
                  </a:lnTo>
                  <a:lnTo>
                    <a:pt x="486257" y="138430"/>
                  </a:lnTo>
                  <a:lnTo>
                    <a:pt x="487845" y="133350"/>
                  </a:lnTo>
                  <a:lnTo>
                    <a:pt x="502119" y="87630"/>
                  </a:lnTo>
                  <a:lnTo>
                    <a:pt x="507288" y="71120"/>
                  </a:lnTo>
                  <a:lnTo>
                    <a:pt x="508317" y="67310"/>
                  </a:lnTo>
                  <a:lnTo>
                    <a:pt x="509003" y="64770"/>
                  </a:lnTo>
                  <a:lnTo>
                    <a:pt x="528802" y="64770"/>
                  </a:lnTo>
                  <a:lnTo>
                    <a:pt x="529399" y="67310"/>
                  </a:lnTo>
                  <a:lnTo>
                    <a:pt x="529031" y="67310"/>
                  </a:lnTo>
                  <a:lnTo>
                    <a:pt x="529031" y="68580"/>
                  </a:lnTo>
                  <a:lnTo>
                    <a:pt x="529678" y="68580"/>
                  </a:lnTo>
                  <a:lnTo>
                    <a:pt x="529577" y="69850"/>
                  </a:lnTo>
                  <a:lnTo>
                    <a:pt x="529031" y="69850"/>
                  </a:lnTo>
                  <a:lnTo>
                    <a:pt x="529031" y="71120"/>
                  </a:lnTo>
                  <a:lnTo>
                    <a:pt x="529678" y="71120"/>
                  </a:lnTo>
                  <a:lnTo>
                    <a:pt x="529577" y="72390"/>
                  </a:lnTo>
                  <a:lnTo>
                    <a:pt x="529247" y="72390"/>
                  </a:lnTo>
                  <a:lnTo>
                    <a:pt x="529031" y="73660"/>
                  </a:lnTo>
                  <a:lnTo>
                    <a:pt x="529856" y="73660"/>
                  </a:lnTo>
                  <a:lnTo>
                    <a:pt x="529678" y="74930"/>
                  </a:lnTo>
                  <a:lnTo>
                    <a:pt x="529551" y="76200"/>
                  </a:lnTo>
                  <a:lnTo>
                    <a:pt x="529031" y="76200"/>
                  </a:lnTo>
                  <a:lnTo>
                    <a:pt x="529310" y="77470"/>
                  </a:lnTo>
                  <a:lnTo>
                    <a:pt x="529577" y="77470"/>
                  </a:lnTo>
                  <a:lnTo>
                    <a:pt x="529551" y="78740"/>
                  </a:lnTo>
                  <a:lnTo>
                    <a:pt x="529031" y="78740"/>
                  </a:lnTo>
                  <a:lnTo>
                    <a:pt x="529031" y="80010"/>
                  </a:lnTo>
                  <a:lnTo>
                    <a:pt x="529678" y="80010"/>
                  </a:lnTo>
                  <a:lnTo>
                    <a:pt x="529577" y="81280"/>
                  </a:lnTo>
                  <a:lnTo>
                    <a:pt x="529031" y="81280"/>
                  </a:lnTo>
                  <a:lnTo>
                    <a:pt x="529031" y="82550"/>
                  </a:lnTo>
                  <a:lnTo>
                    <a:pt x="529856" y="82550"/>
                  </a:lnTo>
                  <a:lnTo>
                    <a:pt x="529678" y="83820"/>
                  </a:lnTo>
                  <a:lnTo>
                    <a:pt x="529247" y="83820"/>
                  </a:lnTo>
                  <a:lnTo>
                    <a:pt x="529031" y="85090"/>
                  </a:lnTo>
                  <a:lnTo>
                    <a:pt x="529310" y="86360"/>
                  </a:lnTo>
                  <a:lnTo>
                    <a:pt x="529577" y="86360"/>
                  </a:lnTo>
                  <a:lnTo>
                    <a:pt x="529551" y="87630"/>
                  </a:lnTo>
                  <a:lnTo>
                    <a:pt x="529031" y="87630"/>
                  </a:lnTo>
                  <a:lnTo>
                    <a:pt x="529031" y="88900"/>
                  </a:lnTo>
                  <a:lnTo>
                    <a:pt x="529678" y="88900"/>
                  </a:lnTo>
                  <a:lnTo>
                    <a:pt x="529577" y="90170"/>
                  </a:lnTo>
                  <a:lnTo>
                    <a:pt x="529031" y="90170"/>
                  </a:lnTo>
                  <a:lnTo>
                    <a:pt x="529031" y="91440"/>
                  </a:lnTo>
                  <a:lnTo>
                    <a:pt x="529678" y="91440"/>
                  </a:lnTo>
                  <a:lnTo>
                    <a:pt x="529577" y="92710"/>
                  </a:lnTo>
                  <a:lnTo>
                    <a:pt x="529031" y="92710"/>
                  </a:lnTo>
                  <a:lnTo>
                    <a:pt x="529031" y="93980"/>
                  </a:lnTo>
                  <a:lnTo>
                    <a:pt x="530364" y="93980"/>
                  </a:lnTo>
                  <a:lnTo>
                    <a:pt x="530364" y="63500"/>
                  </a:lnTo>
                  <a:lnTo>
                    <a:pt x="528650" y="63500"/>
                  </a:lnTo>
                  <a:lnTo>
                    <a:pt x="526440" y="57150"/>
                  </a:lnTo>
                  <a:lnTo>
                    <a:pt x="524268" y="50800"/>
                  </a:lnTo>
                  <a:lnTo>
                    <a:pt x="520026" y="38100"/>
                  </a:lnTo>
                  <a:lnTo>
                    <a:pt x="519658" y="38201"/>
                  </a:lnTo>
                  <a:lnTo>
                    <a:pt x="523862" y="50800"/>
                  </a:lnTo>
                  <a:lnTo>
                    <a:pt x="526008" y="57150"/>
                  </a:lnTo>
                  <a:lnTo>
                    <a:pt x="528193" y="63500"/>
                  </a:lnTo>
                  <a:lnTo>
                    <a:pt x="509562" y="63500"/>
                  </a:lnTo>
                  <a:lnTo>
                    <a:pt x="511556" y="57150"/>
                  </a:lnTo>
                  <a:lnTo>
                    <a:pt x="513956" y="49530"/>
                  </a:lnTo>
                  <a:lnTo>
                    <a:pt x="515188" y="46990"/>
                  </a:lnTo>
                  <a:lnTo>
                    <a:pt x="515810" y="45720"/>
                  </a:lnTo>
                  <a:lnTo>
                    <a:pt x="517512" y="41910"/>
                  </a:lnTo>
                  <a:lnTo>
                    <a:pt x="518922" y="38379"/>
                  </a:lnTo>
                  <a:lnTo>
                    <a:pt x="518261" y="38557"/>
                  </a:lnTo>
                  <a:lnTo>
                    <a:pt x="517436" y="40640"/>
                  </a:lnTo>
                  <a:lnTo>
                    <a:pt x="516178" y="43180"/>
                  </a:lnTo>
                  <a:lnTo>
                    <a:pt x="514832" y="46990"/>
                  </a:lnTo>
                  <a:lnTo>
                    <a:pt x="517118" y="39370"/>
                  </a:lnTo>
                  <a:lnTo>
                    <a:pt x="517855" y="38658"/>
                  </a:lnTo>
                  <a:lnTo>
                    <a:pt x="515099" y="39370"/>
                  </a:lnTo>
                  <a:lnTo>
                    <a:pt x="510501" y="54610"/>
                  </a:lnTo>
                  <a:lnTo>
                    <a:pt x="509866" y="55524"/>
                  </a:lnTo>
                  <a:lnTo>
                    <a:pt x="509866" y="57150"/>
                  </a:lnTo>
                  <a:lnTo>
                    <a:pt x="507746" y="63500"/>
                  </a:lnTo>
                  <a:lnTo>
                    <a:pt x="506704" y="63500"/>
                  </a:lnTo>
                  <a:lnTo>
                    <a:pt x="506704" y="67310"/>
                  </a:lnTo>
                  <a:lnTo>
                    <a:pt x="500253" y="87630"/>
                  </a:lnTo>
                  <a:lnTo>
                    <a:pt x="499618" y="86855"/>
                  </a:lnTo>
                  <a:lnTo>
                    <a:pt x="499618" y="90170"/>
                  </a:lnTo>
                  <a:lnTo>
                    <a:pt x="487159" y="130810"/>
                  </a:lnTo>
                  <a:lnTo>
                    <a:pt x="486219" y="131584"/>
                  </a:lnTo>
                  <a:lnTo>
                    <a:pt x="486219" y="133350"/>
                  </a:lnTo>
                  <a:lnTo>
                    <a:pt x="484009" y="140970"/>
                  </a:lnTo>
                  <a:lnTo>
                    <a:pt x="483819" y="141058"/>
                  </a:lnTo>
                  <a:lnTo>
                    <a:pt x="480504" y="151130"/>
                  </a:lnTo>
                  <a:lnTo>
                    <a:pt x="479209" y="149072"/>
                  </a:lnTo>
                  <a:lnTo>
                    <a:pt x="479209" y="152400"/>
                  </a:lnTo>
                  <a:lnTo>
                    <a:pt x="478548" y="152400"/>
                  </a:lnTo>
                  <a:lnTo>
                    <a:pt x="478548" y="154940"/>
                  </a:lnTo>
                  <a:lnTo>
                    <a:pt x="474243" y="158750"/>
                  </a:lnTo>
                  <a:lnTo>
                    <a:pt x="473862" y="157835"/>
                  </a:lnTo>
                  <a:lnTo>
                    <a:pt x="473862" y="158750"/>
                  </a:lnTo>
                  <a:lnTo>
                    <a:pt x="468744" y="163830"/>
                  </a:lnTo>
                  <a:lnTo>
                    <a:pt x="467474" y="162229"/>
                  </a:lnTo>
                  <a:lnTo>
                    <a:pt x="467474" y="165100"/>
                  </a:lnTo>
                  <a:lnTo>
                    <a:pt x="461276" y="171437"/>
                  </a:lnTo>
                  <a:lnTo>
                    <a:pt x="461276" y="234950"/>
                  </a:lnTo>
                  <a:lnTo>
                    <a:pt x="459613" y="233603"/>
                  </a:lnTo>
                  <a:lnTo>
                    <a:pt x="459613" y="236220"/>
                  </a:lnTo>
                  <a:lnTo>
                    <a:pt x="459613" y="237490"/>
                  </a:lnTo>
                  <a:lnTo>
                    <a:pt x="451916" y="243840"/>
                  </a:lnTo>
                  <a:lnTo>
                    <a:pt x="450494" y="242658"/>
                  </a:lnTo>
                  <a:lnTo>
                    <a:pt x="450494" y="245110"/>
                  </a:lnTo>
                  <a:lnTo>
                    <a:pt x="441337" y="251460"/>
                  </a:lnTo>
                  <a:lnTo>
                    <a:pt x="441871" y="237490"/>
                  </a:lnTo>
                  <a:lnTo>
                    <a:pt x="450494" y="245110"/>
                  </a:lnTo>
                  <a:lnTo>
                    <a:pt x="450494" y="242658"/>
                  </a:lnTo>
                  <a:lnTo>
                    <a:pt x="444309" y="237490"/>
                  </a:lnTo>
                  <a:lnTo>
                    <a:pt x="459613" y="237490"/>
                  </a:lnTo>
                  <a:lnTo>
                    <a:pt x="459613" y="236220"/>
                  </a:lnTo>
                  <a:lnTo>
                    <a:pt x="444347" y="236220"/>
                  </a:lnTo>
                  <a:lnTo>
                    <a:pt x="445884" y="234950"/>
                  </a:lnTo>
                  <a:lnTo>
                    <a:pt x="452005" y="229870"/>
                  </a:lnTo>
                  <a:lnTo>
                    <a:pt x="459613" y="236220"/>
                  </a:lnTo>
                  <a:lnTo>
                    <a:pt x="459613" y="233603"/>
                  </a:lnTo>
                  <a:lnTo>
                    <a:pt x="455002" y="229870"/>
                  </a:lnTo>
                  <a:lnTo>
                    <a:pt x="453440" y="228600"/>
                  </a:lnTo>
                  <a:lnTo>
                    <a:pt x="454939" y="227330"/>
                  </a:lnTo>
                  <a:lnTo>
                    <a:pt x="460946" y="222250"/>
                  </a:lnTo>
                  <a:lnTo>
                    <a:pt x="461276" y="234950"/>
                  </a:lnTo>
                  <a:lnTo>
                    <a:pt x="461276" y="171437"/>
                  </a:lnTo>
                  <a:lnTo>
                    <a:pt x="460870" y="156210"/>
                  </a:lnTo>
                  <a:lnTo>
                    <a:pt x="467474" y="165100"/>
                  </a:lnTo>
                  <a:lnTo>
                    <a:pt x="467474" y="162229"/>
                  </a:lnTo>
                  <a:lnTo>
                    <a:pt x="462711" y="156210"/>
                  </a:lnTo>
                  <a:lnTo>
                    <a:pt x="461708" y="154940"/>
                  </a:lnTo>
                  <a:lnTo>
                    <a:pt x="472160" y="154940"/>
                  </a:lnTo>
                  <a:lnTo>
                    <a:pt x="473862" y="158750"/>
                  </a:lnTo>
                  <a:lnTo>
                    <a:pt x="473862" y="157835"/>
                  </a:lnTo>
                  <a:lnTo>
                    <a:pt x="472668" y="154940"/>
                  </a:lnTo>
                  <a:lnTo>
                    <a:pt x="478548" y="154940"/>
                  </a:lnTo>
                  <a:lnTo>
                    <a:pt x="478548" y="152400"/>
                  </a:lnTo>
                  <a:lnTo>
                    <a:pt x="471982" y="152400"/>
                  </a:lnTo>
                  <a:lnTo>
                    <a:pt x="471474" y="151561"/>
                  </a:lnTo>
                  <a:lnTo>
                    <a:pt x="471474" y="152400"/>
                  </a:lnTo>
                  <a:lnTo>
                    <a:pt x="462381" y="152400"/>
                  </a:lnTo>
                  <a:lnTo>
                    <a:pt x="469328" y="147320"/>
                  </a:lnTo>
                  <a:lnTo>
                    <a:pt x="470052" y="148590"/>
                  </a:lnTo>
                  <a:lnTo>
                    <a:pt x="470750" y="151130"/>
                  </a:lnTo>
                  <a:lnTo>
                    <a:pt x="471474" y="152400"/>
                  </a:lnTo>
                  <a:lnTo>
                    <a:pt x="471474" y="151561"/>
                  </a:lnTo>
                  <a:lnTo>
                    <a:pt x="471220" y="151130"/>
                  </a:lnTo>
                  <a:lnTo>
                    <a:pt x="469734" y="147320"/>
                  </a:lnTo>
                  <a:lnTo>
                    <a:pt x="472821" y="144780"/>
                  </a:lnTo>
                  <a:lnTo>
                    <a:pt x="473849" y="144780"/>
                  </a:lnTo>
                  <a:lnTo>
                    <a:pt x="479209" y="152400"/>
                  </a:lnTo>
                  <a:lnTo>
                    <a:pt x="479209" y="149072"/>
                  </a:lnTo>
                  <a:lnTo>
                    <a:pt x="475729" y="143510"/>
                  </a:lnTo>
                  <a:lnTo>
                    <a:pt x="475526" y="143510"/>
                  </a:lnTo>
                  <a:lnTo>
                    <a:pt x="474878" y="142240"/>
                  </a:lnTo>
                  <a:lnTo>
                    <a:pt x="486219" y="133350"/>
                  </a:lnTo>
                  <a:lnTo>
                    <a:pt x="486219" y="131584"/>
                  </a:lnTo>
                  <a:lnTo>
                    <a:pt x="473278" y="142240"/>
                  </a:lnTo>
                  <a:lnTo>
                    <a:pt x="472605" y="142240"/>
                  </a:lnTo>
                  <a:lnTo>
                    <a:pt x="470573" y="143510"/>
                  </a:lnTo>
                  <a:lnTo>
                    <a:pt x="469188" y="143510"/>
                  </a:lnTo>
                  <a:lnTo>
                    <a:pt x="469646" y="144780"/>
                  </a:lnTo>
                  <a:lnTo>
                    <a:pt x="469099" y="144780"/>
                  </a:lnTo>
                  <a:lnTo>
                    <a:pt x="468706" y="143510"/>
                  </a:lnTo>
                  <a:lnTo>
                    <a:pt x="468693" y="146050"/>
                  </a:lnTo>
                  <a:lnTo>
                    <a:pt x="460832" y="151549"/>
                  </a:lnTo>
                  <a:lnTo>
                    <a:pt x="460832" y="218440"/>
                  </a:lnTo>
                  <a:lnTo>
                    <a:pt x="460438" y="218440"/>
                  </a:lnTo>
                  <a:lnTo>
                    <a:pt x="460197" y="218262"/>
                  </a:lnTo>
                  <a:lnTo>
                    <a:pt x="460197" y="220980"/>
                  </a:lnTo>
                  <a:lnTo>
                    <a:pt x="457441" y="222250"/>
                  </a:lnTo>
                  <a:lnTo>
                    <a:pt x="459498" y="222250"/>
                  </a:lnTo>
                  <a:lnTo>
                    <a:pt x="452005" y="227330"/>
                  </a:lnTo>
                  <a:lnTo>
                    <a:pt x="450570" y="226288"/>
                  </a:lnTo>
                  <a:lnTo>
                    <a:pt x="450570" y="228600"/>
                  </a:lnTo>
                  <a:lnTo>
                    <a:pt x="441960" y="234950"/>
                  </a:lnTo>
                  <a:lnTo>
                    <a:pt x="442442" y="222250"/>
                  </a:lnTo>
                  <a:lnTo>
                    <a:pt x="444754" y="224790"/>
                  </a:lnTo>
                  <a:lnTo>
                    <a:pt x="450570" y="228600"/>
                  </a:lnTo>
                  <a:lnTo>
                    <a:pt x="450570" y="226288"/>
                  </a:lnTo>
                  <a:lnTo>
                    <a:pt x="445020" y="222250"/>
                  </a:lnTo>
                  <a:lnTo>
                    <a:pt x="443280" y="220980"/>
                  </a:lnTo>
                  <a:lnTo>
                    <a:pt x="444868" y="219710"/>
                  </a:lnTo>
                  <a:lnTo>
                    <a:pt x="446989" y="220980"/>
                  </a:lnTo>
                  <a:lnTo>
                    <a:pt x="449211" y="222250"/>
                  </a:lnTo>
                  <a:lnTo>
                    <a:pt x="451650" y="222250"/>
                  </a:lnTo>
                  <a:lnTo>
                    <a:pt x="449465" y="220980"/>
                  </a:lnTo>
                  <a:lnTo>
                    <a:pt x="447382" y="220980"/>
                  </a:lnTo>
                  <a:lnTo>
                    <a:pt x="445389" y="219710"/>
                  </a:lnTo>
                  <a:lnTo>
                    <a:pt x="447078" y="218440"/>
                  </a:lnTo>
                  <a:lnTo>
                    <a:pt x="448754" y="217170"/>
                  </a:lnTo>
                  <a:lnTo>
                    <a:pt x="451167" y="218440"/>
                  </a:lnTo>
                  <a:lnTo>
                    <a:pt x="454202" y="218440"/>
                  </a:lnTo>
                  <a:lnTo>
                    <a:pt x="451523" y="217170"/>
                  </a:lnTo>
                  <a:lnTo>
                    <a:pt x="449440" y="217170"/>
                  </a:lnTo>
                  <a:lnTo>
                    <a:pt x="452488" y="214630"/>
                  </a:lnTo>
                  <a:lnTo>
                    <a:pt x="457504" y="218440"/>
                  </a:lnTo>
                  <a:lnTo>
                    <a:pt x="454380" y="218440"/>
                  </a:lnTo>
                  <a:lnTo>
                    <a:pt x="456412" y="219710"/>
                  </a:lnTo>
                  <a:lnTo>
                    <a:pt x="458444" y="219710"/>
                  </a:lnTo>
                  <a:lnTo>
                    <a:pt x="460197" y="220980"/>
                  </a:lnTo>
                  <a:lnTo>
                    <a:pt x="460197" y="218262"/>
                  </a:lnTo>
                  <a:lnTo>
                    <a:pt x="455536" y="214630"/>
                  </a:lnTo>
                  <a:lnTo>
                    <a:pt x="453898" y="213360"/>
                  </a:lnTo>
                  <a:lnTo>
                    <a:pt x="455561" y="212090"/>
                  </a:lnTo>
                  <a:lnTo>
                    <a:pt x="460540" y="208280"/>
                  </a:lnTo>
                  <a:lnTo>
                    <a:pt x="460832" y="218440"/>
                  </a:lnTo>
                  <a:lnTo>
                    <a:pt x="460832" y="151549"/>
                  </a:lnTo>
                  <a:lnTo>
                    <a:pt x="460451" y="151815"/>
                  </a:lnTo>
                  <a:lnTo>
                    <a:pt x="460451" y="204470"/>
                  </a:lnTo>
                  <a:lnTo>
                    <a:pt x="460451" y="205740"/>
                  </a:lnTo>
                  <a:lnTo>
                    <a:pt x="452501" y="212090"/>
                  </a:lnTo>
                  <a:lnTo>
                    <a:pt x="451065" y="211124"/>
                  </a:lnTo>
                  <a:lnTo>
                    <a:pt x="451065" y="213360"/>
                  </a:lnTo>
                  <a:lnTo>
                    <a:pt x="447560" y="215900"/>
                  </a:lnTo>
                  <a:lnTo>
                    <a:pt x="446887" y="215379"/>
                  </a:lnTo>
                  <a:lnTo>
                    <a:pt x="446887" y="215900"/>
                  </a:lnTo>
                  <a:lnTo>
                    <a:pt x="443687" y="218440"/>
                  </a:lnTo>
                  <a:lnTo>
                    <a:pt x="442950" y="218440"/>
                  </a:lnTo>
                  <a:lnTo>
                    <a:pt x="442785" y="218363"/>
                  </a:lnTo>
                  <a:lnTo>
                    <a:pt x="442620" y="218274"/>
                  </a:lnTo>
                  <a:lnTo>
                    <a:pt x="442671" y="217170"/>
                  </a:lnTo>
                  <a:lnTo>
                    <a:pt x="442760" y="214630"/>
                  </a:lnTo>
                  <a:lnTo>
                    <a:pt x="444106" y="214630"/>
                  </a:lnTo>
                  <a:lnTo>
                    <a:pt x="445477" y="215900"/>
                  </a:lnTo>
                  <a:lnTo>
                    <a:pt x="446887" y="215900"/>
                  </a:lnTo>
                  <a:lnTo>
                    <a:pt x="446887" y="215379"/>
                  </a:lnTo>
                  <a:lnTo>
                    <a:pt x="445922" y="214630"/>
                  </a:lnTo>
                  <a:lnTo>
                    <a:pt x="444334" y="214630"/>
                  </a:lnTo>
                  <a:lnTo>
                    <a:pt x="442798" y="213360"/>
                  </a:lnTo>
                  <a:lnTo>
                    <a:pt x="442849" y="212090"/>
                  </a:lnTo>
                  <a:lnTo>
                    <a:pt x="443026" y="207010"/>
                  </a:lnTo>
                  <a:lnTo>
                    <a:pt x="445135" y="209550"/>
                  </a:lnTo>
                  <a:lnTo>
                    <a:pt x="451065" y="213360"/>
                  </a:lnTo>
                  <a:lnTo>
                    <a:pt x="451065" y="211124"/>
                  </a:lnTo>
                  <a:lnTo>
                    <a:pt x="444982" y="207010"/>
                  </a:lnTo>
                  <a:lnTo>
                    <a:pt x="443103" y="205740"/>
                  </a:lnTo>
                  <a:lnTo>
                    <a:pt x="443153" y="204470"/>
                  </a:lnTo>
                  <a:lnTo>
                    <a:pt x="445922" y="201930"/>
                  </a:lnTo>
                  <a:lnTo>
                    <a:pt x="451472" y="196850"/>
                  </a:lnTo>
                  <a:lnTo>
                    <a:pt x="460451" y="204470"/>
                  </a:lnTo>
                  <a:lnTo>
                    <a:pt x="460451" y="151815"/>
                  </a:lnTo>
                  <a:lnTo>
                    <a:pt x="460400" y="201930"/>
                  </a:lnTo>
                  <a:lnTo>
                    <a:pt x="454367" y="196850"/>
                  </a:lnTo>
                  <a:lnTo>
                    <a:pt x="452856" y="195580"/>
                  </a:lnTo>
                  <a:lnTo>
                    <a:pt x="460070" y="190500"/>
                  </a:lnTo>
                  <a:lnTo>
                    <a:pt x="460400" y="201930"/>
                  </a:lnTo>
                  <a:lnTo>
                    <a:pt x="460400" y="151853"/>
                  </a:lnTo>
                  <a:lnTo>
                    <a:pt x="459955" y="152171"/>
                  </a:lnTo>
                  <a:lnTo>
                    <a:pt x="459955" y="186690"/>
                  </a:lnTo>
                  <a:lnTo>
                    <a:pt x="459511" y="186296"/>
                  </a:lnTo>
                  <a:lnTo>
                    <a:pt x="459511" y="187960"/>
                  </a:lnTo>
                  <a:lnTo>
                    <a:pt x="451485" y="195580"/>
                  </a:lnTo>
                  <a:lnTo>
                    <a:pt x="450113" y="194233"/>
                  </a:lnTo>
                  <a:lnTo>
                    <a:pt x="450113" y="195580"/>
                  </a:lnTo>
                  <a:lnTo>
                    <a:pt x="443230" y="201930"/>
                  </a:lnTo>
                  <a:lnTo>
                    <a:pt x="443661" y="190500"/>
                  </a:lnTo>
                  <a:lnTo>
                    <a:pt x="450113" y="195580"/>
                  </a:lnTo>
                  <a:lnTo>
                    <a:pt x="450113" y="194233"/>
                  </a:lnTo>
                  <a:lnTo>
                    <a:pt x="446316" y="190500"/>
                  </a:lnTo>
                  <a:lnTo>
                    <a:pt x="443738" y="187960"/>
                  </a:lnTo>
                  <a:lnTo>
                    <a:pt x="446862" y="185420"/>
                  </a:lnTo>
                  <a:lnTo>
                    <a:pt x="451523" y="181610"/>
                  </a:lnTo>
                  <a:lnTo>
                    <a:pt x="459511" y="187960"/>
                  </a:lnTo>
                  <a:lnTo>
                    <a:pt x="459511" y="186296"/>
                  </a:lnTo>
                  <a:lnTo>
                    <a:pt x="454291" y="181610"/>
                  </a:lnTo>
                  <a:lnTo>
                    <a:pt x="452882" y="180340"/>
                  </a:lnTo>
                  <a:lnTo>
                    <a:pt x="454571" y="179070"/>
                  </a:lnTo>
                  <a:lnTo>
                    <a:pt x="459638" y="175260"/>
                  </a:lnTo>
                  <a:lnTo>
                    <a:pt x="459955" y="186690"/>
                  </a:lnTo>
                  <a:lnTo>
                    <a:pt x="459955" y="152171"/>
                  </a:lnTo>
                  <a:lnTo>
                    <a:pt x="459613" y="152400"/>
                  </a:lnTo>
                  <a:lnTo>
                    <a:pt x="459536" y="171450"/>
                  </a:lnTo>
                  <a:lnTo>
                    <a:pt x="458584" y="170154"/>
                  </a:lnTo>
                  <a:lnTo>
                    <a:pt x="458584" y="172720"/>
                  </a:lnTo>
                  <a:lnTo>
                    <a:pt x="457517" y="172720"/>
                  </a:lnTo>
                  <a:lnTo>
                    <a:pt x="457517" y="173990"/>
                  </a:lnTo>
                  <a:lnTo>
                    <a:pt x="451548" y="179070"/>
                  </a:lnTo>
                  <a:lnTo>
                    <a:pt x="450189" y="177876"/>
                  </a:lnTo>
                  <a:lnTo>
                    <a:pt x="450189" y="180340"/>
                  </a:lnTo>
                  <a:lnTo>
                    <a:pt x="443839" y="185420"/>
                  </a:lnTo>
                  <a:lnTo>
                    <a:pt x="444284" y="175260"/>
                  </a:lnTo>
                  <a:lnTo>
                    <a:pt x="450189" y="180340"/>
                  </a:lnTo>
                  <a:lnTo>
                    <a:pt x="450189" y="177876"/>
                  </a:lnTo>
                  <a:lnTo>
                    <a:pt x="447243" y="175260"/>
                  </a:lnTo>
                  <a:lnTo>
                    <a:pt x="445808" y="173990"/>
                  </a:lnTo>
                  <a:lnTo>
                    <a:pt x="457517" y="173990"/>
                  </a:lnTo>
                  <a:lnTo>
                    <a:pt x="457517" y="172720"/>
                  </a:lnTo>
                  <a:lnTo>
                    <a:pt x="445312" y="172720"/>
                  </a:lnTo>
                  <a:lnTo>
                    <a:pt x="446252" y="171450"/>
                  </a:lnTo>
                  <a:lnTo>
                    <a:pt x="451891" y="163830"/>
                  </a:lnTo>
                  <a:lnTo>
                    <a:pt x="458584" y="172720"/>
                  </a:lnTo>
                  <a:lnTo>
                    <a:pt x="458584" y="170154"/>
                  </a:lnTo>
                  <a:lnTo>
                    <a:pt x="453936" y="163830"/>
                  </a:lnTo>
                  <a:lnTo>
                    <a:pt x="453009" y="162560"/>
                  </a:lnTo>
                  <a:lnTo>
                    <a:pt x="454228" y="161290"/>
                  </a:lnTo>
                  <a:lnTo>
                    <a:pt x="459117" y="156210"/>
                  </a:lnTo>
                  <a:lnTo>
                    <a:pt x="459536" y="171450"/>
                  </a:lnTo>
                  <a:lnTo>
                    <a:pt x="459536" y="152400"/>
                  </a:lnTo>
                  <a:lnTo>
                    <a:pt x="457631" y="152400"/>
                  </a:lnTo>
                  <a:lnTo>
                    <a:pt x="457631" y="154940"/>
                  </a:lnTo>
                  <a:lnTo>
                    <a:pt x="451878" y="161290"/>
                  </a:lnTo>
                  <a:lnTo>
                    <a:pt x="450761" y="160083"/>
                  </a:lnTo>
                  <a:lnTo>
                    <a:pt x="450761" y="162560"/>
                  </a:lnTo>
                  <a:lnTo>
                    <a:pt x="444411" y="171450"/>
                  </a:lnTo>
                  <a:lnTo>
                    <a:pt x="444931" y="156210"/>
                  </a:lnTo>
                  <a:lnTo>
                    <a:pt x="450761" y="162560"/>
                  </a:lnTo>
                  <a:lnTo>
                    <a:pt x="450761" y="160083"/>
                  </a:lnTo>
                  <a:lnTo>
                    <a:pt x="447179" y="156210"/>
                  </a:lnTo>
                  <a:lnTo>
                    <a:pt x="446011" y="154940"/>
                  </a:lnTo>
                  <a:lnTo>
                    <a:pt x="457631" y="154940"/>
                  </a:lnTo>
                  <a:lnTo>
                    <a:pt x="457631" y="152400"/>
                  </a:lnTo>
                  <a:lnTo>
                    <a:pt x="444423" y="152400"/>
                  </a:lnTo>
                  <a:lnTo>
                    <a:pt x="443204" y="151574"/>
                  </a:lnTo>
                  <a:lnTo>
                    <a:pt x="443204" y="156210"/>
                  </a:lnTo>
                  <a:lnTo>
                    <a:pt x="442658" y="171450"/>
                  </a:lnTo>
                  <a:lnTo>
                    <a:pt x="442582" y="173990"/>
                  </a:lnTo>
                  <a:lnTo>
                    <a:pt x="441109" y="212090"/>
                  </a:lnTo>
                  <a:lnTo>
                    <a:pt x="441083" y="213360"/>
                  </a:lnTo>
                  <a:lnTo>
                    <a:pt x="440931" y="217170"/>
                  </a:lnTo>
                  <a:lnTo>
                    <a:pt x="439978" y="215900"/>
                  </a:lnTo>
                  <a:lnTo>
                    <a:pt x="439039" y="215900"/>
                  </a:lnTo>
                  <a:lnTo>
                    <a:pt x="438124" y="214630"/>
                  </a:lnTo>
                  <a:lnTo>
                    <a:pt x="434136" y="212090"/>
                  </a:lnTo>
                  <a:lnTo>
                    <a:pt x="430568" y="208254"/>
                  </a:lnTo>
                  <a:lnTo>
                    <a:pt x="424180" y="200660"/>
                  </a:lnTo>
                  <a:lnTo>
                    <a:pt x="421297" y="196850"/>
                  </a:lnTo>
                  <a:lnTo>
                    <a:pt x="418553" y="193040"/>
                  </a:lnTo>
                  <a:lnTo>
                    <a:pt x="423964" y="199390"/>
                  </a:lnTo>
                  <a:lnTo>
                    <a:pt x="429869" y="205740"/>
                  </a:lnTo>
                  <a:lnTo>
                    <a:pt x="438073" y="210820"/>
                  </a:lnTo>
                  <a:lnTo>
                    <a:pt x="441083" y="213360"/>
                  </a:lnTo>
                  <a:lnTo>
                    <a:pt x="441083" y="212090"/>
                  </a:lnTo>
                  <a:lnTo>
                    <a:pt x="439724" y="212090"/>
                  </a:lnTo>
                  <a:lnTo>
                    <a:pt x="437083" y="209550"/>
                  </a:lnTo>
                  <a:lnTo>
                    <a:pt x="430745" y="204470"/>
                  </a:lnTo>
                  <a:lnTo>
                    <a:pt x="424878" y="199390"/>
                  </a:lnTo>
                  <a:lnTo>
                    <a:pt x="419392" y="193040"/>
                  </a:lnTo>
                  <a:lnTo>
                    <a:pt x="414235" y="186690"/>
                  </a:lnTo>
                  <a:lnTo>
                    <a:pt x="413969" y="185420"/>
                  </a:lnTo>
                  <a:lnTo>
                    <a:pt x="417156" y="180340"/>
                  </a:lnTo>
                  <a:lnTo>
                    <a:pt x="420128" y="176530"/>
                  </a:lnTo>
                  <a:lnTo>
                    <a:pt x="424700" y="167640"/>
                  </a:lnTo>
                  <a:lnTo>
                    <a:pt x="426415" y="163830"/>
                  </a:lnTo>
                  <a:lnTo>
                    <a:pt x="428091" y="161290"/>
                  </a:lnTo>
                  <a:lnTo>
                    <a:pt x="442582" y="173990"/>
                  </a:lnTo>
                  <a:lnTo>
                    <a:pt x="442582" y="171399"/>
                  </a:lnTo>
                  <a:lnTo>
                    <a:pt x="434873" y="165100"/>
                  </a:lnTo>
                  <a:lnTo>
                    <a:pt x="436067" y="163830"/>
                  </a:lnTo>
                  <a:lnTo>
                    <a:pt x="443204" y="156210"/>
                  </a:lnTo>
                  <a:lnTo>
                    <a:pt x="443204" y="151574"/>
                  </a:lnTo>
                  <a:lnTo>
                    <a:pt x="442074" y="150799"/>
                  </a:lnTo>
                  <a:lnTo>
                    <a:pt x="442074" y="154940"/>
                  </a:lnTo>
                  <a:lnTo>
                    <a:pt x="433565" y="163830"/>
                  </a:lnTo>
                  <a:lnTo>
                    <a:pt x="431215" y="161290"/>
                  </a:lnTo>
                  <a:lnTo>
                    <a:pt x="428853" y="158750"/>
                  </a:lnTo>
                  <a:lnTo>
                    <a:pt x="430352" y="156210"/>
                  </a:lnTo>
                  <a:lnTo>
                    <a:pt x="431076" y="154940"/>
                  </a:lnTo>
                  <a:lnTo>
                    <a:pt x="442074" y="154940"/>
                  </a:lnTo>
                  <a:lnTo>
                    <a:pt x="442074" y="150799"/>
                  </a:lnTo>
                  <a:lnTo>
                    <a:pt x="441566" y="150456"/>
                  </a:lnTo>
                  <a:lnTo>
                    <a:pt x="441566" y="152400"/>
                  </a:lnTo>
                  <a:lnTo>
                    <a:pt x="431914" y="152400"/>
                  </a:lnTo>
                  <a:lnTo>
                    <a:pt x="432765" y="151130"/>
                  </a:lnTo>
                  <a:lnTo>
                    <a:pt x="434390" y="147320"/>
                  </a:lnTo>
                  <a:lnTo>
                    <a:pt x="441566" y="152400"/>
                  </a:lnTo>
                  <a:lnTo>
                    <a:pt x="441566" y="150456"/>
                  </a:lnTo>
                  <a:lnTo>
                    <a:pt x="436981" y="147320"/>
                  </a:lnTo>
                  <a:lnTo>
                    <a:pt x="435127" y="146050"/>
                  </a:lnTo>
                  <a:lnTo>
                    <a:pt x="435635" y="144780"/>
                  </a:lnTo>
                  <a:lnTo>
                    <a:pt x="438150" y="138430"/>
                  </a:lnTo>
                  <a:lnTo>
                    <a:pt x="440461" y="133350"/>
                  </a:lnTo>
                  <a:lnTo>
                    <a:pt x="442150" y="128270"/>
                  </a:lnTo>
                  <a:lnTo>
                    <a:pt x="444931" y="130810"/>
                  </a:lnTo>
                  <a:lnTo>
                    <a:pt x="447878" y="133350"/>
                  </a:lnTo>
                  <a:lnTo>
                    <a:pt x="454215" y="138430"/>
                  </a:lnTo>
                  <a:lnTo>
                    <a:pt x="457631" y="140970"/>
                  </a:lnTo>
                  <a:lnTo>
                    <a:pt x="463511" y="143510"/>
                  </a:lnTo>
                  <a:lnTo>
                    <a:pt x="465772" y="143510"/>
                  </a:lnTo>
                  <a:lnTo>
                    <a:pt x="463562" y="142240"/>
                  </a:lnTo>
                  <a:lnTo>
                    <a:pt x="457822" y="139700"/>
                  </a:lnTo>
                  <a:lnTo>
                    <a:pt x="454431" y="138430"/>
                  </a:lnTo>
                  <a:lnTo>
                    <a:pt x="448094" y="133350"/>
                  </a:lnTo>
                  <a:lnTo>
                    <a:pt x="445135" y="130810"/>
                  </a:lnTo>
                  <a:lnTo>
                    <a:pt x="442315" y="128270"/>
                  </a:lnTo>
                  <a:lnTo>
                    <a:pt x="442772" y="127000"/>
                  </a:lnTo>
                  <a:lnTo>
                    <a:pt x="445033" y="120650"/>
                  </a:lnTo>
                  <a:lnTo>
                    <a:pt x="447636" y="113030"/>
                  </a:lnTo>
                  <a:lnTo>
                    <a:pt x="450151" y="105410"/>
                  </a:lnTo>
                  <a:lnTo>
                    <a:pt x="452577" y="99060"/>
                  </a:lnTo>
                  <a:lnTo>
                    <a:pt x="456272" y="109220"/>
                  </a:lnTo>
                  <a:lnTo>
                    <a:pt x="460502" y="121920"/>
                  </a:lnTo>
                  <a:lnTo>
                    <a:pt x="463969" y="132080"/>
                  </a:lnTo>
                  <a:lnTo>
                    <a:pt x="468007" y="143510"/>
                  </a:lnTo>
                  <a:lnTo>
                    <a:pt x="468160" y="143510"/>
                  </a:lnTo>
                  <a:lnTo>
                    <a:pt x="468693" y="146050"/>
                  </a:lnTo>
                  <a:lnTo>
                    <a:pt x="468693" y="143510"/>
                  </a:lnTo>
                  <a:lnTo>
                    <a:pt x="468566" y="143510"/>
                  </a:lnTo>
                  <a:lnTo>
                    <a:pt x="464489" y="132080"/>
                  </a:lnTo>
                  <a:lnTo>
                    <a:pt x="460552" y="120650"/>
                  </a:lnTo>
                  <a:lnTo>
                    <a:pt x="456742" y="109220"/>
                  </a:lnTo>
                  <a:lnTo>
                    <a:pt x="453440" y="99060"/>
                  </a:lnTo>
                  <a:lnTo>
                    <a:pt x="453021" y="97790"/>
                  </a:lnTo>
                  <a:lnTo>
                    <a:pt x="453212" y="97790"/>
                  </a:lnTo>
                  <a:lnTo>
                    <a:pt x="453212" y="95250"/>
                  </a:lnTo>
                  <a:lnTo>
                    <a:pt x="454571" y="95250"/>
                  </a:lnTo>
                  <a:lnTo>
                    <a:pt x="454355" y="93980"/>
                  </a:lnTo>
                  <a:lnTo>
                    <a:pt x="454012" y="93980"/>
                  </a:lnTo>
                  <a:lnTo>
                    <a:pt x="453910" y="92710"/>
                  </a:lnTo>
                  <a:lnTo>
                    <a:pt x="454571" y="92710"/>
                  </a:lnTo>
                  <a:lnTo>
                    <a:pt x="454571" y="91440"/>
                  </a:lnTo>
                  <a:lnTo>
                    <a:pt x="454012" y="91440"/>
                  </a:lnTo>
                  <a:lnTo>
                    <a:pt x="453910" y="90170"/>
                  </a:lnTo>
                  <a:lnTo>
                    <a:pt x="454571" y="90170"/>
                  </a:lnTo>
                  <a:lnTo>
                    <a:pt x="454571" y="88900"/>
                  </a:lnTo>
                  <a:lnTo>
                    <a:pt x="454050" y="88900"/>
                  </a:lnTo>
                  <a:lnTo>
                    <a:pt x="454012" y="87630"/>
                  </a:lnTo>
                  <a:lnTo>
                    <a:pt x="454291" y="87630"/>
                  </a:lnTo>
                  <a:lnTo>
                    <a:pt x="454571" y="86360"/>
                  </a:lnTo>
                  <a:lnTo>
                    <a:pt x="454355" y="85090"/>
                  </a:lnTo>
                  <a:lnTo>
                    <a:pt x="453910" y="85090"/>
                  </a:lnTo>
                  <a:lnTo>
                    <a:pt x="453732" y="83820"/>
                  </a:lnTo>
                  <a:lnTo>
                    <a:pt x="454571" y="83820"/>
                  </a:lnTo>
                  <a:lnTo>
                    <a:pt x="454571" y="82550"/>
                  </a:lnTo>
                  <a:lnTo>
                    <a:pt x="454012" y="82550"/>
                  </a:lnTo>
                  <a:lnTo>
                    <a:pt x="453910" y="81280"/>
                  </a:lnTo>
                  <a:lnTo>
                    <a:pt x="454571" y="81280"/>
                  </a:lnTo>
                  <a:lnTo>
                    <a:pt x="454571" y="80213"/>
                  </a:lnTo>
                  <a:lnTo>
                    <a:pt x="454063" y="80022"/>
                  </a:lnTo>
                  <a:lnTo>
                    <a:pt x="453961" y="78740"/>
                  </a:lnTo>
                  <a:lnTo>
                    <a:pt x="454571" y="78740"/>
                  </a:lnTo>
                  <a:lnTo>
                    <a:pt x="454571" y="77470"/>
                  </a:lnTo>
                  <a:lnTo>
                    <a:pt x="454050" y="77470"/>
                  </a:lnTo>
                  <a:lnTo>
                    <a:pt x="454012" y="76200"/>
                  </a:lnTo>
                  <a:lnTo>
                    <a:pt x="453732" y="74930"/>
                  </a:lnTo>
                  <a:lnTo>
                    <a:pt x="454571" y="74930"/>
                  </a:lnTo>
                  <a:lnTo>
                    <a:pt x="454355" y="73660"/>
                  </a:lnTo>
                  <a:lnTo>
                    <a:pt x="453910" y="73660"/>
                  </a:lnTo>
                  <a:lnTo>
                    <a:pt x="453732" y="72390"/>
                  </a:lnTo>
                  <a:lnTo>
                    <a:pt x="454571" y="72390"/>
                  </a:lnTo>
                  <a:lnTo>
                    <a:pt x="454571" y="71120"/>
                  </a:lnTo>
                  <a:lnTo>
                    <a:pt x="454012" y="71120"/>
                  </a:lnTo>
                  <a:lnTo>
                    <a:pt x="453910" y="69850"/>
                  </a:lnTo>
                  <a:lnTo>
                    <a:pt x="454571" y="69850"/>
                  </a:lnTo>
                  <a:lnTo>
                    <a:pt x="454571" y="68580"/>
                  </a:lnTo>
                  <a:lnTo>
                    <a:pt x="454050" y="68580"/>
                  </a:lnTo>
                  <a:lnTo>
                    <a:pt x="453986" y="67310"/>
                  </a:lnTo>
                  <a:lnTo>
                    <a:pt x="453720" y="66040"/>
                  </a:lnTo>
                  <a:lnTo>
                    <a:pt x="481126" y="66040"/>
                  </a:lnTo>
                  <a:lnTo>
                    <a:pt x="490537" y="77470"/>
                  </a:lnTo>
                  <a:lnTo>
                    <a:pt x="487387" y="80010"/>
                  </a:lnTo>
                  <a:lnTo>
                    <a:pt x="483958" y="81280"/>
                  </a:lnTo>
                  <a:lnTo>
                    <a:pt x="475361" y="83820"/>
                  </a:lnTo>
                  <a:lnTo>
                    <a:pt x="470090" y="83820"/>
                  </a:lnTo>
                  <a:lnTo>
                    <a:pt x="461429" y="82575"/>
                  </a:lnTo>
                  <a:lnTo>
                    <a:pt x="470052" y="85090"/>
                  </a:lnTo>
                  <a:lnTo>
                    <a:pt x="475424" y="85090"/>
                  </a:lnTo>
                  <a:lnTo>
                    <a:pt x="479806" y="83820"/>
                  </a:lnTo>
                  <a:lnTo>
                    <a:pt x="484187" y="82550"/>
                  </a:lnTo>
                  <a:lnTo>
                    <a:pt x="487680" y="80010"/>
                  </a:lnTo>
                  <a:lnTo>
                    <a:pt x="490880" y="78740"/>
                  </a:lnTo>
                  <a:lnTo>
                    <a:pt x="499618" y="90170"/>
                  </a:lnTo>
                  <a:lnTo>
                    <a:pt x="499618" y="86855"/>
                  </a:lnTo>
                  <a:lnTo>
                    <a:pt x="493064" y="78740"/>
                  </a:lnTo>
                  <a:lnTo>
                    <a:pt x="494550" y="77470"/>
                  </a:lnTo>
                  <a:lnTo>
                    <a:pt x="501967" y="71120"/>
                  </a:lnTo>
                  <a:lnTo>
                    <a:pt x="503542" y="69850"/>
                  </a:lnTo>
                  <a:lnTo>
                    <a:pt x="506704" y="67310"/>
                  </a:lnTo>
                  <a:lnTo>
                    <a:pt x="506704" y="63500"/>
                  </a:lnTo>
                  <a:lnTo>
                    <a:pt x="505904" y="63500"/>
                  </a:lnTo>
                  <a:lnTo>
                    <a:pt x="505904" y="64770"/>
                  </a:lnTo>
                  <a:lnTo>
                    <a:pt x="499986" y="69850"/>
                  </a:lnTo>
                  <a:lnTo>
                    <a:pt x="501421" y="68580"/>
                  </a:lnTo>
                  <a:lnTo>
                    <a:pt x="502767" y="67310"/>
                  </a:lnTo>
                  <a:lnTo>
                    <a:pt x="504050" y="64770"/>
                  </a:lnTo>
                  <a:lnTo>
                    <a:pt x="505904" y="64770"/>
                  </a:lnTo>
                  <a:lnTo>
                    <a:pt x="505904" y="63500"/>
                  </a:lnTo>
                  <a:lnTo>
                    <a:pt x="505371" y="63500"/>
                  </a:lnTo>
                  <a:lnTo>
                    <a:pt x="506971" y="60960"/>
                  </a:lnTo>
                  <a:lnTo>
                    <a:pt x="508469" y="59690"/>
                  </a:lnTo>
                  <a:lnTo>
                    <a:pt x="509866" y="57150"/>
                  </a:lnTo>
                  <a:lnTo>
                    <a:pt x="509866" y="55524"/>
                  </a:lnTo>
                  <a:lnTo>
                    <a:pt x="508736" y="57150"/>
                  </a:lnTo>
                  <a:lnTo>
                    <a:pt x="506818" y="60960"/>
                  </a:lnTo>
                  <a:lnTo>
                    <a:pt x="504736" y="63500"/>
                  </a:lnTo>
                  <a:lnTo>
                    <a:pt x="503389" y="63500"/>
                  </a:lnTo>
                  <a:lnTo>
                    <a:pt x="503389" y="64770"/>
                  </a:lnTo>
                  <a:lnTo>
                    <a:pt x="500595" y="68580"/>
                  </a:lnTo>
                  <a:lnTo>
                    <a:pt x="498856" y="71120"/>
                  </a:lnTo>
                  <a:lnTo>
                    <a:pt x="497509" y="72390"/>
                  </a:lnTo>
                  <a:lnTo>
                    <a:pt x="493966" y="74930"/>
                  </a:lnTo>
                  <a:lnTo>
                    <a:pt x="493674" y="76200"/>
                  </a:lnTo>
                  <a:lnTo>
                    <a:pt x="491959" y="77470"/>
                  </a:lnTo>
                  <a:lnTo>
                    <a:pt x="487476" y="71120"/>
                  </a:lnTo>
                  <a:lnTo>
                    <a:pt x="483311" y="66040"/>
                  </a:lnTo>
                  <a:lnTo>
                    <a:pt x="503389" y="64770"/>
                  </a:lnTo>
                  <a:lnTo>
                    <a:pt x="503389" y="63500"/>
                  </a:lnTo>
                  <a:lnTo>
                    <a:pt x="452132" y="63500"/>
                  </a:lnTo>
                  <a:lnTo>
                    <a:pt x="452132" y="95250"/>
                  </a:lnTo>
                  <a:lnTo>
                    <a:pt x="452132" y="97790"/>
                  </a:lnTo>
                  <a:lnTo>
                    <a:pt x="449707" y="105410"/>
                  </a:lnTo>
                  <a:lnTo>
                    <a:pt x="446760" y="114300"/>
                  </a:lnTo>
                  <a:lnTo>
                    <a:pt x="444576" y="120650"/>
                  </a:lnTo>
                  <a:lnTo>
                    <a:pt x="441858" y="127000"/>
                  </a:lnTo>
                  <a:lnTo>
                    <a:pt x="441680" y="126834"/>
                  </a:lnTo>
                  <a:lnTo>
                    <a:pt x="441680" y="128270"/>
                  </a:lnTo>
                  <a:lnTo>
                    <a:pt x="439928" y="132080"/>
                  </a:lnTo>
                  <a:lnTo>
                    <a:pt x="437603" y="138430"/>
                  </a:lnTo>
                  <a:lnTo>
                    <a:pt x="436130" y="142240"/>
                  </a:lnTo>
                  <a:lnTo>
                    <a:pt x="434619" y="144780"/>
                  </a:lnTo>
                  <a:lnTo>
                    <a:pt x="433882" y="144221"/>
                  </a:lnTo>
                  <a:lnTo>
                    <a:pt x="433882" y="147320"/>
                  </a:lnTo>
                  <a:lnTo>
                    <a:pt x="432130" y="151130"/>
                  </a:lnTo>
                  <a:lnTo>
                    <a:pt x="431215" y="152400"/>
                  </a:lnTo>
                  <a:lnTo>
                    <a:pt x="430352" y="152400"/>
                  </a:lnTo>
                  <a:lnTo>
                    <a:pt x="430352" y="154940"/>
                  </a:lnTo>
                  <a:lnTo>
                    <a:pt x="429704" y="156210"/>
                  </a:lnTo>
                  <a:lnTo>
                    <a:pt x="428345" y="158750"/>
                  </a:lnTo>
                  <a:lnTo>
                    <a:pt x="423608" y="154940"/>
                  </a:lnTo>
                  <a:lnTo>
                    <a:pt x="430352" y="154940"/>
                  </a:lnTo>
                  <a:lnTo>
                    <a:pt x="430352" y="152400"/>
                  </a:lnTo>
                  <a:lnTo>
                    <a:pt x="422922" y="152400"/>
                  </a:lnTo>
                  <a:lnTo>
                    <a:pt x="429348" y="143510"/>
                  </a:lnTo>
                  <a:lnTo>
                    <a:pt x="433882" y="147320"/>
                  </a:lnTo>
                  <a:lnTo>
                    <a:pt x="433882" y="144221"/>
                  </a:lnTo>
                  <a:lnTo>
                    <a:pt x="432955" y="143510"/>
                  </a:lnTo>
                  <a:lnTo>
                    <a:pt x="427977" y="139725"/>
                  </a:lnTo>
                  <a:lnTo>
                    <a:pt x="427977" y="142240"/>
                  </a:lnTo>
                  <a:lnTo>
                    <a:pt x="421563" y="152400"/>
                  </a:lnTo>
                  <a:lnTo>
                    <a:pt x="415544" y="132080"/>
                  </a:lnTo>
                  <a:lnTo>
                    <a:pt x="427977" y="142240"/>
                  </a:lnTo>
                  <a:lnTo>
                    <a:pt x="427977" y="139725"/>
                  </a:lnTo>
                  <a:lnTo>
                    <a:pt x="417957" y="132080"/>
                  </a:lnTo>
                  <a:lnTo>
                    <a:pt x="414616" y="129540"/>
                  </a:lnTo>
                  <a:lnTo>
                    <a:pt x="402107" y="90170"/>
                  </a:lnTo>
                  <a:lnTo>
                    <a:pt x="404063" y="87630"/>
                  </a:lnTo>
                  <a:lnTo>
                    <a:pt x="407962" y="82550"/>
                  </a:lnTo>
                  <a:lnTo>
                    <a:pt x="413981" y="92710"/>
                  </a:lnTo>
                  <a:lnTo>
                    <a:pt x="420255" y="101600"/>
                  </a:lnTo>
                  <a:lnTo>
                    <a:pt x="426872" y="110490"/>
                  </a:lnTo>
                  <a:lnTo>
                    <a:pt x="433920" y="119380"/>
                  </a:lnTo>
                  <a:lnTo>
                    <a:pt x="436410" y="121920"/>
                  </a:lnTo>
                  <a:lnTo>
                    <a:pt x="438988" y="125730"/>
                  </a:lnTo>
                  <a:lnTo>
                    <a:pt x="441680" y="128270"/>
                  </a:lnTo>
                  <a:lnTo>
                    <a:pt x="441680" y="126834"/>
                  </a:lnTo>
                  <a:lnTo>
                    <a:pt x="439216" y="124460"/>
                  </a:lnTo>
                  <a:lnTo>
                    <a:pt x="436702" y="121920"/>
                  </a:lnTo>
                  <a:lnTo>
                    <a:pt x="434276" y="119380"/>
                  </a:lnTo>
                  <a:lnTo>
                    <a:pt x="427228" y="110490"/>
                  </a:lnTo>
                  <a:lnTo>
                    <a:pt x="420611" y="101600"/>
                  </a:lnTo>
                  <a:lnTo>
                    <a:pt x="414337" y="91440"/>
                  </a:lnTo>
                  <a:lnTo>
                    <a:pt x="408317" y="82550"/>
                  </a:lnTo>
                  <a:lnTo>
                    <a:pt x="410311" y="80010"/>
                  </a:lnTo>
                  <a:lnTo>
                    <a:pt x="412318" y="77470"/>
                  </a:lnTo>
                  <a:lnTo>
                    <a:pt x="417309" y="71120"/>
                  </a:lnTo>
                  <a:lnTo>
                    <a:pt x="421690" y="66040"/>
                  </a:lnTo>
                  <a:lnTo>
                    <a:pt x="432409" y="66040"/>
                  </a:lnTo>
                  <a:lnTo>
                    <a:pt x="437934" y="69850"/>
                  </a:lnTo>
                  <a:lnTo>
                    <a:pt x="438721" y="71120"/>
                  </a:lnTo>
                  <a:lnTo>
                    <a:pt x="443839" y="74930"/>
                  </a:lnTo>
                  <a:lnTo>
                    <a:pt x="450697" y="78740"/>
                  </a:lnTo>
                  <a:lnTo>
                    <a:pt x="451446" y="78740"/>
                  </a:lnTo>
                  <a:lnTo>
                    <a:pt x="451332" y="80010"/>
                  </a:lnTo>
                  <a:lnTo>
                    <a:pt x="450786" y="80010"/>
                  </a:lnTo>
                  <a:lnTo>
                    <a:pt x="450786" y="81280"/>
                  </a:lnTo>
                  <a:lnTo>
                    <a:pt x="451446" y="81280"/>
                  </a:lnTo>
                  <a:lnTo>
                    <a:pt x="451332" y="82550"/>
                  </a:lnTo>
                  <a:lnTo>
                    <a:pt x="450786" y="82550"/>
                  </a:lnTo>
                  <a:lnTo>
                    <a:pt x="450786" y="83820"/>
                  </a:lnTo>
                  <a:lnTo>
                    <a:pt x="451612" y="83820"/>
                  </a:lnTo>
                  <a:lnTo>
                    <a:pt x="451446" y="85090"/>
                  </a:lnTo>
                  <a:lnTo>
                    <a:pt x="450989" y="85090"/>
                  </a:lnTo>
                  <a:lnTo>
                    <a:pt x="450786" y="86360"/>
                  </a:lnTo>
                  <a:lnTo>
                    <a:pt x="451053" y="87630"/>
                  </a:lnTo>
                  <a:lnTo>
                    <a:pt x="451332" y="87630"/>
                  </a:lnTo>
                  <a:lnTo>
                    <a:pt x="451294" y="88900"/>
                  </a:lnTo>
                  <a:lnTo>
                    <a:pt x="450786" y="88900"/>
                  </a:lnTo>
                  <a:lnTo>
                    <a:pt x="450786" y="90170"/>
                  </a:lnTo>
                  <a:lnTo>
                    <a:pt x="451446" y="90170"/>
                  </a:lnTo>
                  <a:lnTo>
                    <a:pt x="451332" y="91440"/>
                  </a:lnTo>
                  <a:lnTo>
                    <a:pt x="450786" y="91440"/>
                  </a:lnTo>
                  <a:lnTo>
                    <a:pt x="450786" y="92710"/>
                  </a:lnTo>
                  <a:lnTo>
                    <a:pt x="451446" y="92710"/>
                  </a:lnTo>
                  <a:lnTo>
                    <a:pt x="451332" y="93980"/>
                  </a:lnTo>
                  <a:lnTo>
                    <a:pt x="450989" y="93980"/>
                  </a:lnTo>
                  <a:lnTo>
                    <a:pt x="450786" y="95250"/>
                  </a:lnTo>
                  <a:lnTo>
                    <a:pt x="452132" y="95250"/>
                  </a:lnTo>
                  <a:lnTo>
                    <a:pt x="452132" y="63500"/>
                  </a:lnTo>
                  <a:lnTo>
                    <a:pt x="451624" y="63500"/>
                  </a:lnTo>
                  <a:lnTo>
                    <a:pt x="451624" y="66040"/>
                  </a:lnTo>
                  <a:lnTo>
                    <a:pt x="451370" y="67310"/>
                  </a:lnTo>
                  <a:lnTo>
                    <a:pt x="451294" y="68580"/>
                  </a:lnTo>
                  <a:lnTo>
                    <a:pt x="450786" y="68580"/>
                  </a:lnTo>
                  <a:lnTo>
                    <a:pt x="450786" y="69850"/>
                  </a:lnTo>
                  <a:lnTo>
                    <a:pt x="451446" y="69850"/>
                  </a:lnTo>
                  <a:lnTo>
                    <a:pt x="451332" y="71120"/>
                  </a:lnTo>
                  <a:lnTo>
                    <a:pt x="450786" y="71120"/>
                  </a:lnTo>
                  <a:lnTo>
                    <a:pt x="450786" y="72390"/>
                  </a:lnTo>
                  <a:lnTo>
                    <a:pt x="451612" y="72390"/>
                  </a:lnTo>
                  <a:lnTo>
                    <a:pt x="451446" y="73660"/>
                  </a:lnTo>
                  <a:lnTo>
                    <a:pt x="450989" y="73660"/>
                  </a:lnTo>
                  <a:lnTo>
                    <a:pt x="450786" y="74930"/>
                  </a:lnTo>
                  <a:lnTo>
                    <a:pt x="451612" y="74930"/>
                  </a:lnTo>
                  <a:lnTo>
                    <a:pt x="451446" y="76200"/>
                  </a:lnTo>
                  <a:lnTo>
                    <a:pt x="451294" y="77470"/>
                  </a:lnTo>
                  <a:lnTo>
                    <a:pt x="450824" y="77470"/>
                  </a:lnTo>
                  <a:lnTo>
                    <a:pt x="444398" y="74930"/>
                  </a:lnTo>
                  <a:lnTo>
                    <a:pt x="439762" y="71120"/>
                  </a:lnTo>
                  <a:lnTo>
                    <a:pt x="438708" y="69850"/>
                  </a:lnTo>
                  <a:lnTo>
                    <a:pt x="433387" y="66040"/>
                  </a:lnTo>
                  <a:lnTo>
                    <a:pt x="451624" y="66040"/>
                  </a:lnTo>
                  <a:lnTo>
                    <a:pt x="451624" y="63500"/>
                  </a:lnTo>
                  <a:lnTo>
                    <a:pt x="431380" y="63500"/>
                  </a:lnTo>
                  <a:lnTo>
                    <a:pt x="430428" y="62814"/>
                  </a:lnTo>
                  <a:lnTo>
                    <a:pt x="430428" y="63500"/>
                  </a:lnTo>
                  <a:lnTo>
                    <a:pt x="419455" y="63500"/>
                  </a:lnTo>
                  <a:lnTo>
                    <a:pt x="419455" y="66040"/>
                  </a:lnTo>
                  <a:lnTo>
                    <a:pt x="415074" y="71120"/>
                  </a:lnTo>
                  <a:lnTo>
                    <a:pt x="410235" y="77470"/>
                  </a:lnTo>
                  <a:lnTo>
                    <a:pt x="409155" y="76568"/>
                  </a:lnTo>
                  <a:lnTo>
                    <a:pt x="409155" y="78740"/>
                  </a:lnTo>
                  <a:lnTo>
                    <a:pt x="407352" y="80010"/>
                  </a:lnTo>
                  <a:lnTo>
                    <a:pt x="406996" y="79438"/>
                  </a:lnTo>
                  <a:lnTo>
                    <a:pt x="406996" y="81280"/>
                  </a:lnTo>
                  <a:lnTo>
                    <a:pt x="401472" y="87630"/>
                  </a:lnTo>
                  <a:lnTo>
                    <a:pt x="394906" y="67310"/>
                  </a:lnTo>
                  <a:lnTo>
                    <a:pt x="399821" y="71120"/>
                  </a:lnTo>
                  <a:lnTo>
                    <a:pt x="402043" y="72390"/>
                  </a:lnTo>
                  <a:lnTo>
                    <a:pt x="405079" y="77470"/>
                  </a:lnTo>
                  <a:lnTo>
                    <a:pt x="406996" y="81280"/>
                  </a:lnTo>
                  <a:lnTo>
                    <a:pt x="406996" y="79438"/>
                  </a:lnTo>
                  <a:lnTo>
                    <a:pt x="405777" y="77470"/>
                  </a:lnTo>
                  <a:lnTo>
                    <a:pt x="403237" y="73660"/>
                  </a:lnTo>
                  <a:lnTo>
                    <a:pt x="409155" y="78740"/>
                  </a:lnTo>
                  <a:lnTo>
                    <a:pt x="409155" y="76568"/>
                  </a:lnTo>
                  <a:lnTo>
                    <a:pt x="405676" y="73660"/>
                  </a:lnTo>
                  <a:lnTo>
                    <a:pt x="402640" y="71120"/>
                  </a:lnTo>
                  <a:lnTo>
                    <a:pt x="400761" y="69850"/>
                  </a:lnTo>
                  <a:lnTo>
                    <a:pt x="400011" y="68580"/>
                  </a:lnTo>
                  <a:lnTo>
                    <a:pt x="399605" y="67906"/>
                  </a:lnTo>
                  <a:lnTo>
                    <a:pt x="399605" y="68580"/>
                  </a:lnTo>
                  <a:lnTo>
                    <a:pt x="397675" y="67310"/>
                  </a:lnTo>
                  <a:lnTo>
                    <a:pt x="395744" y="66040"/>
                  </a:lnTo>
                  <a:lnTo>
                    <a:pt x="397852" y="66040"/>
                  </a:lnTo>
                  <a:lnTo>
                    <a:pt x="399605" y="68580"/>
                  </a:lnTo>
                  <a:lnTo>
                    <a:pt x="399605" y="67906"/>
                  </a:lnTo>
                  <a:lnTo>
                    <a:pt x="398500" y="66040"/>
                  </a:lnTo>
                  <a:lnTo>
                    <a:pt x="419455" y="66040"/>
                  </a:lnTo>
                  <a:lnTo>
                    <a:pt x="419455" y="63500"/>
                  </a:lnTo>
                  <a:lnTo>
                    <a:pt x="397497" y="63500"/>
                  </a:lnTo>
                  <a:lnTo>
                    <a:pt x="396849" y="62230"/>
                  </a:lnTo>
                  <a:lnTo>
                    <a:pt x="425640" y="59690"/>
                  </a:lnTo>
                  <a:lnTo>
                    <a:pt x="427304" y="60960"/>
                  </a:lnTo>
                  <a:lnTo>
                    <a:pt x="430428" y="63500"/>
                  </a:lnTo>
                  <a:lnTo>
                    <a:pt x="430428" y="62814"/>
                  </a:lnTo>
                  <a:lnTo>
                    <a:pt x="427913" y="60960"/>
                  </a:lnTo>
                  <a:lnTo>
                    <a:pt x="427189" y="59690"/>
                  </a:lnTo>
                  <a:lnTo>
                    <a:pt x="426466" y="58420"/>
                  </a:lnTo>
                  <a:lnTo>
                    <a:pt x="396240" y="62255"/>
                  </a:lnTo>
                  <a:lnTo>
                    <a:pt x="396836" y="63500"/>
                  </a:lnTo>
                  <a:lnTo>
                    <a:pt x="393611" y="63500"/>
                  </a:lnTo>
                  <a:lnTo>
                    <a:pt x="396163" y="62268"/>
                  </a:lnTo>
                  <a:lnTo>
                    <a:pt x="374065" y="65062"/>
                  </a:lnTo>
                  <a:lnTo>
                    <a:pt x="376847" y="66040"/>
                  </a:lnTo>
                  <a:lnTo>
                    <a:pt x="392595" y="66040"/>
                  </a:lnTo>
                  <a:lnTo>
                    <a:pt x="394322" y="71120"/>
                  </a:lnTo>
                  <a:lnTo>
                    <a:pt x="420471" y="153670"/>
                  </a:lnTo>
                  <a:lnTo>
                    <a:pt x="427596" y="160020"/>
                  </a:lnTo>
                  <a:lnTo>
                    <a:pt x="425894" y="163830"/>
                  </a:lnTo>
                  <a:lnTo>
                    <a:pt x="424141" y="167640"/>
                  </a:lnTo>
                  <a:lnTo>
                    <a:pt x="419595" y="175260"/>
                  </a:lnTo>
                  <a:lnTo>
                    <a:pt x="416699" y="180340"/>
                  </a:lnTo>
                  <a:lnTo>
                    <a:pt x="413575" y="185420"/>
                  </a:lnTo>
                  <a:lnTo>
                    <a:pt x="413054" y="184594"/>
                  </a:lnTo>
                  <a:lnTo>
                    <a:pt x="413054" y="185420"/>
                  </a:lnTo>
                  <a:lnTo>
                    <a:pt x="409041" y="191770"/>
                  </a:lnTo>
                  <a:lnTo>
                    <a:pt x="404685" y="198120"/>
                  </a:lnTo>
                  <a:lnTo>
                    <a:pt x="399808" y="203200"/>
                  </a:lnTo>
                  <a:lnTo>
                    <a:pt x="395351" y="208280"/>
                  </a:lnTo>
                  <a:lnTo>
                    <a:pt x="390461" y="212090"/>
                  </a:lnTo>
                  <a:lnTo>
                    <a:pt x="380619" y="219024"/>
                  </a:lnTo>
                  <a:lnTo>
                    <a:pt x="380174" y="215163"/>
                  </a:lnTo>
                  <a:lnTo>
                    <a:pt x="379971" y="211353"/>
                  </a:lnTo>
                  <a:lnTo>
                    <a:pt x="380149" y="215163"/>
                  </a:lnTo>
                  <a:lnTo>
                    <a:pt x="380593" y="219036"/>
                  </a:lnTo>
                  <a:lnTo>
                    <a:pt x="380009" y="219443"/>
                  </a:lnTo>
                  <a:lnTo>
                    <a:pt x="379628" y="219710"/>
                  </a:lnTo>
                  <a:lnTo>
                    <a:pt x="373634" y="222250"/>
                  </a:lnTo>
                  <a:lnTo>
                    <a:pt x="364718" y="224942"/>
                  </a:lnTo>
                  <a:lnTo>
                    <a:pt x="368147" y="213893"/>
                  </a:lnTo>
                  <a:lnTo>
                    <a:pt x="364490" y="225005"/>
                  </a:lnTo>
                  <a:lnTo>
                    <a:pt x="364007" y="225158"/>
                  </a:lnTo>
                  <a:lnTo>
                    <a:pt x="364007" y="226466"/>
                  </a:lnTo>
                  <a:lnTo>
                    <a:pt x="363969" y="226593"/>
                  </a:lnTo>
                  <a:lnTo>
                    <a:pt x="363778" y="226745"/>
                  </a:lnTo>
                  <a:lnTo>
                    <a:pt x="361683" y="234213"/>
                  </a:lnTo>
                  <a:lnTo>
                    <a:pt x="359575" y="230403"/>
                  </a:lnTo>
                  <a:lnTo>
                    <a:pt x="362267" y="227990"/>
                  </a:lnTo>
                  <a:lnTo>
                    <a:pt x="359333" y="230403"/>
                  </a:lnTo>
                  <a:lnTo>
                    <a:pt x="355549" y="232918"/>
                  </a:lnTo>
                  <a:lnTo>
                    <a:pt x="355422" y="233019"/>
                  </a:lnTo>
                  <a:lnTo>
                    <a:pt x="355219" y="233184"/>
                  </a:lnTo>
                  <a:lnTo>
                    <a:pt x="355168" y="233476"/>
                  </a:lnTo>
                  <a:lnTo>
                    <a:pt x="354749" y="234213"/>
                  </a:lnTo>
                  <a:lnTo>
                    <a:pt x="354685" y="233527"/>
                  </a:lnTo>
                  <a:lnTo>
                    <a:pt x="354101" y="234213"/>
                  </a:lnTo>
                  <a:lnTo>
                    <a:pt x="353568" y="234213"/>
                  </a:lnTo>
                  <a:lnTo>
                    <a:pt x="351497" y="227863"/>
                  </a:lnTo>
                  <a:lnTo>
                    <a:pt x="351320" y="227863"/>
                  </a:lnTo>
                  <a:lnTo>
                    <a:pt x="353314" y="234213"/>
                  </a:lnTo>
                  <a:lnTo>
                    <a:pt x="353542" y="234899"/>
                  </a:lnTo>
                  <a:lnTo>
                    <a:pt x="353428" y="235038"/>
                  </a:lnTo>
                  <a:lnTo>
                    <a:pt x="353568" y="235038"/>
                  </a:lnTo>
                  <a:lnTo>
                    <a:pt x="353669" y="235483"/>
                  </a:lnTo>
                  <a:lnTo>
                    <a:pt x="353987" y="235483"/>
                  </a:lnTo>
                  <a:lnTo>
                    <a:pt x="354723" y="237769"/>
                  </a:lnTo>
                  <a:lnTo>
                    <a:pt x="354850" y="239293"/>
                  </a:lnTo>
                  <a:lnTo>
                    <a:pt x="352374" y="236804"/>
                  </a:lnTo>
                  <a:lnTo>
                    <a:pt x="353225" y="235483"/>
                  </a:lnTo>
                  <a:lnTo>
                    <a:pt x="352856" y="235483"/>
                  </a:lnTo>
                  <a:lnTo>
                    <a:pt x="352158" y="236740"/>
                  </a:lnTo>
                  <a:lnTo>
                    <a:pt x="354698" y="240563"/>
                  </a:lnTo>
                  <a:lnTo>
                    <a:pt x="354431" y="240563"/>
                  </a:lnTo>
                  <a:lnTo>
                    <a:pt x="352031" y="241833"/>
                  </a:lnTo>
                  <a:lnTo>
                    <a:pt x="349745" y="240563"/>
                  </a:lnTo>
                  <a:lnTo>
                    <a:pt x="350481" y="239293"/>
                  </a:lnTo>
                  <a:lnTo>
                    <a:pt x="352120" y="236804"/>
                  </a:lnTo>
                  <a:lnTo>
                    <a:pt x="351434" y="235483"/>
                  </a:lnTo>
                  <a:lnTo>
                    <a:pt x="351218" y="235483"/>
                  </a:lnTo>
                  <a:lnTo>
                    <a:pt x="349885" y="234213"/>
                  </a:lnTo>
                  <a:lnTo>
                    <a:pt x="349707" y="234213"/>
                  </a:lnTo>
                  <a:lnTo>
                    <a:pt x="350850" y="235483"/>
                  </a:lnTo>
                  <a:lnTo>
                    <a:pt x="351053" y="235483"/>
                  </a:lnTo>
                  <a:lnTo>
                    <a:pt x="351955" y="236740"/>
                  </a:lnTo>
                  <a:lnTo>
                    <a:pt x="349516" y="239293"/>
                  </a:lnTo>
                  <a:lnTo>
                    <a:pt x="349643" y="235483"/>
                  </a:lnTo>
                  <a:lnTo>
                    <a:pt x="349707" y="234213"/>
                  </a:lnTo>
                  <a:lnTo>
                    <a:pt x="349440" y="234073"/>
                  </a:lnTo>
                  <a:lnTo>
                    <a:pt x="349440" y="234213"/>
                  </a:lnTo>
                  <a:lnTo>
                    <a:pt x="349389" y="235483"/>
                  </a:lnTo>
                  <a:lnTo>
                    <a:pt x="349224" y="240563"/>
                  </a:lnTo>
                  <a:lnTo>
                    <a:pt x="348881" y="248183"/>
                  </a:lnTo>
                  <a:lnTo>
                    <a:pt x="348335" y="246913"/>
                  </a:lnTo>
                  <a:lnTo>
                    <a:pt x="348081" y="245643"/>
                  </a:lnTo>
                  <a:lnTo>
                    <a:pt x="348056" y="244373"/>
                  </a:lnTo>
                  <a:lnTo>
                    <a:pt x="348310" y="244373"/>
                  </a:lnTo>
                  <a:lnTo>
                    <a:pt x="348195" y="243103"/>
                  </a:lnTo>
                  <a:lnTo>
                    <a:pt x="348310" y="241833"/>
                  </a:lnTo>
                  <a:lnTo>
                    <a:pt x="348056" y="240563"/>
                  </a:lnTo>
                  <a:lnTo>
                    <a:pt x="348310" y="240563"/>
                  </a:lnTo>
                  <a:lnTo>
                    <a:pt x="348284" y="239293"/>
                  </a:lnTo>
                  <a:lnTo>
                    <a:pt x="348449" y="239293"/>
                  </a:lnTo>
                  <a:lnTo>
                    <a:pt x="348449" y="238023"/>
                  </a:lnTo>
                  <a:lnTo>
                    <a:pt x="348310" y="238023"/>
                  </a:lnTo>
                  <a:lnTo>
                    <a:pt x="348195" y="236753"/>
                  </a:lnTo>
                  <a:lnTo>
                    <a:pt x="348056" y="236753"/>
                  </a:lnTo>
                  <a:lnTo>
                    <a:pt x="348056" y="235483"/>
                  </a:lnTo>
                  <a:lnTo>
                    <a:pt x="349440" y="234213"/>
                  </a:lnTo>
                  <a:lnTo>
                    <a:pt x="349440" y="234073"/>
                  </a:lnTo>
                  <a:lnTo>
                    <a:pt x="344678" y="230428"/>
                  </a:lnTo>
                  <a:lnTo>
                    <a:pt x="349173" y="234213"/>
                  </a:lnTo>
                  <a:lnTo>
                    <a:pt x="347726" y="235483"/>
                  </a:lnTo>
                  <a:lnTo>
                    <a:pt x="347484" y="235483"/>
                  </a:lnTo>
                  <a:lnTo>
                    <a:pt x="346113" y="236740"/>
                  </a:lnTo>
                  <a:lnTo>
                    <a:pt x="342379" y="234213"/>
                  </a:lnTo>
                  <a:lnTo>
                    <a:pt x="343433" y="231673"/>
                  </a:lnTo>
                  <a:lnTo>
                    <a:pt x="344652" y="230403"/>
                  </a:lnTo>
                  <a:lnTo>
                    <a:pt x="341566" y="228053"/>
                  </a:lnTo>
                  <a:lnTo>
                    <a:pt x="344424" y="230403"/>
                  </a:lnTo>
                  <a:lnTo>
                    <a:pt x="343230" y="231673"/>
                  </a:lnTo>
                  <a:lnTo>
                    <a:pt x="342049" y="234213"/>
                  </a:lnTo>
                  <a:lnTo>
                    <a:pt x="340601" y="229133"/>
                  </a:lnTo>
                  <a:lnTo>
                    <a:pt x="339852" y="226733"/>
                  </a:lnTo>
                  <a:lnTo>
                    <a:pt x="339674" y="226593"/>
                  </a:lnTo>
                  <a:lnTo>
                    <a:pt x="339229" y="225323"/>
                  </a:lnTo>
                  <a:lnTo>
                    <a:pt x="339940" y="224536"/>
                  </a:lnTo>
                  <a:lnTo>
                    <a:pt x="353707" y="227215"/>
                  </a:lnTo>
                  <a:lnTo>
                    <a:pt x="354215" y="229133"/>
                  </a:lnTo>
                  <a:lnTo>
                    <a:pt x="355473" y="232943"/>
                  </a:lnTo>
                  <a:lnTo>
                    <a:pt x="354253" y="229133"/>
                  </a:lnTo>
                  <a:lnTo>
                    <a:pt x="353745" y="227228"/>
                  </a:lnTo>
                  <a:lnTo>
                    <a:pt x="354304" y="227330"/>
                  </a:lnTo>
                  <a:lnTo>
                    <a:pt x="361073" y="227330"/>
                  </a:lnTo>
                  <a:lnTo>
                    <a:pt x="364007" y="226466"/>
                  </a:lnTo>
                  <a:lnTo>
                    <a:pt x="364007" y="225158"/>
                  </a:lnTo>
                  <a:lnTo>
                    <a:pt x="360972" y="226060"/>
                  </a:lnTo>
                  <a:lnTo>
                    <a:pt x="354317" y="226060"/>
                  </a:lnTo>
                  <a:lnTo>
                    <a:pt x="353415" y="225983"/>
                  </a:lnTo>
                  <a:lnTo>
                    <a:pt x="353250" y="225323"/>
                  </a:lnTo>
                  <a:lnTo>
                    <a:pt x="352399" y="220243"/>
                  </a:lnTo>
                  <a:lnTo>
                    <a:pt x="353212" y="225323"/>
                  </a:lnTo>
                  <a:lnTo>
                    <a:pt x="353377" y="225971"/>
                  </a:lnTo>
                  <a:lnTo>
                    <a:pt x="341312" y="224790"/>
                  </a:lnTo>
                  <a:lnTo>
                    <a:pt x="340131" y="224320"/>
                  </a:lnTo>
                  <a:lnTo>
                    <a:pt x="340334" y="224104"/>
                  </a:lnTo>
                  <a:lnTo>
                    <a:pt x="340677" y="223888"/>
                  </a:lnTo>
                  <a:lnTo>
                    <a:pt x="342658" y="222783"/>
                  </a:lnTo>
                  <a:lnTo>
                    <a:pt x="344817" y="221513"/>
                  </a:lnTo>
                  <a:lnTo>
                    <a:pt x="346887" y="218973"/>
                  </a:lnTo>
                  <a:lnTo>
                    <a:pt x="344766" y="221513"/>
                  </a:lnTo>
                  <a:lnTo>
                    <a:pt x="342531" y="222821"/>
                  </a:lnTo>
                  <a:lnTo>
                    <a:pt x="339979" y="224053"/>
                  </a:lnTo>
                  <a:lnTo>
                    <a:pt x="339877" y="224218"/>
                  </a:lnTo>
                  <a:lnTo>
                    <a:pt x="339699" y="224155"/>
                  </a:lnTo>
                  <a:lnTo>
                    <a:pt x="339699" y="224497"/>
                  </a:lnTo>
                  <a:lnTo>
                    <a:pt x="339204" y="225323"/>
                  </a:lnTo>
                  <a:lnTo>
                    <a:pt x="338874" y="224332"/>
                  </a:lnTo>
                  <a:lnTo>
                    <a:pt x="339699" y="224497"/>
                  </a:lnTo>
                  <a:lnTo>
                    <a:pt x="339699" y="224155"/>
                  </a:lnTo>
                  <a:lnTo>
                    <a:pt x="338696" y="223748"/>
                  </a:lnTo>
                  <a:lnTo>
                    <a:pt x="338416" y="222885"/>
                  </a:lnTo>
                  <a:lnTo>
                    <a:pt x="338416" y="223634"/>
                  </a:lnTo>
                  <a:lnTo>
                    <a:pt x="337248" y="223164"/>
                  </a:lnTo>
                  <a:lnTo>
                    <a:pt x="335000" y="222250"/>
                  </a:lnTo>
                  <a:lnTo>
                    <a:pt x="329704" y="220002"/>
                  </a:lnTo>
                  <a:lnTo>
                    <a:pt x="329679" y="218973"/>
                  </a:lnTo>
                  <a:lnTo>
                    <a:pt x="334314" y="215163"/>
                  </a:lnTo>
                  <a:lnTo>
                    <a:pt x="335432" y="217703"/>
                  </a:lnTo>
                  <a:lnTo>
                    <a:pt x="335508" y="217957"/>
                  </a:lnTo>
                  <a:lnTo>
                    <a:pt x="335457" y="217703"/>
                  </a:lnTo>
                  <a:lnTo>
                    <a:pt x="334886" y="216433"/>
                  </a:lnTo>
                  <a:lnTo>
                    <a:pt x="334352" y="215163"/>
                  </a:lnTo>
                  <a:lnTo>
                    <a:pt x="335318" y="213893"/>
                  </a:lnTo>
                  <a:lnTo>
                    <a:pt x="338416" y="223634"/>
                  </a:lnTo>
                  <a:lnTo>
                    <a:pt x="338416" y="222885"/>
                  </a:lnTo>
                  <a:lnTo>
                    <a:pt x="335546" y="213893"/>
                  </a:lnTo>
                  <a:lnTo>
                    <a:pt x="336778" y="212623"/>
                  </a:lnTo>
                  <a:lnTo>
                    <a:pt x="338023" y="211353"/>
                  </a:lnTo>
                  <a:lnTo>
                    <a:pt x="338518" y="210083"/>
                  </a:lnTo>
                  <a:lnTo>
                    <a:pt x="339305" y="208813"/>
                  </a:lnTo>
                  <a:lnTo>
                    <a:pt x="340906" y="206273"/>
                  </a:lnTo>
                  <a:lnTo>
                    <a:pt x="341503" y="208813"/>
                  </a:lnTo>
                  <a:lnTo>
                    <a:pt x="342138" y="210083"/>
                  </a:lnTo>
                  <a:lnTo>
                    <a:pt x="342849" y="212623"/>
                  </a:lnTo>
                  <a:lnTo>
                    <a:pt x="343674" y="213893"/>
                  </a:lnTo>
                  <a:lnTo>
                    <a:pt x="344563" y="216433"/>
                  </a:lnTo>
                  <a:lnTo>
                    <a:pt x="346062" y="218973"/>
                  </a:lnTo>
                  <a:lnTo>
                    <a:pt x="346544" y="218973"/>
                  </a:lnTo>
                  <a:lnTo>
                    <a:pt x="346189" y="217703"/>
                  </a:lnTo>
                  <a:lnTo>
                    <a:pt x="344703" y="216433"/>
                  </a:lnTo>
                  <a:lnTo>
                    <a:pt x="343814" y="213893"/>
                  </a:lnTo>
                  <a:lnTo>
                    <a:pt x="342265" y="210083"/>
                  </a:lnTo>
                  <a:lnTo>
                    <a:pt x="341630" y="208813"/>
                  </a:lnTo>
                  <a:lnTo>
                    <a:pt x="341033" y="206273"/>
                  </a:lnTo>
                  <a:lnTo>
                    <a:pt x="342074" y="205003"/>
                  </a:lnTo>
                  <a:lnTo>
                    <a:pt x="341452" y="205003"/>
                  </a:lnTo>
                  <a:lnTo>
                    <a:pt x="341706" y="204711"/>
                  </a:lnTo>
                  <a:lnTo>
                    <a:pt x="340804" y="204711"/>
                  </a:lnTo>
                  <a:lnTo>
                    <a:pt x="340804" y="206273"/>
                  </a:lnTo>
                  <a:lnTo>
                    <a:pt x="338734" y="208813"/>
                  </a:lnTo>
                  <a:lnTo>
                    <a:pt x="339852" y="205003"/>
                  </a:lnTo>
                  <a:lnTo>
                    <a:pt x="340436" y="205003"/>
                  </a:lnTo>
                  <a:lnTo>
                    <a:pt x="340804" y="206273"/>
                  </a:lnTo>
                  <a:lnTo>
                    <a:pt x="340804" y="204711"/>
                  </a:lnTo>
                  <a:lnTo>
                    <a:pt x="340601" y="204711"/>
                  </a:lnTo>
                  <a:lnTo>
                    <a:pt x="340702" y="205003"/>
                  </a:lnTo>
                  <a:lnTo>
                    <a:pt x="340525" y="205003"/>
                  </a:lnTo>
                  <a:lnTo>
                    <a:pt x="340233" y="203733"/>
                  </a:lnTo>
                  <a:lnTo>
                    <a:pt x="349440" y="174523"/>
                  </a:lnTo>
                  <a:lnTo>
                    <a:pt x="350672" y="170713"/>
                  </a:lnTo>
                  <a:lnTo>
                    <a:pt x="351053" y="169443"/>
                  </a:lnTo>
                  <a:lnTo>
                    <a:pt x="351561" y="168173"/>
                  </a:lnTo>
                  <a:lnTo>
                    <a:pt x="351942" y="167246"/>
                  </a:lnTo>
                  <a:lnTo>
                    <a:pt x="351243" y="168173"/>
                  </a:lnTo>
                  <a:lnTo>
                    <a:pt x="353415" y="161823"/>
                  </a:lnTo>
                  <a:lnTo>
                    <a:pt x="353720" y="161823"/>
                  </a:lnTo>
                  <a:lnTo>
                    <a:pt x="353009" y="164185"/>
                  </a:lnTo>
                  <a:lnTo>
                    <a:pt x="353644" y="163093"/>
                  </a:lnTo>
                  <a:lnTo>
                    <a:pt x="353860" y="163093"/>
                  </a:lnTo>
                  <a:lnTo>
                    <a:pt x="355015" y="167246"/>
                  </a:lnTo>
                  <a:lnTo>
                    <a:pt x="356082" y="170713"/>
                  </a:lnTo>
                  <a:lnTo>
                    <a:pt x="357365" y="174523"/>
                  </a:lnTo>
                  <a:lnTo>
                    <a:pt x="356184" y="170713"/>
                  </a:lnTo>
                  <a:lnTo>
                    <a:pt x="355003" y="166903"/>
                  </a:lnTo>
                  <a:lnTo>
                    <a:pt x="353961" y="163093"/>
                  </a:lnTo>
                  <a:lnTo>
                    <a:pt x="354266" y="161823"/>
                  </a:lnTo>
                  <a:lnTo>
                    <a:pt x="353339" y="160553"/>
                  </a:lnTo>
                  <a:lnTo>
                    <a:pt x="353174" y="160553"/>
                  </a:lnTo>
                  <a:lnTo>
                    <a:pt x="350405" y="169443"/>
                  </a:lnTo>
                  <a:lnTo>
                    <a:pt x="350177" y="170713"/>
                  </a:lnTo>
                  <a:lnTo>
                    <a:pt x="349427" y="171983"/>
                  </a:lnTo>
                  <a:lnTo>
                    <a:pt x="348564" y="173253"/>
                  </a:lnTo>
                  <a:lnTo>
                    <a:pt x="347243" y="174523"/>
                  </a:lnTo>
                  <a:lnTo>
                    <a:pt x="347522" y="174523"/>
                  </a:lnTo>
                  <a:lnTo>
                    <a:pt x="348640" y="173253"/>
                  </a:lnTo>
                  <a:lnTo>
                    <a:pt x="349567" y="171856"/>
                  </a:lnTo>
                  <a:lnTo>
                    <a:pt x="350227" y="170713"/>
                  </a:lnTo>
                  <a:lnTo>
                    <a:pt x="349199" y="174523"/>
                  </a:lnTo>
                  <a:lnTo>
                    <a:pt x="348996" y="174523"/>
                  </a:lnTo>
                  <a:lnTo>
                    <a:pt x="346024" y="184683"/>
                  </a:lnTo>
                  <a:lnTo>
                    <a:pt x="342734" y="179603"/>
                  </a:lnTo>
                  <a:lnTo>
                    <a:pt x="348996" y="174523"/>
                  </a:lnTo>
                  <a:lnTo>
                    <a:pt x="348805" y="174523"/>
                  </a:lnTo>
                  <a:lnTo>
                    <a:pt x="342519" y="179603"/>
                  </a:lnTo>
                  <a:lnTo>
                    <a:pt x="338582" y="174523"/>
                  </a:lnTo>
                  <a:lnTo>
                    <a:pt x="338137" y="174523"/>
                  </a:lnTo>
                  <a:lnTo>
                    <a:pt x="345909" y="184683"/>
                  </a:lnTo>
                  <a:lnTo>
                    <a:pt x="340715" y="201193"/>
                  </a:lnTo>
                  <a:lnTo>
                    <a:pt x="340474" y="201485"/>
                  </a:lnTo>
                  <a:lnTo>
                    <a:pt x="339966" y="201841"/>
                  </a:lnTo>
                  <a:lnTo>
                    <a:pt x="339966" y="203733"/>
                  </a:lnTo>
                  <a:lnTo>
                    <a:pt x="339572" y="205003"/>
                  </a:lnTo>
                  <a:lnTo>
                    <a:pt x="338264" y="208813"/>
                  </a:lnTo>
                  <a:lnTo>
                    <a:pt x="336588" y="207911"/>
                  </a:lnTo>
                  <a:lnTo>
                    <a:pt x="337908" y="209740"/>
                  </a:lnTo>
                  <a:lnTo>
                    <a:pt x="337781" y="209905"/>
                  </a:lnTo>
                  <a:lnTo>
                    <a:pt x="337921" y="209753"/>
                  </a:lnTo>
                  <a:lnTo>
                    <a:pt x="338175" y="210083"/>
                  </a:lnTo>
                  <a:lnTo>
                    <a:pt x="337629" y="210083"/>
                  </a:lnTo>
                  <a:lnTo>
                    <a:pt x="336473" y="207848"/>
                  </a:lnTo>
                  <a:lnTo>
                    <a:pt x="335915" y="207543"/>
                  </a:lnTo>
                  <a:lnTo>
                    <a:pt x="335229" y="206273"/>
                  </a:lnTo>
                  <a:lnTo>
                    <a:pt x="336499" y="205003"/>
                  </a:lnTo>
                  <a:lnTo>
                    <a:pt x="336829" y="205003"/>
                  </a:lnTo>
                  <a:lnTo>
                    <a:pt x="339636" y="202463"/>
                  </a:lnTo>
                  <a:lnTo>
                    <a:pt x="339966" y="203733"/>
                  </a:lnTo>
                  <a:lnTo>
                    <a:pt x="339966" y="201841"/>
                  </a:lnTo>
                  <a:lnTo>
                    <a:pt x="339775" y="201993"/>
                  </a:lnTo>
                  <a:lnTo>
                    <a:pt x="339839" y="202260"/>
                  </a:lnTo>
                  <a:lnTo>
                    <a:pt x="339674" y="202463"/>
                  </a:lnTo>
                  <a:lnTo>
                    <a:pt x="339521" y="201942"/>
                  </a:lnTo>
                  <a:lnTo>
                    <a:pt x="339521" y="202463"/>
                  </a:lnTo>
                  <a:lnTo>
                    <a:pt x="336283" y="205003"/>
                  </a:lnTo>
                  <a:lnTo>
                    <a:pt x="335940" y="205003"/>
                  </a:lnTo>
                  <a:lnTo>
                    <a:pt x="335026" y="206133"/>
                  </a:lnTo>
                  <a:lnTo>
                    <a:pt x="334949" y="205981"/>
                  </a:lnTo>
                  <a:lnTo>
                    <a:pt x="334987" y="206171"/>
                  </a:lnTo>
                  <a:lnTo>
                    <a:pt x="334645" y="206273"/>
                  </a:lnTo>
                  <a:lnTo>
                    <a:pt x="337400" y="210083"/>
                  </a:lnTo>
                  <a:lnTo>
                    <a:pt x="337286" y="210616"/>
                  </a:lnTo>
                  <a:lnTo>
                    <a:pt x="336384" y="211632"/>
                  </a:lnTo>
                  <a:lnTo>
                    <a:pt x="337248" y="210807"/>
                  </a:lnTo>
                  <a:lnTo>
                    <a:pt x="337146" y="211353"/>
                  </a:lnTo>
                  <a:lnTo>
                    <a:pt x="336842" y="211353"/>
                  </a:lnTo>
                  <a:lnTo>
                    <a:pt x="335381" y="212623"/>
                  </a:lnTo>
                  <a:lnTo>
                    <a:pt x="335203" y="212229"/>
                  </a:lnTo>
                  <a:lnTo>
                    <a:pt x="335203" y="213893"/>
                  </a:lnTo>
                  <a:lnTo>
                    <a:pt x="334225" y="213893"/>
                  </a:lnTo>
                  <a:lnTo>
                    <a:pt x="333908" y="212623"/>
                  </a:lnTo>
                  <a:lnTo>
                    <a:pt x="333336" y="211353"/>
                  </a:lnTo>
                  <a:lnTo>
                    <a:pt x="333870" y="213893"/>
                  </a:lnTo>
                  <a:lnTo>
                    <a:pt x="334200" y="213893"/>
                  </a:lnTo>
                  <a:lnTo>
                    <a:pt x="332905" y="215163"/>
                  </a:lnTo>
                  <a:lnTo>
                    <a:pt x="332651" y="214871"/>
                  </a:lnTo>
                  <a:lnTo>
                    <a:pt x="332651" y="215163"/>
                  </a:lnTo>
                  <a:lnTo>
                    <a:pt x="329666" y="218973"/>
                  </a:lnTo>
                  <a:lnTo>
                    <a:pt x="329476" y="211353"/>
                  </a:lnTo>
                  <a:lnTo>
                    <a:pt x="332651" y="215163"/>
                  </a:lnTo>
                  <a:lnTo>
                    <a:pt x="332651" y="214871"/>
                  </a:lnTo>
                  <a:lnTo>
                    <a:pt x="329641" y="211353"/>
                  </a:lnTo>
                  <a:lnTo>
                    <a:pt x="329793" y="211353"/>
                  </a:lnTo>
                  <a:lnTo>
                    <a:pt x="332524" y="208813"/>
                  </a:lnTo>
                  <a:lnTo>
                    <a:pt x="333425" y="207543"/>
                  </a:lnTo>
                  <a:lnTo>
                    <a:pt x="334403" y="211353"/>
                  </a:lnTo>
                  <a:lnTo>
                    <a:pt x="335203" y="213893"/>
                  </a:lnTo>
                  <a:lnTo>
                    <a:pt x="335203" y="212229"/>
                  </a:lnTo>
                  <a:lnTo>
                    <a:pt x="334810" y="211353"/>
                  </a:lnTo>
                  <a:lnTo>
                    <a:pt x="334683" y="211353"/>
                  </a:lnTo>
                  <a:lnTo>
                    <a:pt x="333654" y="207543"/>
                  </a:lnTo>
                  <a:lnTo>
                    <a:pt x="334645" y="206273"/>
                  </a:lnTo>
                  <a:lnTo>
                    <a:pt x="333108" y="205003"/>
                  </a:lnTo>
                  <a:lnTo>
                    <a:pt x="332968" y="205003"/>
                  </a:lnTo>
                  <a:lnTo>
                    <a:pt x="334352" y="206273"/>
                  </a:lnTo>
                  <a:lnTo>
                    <a:pt x="333540" y="207543"/>
                  </a:lnTo>
                  <a:lnTo>
                    <a:pt x="332968" y="205003"/>
                  </a:lnTo>
                  <a:lnTo>
                    <a:pt x="332803" y="205003"/>
                  </a:lnTo>
                  <a:lnTo>
                    <a:pt x="329755" y="196113"/>
                  </a:lnTo>
                  <a:lnTo>
                    <a:pt x="329552" y="196113"/>
                  </a:lnTo>
                  <a:lnTo>
                    <a:pt x="332511" y="205003"/>
                  </a:lnTo>
                  <a:lnTo>
                    <a:pt x="333311" y="207543"/>
                  </a:lnTo>
                  <a:lnTo>
                    <a:pt x="332447" y="208813"/>
                  </a:lnTo>
                  <a:lnTo>
                    <a:pt x="331711" y="205003"/>
                  </a:lnTo>
                  <a:lnTo>
                    <a:pt x="332219" y="207911"/>
                  </a:lnTo>
                  <a:lnTo>
                    <a:pt x="332422" y="208813"/>
                  </a:lnTo>
                  <a:lnTo>
                    <a:pt x="329349" y="211239"/>
                  </a:lnTo>
                  <a:lnTo>
                    <a:pt x="329349" y="219849"/>
                  </a:lnTo>
                  <a:lnTo>
                    <a:pt x="329031" y="219710"/>
                  </a:lnTo>
                  <a:lnTo>
                    <a:pt x="328815" y="219595"/>
                  </a:lnTo>
                  <a:lnTo>
                    <a:pt x="329336" y="218973"/>
                  </a:lnTo>
                  <a:lnTo>
                    <a:pt x="329349" y="219849"/>
                  </a:lnTo>
                  <a:lnTo>
                    <a:pt x="329349" y="211239"/>
                  </a:lnTo>
                  <a:lnTo>
                    <a:pt x="329196" y="211353"/>
                  </a:lnTo>
                  <a:lnTo>
                    <a:pt x="329323" y="218973"/>
                  </a:lnTo>
                  <a:lnTo>
                    <a:pt x="329120" y="218732"/>
                  </a:lnTo>
                  <a:lnTo>
                    <a:pt x="329120" y="218973"/>
                  </a:lnTo>
                  <a:lnTo>
                    <a:pt x="328803" y="218973"/>
                  </a:lnTo>
                  <a:lnTo>
                    <a:pt x="328333" y="219341"/>
                  </a:lnTo>
                  <a:lnTo>
                    <a:pt x="327202" y="218732"/>
                  </a:lnTo>
                  <a:lnTo>
                    <a:pt x="327202" y="220192"/>
                  </a:lnTo>
                  <a:lnTo>
                    <a:pt x="327202" y="218732"/>
                  </a:lnTo>
                  <a:lnTo>
                    <a:pt x="327050" y="218643"/>
                  </a:lnTo>
                  <a:lnTo>
                    <a:pt x="327050" y="220243"/>
                  </a:lnTo>
                  <a:lnTo>
                    <a:pt x="325818" y="221513"/>
                  </a:lnTo>
                  <a:lnTo>
                    <a:pt x="324497" y="220243"/>
                  </a:lnTo>
                  <a:lnTo>
                    <a:pt x="324827" y="218973"/>
                  </a:lnTo>
                  <a:lnTo>
                    <a:pt x="326986" y="220078"/>
                  </a:lnTo>
                  <a:lnTo>
                    <a:pt x="327050" y="220243"/>
                  </a:lnTo>
                  <a:lnTo>
                    <a:pt x="327050" y="218643"/>
                  </a:lnTo>
                  <a:lnTo>
                    <a:pt x="326517" y="218351"/>
                  </a:lnTo>
                  <a:lnTo>
                    <a:pt x="326402" y="217830"/>
                  </a:lnTo>
                  <a:lnTo>
                    <a:pt x="326402" y="218274"/>
                  </a:lnTo>
                  <a:lnTo>
                    <a:pt x="325196" y="217614"/>
                  </a:lnTo>
                  <a:lnTo>
                    <a:pt x="325704" y="215163"/>
                  </a:lnTo>
                  <a:lnTo>
                    <a:pt x="326402" y="218274"/>
                  </a:lnTo>
                  <a:lnTo>
                    <a:pt x="326402" y="217830"/>
                  </a:lnTo>
                  <a:lnTo>
                    <a:pt x="325818" y="215163"/>
                  </a:lnTo>
                  <a:lnTo>
                    <a:pt x="325958" y="215163"/>
                  </a:lnTo>
                  <a:lnTo>
                    <a:pt x="329120" y="218973"/>
                  </a:lnTo>
                  <a:lnTo>
                    <a:pt x="329120" y="218732"/>
                  </a:lnTo>
                  <a:lnTo>
                    <a:pt x="326224" y="215163"/>
                  </a:lnTo>
                  <a:lnTo>
                    <a:pt x="327164" y="213893"/>
                  </a:lnTo>
                  <a:lnTo>
                    <a:pt x="329120" y="211353"/>
                  </a:lnTo>
                  <a:lnTo>
                    <a:pt x="328726" y="211353"/>
                  </a:lnTo>
                  <a:lnTo>
                    <a:pt x="326047" y="213893"/>
                  </a:lnTo>
                  <a:lnTo>
                    <a:pt x="325818" y="212623"/>
                  </a:lnTo>
                  <a:lnTo>
                    <a:pt x="326097" y="212623"/>
                  </a:lnTo>
                  <a:lnTo>
                    <a:pt x="326097" y="211353"/>
                  </a:lnTo>
                  <a:lnTo>
                    <a:pt x="326021" y="210083"/>
                  </a:lnTo>
                  <a:lnTo>
                    <a:pt x="326263" y="210083"/>
                  </a:lnTo>
                  <a:lnTo>
                    <a:pt x="326263" y="208813"/>
                  </a:lnTo>
                  <a:lnTo>
                    <a:pt x="326097" y="208813"/>
                  </a:lnTo>
                  <a:lnTo>
                    <a:pt x="325970" y="206273"/>
                  </a:lnTo>
                  <a:lnTo>
                    <a:pt x="325818" y="206273"/>
                  </a:lnTo>
                  <a:lnTo>
                    <a:pt x="325818" y="205003"/>
                  </a:lnTo>
                  <a:lnTo>
                    <a:pt x="325755" y="206273"/>
                  </a:lnTo>
                  <a:lnTo>
                    <a:pt x="325602" y="206273"/>
                  </a:lnTo>
                  <a:lnTo>
                    <a:pt x="325501" y="207302"/>
                  </a:lnTo>
                  <a:lnTo>
                    <a:pt x="325475" y="208813"/>
                  </a:lnTo>
                  <a:lnTo>
                    <a:pt x="325310" y="208813"/>
                  </a:lnTo>
                  <a:lnTo>
                    <a:pt x="325310" y="210083"/>
                  </a:lnTo>
                  <a:lnTo>
                    <a:pt x="325551" y="210083"/>
                  </a:lnTo>
                  <a:lnTo>
                    <a:pt x="325513" y="211353"/>
                  </a:lnTo>
                  <a:lnTo>
                    <a:pt x="325475" y="212623"/>
                  </a:lnTo>
                  <a:lnTo>
                    <a:pt x="325755" y="212623"/>
                  </a:lnTo>
                  <a:lnTo>
                    <a:pt x="325640" y="213550"/>
                  </a:lnTo>
                  <a:lnTo>
                    <a:pt x="325628" y="215163"/>
                  </a:lnTo>
                  <a:lnTo>
                    <a:pt x="325107" y="217563"/>
                  </a:lnTo>
                  <a:lnTo>
                    <a:pt x="324815" y="217411"/>
                  </a:lnTo>
                  <a:lnTo>
                    <a:pt x="324815" y="218897"/>
                  </a:lnTo>
                  <a:lnTo>
                    <a:pt x="324396" y="220243"/>
                  </a:lnTo>
                  <a:lnTo>
                    <a:pt x="322948" y="218973"/>
                  </a:lnTo>
                  <a:lnTo>
                    <a:pt x="323443" y="218160"/>
                  </a:lnTo>
                  <a:lnTo>
                    <a:pt x="324815" y="218897"/>
                  </a:lnTo>
                  <a:lnTo>
                    <a:pt x="324815" y="217411"/>
                  </a:lnTo>
                  <a:lnTo>
                    <a:pt x="324218" y="217081"/>
                  </a:lnTo>
                  <a:lnTo>
                    <a:pt x="325628" y="215163"/>
                  </a:lnTo>
                  <a:lnTo>
                    <a:pt x="325628" y="213614"/>
                  </a:lnTo>
                  <a:lnTo>
                    <a:pt x="325602" y="213893"/>
                  </a:lnTo>
                  <a:lnTo>
                    <a:pt x="325412" y="213893"/>
                  </a:lnTo>
                  <a:lnTo>
                    <a:pt x="323138" y="211353"/>
                  </a:lnTo>
                  <a:lnTo>
                    <a:pt x="322910" y="211353"/>
                  </a:lnTo>
                  <a:lnTo>
                    <a:pt x="325501" y="215163"/>
                  </a:lnTo>
                  <a:lnTo>
                    <a:pt x="324129" y="217043"/>
                  </a:lnTo>
                  <a:lnTo>
                    <a:pt x="323316" y="216598"/>
                  </a:lnTo>
                  <a:lnTo>
                    <a:pt x="323316" y="218097"/>
                  </a:lnTo>
                  <a:lnTo>
                    <a:pt x="322656" y="218973"/>
                  </a:lnTo>
                  <a:lnTo>
                    <a:pt x="322694" y="217754"/>
                  </a:lnTo>
                  <a:lnTo>
                    <a:pt x="323316" y="218097"/>
                  </a:lnTo>
                  <a:lnTo>
                    <a:pt x="323316" y="216598"/>
                  </a:lnTo>
                  <a:lnTo>
                    <a:pt x="322745" y="216281"/>
                  </a:lnTo>
                  <a:lnTo>
                    <a:pt x="322910" y="211353"/>
                  </a:lnTo>
                  <a:lnTo>
                    <a:pt x="322567" y="211035"/>
                  </a:lnTo>
                  <a:lnTo>
                    <a:pt x="322567" y="211353"/>
                  </a:lnTo>
                  <a:lnTo>
                    <a:pt x="322402" y="216090"/>
                  </a:lnTo>
                  <a:lnTo>
                    <a:pt x="322072" y="215900"/>
                  </a:lnTo>
                  <a:lnTo>
                    <a:pt x="319430" y="214401"/>
                  </a:lnTo>
                  <a:lnTo>
                    <a:pt x="322567" y="211353"/>
                  </a:lnTo>
                  <a:lnTo>
                    <a:pt x="322567" y="211035"/>
                  </a:lnTo>
                  <a:lnTo>
                    <a:pt x="322338" y="210743"/>
                  </a:lnTo>
                  <a:lnTo>
                    <a:pt x="322338" y="211353"/>
                  </a:lnTo>
                  <a:lnTo>
                    <a:pt x="319278" y="214312"/>
                  </a:lnTo>
                  <a:lnTo>
                    <a:pt x="318922" y="214109"/>
                  </a:lnTo>
                  <a:lnTo>
                    <a:pt x="319036" y="213893"/>
                  </a:lnTo>
                  <a:lnTo>
                    <a:pt x="319595" y="212623"/>
                  </a:lnTo>
                  <a:lnTo>
                    <a:pt x="320116" y="211353"/>
                  </a:lnTo>
                  <a:lnTo>
                    <a:pt x="320255" y="211353"/>
                  </a:lnTo>
                  <a:lnTo>
                    <a:pt x="320713" y="210083"/>
                  </a:lnTo>
                  <a:lnTo>
                    <a:pt x="322237" y="211353"/>
                  </a:lnTo>
                  <a:lnTo>
                    <a:pt x="322338" y="210743"/>
                  </a:lnTo>
                  <a:lnTo>
                    <a:pt x="321818" y="210083"/>
                  </a:lnTo>
                  <a:lnTo>
                    <a:pt x="320827" y="208813"/>
                  </a:lnTo>
                  <a:lnTo>
                    <a:pt x="321335" y="207543"/>
                  </a:lnTo>
                  <a:lnTo>
                    <a:pt x="322173" y="205003"/>
                  </a:lnTo>
                  <a:lnTo>
                    <a:pt x="322732" y="203733"/>
                  </a:lnTo>
                  <a:lnTo>
                    <a:pt x="323253" y="201193"/>
                  </a:lnTo>
                  <a:lnTo>
                    <a:pt x="324548" y="196113"/>
                  </a:lnTo>
                  <a:lnTo>
                    <a:pt x="325589" y="192303"/>
                  </a:lnTo>
                  <a:lnTo>
                    <a:pt x="326542" y="187223"/>
                  </a:lnTo>
                  <a:lnTo>
                    <a:pt x="326669" y="187223"/>
                  </a:lnTo>
                  <a:lnTo>
                    <a:pt x="326656" y="185953"/>
                  </a:lnTo>
                  <a:lnTo>
                    <a:pt x="326834" y="185953"/>
                  </a:lnTo>
                  <a:lnTo>
                    <a:pt x="327037" y="184683"/>
                  </a:lnTo>
                  <a:lnTo>
                    <a:pt x="327634" y="180873"/>
                  </a:lnTo>
                  <a:lnTo>
                    <a:pt x="328244" y="178333"/>
                  </a:lnTo>
                  <a:lnTo>
                    <a:pt x="328688" y="175298"/>
                  </a:lnTo>
                  <a:lnTo>
                    <a:pt x="332003" y="170561"/>
                  </a:lnTo>
                  <a:lnTo>
                    <a:pt x="332041" y="170713"/>
                  </a:lnTo>
                  <a:lnTo>
                    <a:pt x="332790" y="174523"/>
                  </a:lnTo>
                  <a:lnTo>
                    <a:pt x="333730" y="178333"/>
                  </a:lnTo>
                  <a:lnTo>
                    <a:pt x="334645" y="183413"/>
                  </a:lnTo>
                  <a:lnTo>
                    <a:pt x="336588" y="191033"/>
                  </a:lnTo>
                  <a:lnTo>
                    <a:pt x="337629" y="196113"/>
                  </a:lnTo>
                  <a:lnTo>
                    <a:pt x="339521" y="202463"/>
                  </a:lnTo>
                  <a:lnTo>
                    <a:pt x="339521" y="201942"/>
                  </a:lnTo>
                  <a:lnTo>
                    <a:pt x="338937" y="199923"/>
                  </a:lnTo>
                  <a:lnTo>
                    <a:pt x="337794" y="196113"/>
                  </a:lnTo>
                  <a:lnTo>
                    <a:pt x="336765" y="191033"/>
                  </a:lnTo>
                  <a:lnTo>
                    <a:pt x="334822" y="183413"/>
                  </a:lnTo>
                  <a:lnTo>
                    <a:pt x="333921" y="178333"/>
                  </a:lnTo>
                  <a:lnTo>
                    <a:pt x="333070" y="174523"/>
                  </a:lnTo>
                  <a:lnTo>
                    <a:pt x="332181" y="170307"/>
                  </a:lnTo>
                  <a:lnTo>
                    <a:pt x="335178" y="166027"/>
                  </a:lnTo>
                  <a:lnTo>
                    <a:pt x="335622" y="166903"/>
                  </a:lnTo>
                  <a:lnTo>
                    <a:pt x="337959" y="170713"/>
                  </a:lnTo>
                  <a:lnTo>
                    <a:pt x="338797" y="171983"/>
                  </a:lnTo>
                  <a:lnTo>
                    <a:pt x="340296" y="173253"/>
                  </a:lnTo>
                  <a:lnTo>
                    <a:pt x="340436" y="173253"/>
                  </a:lnTo>
                  <a:lnTo>
                    <a:pt x="338912" y="170713"/>
                  </a:lnTo>
                  <a:lnTo>
                    <a:pt x="338086" y="170713"/>
                  </a:lnTo>
                  <a:lnTo>
                    <a:pt x="335762" y="166903"/>
                  </a:lnTo>
                  <a:lnTo>
                    <a:pt x="335254" y="165912"/>
                  </a:lnTo>
                  <a:lnTo>
                    <a:pt x="336715" y="163830"/>
                  </a:lnTo>
                  <a:lnTo>
                    <a:pt x="342544" y="154940"/>
                  </a:lnTo>
                  <a:lnTo>
                    <a:pt x="360476" y="120650"/>
                  </a:lnTo>
                  <a:lnTo>
                    <a:pt x="363918" y="113030"/>
                  </a:lnTo>
                  <a:lnTo>
                    <a:pt x="367220" y="106680"/>
                  </a:lnTo>
                  <a:lnTo>
                    <a:pt x="370078" y="111760"/>
                  </a:lnTo>
                  <a:lnTo>
                    <a:pt x="372986" y="118110"/>
                  </a:lnTo>
                  <a:lnTo>
                    <a:pt x="375996" y="124460"/>
                  </a:lnTo>
                  <a:lnTo>
                    <a:pt x="397344" y="162560"/>
                  </a:lnTo>
                  <a:lnTo>
                    <a:pt x="412483" y="185420"/>
                  </a:lnTo>
                  <a:lnTo>
                    <a:pt x="413054" y="185420"/>
                  </a:lnTo>
                  <a:lnTo>
                    <a:pt x="413054" y="184594"/>
                  </a:lnTo>
                  <a:lnTo>
                    <a:pt x="411200" y="181610"/>
                  </a:lnTo>
                  <a:lnTo>
                    <a:pt x="410629" y="180340"/>
                  </a:lnTo>
                  <a:lnTo>
                    <a:pt x="410044" y="179070"/>
                  </a:lnTo>
                  <a:lnTo>
                    <a:pt x="409244" y="177736"/>
                  </a:lnTo>
                  <a:lnTo>
                    <a:pt x="409244" y="179387"/>
                  </a:lnTo>
                  <a:lnTo>
                    <a:pt x="405561" y="173990"/>
                  </a:lnTo>
                  <a:lnTo>
                    <a:pt x="384886" y="139700"/>
                  </a:lnTo>
                  <a:lnTo>
                    <a:pt x="376758" y="123190"/>
                  </a:lnTo>
                  <a:lnTo>
                    <a:pt x="373646" y="118110"/>
                  </a:lnTo>
                  <a:lnTo>
                    <a:pt x="370636" y="111760"/>
                  </a:lnTo>
                  <a:lnTo>
                    <a:pt x="368274" y="106680"/>
                  </a:lnTo>
                  <a:lnTo>
                    <a:pt x="367690" y="105410"/>
                  </a:lnTo>
                  <a:lnTo>
                    <a:pt x="368223" y="104140"/>
                  </a:lnTo>
                  <a:lnTo>
                    <a:pt x="369811" y="100330"/>
                  </a:lnTo>
                  <a:lnTo>
                    <a:pt x="370840" y="97790"/>
                  </a:lnTo>
                  <a:lnTo>
                    <a:pt x="376555" y="111760"/>
                  </a:lnTo>
                  <a:lnTo>
                    <a:pt x="382473" y="125730"/>
                  </a:lnTo>
                  <a:lnTo>
                    <a:pt x="388645" y="138430"/>
                  </a:lnTo>
                  <a:lnTo>
                    <a:pt x="395097" y="152400"/>
                  </a:lnTo>
                  <a:lnTo>
                    <a:pt x="398513" y="160020"/>
                  </a:lnTo>
                  <a:lnTo>
                    <a:pt x="402031" y="166370"/>
                  </a:lnTo>
                  <a:lnTo>
                    <a:pt x="405676" y="172720"/>
                  </a:lnTo>
                  <a:lnTo>
                    <a:pt x="409244" y="179387"/>
                  </a:lnTo>
                  <a:lnTo>
                    <a:pt x="409244" y="177736"/>
                  </a:lnTo>
                  <a:lnTo>
                    <a:pt x="406260" y="172720"/>
                  </a:lnTo>
                  <a:lnTo>
                    <a:pt x="402615" y="166370"/>
                  </a:lnTo>
                  <a:lnTo>
                    <a:pt x="399110" y="158750"/>
                  </a:lnTo>
                  <a:lnTo>
                    <a:pt x="395706" y="152400"/>
                  </a:lnTo>
                  <a:lnTo>
                    <a:pt x="389255" y="138430"/>
                  </a:lnTo>
                  <a:lnTo>
                    <a:pt x="383095" y="124460"/>
                  </a:lnTo>
                  <a:lnTo>
                    <a:pt x="377177" y="110490"/>
                  </a:lnTo>
                  <a:lnTo>
                    <a:pt x="371983" y="97790"/>
                  </a:lnTo>
                  <a:lnTo>
                    <a:pt x="371462" y="96520"/>
                  </a:lnTo>
                  <a:lnTo>
                    <a:pt x="371462" y="95250"/>
                  </a:lnTo>
                  <a:lnTo>
                    <a:pt x="372808" y="95250"/>
                  </a:lnTo>
                  <a:lnTo>
                    <a:pt x="372808" y="93980"/>
                  </a:lnTo>
                  <a:lnTo>
                    <a:pt x="372287" y="93980"/>
                  </a:lnTo>
                  <a:lnTo>
                    <a:pt x="372249" y="92710"/>
                  </a:lnTo>
                  <a:lnTo>
                    <a:pt x="372529" y="92710"/>
                  </a:lnTo>
                  <a:lnTo>
                    <a:pt x="372808" y="91440"/>
                  </a:lnTo>
                  <a:lnTo>
                    <a:pt x="372592" y="90170"/>
                  </a:lnTo>
                  <a:lnTo>
                    <a:pt x="372160" y="90170"/>
                  </a:lnTo>
                  <a:lnTo>
                    <a:pt x="371983" y="88900"/>
                  </a:lnTo>
                  <a:lnTo>
                    <a:pt x="372808" y="88900"/>
                  </a:lnTo>
                  <a:lnTo>
                    <a:pt x="372808" y="87630"/>
                  </a:lnTo>
                  <a:lnTo>
                    <a:pt x="372249" y="87630"/>
                  </a:lnTo>
                  <a:lnTo>
                    <a:pt x="372160" y="86360"/>
                  </a:lnTo>
                  <a:lnTo>
                    <a:pt x="372808" y="86360"/>
                  </a:lnTo>
                  <a:lnTo>
                    <a:pt x="372808" y="85090"/>
                  </a:lnTo>
                  <a:lnTo>
                    <a:pt x="372287" y="85090"/>
                  </a:lnTo>
                  <a:lnTo>
                    <a:pt x="372249" y="83820"/>
                  </a:lnTo>
                  <a:lnTo>
                    <a:pt x="372808" y="83820"/>
                  </a:lnTo>
                  <a:lnTo>
                    <a:pt x="372808" y="82550"/>
                  </a:lnTo>
                  <a:lnTo>
                    <a:pt x="372287" y="82550"/>
                  </a:lnTo>
                  <a:lnTo>
                    <a:pt x="372249" y="81280"/>
                  </a:lnTo>
                  <a:lnTo>
                    <a:pt x="371983" y="80010"/>
                  </a:lnTo>
                  <a:lnTo>
                    <a:pt x="372808" y="80010"/>
                  </a:lnTo>
                  <a:lnTo>
                    <a:pt x="372592" y="78740"/>
                  </a:lnTo>
                  <a:lnTo>
                    <a:pt x="372160" y="78740"/>
                  </a:lnTo>
                  <a:lnTo>
                    <a:pt x="371983" y="77470"/>
                  </a:lnTo>
                  <a:lnTo>
                    <a:pt x="372808" y="77470"/>
                  </a:lnTo>
                  <a:lnTo>
                    <a:pt x="372808" y="76200"/>
                  </a:lnTo>
                  <a:lnTo>
                    <a:pt x="372249" y="76200"/>
                  </a:lnTo>
                  <a:lnTo>
                    <a:pt x="372160" y="74930"/>
                  </a:lnTo>
                  <a:lnTo>
                    <a:pt x="372808" y="74930"/>
                  </a:lnTo>
                  <a:lnTo>
                    <a:pt x="372808" y="73660"/>
                  </a:lnTo>
                  <a:lnTo>
                    <a:pt x="372287" y="73660"/>
                  </a:lnTo>
                  <a:lnTo>
                    <a:pt x="372249" y="72390"/>
                  </a:lnTo>
                  <a:lnTo>
                    <a:pt x="372529" y="72390"/>
                  </a:lnTo>
                  <a:lnTo>
                    <a:pt x="372808" y="71120"/>
                  </a:lnTo>
                  <a:lnTo>
                    <a:pt x="372592" y="71120"/>
                  </a:lnTo>
                  <a:lnTo>
                    <a:pt x="372287" y="69850"/>
                  </a:lnTo>
                  <a:lnTo>
                    <a:pt x="372160" y="69850"/>
                  </a:lnTo>
                  <a:lnTo>
                    <a:pt x="371983" y="68580"/>
                  </a:lnTo>
                  <a:lnTo>
                    <a:pt x="372808" y="68580"/>
                  </a:lnTo>
                  <a:lnTo>
                    <a:pt x="372808" y="67310"/>
                  </a:lnTo>
                  <a:lnTo>
                    <a:pt x="372237" y="67310"/>
                  </a:lnTo>
                  <a:lnTo>
                    <a:pt x="371957" y="66040"/>
                  </a:lnTo>
                  <a:lnTo>
                    <a:pt x="371576" y="66040"/>
                  </a:lnTo>
                  <a:lnTo>
                    <a:pt x="372605" y="65252"/>
                  </a:lnTo>
                  <a:lnTo>
                    <a:pt x="370370" y="65544"/>
                  </a:lnTo>
                  <a:lnTo>
                    <a:pt x="370370" y="95250"/>
                  </a:lnTo>
                  <a:lnTo>
                    <a:pt x="370370" y="96520"/>
                  </a:lnTo>
                  <a:lnTo>
                    <a:pt x="369354" y="99060"/>
                  </a:lnTo>
                  <a:lnTo>
                    <a:pt x="367245" y="104140"/>
                  </a:lnTo>
                  <a:lnTo>
                    <a:pt x="363016" y="95250"/>
                  </a:lnTo>
                  <a:lnTo>
                    <a:pt x="358889" y="85090"/>
                  </a:lnTo>
                  <a:lnTo>
                    <a:pt x="352526" y="71120"/>
                  </a:lnTo>
                  <a:lnTo>
                    <a:pt x="351256" y="68580"/>
                  </a:lnTo>
                  <a:lnTo>
                    <a:pt x="369874" y="66052"/>
                  </a:lnTo>
                  <a:lnTo>
                    <a:pt x="369608" y="67310"/>
                  </a:lnTo>
                  <a:lnTo>
                    <a:pt x="369036" y="67310"/>
                  </a:lnTo>
                  <a:lnTo>
                    <a:pt x="369036" y="68580"/>
                  </a:lnTo>
                  <a:lnTo>
                    <a:pt x="369849" y="68580"/>
                  </a:lnTo>
                  <a:lnTo>
                    <a:pt x="369684" y="69850"/>
                  </a:lnTo>
                  <a:lnTo>
                    <a:pt x="369544" y="69850"/>
                  </a:lnTo>
                  <a:lnTo>
                    <a:pt x="369239" y="71120"/>
                  </a:lnTo>
                  <a:lnTo>
                    <a:pt x="369036" y="71120"/>
                  </a:lnTo>
                  <a:lnTo>
                    <a:pt x="369303" y="72390"/>
                  </a:lnTo>
                  <a:lnTo>
                    <a:pt x="369582" y="72390"/>
                  </a:lnTo>
                  <a:lnTo>
                    <a:pt x="369544" y="73660"/>
                  </a:lnTo>
                  <a:lnTo>
                    <a:pt x="369036" y="73660"/>
                  </a:lnTo>
                  <a:lnTo>
                    <a:pt x="369036" y="74930"/>
                  </a:lnTo>
                  <a:lnTo>
                    <a:pt x="369684" y="74930"/>
                  </a:lnTo>
                  <a:lnTo>
                    <a:pt x="369582" y="76200"/>
                  </a:lnTo>
                  <a:lnTo>
                    <a:pt x="369036" y="76200"/>
                  </a:lnTo>
                  <a:lnTo>
                    <a:pt x="369036" y="77470"/>
                  </a:lnTo>
                  <a:lnTo>
                    <a:pt x="369849" y="77470"/>
                  </a:lnTo>
                  <a:lnTo>
                    <a:pt x="369684" y="78740"/>
                  </a:lnTo>
                  <a:lnTo>
                    <a:pt x="369239" y="78740"/>
                  </a:lnTo>
                  <a:lnTo>
                    <a:pt x="369036" y="80010"/>
                  </a:lnTo>
                  <a:lnTo>
                    <a:pt x="369849" y="80010"/>
                  </a:lnTo>
                  <a:lnTo>
                    <a:pt x="369684" y="81280"/>
                  </a:lnTo>
                  <a:lnTo>
                    <a:pt x="369544" y="82550"/>
                  </a:lnTo>
                  <a:lnTo>
                    <a:pt x="369036" y="82550"/>
                  </a:lnTo>
                  <a:lnTo>
                    <a:pt x="369036" y="83820"/>
                  </a:lnTo>
                  <a:lnTo>
                    <a:pt x="369582" y="83820"/>
                  </a:lnTo>
                  <a:lnTo>
                    <a:pt x="369544" y="85090"/>
                  </a:lnTo>
                  <a:lnTo>
                    <a:pt x="369036" y="85090"/>
                  </a:lnTo>
                  <a:lnTo>
                    <a:pt x="369036" y="86360"/>
                  </a:lnTo>
                  <a:lnTo>
                    <a:pt x="369684" y="86360"/>
                  </a:lnTo>
                  <a:lnTo>
                    <a:pt x="369582" y="87630"/>
                  </a:lnTo>
                  <a:lnTo>
                    <a:pt x="369036" y="87630"/>
                  </a:lnTo>
                  <a:lnTo>
                    <a:pt x="369036" y="88900"/>
                  </a:lnTo>
                  <a:lnTo>
                    <a:pt x="369849" y="88900"/>
                  </a:lnTo>
                  <a:lnTo>
                    <a:pt x="369684" y="90170"/>
                  </a:lnTo>
                  <a:lnTo>
                    <a:pt x="369239" y="90170"/>
                  </a:lnTo>
                  <a:lnTo>
                    <a:pt x="369036" y="91440"/>
                  </a:lnTo>
                  <a:lnTo>
                    <a:pt x="369303" y="92710"/>
                  </a:lnTo>
                  <a:lnTo>
                    <a:pt x="369582" y="92710"/>
                  </a:lnTo>
                  <a:lnTo>
                    <a:pt x="369544" y="93980"/>
                  </a:lnTo>
                  <a:lnTo>
                    <a:pt x="369036" y="93980"/>
                  </a:lnTo>
                  <a:lnTo>
                    <a:pt x="369036" y="95250"/>
                  </a:lnTo>
                  <a:lnTo>
                    <a:pt x="370370" y="95250"/>
                  </a:lnTo>
                  <a:lnTo>
                    <a:pt x="370370" y="65544"/>
                  </a:lnTo>
                  <a:lnTo>
                    <a:pt x="326326" y="71120"/>
                  </a:lnTo>
                  <a:lnTo>
                    <a:pt x="346608" y="68580"/>
                  </a:lnTo>
                  <a:lnTo>
                    <a:pt x="343115" y="69850"/>
                  </a:lnTo>
                  <a:lnTo>
                    <a:pt x="341477" y="71120"/>
                  </a:lnTo>
                  <a:lnTo>
                    <a:pt x="336194" y="73660"/>
                  </a:lnTo>
                  <a:lnTo>
                    <a:pt x="321741" y="76200"/>
                  </a:lnTo>
                  <a:lnTo>
                    <a:pt x="312547" y="77470"/>
                  </a:lnTo>
                  <a:lnTo>
                    <a:pt x="294106" y="77470"/>
                  </a:lnTo>
                  <a:lnTo>
                    <a:pt x="303276" y="78740"/>
                  </a:lnTo>
                  <a:lnTo>
                    <a:pt x="312597" y="78740"/>
                  </a:lnTo>
                  <a:lnTo>
                    <a:pt x="348627" y="68580"/>
                  </a:lnTo>
                  <a:lnTo>
                    <a:pt x="350291" y="68580"/>
                  </a:lnTo>
                  <a:lnTo>
                    <a:pt x="351510" y="71120"/>
                  </a:lnTo>
                  <a:lnTo>
                    <a:pt x="354114" y="77470"/>
                  </a:lnTo>
                  <a:lnTo>
                    <a:pt x="358254" y="86360"/>
                  </a:lnTo>
                  <a:lnTo>
                    <a:pt x="362470" y="95250"/>
                  </a:lnTo>
                  <a:lnTo>
                    <a:pt x="366776" y="105410"/>
                  </a:lnTo>
                  <a:lnTo>
                    <a:pt x="363397" y="113030"/>
                  </a:lnTo>
                  <a:lnTo>
                    <a:pt x="359892" y="120650"/>
                  </a:lnTo>
                  <a:lnTo>
                    <a:pt x="356247" y="128270"/>
                  </a:lnTo>
                  <a:lnTo>
                    <a:pt x="352437" y="135890"/>
                  </a:lnTo>
                  <a:lnTo>
                    <a:pt x="347281" y="144780"/>
                  </a:lnTo>
                  <a:lnTo>
                    <a:pt x="341820" y="154940"/>
                  </a:lnTo>
                  <a:lnTo>
                    <a:pt x="336003" y="163830"/>
                  </a:lnTo>
                  <a:lnTo>
                    <a:pt x="334962" y="165315"/>
                  </a:lnTo>
                  <a:lnTo>
                    <a:pt x="334886" y="165163"/>
                  </a:lnTo>
                  <a:lnTo>
                    <a:pt x="334886" y="165430"/>
                  </a:lnTo>
                  <a:lnTo>
                    <a:pt x="332028" y="169506"/>
                  </a:lnTo>
                  <a:lnTo>
                    <a:pt x="331863" y="168617"/>
                  </a:lnTo>
                  <a:lnTo>
                    <a:pt x="331863" y="169760"/>
                  </a:lnTo>
                  <a:lnTo>
                    <a:pt x="329793" y="172720"/>
                  </a:lnTo>
                  <a:lnTo>
                    <a:pt x="329006" y="173685"/>
                  </a:lnTo>
                  <a:lnTo>
                    <a:pt x="329488" y="170713"/>
                  </a:lnTo>
                  <a:lnTo>
                    <a:pt x="330593" y="163093"/>
                  </a:lnTo>
                  <a:lnTo>
                    <a:pt x="331863" y="169760"/>
                  </a:lnTo>
                  <a:lnTo>
                    <a:pt x="331863" y="168617"/>
                  </a:lnTo>
                  <a:lnTo>
                    <a:pt x="331546" y="166903"/>
                  </a:lnTo>
                  <a:lnTo>
                    <a:pt x="330873" y="163093"/>
                  </a:lnTo>
                  <a:lnTo>
                    <a:pt x="330911" y="161823"/>
                  </a:lnTo>
                  <a:lnTo>
                    <a:pt x="331673" y="161823"/>
                  </a:lnTo>
                  <a:lnTo>
                    <a:pt x="331673" y="160553"/>
                  </a:lnTo>
                  <a:lnTo>
                    <a:pt x="331279" y="160553"/>
                  </a:lnTo>
                  <a:lnTo>
                    <a:pt x="331165" y="159283"/>
                  </a:lnTo>
                  <a:lnTo>
                    <a:pt x="331355" y="159283"/>
                  </a:lnTo>
                  <a:lnTo>
                    <a:pt x="331279" y="158013"/>
                  </a:lnTo>
                  <a:lnTo>
                    <a:pt x="331673" y="158013"/>
                  </a:lnTo>
                  <a:lnTo>
                    <a:pt x="331609" y="157429"/>
                  </a:lnTo>
                  <a:lnTo>
                    <a:pt x="332524" y="159283"/>
                  </a:lnTo>
                  <a:lnTo>
                    <a:pt x="334365" y="164363"/>
                  </a:lnTo>
                  <a:lnTo>
                    <a:pt x="334886" y="165430"/>
                  </a:lnTo>
                  <a:lnTo>
                    <a:pt x="334886" y="165163"/>
                  </a:lnTo>
                  <a:lnTo>
                    <a:pt x="334505" y="164363"/>
                  </a:lnTo>
                  <a:lnTo>
                    <a:pt x="333336" y="160553"/>
                  </a:lnTo>
                  <a:lnTo>
                    <a:pt x="332041" y="158013"/>
                  </a:lnTo>
                  <a:lnTo>
                    <a:pt x="331571" y="157022"/>
                  </a:lnTo>
                  <a:lnTo>
                    <a:pt x="331546" y="156743"/>
                  </a:lnTo>
                  <a:lnTo>
                    <a:pt x="331673" y="156743"/>
                  </a:lnTo>
                  <a:lnTo>
                    <a:pt x="331673" y="155473"/>
                  </a:lnTo>
                  <a:lnTo>
                    <a:pt x="331292" y="155473"/>
                  </a:lnTo>
                  <a:lnTo>
                    <a:pt x="331165" y="154203"/>
                  </a:lnTo>
                  <a:lnTo>
                    <a:pt x="331355" y="154203"/>
                  </a:lnTo>
                  <a:lnTo>
                    <a:pt x="331292" y="152933"/>
                  </a:lnTo>
                  <a:lnTo>
                    <a:pt x="331355" y="151663"/>
                  </a:lnTo>
                  <a:lnTo>
                    <a:pt x="331673" y="151663"/>
                  </a:lnTo>
                  <a:lnTo>
                    <a:pt x="331673" y="150393"/>
                  </a:lnTo>
                  <a:lnTo>
                    <a:pt x="331546" y="150393"/>
                  </a:lnTo>
                  <a:lnTo>
                    <a:pt x="331673" y="149123"/>
                  </a:lnTo>
                  <a:lnTo>
                    <a:pt x="331355" y="149123"/>
                  </a:lnTo>
                  <a:lnTo>
                    <a:pt x="331292" y="147853"/>
                  </a:lnTo>
                  <a:lnTo>
                    <a:pt x="331355" y="146583"/>
                  </a:lnTo>
                  <a:lnTo>
                    <a:pt x="331673" y="146583"/>
                  </a:lnTo>
                  <a:lnTo>
                    <a:pt x="331546" y="145313"/>
                  </a:lnTo>
                  <a:lnTo>
                    <a:pt x="331203" y="145313"/>
                  </a:lnTo>
                  <a:lnTo>
                    <a:pt x="330911" y="144043"/>
                  </a:lnTo>
                  <a:lnTo>
                    <a:pt x="330415" y="144043"/>
                  </a:lnTo>
                  <a:lnTo>
                    <a:pt x="330123" y="145313"/>
                  </a:lnTo>
                  <a:lnTo>
                    <a:pt x="329768" y="145313"/>
                  </a:lnTo>
                  <a:lnTo>
                    <a:pt x="329641" y="146583"/>
                  </a:lnTo>
                  <a:lnTo>
                    <a:pt x="329958" y="146583"/>
                  </a:lnTo>
                  <a:lnTo>
                    <a:pt x="329933" y="147853"/>
                  </a:lnTo>
                  <a:lnTo>
                    <a:pt x="329958" y="149123"/>
                  </a:lnTo>
                  <a:lnTo>
                    <a:pt x="329641" y="149123"/>
                  </a:lnTo>
                  <a:lnTo>
                    <a:pt x="329780" y="150393"/>
                  </a:lnTo>
                  <a:lnTo>
                    <a:pt x="329641" y="150393"/>
                  </a:lnTo>
                  <a:lnTo>
                    <a:pt x="329641" y="151663"/>
                  </a:lnTo>
                  <a:lnTo>
                    <a:pt x="329971" y="151663"/>
                  </a:lnTo>
                  <a:lnTo>
                    <a:pt x="329946" y="152933"/>
                  </a:lnTo>
                  <a:lnTo>
                    <a:pt x="330098" y="152933"/>
                  </a:lnTo>
                  <a:lnTo>
                    <a:pt x="329958" y="154203"/>
                  </a:lnTo>
                  <a:lnTo>
                    <a:pt x="330149" y="154203"/>
                  </a:lnTo>
                  <a:lnTo>
                    <a:pt x="330022" y="155473"/>
                  </a:lnTo>
                  <a:lnTo>
                    <a:pt x="329641" y="155473"/>
                  </a:lnTo>
                  <a:lnTo>
                    <a:pt x="329641" y="156743"/>
                  </a:lnTo>
                  <a:lnTo>
                    <a:pt x="329768" y="156743"/>
                  </a:lnTo>
                  <a:lnTo>
                    <a:pt x="329641" y="158013"/>
                  </a:lnTo>
                  <a:lnTo>
                    <a:pt x="330022" y="158013"/>
                  </a:lnTo>
                  <a:lnTo>
                    <a:pt x="329958" y="159283"/>
                  </a:lnTo>
                  <a:lnTo>
                    <a:pt x="330149" y="159283"/>
                  </a:lnTo>
                  <a:lnTo>
                    <a:pt x="330022" y="160553"/>
                  </a:lnTo>
                  <a:lnTo>
                    <a:pt x="329641" y="160553"/>
                  </a:lnTo>
                  <a:lnTo>
                    <a:pt x="329641" y="161823"/>
                  </a:lnTo>
                  <a:lnTo>
                    <a:pt x="330415" y="161823"/>
                  </a:lnTo>
                  <a:lnTo>
                    <a:pt x="329857" y="166903"/>
                  </a:lnTo>
                  <a:lnTo>
                    <a:pt x="329057" y="171983"/>
                  </a:lnTo>
                  <a:lnTo>
                    <a:pt x="328714" y="174040"/>
                  </a:lnTo>
                  <a:lnTo>
                    <a:pt x="328269" y="174599"/>
                  </a:lnTo>
                  <a:lnTo>
                    <a:pt x="328269" y="175895"/>
                  </a:lnTo>
                  <a:lnTo>
                    <a:pt x="328028" y="177063"/>
                  </a:lnTo>
                  <a:lnTo>
                    <a:pt x="327456" y="180873"/>
                  </a:lnTo>
                  <a:lnTo>
                    <a:pt x="326821" y="184683"/>
                  </a:lnTo>
                  <a:lnTo>
                    <a:pt x="326669" y="184683"/>
                  </a:lnTo>
                  <a:lnTo>
                    <a:pt x="326669" y="184378"/>
                  </a:lnTo>
                  <a:lnTo>
                    <a:pt x="326707" y="184175"/>
                  </a:lnTo>
                  <a:lnTo>
                    <a:pt x="326745" y="184023"/>
                  </a:lnTo>
                  <a:lnTo>
                    <a:pt x="326771" y="183857"/>
                  </a:lnTo>
                  <a:lnTo>
                    <a:pt x="326669" y="178333"/>
                  </a:lnTo>
                  <a:lnTo>
                    <a:pt x="328269" y="175895"/>
                  </a:lnTo>
                  <a:lnTo>
                    <a:pt x="328269" y="174599"/>
                  </a:lnTo>
                  <a:lnTo>
                    <a:pt x="326618" y="176618"/>
                  </a:lnTo>
                  <a:lnTo>
                    <a:pt x="326529" y="175793"/>
                  </a:lnTo>
                  <a:lnTo>
                    <a:pt x="326669" y="175793"/>
                  </a:lnTo>
                  <a:lnTo>
                    <a:pt x="326529" y="174523"/>
                  </a:lnTo>
                  <a:lnTo>
                    <a:pt x="326250" y="174523"/>
                  </a:lnTo>
                  <a:lnTo>
                    <a:pt x="326250" y="187223"/>
                  </a:lnTo>
                  <a:lnTo>
                    <a:pt x="325297" y="192303"/>
                  </a:lnTo>
                  <a:lnTo>
                    <a:pt x="324256" y="196113"/>
                  </a:lnTo>
                  <a:lnTo>
                    <a:pt x="322999" y="201193"/>
                  </a:lnTo>
                  <a:lnTo>
                    <a:pt x="322465" y="203733"/>
                  </a:lnTo>
                  <a:lnTo>
                    <a:pt x="321906" y="205003"/>
                  </a:lnTo>
                  <a:lnTo>
                    <a:pt x="320929" y="207911"/>
                  </a:lnTo>
                  <a:lnTo>
                    <a:pt x="320598" y="208813"/>
                  </a:lnTo>
                  <a:lnTo>
                    <a:pt x="320471" y="208724"/>
                  </a:lnTo>
                  <a:lnTo>
                    <a:pt x="320471" y="210083"/>
                  </a:lnTo>
                  <a:lnTo>
                    <a:pt x="319963" y="211353"/>
                  </a:lnTo>
                  <a:lnTo>
                    <a:pt x="319824" y="211353"/>
                  </a:lnTo>
                  <a:lnTo>
                    <a:pt x="318782" y="213893"/>
                  </a:lnTo>
                  <a:lnTo>
                    <a:pt x="315404" y="212090"/>
                  </a:lnTo>
                  <a:lnTo>
                    <a:pt x="313766" y="211124"/>
                  </a:lnTo>
                  <a:lnTo>
                    <a:pt x="314375" y="210083"/>
                  </a:lnTo>
                  <a:lnTo>
                    <a:pt x="316598" y="206273"/>
                  </a:lnTo>
                  <a:lnTo>
                    <a:pt x="320471" y="210083"/>
                  </a:lnTo>
                  <a:lnTo>
                    <a:pt x="320471" y="208724"/>
                  </a:lnTo>
                  <a:lnTo>
                    <a:pt x="317195" y="206273"/>
                  </a:lnTo>
                  <a:lnTo>
                    <a:pt x="311607" y="202107"/>
                  </a:lnTo>
                  <a:lnTo>
                    <a:pt x="316318" y="206273"/>
                  </a:lnTo>
                  <a:lnTo>
                    <a:pt x="313359" y="210083"/>
                  </a:lnTo>
                  <a:lnTo>
                    <a:pt x="312902" y="208635"/>
                  </a:lnTo>
                  <a:lnTo>
                    <a:pt x="312902" y="210604"/>
                  </a:lnTo>
                  <a:lnTo>
                    <a:pt x="308991" y="208254"/>
                  </a:lnTo>
                  <a:lnTo>
                    <a:pt x="302882" y="203200"/>
                  </a:lnTo>
                  <a:lnTo>
                    <a:pt x="304152" y="201930"/>
                  </a:lnTo>
                  <a:lnTo>
                    <a:pt x="308838" y="197243"/>
                  </a:lnTo>
                  <a:lnTo>
                    <a:pt x="312902" y="210604"/>
                  </a:lnTo>
                  <a:lnTo>
                    <a:pt x="312902" y="208635"/>
                  </a:lnTo>
                  <a:lnTo>
                    <a:pt x="310629" y="201383"/>
                  </a:lnTo>
                  <a:lnTo>
                    <a:pt x="310388" y="201193"/>
                  </a:lnTo>
                  <a:lnTo>
                    <a:pt x="309054" y="197027"/>
                  </a:lnTo>
                  <a:lnTo>
                    <a:pt x="310502" y="195580"/>
                  </a:lnTo>
                  <a:lnTo>
                    <a:pt x="313080" y="193281"/>
                  </a:lnTo>
                  <a:lnTo>
                    <a:pt x="315163" y="196113"/>
                  </a:lnTo>
                  <a:lnTo>
                    <a:pt x="316674" y="197383"/>
                  </a:lnTo>
                  <a:lnTo>
                    <a:pt x="319328" y="199923"/>
                  </a:lnTo>
                  <a:lnTo>
                    <a:pt x="316725" y="197383"/>
                  </a:lnTo>
                  <a:lnTo>
                    <a:pt x="315226" y="196113"/>
                  </a:lnTo>
                  <a:lnTo>
                    <a:pt x="313118" y="193243"/>
                  </a:lnTo>
                  <a:lnTo>
                    <a:pt x="317627" y="189230"/>
                  </a:lnTo>
                  <a:lnTo>
                    <a:pt x="324281" y="181610"/>
                  </a:lnTo>
                  <a:lnTo>
                    <a:pt x="325894" y="179311"/>
                  </a:lnTo>
                  <a:lnTo>
                    <a:pt x="325894" y="187223"/>
                  </a:lnTo>
                  <a:lnTo>
                    <a:pt x="326250" y="187223"/>
                  </a:lnTo>
                  <a:lnTo>
                    <a:pt x="326250" y="174523"/>
                  </a:lnTo>
                  <a:lnTo>
                    <a:pt x="326047" y="174523"/>
                  </a:lnTo>
                  <a:lnTo>
                    <a:pt x="325894" y="175793"/>
                  </a:lnTo>
                  <a:lnTo>
                    <a:pt x="326047" y="175793"/>
                  </a:lnTo>
                  <a:lnTo>
                    <a:pt x="325894" y="177063"/>
                  </a:lnTo>
                  <a:lnTo>
                    <a:pt x="326047" y="177063"/>
                  </a:lnTo>
                  <a:lnTo>
                    <a:pt x="326009" y="177355"/>
                  </a:lnTo>
                  <a:lnTo>
                    <a:pt x="323570" y="180340"/>
                  </a:lnTo>
                  <a:lnTo>
                    <a:pt x="316903" y="187960"/>
                  </a:lnTo>
                  <a:lnTo>
                    <a:pt x="312610" y="192544"/>
                  </a:lnTo>
                  <a:lnTo>
                    <a:pt x="309778" y="195580"/>
                  </a:lnTo>
                  <a:lnTo>
                    <a:pt x="308851" y="196354"/>
                  </a:lnTo>
                  <a:lnTo>
                    <a:pt x="308622" y="195630"/>
                  </a:lnTo>
                  <a:lnTo>
                    <a:pt x="308622" y="196545"/>
                  </a:lnTo>
                  <a:lnTo>
                    <a:pt x="302171" y="201930"/>
                  </a:lnTo>
                  <a:lnTo>
                    <a:pt x="301485" y="201460"/>
                  </a:lnTo>
                  <a:lnTo>
                    <a:pt x="301485" y="203200"/>
                  </a:lnTo>
                  <a:lnTo>
                    <a:pt x="300189" y="203200"/>
                  </a:lnTo>
                  <a:lnTo>
                    <a:pt x="297624" y="205054"/>
                  </a:lnTo>
                  <a:lnTo>
                    <a:pt x="297421" y="204609"/>
                  </a:lnTo>
                  <a:lnTo>
                    <a:pt x="297421" y="205206"/>
                  </a:lnTo>
                  <a:lnTo>
                    <a:pt x="296887" y="204266"/>
                  </a:lnTo>
                  <a:lnTo>
                    <a:pt x="296887" y="205587"/>
                  </a:lnTo>
                  <a:lnTo>
                    <a:pt x="291388" y="209550"/>
                  </a:lnTo>
                  <a:lnTo>
                    <a:pt x="289877" y="210362"/>
                  </a:lnTo>
                  <a:lnTo>
                    <a:pt x="289864" y="209854"/>
                  </a:lnTo>
                  <a:lnTo>
                    <a:pt x="289864" y="240563"/>
                  </a:lnTo>
                  <a:lnTo>
                    <a:pt x="289052" y="239903"/>
                  </a:lnTo>
                  <a:lnTo>
                    <a:pt x="289052" y="241833"/>
                  </a:lnTo>
                  <a:lnTo>
                    <a:pt x="284492" y="245643"/>
                  </a:lnTo>
                  <a:lnTo>
                    <a:pt x="283781" y="245046"/>
                  </a:lnTo>
                  <a:lnTo>
                    <a:pt x="283781" y="246913"/>
                  </a:lnTo>
                  <a:lnTo>
                    <a:pt x="278422" y="250723"/>
                  </a:lnTo>
                  <a:lnTo>
                    <a:pt x="278676" y="243103"/>
                  </a:lnTo>
                  <a:lnTo>
                    <a:pt x="278752" y="241884"/>
                  </a:lnTo>
                  <a:lnTo>
                    <a:pt x="283781" y="246913"/>
                  </a:lnTo>
                  <a:lnTo>
                    <a:pt x="283781" y="245046"/>
                  </a:lnTo>
                  <a:lnTo>
                    <a:pt x="279984" y="241833"/>
                  </a:lnTo>
                  <a:lnTo>
                    <a:pt x="284530" y="238023"/>
                  </a:lnTo>
                  <a:lnTo>
                    <a:pt x="289052" y="241833"/>
                  </a:lnTo>
                  <a:lnTo>
                    <a:pt x="289052" y="239903"/>
                  </a:lnTo>
                  <a:lnTo>
                    <a:pt x="286778" y="238023"/>
                  </a:lnTo>
                  <a:lnTo>
                    <a:pt x="285242" y="236753"/>
                  </a:lnTo>
                  <a:lnTo>
                    <a:pt x="289674" y="234213"/>
                  </a:lnTo>
                  <a:lnTo>
                    <a:pt x="289864" y="240563"/>
                  </a:lnTo>
                  <a:lnTo>
                    <a:pt x="289864" y="209854"/>
                  </a:lnTo>
                  <a:lnTo>
                    <a:pt x="289775" y="206273"/>
                  </a:lnTo>
                  <a:lnTo>
                    <a:pt x="291071" y="205003"/>
                  </a:lnTo>
                  <a:lnTo>
                    <a:pt x="294982" y="201193"/>
                  </a:lnTo>
                  <a:lnTo>
                    <a:pt x="296633" y="205003"/>
                  </a:lnTo>
                  <a:lnTo>
                    <a:pt x="296887" y="205587"/>
                  </a:lnTo>
                  <a:lnTo>
                    <a:pt x="296887" y="204266"/>
                  </a:lnTo>
                  <a:lnTo>
                    <a:pt x="296672" y="203733"/>
                  </a:lnTo>
                  <a:lnTo>
                    <a:pt x="297421" y="205206"/>
                  </a:lnTo>
                  <a:lnTo>
                    <a:pt x="297421" y="204609"/>
                  </a:lnTo>
                  <a:lnTo>
                    <a:pt x="297027" y="203733"/>
                  </a:lnTo>
                  <a:lnTo>
                    <a:pt x="296443" y="202463"/>
                  </a:lnTo>
                  <a:lnTo>
                    <a:pt x="296164" y="201193"/>
                  </a:lnTo>
                  <a:lnTo>
                    <a:pt x="295884" y="199923"/>
                  </a:lnTo>
                  <a:lnTo>
                    <a:pt x="297078" y="198780"/>
                  </a:lnTo>
                  <a:lnTo>
                    <a:pt x="299694" y="200660"/>
                  </a:lnTo>
                  <a:lnTo>
                    <a:pt x="301485" y="203200"/>
                  </a:lnTo>
                  <a:lnTo>
                    <a:pt x="301485" y="201460"/>
                  </a:lnTo>
                  <a:lnTo>
                    <a:pt x="298526" y="199390"/>
                  </a:lnTo>
                  <a:lnTo>
                    <a:pt x="297700" y="198196"/>
                  </a:lnTo>
                  <a:lnTo>
                    <a:pt x="301244" y="194843"/>
                  </a:lnTo>
                  <a:lnTo>
                    <a:pt x="301612" y="193573"/>
                  </a:lnTo>
                  <a:lnTo>
                    <a:pt x="304634" y="183413"/>
                  </a:lnTo>
                  <a:lnTo>
                    <a:pt x="305015" y="184683"/>
                  </a:lnTo>
                  <a:lnTo>
                    <a:pt x="308622" y="196545"/>
                  </a:lnTo>
                  <a:lnTo>
                    <a:pt x="308622" y="195630"/>
                  </a:lnTo>
                  <a:lnTo>
                    <a:pt x="305168" y="184683"/>
                  </a:lnTo>
                  <a:lnTo>
                    <a:pt x="306717" y="182143"/>
                  </a:lnTo>
                  <a:lnTo>
                    <a:pt x="307733" y="184683"/>
                  </a:lnTo>
                  <a:lnTo>
                    <a:pt x="308800" y="186016"/>
                  </a:lnTo>
                  <a:lnTo>
                    <a:pt x="311099" y="189763"/>
                  </a:lnTo>
                  <a:lnTo>
                    <a:pt x="312369" y="192303"/>
                  </a:lnTo>
                  <a:lnTo>
                    <a:pt x="312572" y="192595"/>
                  </a:lnTo>
                  <a:lnTo>
                    <a:pt x="312445" y="192303"/>
                  </a:lnTo>
                  <a:lnTo>
                    <a:pt x="311162" y="189763"/>
                  </a:lnTo>
                  <a:lnTo>
                    <a:pt x="308851" y="185953"/>
                  </a:lnTo>
                  <a:lnTo>
                    <a:pt x="307797" y="184683"/>
                  </a:lnTo>
                  <a:lnTo>
                    <a:pt x="306781" y="182143"/>
                  </a:lnTo>
                  <a:lnTo>
                    <a:pt x="308978" y="179603"/>
                  </a:lnTo>
                  <a:lnTo>
                    <a:pt x="313385" y="174523"/>
                  </a:lnTo>
                  <a:lnTo>
                    <a:pt x="312940" y="174523"/>
                  </a:lnTo>
                  <a:lnTo>
                    <a:pt x="308762" y="179603"/>
                  </a:lnTo>
                  <a:lnTo>
                    <a:pt x="308546" y="179489"/>
                  </a:lnTo>
                  <a:lnTo>
                    <a:pt x="306590" y="182143"/>
                  </a:lnTo>
                  <a:lnTo>
                    <a:pt x="305041" y="184683"/>
                  </a:lnTo>
                  <a:lnTo>
                    <a:pt x="304812" y="183413"/>
                  </a:lnTo>
                  <a:lnTo>
                    <a:pt x="305231" y="182143"/>
                  </a:lnTo>
                  <a:lnTo>
                    <a:pt x="305663" y="180873"/>
                  </a:lnTo>
                  <a:lnTo>
                    <a:pt x="306235" y="182143"/>
                  </a:lnTo>
                  <a:lnTo>
                    <a:pt x="306539" y="182143"/>
                  </a:lnTo>
                  <a:lnTo>
                    <a:pt x="305714" y="180873"/>
                  </a:lnTo>
                  <a:lnTo>
                    <a:pt x="306451" y="178333"/>
                  </a:lnTo>
                  <a:lnTo>
                    <a:pt x="308546" y="179603"/>
                  </a:lnTo>
                  <a:lnTo>
                    <a:pt x="306552" y="178333"/>
                  </a:lnTo>
                  <a:lnTo>
                    <a:pt x="307619" y="174523"/>
                  </a:lnTo>
                  <a:lnTo>
                    <a:pt x="313067" y="156743"/>
                  </a:lnTo>
                  <a:lnTo>
                    <a:pt x="316496" y="145313"/>
                  </a:lnTo>
                  <a:lnTo>
                    <a:pt x="316877" y="144043"/>
                  </a:lnTo>
                  <a:lnTo>
                    <a:pt x="317157" y="144043"/>
                  </a:lnTo>
                  <a:lnTo>
                    <a:pt x="318147" y="140233"/>
                  </a:lnTo>
                  <a:lnTo>
                    <a:pt x="319239" y="137693"/>
                  </a:lnTo>
                  <a:lnTo>
                    <a:pt x="319798" y="136423"/>
                  </a:lnTo>
                  <a:lnTo>
                    <a:pt x="321144" y="132613"/>
                  </a:lnTo>
                  <a:lnTo>
                    <a:pt x="322389" y="128803"/>
                  </a:lnTo>
                  <a:lnTo>
                    <a:pt x="322821" y="128803"/>
                  </a:lnTo>
                  <a:lnTo>
                    <a:pt x="324091" y="133883"/>
                  </a:lnTo>
                  <a:lnTo>
                    <a:pt x="325437" y="138963"/>
                  </a:lnTo>
                  <a:lnTo>
                    <a:pt x="326898" y="144043"/>
                  </a:lnTo>
                  <a:lnTo>
                    <a:pt x="327101" y="144043"/>
                  </a:lnTo>
                  <a:lnTo>
                    <a:pt x="325640" y="138963"/>
                  </a:lnTo>
                  <a:lnTo>
                    <a:pt x="324307" y="133883"/>
                  </a:lnTo>
                  <a:lnTo>
                    <a:pt x="323049" y="128803"/>
                  </a:lnTo>
                  <a:lnTo>
                    <a:pt x="323570" y="126263"/>
                  </a:lnTo>
                  <a:lnTo>
                    <a:pt x="322630" y="126263"/>
                  </a:lnTo>
                  <a:lnTo>
                    <a:pt x="322313" y="128803"/>
                  </a:lnTo>
                  <a:lnTo>
                    <a:pt x="321284" y="131343"/>
                  </a:lnTo>
                  <a:lnTo>
                    <a:pt x="320141" y="135153"/>
                  </a:lnTo>
                  <a:lnTo>
                    <a:pt x="318871" y="137693"/>
                  </a:lnTo>
                  <a:lnTo>
                    <a:pt x="322338" y="126263"/>
                  </a:lnTo>
                  <a:lnTo>
                    <a:pt x="321691" y="126263"/>
                  </a:lnTo>
                  <a:lnTo>
                    <a:pt x="316255" y="144043"/>
                  </a:lnTo>
                  <a:lnTo>
                    <a:pt x="315734" y="144043"/>
                  </a:lnTo>
                  <a:lnTo>
                    <a:pt x="315734" y="145313"/>
                  </a:lnTo>
                  <a:lnTo>
                    <a:pt x="311975" y="156743"/>
                  </a:lnTo>
                  <a:lnTo>
                    <a:pt x="309118" y="154203"/>
                  </a:lnTo>
                  <a:lnTo>
                    <a:pt x="309981" y="152933"/>
                  </a:lnTo>
                  <a:lnTo>
                    <a:pt x="310769" y="151663"/>
                  </a:lnTo>
                  <a:lnTo>
                    <a:pt x="313156" y="149123"/>
                  </a:lnTo>
                  <a:lnTo>
                    <a:pt x="314528" y="147853"/>
                  </a:lnTo>
                  <a:lnTo>
                    <a:pt x="315734" y="145313"/>
                  </a:lnTo>
                  <a:lnTo>
                    <a:pt x="315734" y="144043"/>
                  </a:lnTo>
                  <a:lnTo>
                    <a:pt x="315341" y="144043"/>
                  </a:lnTo>
                  <a:lnTo>
                    <a:pt x="315226" y="145313"/>
                  </a:lnTo>
                  <a:lnTo>
                    <a:pt x="314096" y="147853"/>
                  </a:lnTo>
                  <a:lnTo>
                    <a:pt x="312826" y="149123"/>
                  </a:lnTo>
                  <a:lnTo>
                    <a:pt x="310591" y="151663"/>
                  </a:lnTo>
                  <a:lnTo>
                    <a:pt x="309816" y="152933"/>
                  </a:lnTo>
                  <a:lnTo>
                    <a:pt x="308965" y="152933"/>
                  </a:lnTo>
                  <a:lnTo>
                    <a:pt x="307797" y="151663"/>
                  </a:lnTo>
                  <a:lnTo>
                    <a:pt x="315226" y="145313"/>
                  </a:lnTo>
                  <a:lnTo>
                    <a:pt x="315226" y="144157"/>
                  </a:lnTo>
                  <a:lnTo>
                    <a:pt x="307263" y="151663"/>
                  </a:lnTo>
                  <a:lnTo>
                    <a:pt x="302196" y="144043"/>
                  </a:lnTo>
                  <a:lnTo>
                    <a:pt x="301117" y="144043"/>
                  </a:lnTo>
                  <a:lnTo>
                    <a:pt x="308254" y="154203"/>
                  </a:lnTo>
                  <a:lnTo>
                    <a:pt x="306946" y="154203"/>
                  </a:lnTo>
                  <a:lnTo>
                    <a:pt x="305511" y="155473"/>
                  </a:lnTo>
                  <a:lnTo>
                    <a:pt x="307073" y="155473"/>
                  </a:lnTo>
                  <a:lnTo>
                    <a:pt x="308406" y="154203"/>
                  </a:lnTo>
                  <a:lnTo>
                    <a:pt x="311670" y="158013"/>
                  </a:lnTo>
                  <a:lnTo>
                    <a:pt x="306844" y="174523"/>
                  </a:lnTo>
                  <a:lnTo>
                    <a:pt x="305841" y="177063"/>
                  </a:lnTo>
                  <a:lnTo>
                    <a:pt x="305155" y="179603"/>
                  </a:lnTo>
                  <a:lnTo>
                    <a:pt x="303796" y="177063"/>
                  </a:lnTo>
                  <a:lnTo>
                    <a:pt x="303161" y="175793"/>
                  </a:lnTo>
                  <a:lnTo>
                    <a:pt x="305739" y="177063"/>
                  </a:lnTo>
                  <a:lnTo>
                    <a:pt x="304330" y="175793"/>
                  </a:lnTo>
                  <a:lnTo>
                    <a:pt x="302818" y="174523"/>
                  </a:lnTo>
                  <a:lnTo>
                    <a:pt x="302425" y="174523"/>
                  </a:lnTo>
                  <a:lnTo>
                    <a:pt x="301815" y="173253"/>
                  </a:lnTo>
                  <a:lnTo>
                    <a:pt x="302298" y="174523"/>
                  </a:lnTo>
                  <a:lnTo>
                    <a:pt x="302031" y="174523"/>
                  </a:lnTo>
                  <a:lnTo>
                    <a:pt x="302958" y="175793"/>
                  </a:lnTo>
                  <a:lnTo>
                    <a:pt x="303657" y="177063"/>
                  </a:lnTo>
                  <a:lnTo>
                    <a:pt x="305104" y="179603"/>
                  </a:lnTo>
                  <a:lnTo>
                    <a:pt x="304571" y="180873"/>
                  </a:lnTo>
                  <a:lnTo>
                    <a:pt x="304228" y="182143"/>
                  </a:lnTo>
                  <a:lnTo>
                    <a:pt x="304101" y="181711"/>
                  </a:lnTo>
                  <a:lnTo>
                    <a:pt x="304101" y="183413"/>
                  </a:lnTo>
                  <a:lnTo>
                    <a:pt x="300761" y="193573"/>
                  </a:lnTo>
                  <a:lnTo>
                    <a:pt x="300101" y="192557"/>
                  </a:lnTo>
                  <a:lnTo>
                    <a:pt x="300101" y="194843"/>
                  </a:lnTo>
                  <a:lnTo>
                    <a:pt x="299783" y="194843"/>
                  </a:lnTo>
                  <a:lnTo>
                    <a:pt x="297091" y="197319"/>
                  </a:lnTo>
                  <a:lnTo>
                    <a:pt x="296773" y="196850"/>
                  </a:lnTo>
                  <a:lnTo>
                    <a:pt x="296202" y="196354"/>
                  </a:lnTo>
                  <a:lnTo>
                    <a:pt x="296202" y="198145"/>
                  </a:lnTo>
                  <a:lnTo>
                    <a:pt x="295643" y="198653"/>
                  </a:lnTo>
                  <a:lnTo>
                    <a:pt x="295478" y="197980"/>
                  </a:lnTo>
                  <a:lnTo>
                    <a:pt x="295478" y="198653"/>
                  </a:lnTo>
                  <a:lnTo>
                    <a:pt x="295224" y="199923"/>
                  </a:lnTo>
                  <a:lnTo>
                    <a:pt x="295109" y="199415"/>
                  </a:lnTo>
                  <a:lnTo>
                    <a:pt x="295109" y="199923"/>
                  </a:lnTo>
                  <a:lnTo>
                    <a:pt x="294906" y="199923"/>
                  </a:lnTo>
                  <a:lnTo>
                    <a:pt x="294640" y="199161"/>
                  </a:lnTo>
                  <a:lnTo>
                    <a:pt x="294640" y="199923"/>
                  </a:lnTo>
                  <a:lnTo>
                    <a:pt x="294043" y="199923"/>
                  </a:lnTo>
                  <a:lnTo>
                    <a:pt x="293408" y="199161"/>
                  </a:lnTo>
                  <a:lnTo>
                    <a:pt x="293408" y="201193"/>
                  </a:lnTo>
                  <a:lnTo>
                    <a:pt x="289737" y="205003"/>
                  </a:lnTo>
                  <a:lnTo>
                    <a:pt x="289699" y="203733"/>
                  </a:lnTo>
                  <a:lnTo>
                    <a:pt x="289636" y="201193"/>
                  </a:lnTo>
                  <a:lnTo>
                    <a:pt x="289953" y="199923"/>
                  </a:lnTo>
                  <a:lnTo>
                    <a:pt x="290588" y="197383"/>
                  </a:lnTo>
                  <a:lnTo>
                    <a:pt x="293408" y="201193"/>
                  </a:lnTo>
                  <a:lnTo>
                    <a:pt x="293408" y="199161"/>
                  </a:lnTo>
                  <a:lnTo>
                    <a:pt x="291934" y="197383"/>
                  </a:lnTo>
                  <a:lnTo>
                    <a:pt x="290893" y="196113"/>
                  </a:lnTo>
                  <a:lnTo>
                    <a:pt x="291236" y="194843"/>
                  </a:lnTo>
                  <a:lnTo>
                    <a:pt x="291465" y="194843"/>
                  </a:lnTo>
                  <a:lnTo>
                    <a:pt x="291642" y="194119"/>
                  </a:lnTo>
                  <a:lnTo>
                    <a:pt x="292455" y="194830"/>
                  </a:lnTo>
                  <a:lnTo>
                    <a:pt x="292900" y="195224"/>
                  </a:lnTo>
                  <a:lnTo>
                    <a:pt x="294005" y="198653"/>
                  </a:lnTo>
                  <a:lnTo>
                    <a:pt x="294640" y="199923"/>
                  </a:lnTo>
                  <a:lnTo>
                    <a:pt x="294640" y="199161"/>
                  </a:lnTo>
                  <a:lnTo>
                    <a:pt x="293446" y="195707"/>
                  </a:lnTo>
                  <a:lnTo>
                    <a:pt x="293979" y="196176"/>
                  </a:lnTo>
                  <a:lnTo>
                    <a:pt x="294525" y="198653"/>
                  </a:lnTo>
                  <a:lnTo>
                    <a:pt x="295109" y="199923"/>
                  </a:lnTo>
                  <a:lnTo>
                    <a:pt x="295109" y="199415"/>
                  </a:lnTo>
                  <a:lnTo>
                    <a:pt x="294665" y="197383"/>
                  </a:lnTo>
                  <a:lnTo>
                    <a:pt x="294271" y="196443"/>
                  </a:lnTo>
                  <a:lnTo>
                    <a:pt x="295109" y="197180"/>
                  </a:lnTo>
                  <a:lnTo>
                    <a:pt x="295478" y="198653"/>
                  </a:lnTo>
                  <a:lnTo>
                    <a:pt x="295478" y="197980"/>
                  </a:lnTo>
                  <a:lnTo>
                    <a:pt x="295338" y="197396"/>
                  </a:lnTo>
                  <a:lnTo>
                    <a:pt x="296176" y="198120"/>
                  </a:lnTo>
                  <a:lnTo>
                    <a:pt x="296202" y="196354"/>
                  </a:lnTo>
                  <a:lnTo>
                    <a:pt x="294805" y="195110"/>
                  </a:lnTo>
                  <a:lnTo>
                    <a:pt x="294754" y="194843"/>
                  </a:lnTo>
                  <a:lnTo>
                    <a:pt x="294551" y="194843"/>
                  </a:lnTo>
                  <a:lnTo>
                    <a:pt x="294297" y="193433"/>
                  </a:lnTo>
                  <a:lnTo>
                    <a:pt x="294297" y="194652"/>
                  </a:lnTo>
                  <a:lnTo>
                    <a:pt x="293103" y="193586"/>
                  </a:lnTo>
                  <a:lnTo>
                    <a:pt x="292912" y="193040"/>
                  </a:lnTo>
                  <a:lnTo>
                    <a:pt x="292696" y="192417"/>
                  </a:lnTo>
                  <a:lnTo>
                    <a:pt x="293712" y="191033"/>
                  </a:lnTo>
                  <a:lnTo>
                    <a:pt x="294297" y="194652"/>
                  </a:lnTo>
                  <a:lnTo>
                    <a:pt x="294297" y="193433"/>
                  </a:lnTo>
                  <a:lnTo>
                    <a:pt x="293890" y="191033"/>
                  </a:lnTo>
                  <a:lnTo>
                    <a:pt x="295338" y="189763"/>
                  </a:lnTo>
                  <a:lnTo>
                    <a:pt x="296786" y="188493"/>
                  </a:lnTo>
                  <a:lnTo>
                    <a:pt x="300101" y="194843"/>
                  </a:lnTo>
                  <a:lnTo>
                    <a:pt x="300101" y="192557"/>
                  </a:lnTo>
                  <a:lnTo>
                    <a:pt x="297459" y="188493"/>
                  </a:lnTo>
                  <a:lnTo>
                    <a:pt x="304101" y="183413"/>
                  </a:lnTo>
                  <a:lnTo>
                    <a:pt x="304101" y="181711"/>
                  </a:lnTo>
                  <a:lnTo>
                    <a:pt x="302031" y="174523"/>
                  </a:lnTo>
                  <a:lnTo>
                    <a:pt x="301828" y="174523"/>
                  </a:lnTo>
                  <a:lnTo>
                    <a:pt x="301155" y="171856"/>
                  </a:lnTo>
                  <a:lnTo>
                    <a:pt x="300621" y="170713"/>
                  </a:lnTo>
                  <a:lnTo>
                    <a:pt x="299504" y="166903"/>
                  </a:lnTo>
                  <a:lnTo>
                    <a:pt x="298030" y="161823"/>
                  </a:lnTo>
                  <a:lnTo>
                    <a:pt x="297776" y="161823"/>
                  </a:lnTo>
                  <a:lnTo>
                    <a:pt x="299402" y="166903"/>
                  </a:lnTo>
                  <a:lnTo>
                    <a:pt x="297827" y="164363"/>
                  </a:lnTo>
                  <a:lnTo>
                    <a:pt x="297980" y="164363"/>
                  </a:lnTo>
                  <a:lnTo>
                    <a:pt x="297840" y="163093"/>
                  </a:lnTo>
                  <a:lnTo>
                    <a:pt x="297700" y="161823"/>
                  </a:lnTo>
                  <a:lnTo>
                    <a:pt x="297332" y="161823"/>
                  </a:lnTo>
                  <a:lnTo>
                    <a:pt x="297548" y="163093"/>
                  </a:lnTo>
                  <a:lnTo>
                    <a:pt x="296570" y="166903"/>
                  </a:lnTo>
                  <a:lnTo>
                    <a:pt x="295287" y="169443"/>
                  </a:lnTo>
                  <a:lnTo>
                    <a:pt x="291896" y="173253"/>
                  </a:lnTo>
                  <a:lnTo>
                    <a:pt x="290499" y="174523"/>
                  </a:lnTo>
                  <a:lnTo>
                    <a:pt x="288582" y="175793"/>
                  </a:lnTo>
                  <a:lnTo>
                    <a:pt x="288937" y="175793"/>
                  </a:lnTo>
                  <a:lnTo>
                    <a:pt x="290588" y="174523"/>
                  </a:lnTo>
                  <a:lnTo>
                    <a:pt x="291985" y="174523"/>
                  </a:lnTo>
                  <a:lnTo>
                    <a:pt x="293141" y="173253"/>
                  </a:lnTo>
                  <a:lnTo>
                    <a:pt x="295376" y="169443"/>
                  </a:lnTo>
                  <a:lnTo>
                    <a:pt x="296646" y="166903"/>
                  </a:lnTo>
                  <a:lnTo>
                    <a:pt x="297573" y="163093"/>
                  </a:lnTo>
                  <a:lnTo>
                    <a:pt x="297649" y="164363"/>
                  </a:lnTo>
                  <a:lnTo>
                    <a:pt x="298361" y="165633"/>
                  </a:lnTo>
                  <a:lnTo>
                    <a:pt x="299732" y="168173"/>
                  </a:lnTo>
                  <a:lnTo>
                    <a:pt x="301459" y="174523"/>
                  </a:lnTo>
                  <a:lnTo>
                    <a:pt x="303949" y="182143"/>
                  </a:lnTo>
                  <a:lnTo>
                    <a:pt x="296316" y="188493"/>
                  </a:lnTo>
                  <a:lnTo>
                    <a:pt x="293687" y="189763"/>
                  </a:lnTo>
                  <a:lnTo>
                    <a:pt x="293509" y="189001"/>
                  </a:lnTo>
                  <a:lnTo>
                    <a:pt x="293509" y="191033"/>
                  </a:lnTo>
                  <a:lnTo>
                    <a:pt x="292265" y="191033"/>
                  </a:lnTo>
                  <a:lnTo>
                    <a:pt x="292785" y="189763"/>
                  </a:lnTo>
                  <a:lnTo>
                    <a:pt x="293027" y="188493"/>
                  </a:lnTo>
                  <a:lnTo>
                    <a:pt x="293509" y="191033"/>
                  </a:lnTo>
                  <a:lnTo>
                    <a:pt x="293509" y="189001"/>
                  </a:lnTo>
                  <a:lnTo>
                    <a:pt x="293395" y="188493"/>
                  </a:lnTo>
                  <a:lnTo>
                    <a:pt x="293116" y="187223"/>
                  </a:lnTo>
                  <a:lnTo>
                    <a:pt x="293458" y="187223"/>
                  </a:lnTo>
                  <a:lnTo>
                    <a:pt x="293458" y="178333"/>
                  </a:lnTo>
                  <a:lnTo>
                    <a:pt x="293319" y="177063"/>
                  </a:lnTo>
                  <a:lnTo>
                    <a:pt x="293458" y="177063"/>
                  </a:lnTo>
                  <a:lnTo>
                    <a:pt x="293319" y="175793"/>
                  </a:lnTo>
                  <a:lnTo>
                    <a:pt x="293458" y="175793"/>
                  </a:lnTo>
                  <a:lnTo>
                    <a:pt x="293319" y="174523"/>
                  </a:lnTo>
                  <a:lnTo>
                    <a:pt x="292836" y="174523"/>
                  </a:lnTo>
                  <a:lnTo>
                    <a:pt x="292684" y="175793"/>
                  </a:lnTo>
                  <a:lnTo>
                    <a:pt x="292836" y="175793"/>
                  </a:lnTo>
                  <a:lnTo>
                    <a:pt x="292684" y="177063"/>
                  </a:lnTo>
                  <a:lnTo>
                    <a:pt x="292836" y="177063"/>
                  </a:lnTo>
                  <a:lnTo>
                    <a:pt x="292684" y="178333"/>
                  </a:lnTo>
                  <a:lnTo>
                    <a:pt x="292684" y="187223"/>
                  </a:lnTo>
                  <a:lnTo>
                    <a:pt x="293039" y="187223"/>
                  </a:lnTo>
                  <a:lnTo>
                    <a:pt x="292684" y="188493"/>
                  </a:lnTo>
                  <a:lnTo>
                    <a:pt x="292138" y="191033"/>
                  </a:lnTo>
                  <a:lnTo>
                    <a:pt x="292061" y="190766"/>
                  </a:lnTo>
                  <a:lnTo>
                    <a:pt x="292061" y="191033"/>
                  </a:lnTo>
                  <a:lnTo>
                    <a:pt x="291909" y="192303"/>
                  </a:lnTo>
                  <a:lnTo>
                    <a:pt x="292011" y="192620"/>
                  </a:lnTo>
                  <a:lnTo>
                    <a:pt x="291884" y="192506"/>
                  </a:lnTo>
                  <a:lnTo>
                    <a:pt x="291909" y="192303"/>
                  </a:lnTo>
                  <a:lnTo>
                    <a:pt x="291604" y="191452"/>
                  </a:lnTo>
                  <a:lnTo>
                    <a:pt x="291604" y="192252"/>
                  </a:lnTo>
                  <a:lnTo>
                    <a:pt x="290639" y="191389"/>
                  </a:lnTo>
                  <a:lnTo>
                    <a:pt x="290639" y="193217"/>
                  </a:lnTo>
                  <a:lnTo>
                    <a:pt x="290423" y="193421"/>
                  </a:lnTo>
                  <a:lnTo>
                    <a:pt x="290423" y="197383"/>
                  </a:lnTo>
                  <a:lnTo>
                    <a:pt x="289623" y="199923"/>
                  </a:lnTo>
                  <a:lnTo>
                    <a:pt x="289623" y="231673"/>
                  </a:lnTo>
                  <a:lnTo>
                    <a:pt x="289394" y="231533"/>
                  </a:lnTo>
                  <a:lnTo>
                    <a:pt x="289394" y="232943"/>
                  </a:lnTo>
                  <a:lnTo>
                    <a:pt x="284530" y="236753"/>
                  </a:lnTo>
                  <a:lnTo>
                    <a:pt x="283806" y="236169"/>
                  </a:lnTo>
                  <a:lnTo>
                    <a:pt x="283806" y="236740"/>
                  </a:lnTo>
                  <a:lnTo>
                    <a:pt x="278765" y="241833"/>
                  </a:lnTo>
                  <a:lnTo>
                    <a:pt x="279019" y="234213"/>
                  </a:lnTo>
                  <a:lnTo>
                    <a:pt x="279082" y="232981"/>
                  </a:lnTo>
                  <a:lnTo>
                    <a:pt x="283806" y="236740"/>
                  </a:lnTo>
                  <a:lnTo>
                    <a:pt x="283806" y="236169"/>
                  </a:lnTo>
                  <a:lnTo>
                    <a:pt x="279895" y="232943"/>
                  </a:lnTo>
                  <a:lnTo>
                    <a:pt x="284822" y="229133"/>
                  </a:lnTo>
                  <a:lnTo>
                    <a:pt x="289394" y="232943"/>
                  </a:lnTo>
                  <a:lnTo>
                    <a:pt x="289394" y="231533"/>
                  </a:lnTo>
                  <a:lnTo>
                    <a:pt x="285508" y="229133"/>
                  </a:lnTo>
                  <a:lnTo>
                    <a:pt x="286816" y="227863"/>
                  </a:lnTo>
                  <a:lnTo>
                    <a:pt x="289445" y="225323"/>
                  </a:lnTo>
                  <a:lnTo>
                    <a:pt x="289623" y="231673"/>
                  </a:lnTo>
                  <a:lnTo>
                    <a:pt x="289623" y="199923"/>
                  </a:lnTo>
                  <a:lnTo>
                    <a:pt x="289509" y="196113"/>
                  </a:lnTo>
                  <a:lnTo>
                    <a:pt x="290423" y="197383"/>
                  </a:lnTo>
                  <a:lnTo>
                    <a:pt x="290423" y="193421"/>
                  </a:lnTo>
                  <a:lnTo>
                    <a:pt x="289369" y="194398"/>
                  </a:lnTo>
                  <a:lnTo>
                    <a:pt x="289369" y="222783"/>
                  </a:lnTo>
                  <a:lnTo>
                    <a:pt x="289344" y="224104"/>
                  </a:lnTo>
                  <a:lnTo>
                    <a:pt x="284835" y="227863"/>
                  </a:lnTo>
                  <a:lnTo>
                    <a:pt x="284137" y="227253"/>
                  </a:lnTo>
                  <a:lnTo>
                    <a:pt x="284137" y="229133"/>
                  </a:lnTo>
                  <a:lnTo>
                    <a:pt x="279095" y="232943"/>
                  </a:lnTo>
                  <a:lnTo>
                    <a:pt x="279285" y="227863"/>
                  </a:lnTo>
                  <a:lnTo>
                    <a:pt x="279336" y="226593"/>
                  </a:lnTo>
                  <a:lnTo>
                    <a:pt x="280085" y="225323"/>
                  </a:lnTo>
                  <a:lnTo>
                    <a:pt x="284137" y="229133"/>
                  </a:lnTo>
                  <a:lnTo>
                    <a:pt x="284137" y="227253"/>
                  </a:lnTo>
                  <a:lnTo>
                    <a:pt x="281965" y="225323"/>
                  </a:lnTo>
                  <a:lnTo>
                    <a:pt x="280530" y="224053"/>
                  </a:lnTo>
                  <a:lnTo>
                    <a:pt x="281190" y="222783"/>
                  </a:lnTo>
                  <a:lnTo>
                    <a:pt x="280873" y="222783"/>
                  </a:lnTo>
                  <a:lnTo>
                    <a:pt x="280314" y="224053"/>
                  </a:lnTo>
                  <a:lnTo>
                    <a:pt x="279946" y="224053"/>
                  </a:lnTo>
                  <a:lnTo>
                    <a:pt x="279996" y="222783"/>
                  </a:lnTo>
                  <a:lnTo>
                    <a:pt x="281736" y="221627"/>
                  </a:lnTo>
                  <a:lnTo>
                    <a:pt x="282384" y="220243"/>
                  </a:lnTo>
                  <a:lnTo>
                    <a:pt x="284238" y="218973"/>
                  </a:lnTo>
                  <a:lnTo>
                    <a:pt x="289217" y="223888"/>
                  </a:lnTo>
                  <a:lnTo>
                    <a:pt x="289344" y="224104"/>
                  </a:lnTo>
                  <a:lnTo>
                    <a:pt x="289344" y="222770"/>
                  </a:lnTo>
                  <a:lnTo>
                    <a:pt x="284924" y="218973"/>
                  </a:lnTo>
                  <a:lnTo>
                    <a:pt x="286334" y="217703"/>
                  </a:lnTo>
                  <a:lnTo>
                    <a:pt x="289166" y="215163"/>
                  </a:lnTo>
                  <a:lnTo>
                    <a:pt x="289369" y="222783"/>
                  </a:lnTo>
                  <a:lnTo>
                    <a:pt x="289369" y="194398"/>
                  </a:lnTo>
                  <a:lnTo>
                    <a:pt x="289128" y="194614"/>
                  </a:lnTo>
                  <a:lnTo>
                    <a:pt x="289128" y="213893"/>
                  </a:lnTo>
                  <a:lnTo>
                    <a:pt x="288899" y="213690"/>
                  </a:lnTo>
                  <a:lnTo>
                    <a:pt x="288899" y="213893"/>
                  </a:lnTo>
                  <a:lnTo>
                    <a:pt x="284251" y="217703"/>
                  </a:lnTo>
                  <a:lnTo>
                    <a:pt x="283730" y="217703"/>
                  </a:lnTo>
                  <a:lnTo>
                    <a:pt x="284556" y="216433"/>
                  </a:lnTo>
                  <a:lnTo>
                    <a:pt x="285165" y="214426"/>
                  </a:lnTo>
                  <a:lnTo>
                    <a:pt x="287858" y="212979"/>
                  </a:lnTo>
                  <a:lnTo>
                    <a:pt x="288899" y="213893"/>
                  </a:lnTo>
                  <a:lnTo>
                    <a:pt x="288899" y="213690"/>
                  </a:lnTo>
                  <a:lnTo>
                    <a:pt x="288023" y="212890"/>
                  </a:lnTo>
                  <a:lnTo>
                    <a:pt x="289077" y="212331"/>
                  </a:lnTo>
                  <a:lnTo>
                    <a:pt x="289128" y="213893"/>
                  </a:lnTo>
                  <a:lnTo>
                    <a:pt x="289128" y="194614"/>
                  </a:lnTo>
                  <a:lnTo>
                    <a:pt x="289039" y="210820"/>
                  </a:lnTo>
                  <a:lnTo>
                    <a:pt x="286981" y="211937"/>
                  </a:lnTo>
                  <a:lnTo>
                    <a:pt x="286791" y="211759"/>
                  </a:lnTo>
                  <a:lnTo>
                    <a:pt x="286791" y="212039"/>
                  </a:lnTo>
                  <a:lnTo>
                    <a:pt x="285673" y="212636"/>
                  </a:lnTo>
                  <a:lnTo>
                    <a:pt x="286042" y="211353"/>
                  </a:lnTo>
                  <a:lnTo>
                    <a:pt x="286791" y="212039"/>
                  </a:lnTo>
                  <a:lnTo>
                    <a:pt x="286791" y="211759"/>
                  </a:lnTo>
                  <a:lnTo>
                    <a:pt x="286359" y="211353"/>
                  </a:lnTo>
                  <a:lnTo>
                    <a:pt x="287159" y="208813"/>
                  </a:lnTo>
                  <a:lnTo>
                    <a:pt x="287528" y="207543"/>
                  </a:lnTo>
                  <a:lnTo>
                    <a:pt x="288937" y="206273"/>
                  </a:lnTo>
                  <a:lnTo>
                    <a:pt x="289039" y="210820"/>
                  </a:lnTo>
                  <a:lnTo>
                    <a:pt x="289039" y="194703"/>
                  </a:lnTo>
                  <a:lnTo>
                    <a:pt x="288874" y="194843"/>
                  </a:lnTo>
                  <a:lnTo>
                    <a:pt x="288836" y="202463"/>
                  </a:lnTo>
                  <a:lnTo>
                    <a:pt x="288531" y="203733"/>
                  </a:lnTo>
                  <a:lnTo>
                    <a:pt x="288124" y="203403"/>
                  </a:lnTo>
                  <a:lnTo>
                    <a:pt x="288124" y="205003"/>
                  </a:lnTo>
                  <a:lnTo>
                    <a:pt x="287680" y="205003"/>
                  </a:lnTo>
                  <a:lnTo>
                    <a:pt x="287680" y="206273"/>
                  </a:lnTo>
                  <a:lnTo>
                    <a:pt x="287172" y="206654"/>
                  </a:lnTo>
                  <a:lnTo>
                    <a:pt x="287172" y="207543"/>
                  </a:lnTo>
                  <a:lnTo>
                    <a:pt x="286156" y="211353"/>
                  </a:lnTo>
                  <a:lnTo>
                    <a:pt x="285851" y="211035"/>
                  </a:lnTo>
                  <a:lnTo>
                    <a:pt x="285851" y="211353"/>
                  </a:lnTo>
                  <a:lnTo>
                    <a:pt x="285445" y="212763"/>
                  </a:lnTo>
                  <a:lnTo>
                    <a:pt x="284632" y="213207"/>
                  </a:lnTo>
                  <a:lnTo>
                    <a:pt x="284632" y="214706"/>
                  </a:lnTo>
                  <a:lnTo>
                    <a:pt x="284340" y="215201"/>
                  </a:lnTo>
                  <a:lnTo>
                    <a:pt x="283527" y="217703"/>
                  </a:lnTo>
                  <a:lnTo>
                    <a:pt x="283171" y="217436"/>
                  </a:lnTo>
                  <a:lnTo>
                    <a:pt x="283171" y="218973"/>
                  </a:lnTo>
                  <a:lnTo>
                    <a:pt x="282765" y="218973"/>
                  </a:lnTo>
                  <a:lnTo>
                    <a:pt x="279488" y="221513"/>
                  </a:lnTo>
                  <a:lnTo>
                    <a:pt x="279654" y="216941"/>
                  </a:lnTo>
                  <a:lnTo>
                    <a:pt x="280898" y="216471"/>
                  </a:lnTo>
                  <a:lnTo>
                    <a:pt x="283171" y="218973"/>
                  </a:lnTo>
                  <a:lnTo>
                    <a:pt x="283171" y="217436"/>
                  </a:lnTo>
                  <a:lnTo>
                    <a:pt x="281609" y="216204"/>
                  </a:lnTo>
                  <a:lnTo>
                    <a:pt x="282397" y="215900"/>
                  </a:lnTo>
                  <a:lnTo>
                    <a:pt x="284632" y="214706"/>
                  </a:lnTo>
                  <a:lnTo>
                    <a:pt x="284632" y="213207"/>
                  </a:lnTo>
                  <a:lnTo>
                    <a:pt x="281978" y="214630"/>
                  </a:lnTo>
                  <a:lnTo>
                    <a:pt x="280555" y="215366"/>
                  </a:lnTo>
                  <a:lnTo>
                    <a:pt x="280314" y="215163"/>
                  </a:lnTo>
                  <a:lnTo>
                    <a:pt x="280377" y="213893"/>
                  </a:lnTo>
                  <a:lnTo>
                    <a:pt x="281673" y="212623"/>
                  </a:lnTo>
                  <a:lnTo>
                    <a:pt x="284264" y="210083"/>
                  </a:lnTo>
                  <a:lnTo>
                    <a:pt x="285851" y="211353"/>
                  </a:lnTo>
                  <a:lnTo>
                    <a:pt x="285851" y="211035"/>
                  </a:lnTo>
                  <a:lnTo>
                    <a:pt x="284937" y="210083"/>
                  </a:lnTo>
                  <a:lnTo>
                    <a:pt x="286054" y="208813"/>
                  </a:lnTo>
                  <a:lnTo>
                    <a:pt x="287172" y="207543"/>
                  </a:lnTo>
                  <a:lnTo>
                    <a:pt x="287172" y="206654"/>
                  </a:lnTo>
                  <a:lnTo>
                    <a:pt x="284276" y="208813"/>
                  </a:lnTo>
                  <a:lnTo>
                    <a:pt x="283603" y="208318"/>
                  </a:lnTo>
                  <a:lnTo>
                    <a:pt x="283603" y="210083"/>
                  </a:lnTo>
                  <a:lnTo>
                    <a:pt x="280098" y="212458"/>
                  </a:lnTo>
                  <a:lnTo>
                    <a:pt x="280098" y="215595"/>
                  </a:lnTo>
                  <a:lnTo>
                    <a:pt x="279704" y="215798"/>
                  </a:lnTo>
                  <a:lnTo>
                    <a:pt x="279730" y="215163"/>
                  </a:lnTo>
                  <a:lnTo>
                    <a:pt x="280098" y="215595"/>
                  </a:lnTo>
                  <a:lnTo>
                    <a:pt x="280098" y="212458"/>
                  </a:lnTo>
                  <a:lnTo>
                    <a:pt x="279844" y="212623"/>
                  </a:lnTo>
                  <a:lnTo>
                    <a:pt x="280073" y="206273"/>
                  </a:lnTo>
                  <a:lnTo>
                    <a:pt x="283603" y="210083"/>
                  </a:lnTo>
                  <a:lnTo>
                    <a:pt x="283603" y="208318"/>
                  </a:lnTo>
                  <a:lnTo>
                    <a:pt x="280847" y="206273"/>
                  </a:lnTo>
                  <a:lnTo>
                    <a:pt x="287680" y="206273"/>
                  </a:lnTo>
                  <a:lnTo>
                    <a:pt x="287680" y="205003"/>
                  </a:lnTo>
                  <a:lnTo>
                    <a:pt x="280593" y="205003"/>
                  </a:lnTo>
                  <a:lnTo>
                    <a:pt x="284480" y="201193"/>
                  </a:lnTo>
                  <a:lnTo>
                    <a:pt x="288124" y="205003"/>
                  </a:lnTo>
                  <a:lnTo>
                    <a:pt x="288124" y="203403"/>
                  </a:lnTo>
                  <a:lnTo>
                    <a:pt x="286156" y="201193"/>
                  </a:lnTo>
                  <a:lnTo>
                    <a:pt x="285026" y="199923"/>
                  </a:lnTo>
                  <a:lnTo>
                    <a:pt x="288645" y="196113"/>
                  </a:lnTo>
                  <a:lnTo>
                    <a:pt x="288836" y="202463"/>
                  </a:lnTo>
                  <a:lnTo>
                    <a:pt x="288836" y="194843"/>
                  </a:lnTo>
                  <a:lnTo>
                    <a:pt x="287870" y="194843"/>
                  </a:lnTo>
                  <a:lnTo>
                    <a:pt x="284467" y="199923"/>
                  </a:lnTo>
                  <a:lnTo>
                    <a:pt x="283908" y="199110"/>
                  </a:lnTo>
                  <a:lnTo>
                    <a:pt x="283908" y="199923"/>
                  </a:lnTo>
                  <a:lnTo>
                    <a:pt x="280149" y="205003"/>
                  </a:lnTo>
                  <a:lnTo>
                    <a:pt x="280454" y="196113"/>
                  </a:lnTo>
                  <a:lnTo>
                    <a:pt x="283908" y="199923"/>
                  </a:lnTo>
                  <a:lnTo>
                    <a:pt x="283908" y="199110"/>
                  </a:lnTo>
                  <a:lnTo>
                    <a:pt x="281863" y="196113"/>
                  </a:lnTo>
                  <a:lnTo>
                    <a:pt x="281000" y="194843"/>
                  </a:lnTo>
                  <a:lnTo>
                    <a:pt x="280212" y="194843"/>
                  </a:lnTo>
                  <a:lnTo>
                    <a:pt x="279603" y="194322"/>
                  </a:lnTo>
                  <a:lnTo>
                    <a:pt x="279603" y="196113"/>
                  </a:lnTo>
                  <a:lnTo>
                    <a:pt x="279285" y="205003"/>
                  </a:lnTo>
                  <a:lnTo>
                    <a:pt x="279247" y="206273"/>
                  </a:lnTo>
                  <a:lnTo>
                    <a:pt x="278853" y="216230"/>
                  </a:lnTo>
                  <a:lnTo>
                    <a:pt x="272034" y="219710"/>
                  </a:lnTo>
                  <a:lnTo>
                    <a:pt x="267817" y="220751"/>
                  </a:lnTo>
                  <a:lnTo>
                    <a:pt x="269214" y="218973"/>
                  </a:lnTo>
                  <a:lnTo>
                    <a:pt x="271119" y="215163"/>
                  </a:lnTo>
                  <a:lnTo>
                    <a:pt x="273913" y="208813"/>
                  </a:lnTo>
                  <a:lnTo>
                    <a:pt x="274916" y="206273"/>
                  </a:lnTo>
                  <a:lnTo>
                    <a:pt x="275818" y="202463"/>
                  </a:lnTo>
                  <a:lnTo>
                    <a:pt x="279247" y="206273"/>
                  </a:lnTo>
                  <a:lnTo>
                    <a:pt x="279247" y="204978"/>
                  </a:lnTo>
                  <a:lnTo>
                    <a:pt x="276123" y="202463"/>
                  </a:lnTo>
                  <a:lnTo>
                    <a:pt x="277329" y="198653"/>
                  </a:lnTo>
                  <a:lnTo>
                    <a:pt x="279603" y="196113"/>
                  </a:lnTo>
                  <a:lnTo>
                    <a:pt x="279603" y="194322"/>
                  </a:lnTo>
                  <a:lnTo>
                    <a:pt x="278726" y="193573"/>
                  </a:lnTo>
                  <a:lnTo>
                    <a:pt x="279260" y="191033"/>
                  </a:lnTo>
                  <a:lnTo>
                    <a:pt x="280238" y="187223"/>
                  </a:lnTo>
                  <a:lnTo>
                    <a:pt x="281114" y="183413"/>
                  </a:lnTo>
                  <a:lnTo>
                    <a:pt x="281190" y="183045"/>
                  </a:lnTo>
                  <a:lnTo>
                    <a:pt x="282155" y="184150"/>
                  </a:lnTo>
                  <a:lnTo>
                    <a:pt x="289013" y="191770"/>
                  </a:lnTo>
                  <a:lnTo>
                    <a:pt x="290639" y="193217"/>
                  </a:lnTo>
                  <a:lnTo>
                    <a:pt x="290639" y="191389"/>
                  </a:lnTo>
                  <a:lnTo>
                    <a:pt x="289648" y="190500"/>
                  </a:lnTo>
                  <a:lnTo>
                    <a:pt x="282816" y="182880"/>
                  </a:lnTo>
                  <a:lnTo>
                    <a:pt x="281482" y="181610"/>
                  </a:lnTo>
                  <a:lnTo>
                    <a:pt x="281914" y="179603"/>
                  </a:lnTo>
                  <a:lnTo>
                    <a:pt x="282651" y="175793"/>
                  </a:lnTo>
                  <a:lnTo>
                    <a:pt x="283375" y="171856"/>
                  </a:lnTo>
                  <a:lnTo>
                    <a:pt x="283984" y="168173"/>
                  </a:lnTo>
                  <a:lnTo>
                    <a:pt x="286283" y="175793"/>
                  </a:lnTo>
                  <a:lnTo>
                    <a:pt x="287235" y="179603"/>
                  </a:lnTo>
                  <a:lnTo>
                    <a:pt x="290271" y="188493"/>
                  </a:lnTo>
                  <a:lnTo>
                    <a:pt x="291604" y="192252"/>
                  </a:lnTo>
                  <a:lnTo>
                    <a:pt x="291604" y="191452"/>
                  </a:lnTo>
                  <a:lnTo>
                    <a:pt x="290563" y="188493"/>
                  </a:lnTo>
                  <a:lnTo>
                    <a:pt x="289293" y="184683"/>
                  </a:lnTo>
                  <a:lnTo>
                    <a:pt x="287591" y="178333"/>
                  </a:lnTo>
                  <a:lnTo>
                    <a:pt x="286702" y="175793"/>
                  </a:lnTo>
                  <a:lnTo>
                    <a:pt x="284949" y="170713"/>
                  </a:lnTo>
                  <a:lnTo>
                    <a:pt x="284124" y="168173"/>
                  </a:lnTo>
                  <a:lnTo>
                    <a:pt x="284314" y="166903"/>
                  </a:lnTo>
                  <a:lnTo>
                    <a:pt x="284746" y="164185"/>
                  </a:lnTo>
                  <a:lnTo>
                    <a:pt x="284975" y="163093"/>
                  </a:lnTo>
                  <a:lnTo>
                    <a:pt x="285826" y="166903"/>
                  </a:lnTo>
                  <a:lnTo>
                    <a:pt x="286727" y="171983"/>
                  </a:lnTo>
                  <a:lnTo>
                    <a:pt x="287756" y="175793"/>
                  </a:lnTo>
                  <a:lnTo>
                    <a:pt x="288937" y="180873"/>
                  </a:lnTo>
                  <a:lnTo>
                    <a:pt x="290220" y="186016"/>
                  </a:lnTo>
                  <a:lnTo>
                    <a:pt x="291680" y="189763"/>
                  </a:lnTo>
                  <a:lnTo>
                    <a:pt x="292061" y="191033"/>
                  </a:lnTo>
                  <a:lnTo>
                    <a:pt x="292061" y="190766"/>
                  </a:lnTo>
                  <a:lnTo>
                    <a:pt x="290385" y="184683"/>
                  </a:lnTo>
                  <a:lnTo>
                    <a:pt x="289102" y="180873"/>
                  </a:lnTo>
                  <a:lnTo>
                    <a:pt x="287972" y="175793"/>
                  </a:lnTo>
                  <a:lnTo>
                    <a:pt x="286893" y="171856"/>
                  </a:lnTo>
                  <a:lnTo>
                    <a:pt x="286004" y="166903"/>
                  </a:lnTo>
                  <a:lnTo>
                    <a:pt x="285165" y="163093"/>
                  </a:lnTo>
                  <a:lnTo>
                    <a:pt x="285165" y="161823"/>
                  </a:lnTo>
                  <a:lnTo>
                    <a:pt x="285927" y="161823"/>
                  </a:lnTo>
                  <a:lnTo>
                    <a:pt x="285927" y="160553"/>
                  </a:lnTo>
                  <a:lnTo>
                    <a:pt x="285800" y="160553"/>
                  </a:lnTo>
                  <a:lnTo>
                    <a:pt x="285927" y="159283"/>
                  </a:lnTo>
                  <a:lnTo>
                    <a:pt x="285623" y="159283"/>
                  </a:lnTo>
                  <a:lnTo>
                    <a:pt x="285559" y="158013"/>
                  </a:lnTo>
                  <a:lnTo>
                    <a:pt x="285623" y="156743"/>
                  </a:lnTo>
                  <a:lnTo>
                    <a:pt x="285927" y="156743"/>
                  </a:lnTo>
                  <a:lnTo>
                    <a:pt x="285800" y="155473"/>
                  </a:lnTo>
                  <a:lnTo>
                    <a:pt x="285927" y="155473"/>
                  </a:lnTo>
                  <a:lnTo>
                    <a:pt x="285927" y="154203"/>
                  </a:lnTo>
                  <a:lnTo>
                    <a:pt x="285559" y="154203"/>
                  </a:lnTo>
                  <a:lnTo>
                    <a:pt x="285419" y="152933"/>
                  </a:lnTo>
                  <a:lnTo>
                    <a:pt x="285623" y="152933"/>
                  </a:lnTo>
                  <a:lnTo>
                    <a:pt x="285559" y="151663"/>
                  </a:lnTo>
                  <a:lnTo>
                    <a:pt x="285623" y="150393"/>
                  </a:lnTo>
                  <a:lnTo>
                    <a:pt x="285927" y="150393"/>
                  </a:lnTo>
                  <a:lnTo>
                    <a:pt x="285927" y="149123"/>
                  </a:lnTo>
                  <a:lnTo>
                    <a:pt x="285800" y="149123"/>
                  </a:lnTo>
                  <a:lnTo>
                    <a:pt x="285927" y="147853"/>
                  </a:lnTo>
                  <a:lnTo>
                    <a:pt x="285623" y="147853"/>
                  </a:lnTo>
                  <a:lnTo>
                    <a:pt x="285559" y="146583"/>
                  </a:lnTo>
                  <a:lnTo>
                    <a:pt x="285610" y="145313"/>
                  </a:lnTo>
                  <a:lnTo>
                    <a:pt x="285165" y="145313"/>
                  </a:lnTo>
                  <a:lnTo>
                    <a:pt x="285165" y="144043"/>
                  </a:lnTo>
                  <a:lnTo>
                    <a:pt x="284670" y="144043"/>
                  </a:lnTo>
                  <a:lnTo>
                    <a:pt x="284670" y="145313"/>
                  </a:lnTo>
                  <a:lnTo>
                    <a:pt x="284226" y="145313"/>
                  </a:lnTo>
                  <a:lnTo>
                    <a:pt x="284187" y="146583"/>
                  </a:lnTo>
                  <a:lnTo>
                    <a:pt x="284213" y="147853"/>
                  </a:lnTo>
                  <a:lnTo>
                    <a:pt x="283908" y="147853"/>
                  </a:lnTo>
                  <a:lnTo>
                    <a:pt x="284035" y="149123"/>
                  </a:lnTo>
                  <a:lnTo>
                    <a:pt x="283908" y="149123"/>
                  </a:lnTo>
                  <a:lnTo>
                    <a:pt x="283908" y="150393"/>
                  </a:lnTo>
                  <a:lnTo>
                    <a:pt x="284213" y="150393"/>
                  </a:lnTo>
                  <a:lnTo>
                    <a:pt x="284187" y="151663"/>
                  </a:lnTo>
                  <a:lnTo>
                    <a:pt x="284213" y="152933"/>
                  </a:lnTo>
                  <a:lnTo>
                    <a:pt x="284416" y="152933"/>
                  </a:lnTo>
                  <a:lnTo>
                    <a:pt x="284289" y="154203"/>
                  </a:lnTo>
                  <a:lnTo>
                    <a:pt x="283908" y="154203"/>
                  </a:lnTo>
                  <a:lnTo>
                    <a:pt x="283908" y="155473"/>
                  </a:lnTo>
                  <a:lnTo>
                    <a:pt x="283908" y="156743"/>
                  </a:lnTo>
                  <a:lnTo>
                    <a:pt x="284213" y="156743"/>
                  </a:lnTo>
                  <a:lnTo>
                    <a:pt x="284187" y="158013"/>
                  </a:lnTo>
                  <a:lnTo>
                    <a:pt x="284213" y="159283"/>
                  </a:lnTo>
                  <a:lnTo>
                    <a:pt x="283908" y="159283"/>
                  </a:lnTo>
                  <a:lnTo>
                    <a:pt x="284035" y="160553"/>
                  </a:lnTo>
                  <a:lnTo>
                    <a:pt x="283908" y="160553"/>
                  </a:lnTo>
                  <a:lnTo>
                    <a:pt x="283908" y="161823"/>
                  </a:lnTo>
                  <a:lnTo>
                    <a:pt x="284670" y="161823"/>
                  </a:lnTo>
                  <a:lnTo>
                    <a:pt x="284670" y="163093"/>
                  </a:lnTo>
                  <a:lnTo>
                    <a:pt x="283984" y="166903"/>
                  </a:lnTo>
                  <a:lnTo>
                    <a:pt x="283845" y="166484"/>
                  </a:lnTo>
                  <a:lnTo>
                    <a:pt x="283845" y="168173"/>
                  </a:lnTo>
                  <a:lnTo>
                    <a:pt x="282473" y="175793"/>
                  </a:lnTo>
                  <a:lnTo>
                    <a:pt x="281673" y="179603"/>
                  </a:lnTo>
                  <a:lnTo>
                    <a:pt x="281292" y="181419"/>
                  </a:lnTo>
                  <a:lnTo>
                    <a:pt x="280987" y="181127"/>
                  </a:lnTo>
                  <a:lnTo>
                    <a:pt x="280987" y="182816"/>
                  </a:lnTo>
                  <a:lnTo>
                    <a:pt x="280873" y="183413"/>
                  </a:lnTo>
                  <a:lnTo>
                    <a:pt x="279031" y="191033"/>
                  </a:lnTo>
                  <a:lnTo>
                    <a:pt x="278523" y="193459"/>
                  </a:lnTo>
                  <a:lnTo>
                    <a:pt x="278257" y="193382"/>
                  </a:lnTo>
                  <a:lnTo>
                    <a:pt x="278257" y="193573"/>
                  </a:lnTo>
                  <a:lnTo>
                    <a:pt x="278168" y="194538"/>
                  </a:lnTo>
                  <a:lnTo>
                    <a:pt x="278079" y="194843"/>
                  </a:lnTo>
                  <a:lnTo>
                    <a:pt x="277901" y="194843"/>
                  </a:lnTo>
                  <a:lnTo>
                    <a:pt x="277444" y="197383"/>
                  </a:lnTo>
                  <a:lnTo>
                    <a:pt x="276936" y="197777"/>
                  </a:lnTo>
                  <a:lnTo>
                    <a:pt x="276936" y="198653"/>
                  </a:lnTo>
                  <a:lnTo>
                    <a:pt x="275907" y="202463"/>
                  </a:lnTo>
                  <a:lnTo>
                    <a:pt x="275602" y="202145"/>
                  </a:lnTo>
                  <a:lnTo>
                    <a:pt x="275602" y="202463"/>
                  </a:lnTo>
                  <a:lnTo>
                    <a:pt x="274675" y="205003"/>
                  </a:lnTo>
                  <a:lnTo>
                    <a:pt x="273672" y="208813"/>
                  </a:lnTo>
                  <a:lnTo>
                    <a:pt x="272529" y="211353"/>
                  </a:lnTo>
                  <a:lnTo>
                    <a:pt x="270852" y="215201"/>
                  </a:lnTo>
                  <a:lnTo>
                    <a:pt x="268960" y="218973"/>
                  </a:lnTo>
                  <a:lnTo>
                    <a:pt x="267512" y="220814"/>
                  </a:lnTo>
                  <a:lnTo>
                    <a:pt x="266801" y="220992"/>
                  </a:lnTo>
                  <a:lnTo>
                    <a:pt x="266801" y="221729"/>
                  </a:lnTo>
                  <a:lnTo>
                    <a:pt x="264998" y="224040"/>
                  </a:lnTo>
                  <a:lnTo>
                    <a:pt x="263448" y="225323"/>
                  </a:lnTo>
                  <a:lnTo>
                    <a:pt x="261505" y="226593"/>
                  </a:lnTo>
                  <a:lnTo>
                    <a:pt x="260451" y="224040"/>
                  </a:lnTo>
                  <a:lnTo>
                    <a:pt x="260197" y="223723"/>
                  </a:lnTo>
                  <a:lnTo>
                    <a:pt x="261848" y="223520"/>
                  </a:lnTo>
                  <a:lnTo>
                    <a:pt x="266801" y="221729"/>
                  </a:lnTo>
                  <a:lnTo>
                    <a:pt x="266801" y="220992"/>
                  </a:lnTo>
                  <a:lnTo>
                    <a:pt x="261645" y="222250"/>
                  </a:lnTo>
                  <a:lnTo>
                    <a:pt x="259321" y="222529"/>
                  </a:lnTo>
                  <a:lnTo>
                    <a:pt x="258813" y="221843"/>
                  </a:lnTo>
                  <a:lnTo>
                    <a:pt x="258813" y="222592"/>
                  </a:lnTo>
                  <a:lnTo>
                    <a:pt x="250977" y="223520"/>
                  </a:lnTo>
                  <a:lnTo>
                    <a:pt x="249301" y="223520"/>
                  </a:lnTo>
                  <a:lnTo>
                    <a:pt x="249097" y="223367"/>
                  </a:lnTo>
                  <a:lnTo>
                    <a:pt x="249097" y="223520"/>
                  </a:lnTo>
                  <a:lnTo>
                    <a:pt x="240220" y="223520"/>
                  </a:lnTo>
                  <a:lnTo>
                    <a:pt x="229514" y="222250"/>
                  </a:lnTo>
                  <a:lnTo>
                    <a:pt x="217906" y="219417"/>
                  </a:lnTo>
                  <a:lnTo>
                    <a:pt x="220014" y="218973"/>
                  </a:lnTo>
                  <a:lnTo>
                    <a:pt x="224218" y="215163"/>
                  </a:lnTo>
                  <a:lnTo>
                    <a:pt x="227825" y="211353"/>
                  </a:lnTo>
                  <a:lnTo>
                    <a:pt x="230162" y="208813"/>
                  </a:lnTo>
                  <a:lnTo>
                    <a:pt x="232257" y="206273"/>
                  </a:lnTo>
                  <a:lnTo>
                    <a:pt x="234200" y="203733"/>
                  </a:lnTo>
                  <a:lnTo>
                    <a:pt x="236474" y="208813"/>
                  </a:lnTo>
                  <a:lnTo>
                    <a:pt x="237693" y="210083"/>
                  </a:lnTo>
                  <a:lnTo>
                    <a:pt x="239928" y="213893"/>
                  </a:lnTo>
                  <a:lnTo>
                    <a:pt x="242341" y="217703"/>
                  </a:lnTo>
                  <a:lnTo>
                    <a:pt x="246710" y="221627"/>
                  </a:lnTo>
                  <a:lnTo>
                    <a:pt x="248170" y="222821"/>
                  </a:lnTo>
                  <a:lnTo>
                    <a:pt x="249097" y="223520"/>
                  </a:lnTo>
                  <a:lnTo>
                    <a:pt x="249097" y="223367"/>
                  </a:lnTo>
                  <a:lnTo>
                    <a:pt x="248335" y="222783"/>
                  </a:lnTo>
                  <a:lnTo>
                    <a:pt x="246875" y="221576"/>
                  </a:lnTo>
                  <a:lnTo>
                    <a:pt x="246761" y="221449"/>
                  </a:lnTo>
                  <a:lnTo>
                    <a:pt x="242608" y="216433"/>
                  </a:lnTo>
                  <a:lnTo>
                    <a:pt x="240207" y="213893"/>
                  </a:lnTo>
                  <a:lnTo>
                    <a:pt x="236753" y="207543"/>
                  </a:lnTo>
                  <a:lnTo>
                    <a:pt x="235572" y="206273"/>
                  </a:lnTo>
                  <a:lnTo>
                    <a:pt x="234442" y="203733"/>
                  </a:lnTo>
                  <a:lnTo>
                    <a:pt x="245173" y="184683"/>
                  </a:lnTo>
                  <a:lnTo>
                    <a:pt x="246024" y="188493"/>
                  </a:lnTo>
                  <a:lnTo>
                    <a:pt x="246900" y="191033"/>
                  </a:lnTo>
                  <a:lnTo>
                    <a:pt x="249440" y="198653"/>
                  </a:lnTo>
                  <a:lnTo>
                    <a:pt x="251193" y="205003"/>
                  </a:lnTo>
                  <a:lnTo>
                    <a:pt x="255181" y="215201"/>
                  </a:lnTo>
                  <a:lnTo>
                    <a:pt x="257352" y="220243"/>
                  </a:lnTo>
                  <a:lnTo>
                    <a:pt x="258813" y="222592"/>
                  </a:lnTo>
                  <a:lnTo>
                    <a:pt x="258813" y="221843"/>
                  </a:lnTo>
                  <a:lnTo>
                    <a:pt x="257632" y="220243"/>
                  </a:lnTo>
                  <a:lnTo>
                    <a:pt x="255460" y="215163"/>
                  </a:lnTo>
                  <a:lnTo>
                    <a:pt x="250634" y="201193"/>
                  </a:lnTo>
                  <a:lnTo>
                    <a:pt x="247192" y="191033"/>
                  </a:lnTo>
                  <a:lnTo>
                    <a:pt x="245402" y="184683"/>
                  </a:lnTo>
                  <a:lnTo>
                    <a:pt x="246011" y="183413"/>
                  </a:lnTo>
                  <a:lnTo>
                    <a:pt x="247243" y="180873"/>
                  </a:lnTo>
                  <a:lnTo>
                    <a:pt x="248932" y="177063"/>
                  </a:lnTo>
                  <a:lnTo>
                    <a:pt x="252247" y="168173"/>
                  </a:lnTo>
                  <a:lnTo>
                    <a:pt x="253860" y="163093"/>
                  </a:lnTo>
                  <a:lnTo>
                    <a:pt x="255384" y="159283"/>
                  </a:lnTo>
                  <a:lnTo>
                    <a:pt x="266712" y="194843"/>
                  </a:lnTo>
                  <a:lnTo>
                    <a:pt x="275602" y="202463"/>
                  </a:lnTo>
                  <a:lnTo>
                    <a:pt x="275602" y="202145"/>
                  </a:lnTo>
                  <a:lnTo>
                    <a:pt x="274713" y="201193"/>
                  </a:lnTo>
                  <a:lnTo>
                    <a:pt x="275818" y="199923"/>
                  </a:lnTo>
                  <a:lnTo>
                    <a:pt x="276936" y="198653"/>
                  </a:lnTo>
                  <a:lnTo>
                    <a:pt x="276936" y="197777"/>
                  </a:lnTo>
                  <a:lnTo>
                    <a:pt x="274066" y="199923"/>
                  </a:lnTo>
                  <a:lnTo>
                    <a:pt x="268249" y="194843"/>
                  </a:lnTo>
                  <a:lnTo>
                    <a:pt x="267906" y="194843"/>
                  </a:lnTo>
                  <a:lnTo>
                    <a:pt x="268655" y="193573"/>
                  </a:lnTo>
                  <a:lnTo>
                    <a:pt x="271653" y="188493"/>
                  </a:lnTo>
                  <a:lnTo>
                    <a:pt x="278257" y="193573"/>
                  </a:lnTo>
                  <a:lnTo>
                    <a:pt x="278257" y="193382"/>
                  </a:lnTo>
                  <a:lnTo>
                    <a:pt x="272402" y="188493"/>
                  </a:lnTo>
                  <a:lnTo>
                    <a:pt x="270967" y="187312"/>
                  </a:lnTo>
                  <a:lnTo>
                    <a:pt x="270967" y="188493"/>
                  </a:lnTo>
                  <a:lnTo>
                    <a:pt x="267220" y="193573"/>
                  </a:lnTo>
                  <a:lnTo>
                    <a:pt x="263702" y="182143"/>
                  </a:lnTo>
                  <a:lnTo>
                    <a:pt x="270967" y="188493"/>
                  </a:lnTo>
                  <a:lnTo>
                    <a:pt x="270967" y="187312"/>
                  </a:lnTo>
                  <a:lnTo>
                    <a:pt x="264756" y="182143"/>
                  </a:lnTo>
                  <a:lnTo>
                    <a:pt x="263232" y="180873"/>
                  </a:lnTo>
                  <a:lnTo>
                    <a:pt x="256501" y="159283"/>
                  </a:lnTo>
                  <a:lnTo>
                    <a:pt x="256108" y="158013"/>
                  </a:lnTo>
                  <a:lnTo>
                    <a:pt x="257200" y="156743"/>
                  </a:lnTo>
                  <a:lnTo>
                    <a:pt x="258356" y="155409"/>
                  </a:lnTo>
                  <a:lnTo>
                    <a:pt x="262991" y="161290"/>
                  </a:lnTo>
                  <a:lnTo>
                    <a:pt x="269176" y="168910"/>
                  </a:lnTo>
                  <a:lnTo>
                    <a:pt x="275551" y="176530"/>
                  </a:lnTo>
                  <a:lnTo>
                    <a:pt x="280987" y="182816"/>
                  </a:lnTo>
                  <a:lnTo>
                    <a:pt x="280987" y="181127"/>
                  </a:lnTo>
                  <a:lnTo>
                    <a:pt x="276237" y="176530"/>
                  </a:lnTo>
                  <a:lnTo>
                    <a:pt x="269887" y="168910"/>
                  </a:lnTo>
                  <a:lnTo>
                    <a:pt x="263740" y="161290"/>
                  </a:lnTo>
                  <a:lnTo>
                    <a:pt x="259156" y="154470"/>
                  </a:lnTo>
                  <a:lnTo>
                    <a:pt x="259384" y="154203"/>
                  </a:lnTo>
                  <a:lnTo>
                    <a:pt x="261785" y="158013"/>
                  </a:lnTo>
                  <a:lnTo>
                    <a:pt x="264325" y="161823"/>
                  </a:lnTo>
                  <a:lnTo>
                    <a:pt x="269430" y="166903"/>
                  </a:lnTo>
                  <a:lnTo>
                    <a:pt x="271881" y="169443"/>
                  </a:lnTo>
                  <a:lnTo>
                    <a:pt x="275971" y="171983"/>
                  </a:lnTo>
                  <a:lnTo>
                    <a:pt x="277418" y="173253"/>
                  </a:lnTo>
                  <a:lnTo>
                    <a:pt x="280060" y="174523"/>
                  </a:lnTo>
                  <a:lnTo>
                    <a:pt x="281228" y="175793"/>
                  </a:lnTo>
                  <a:lnTo>
                    <a:pt x="280123" y="174523"/>
                  </a:lnTo>
                  <a:lnTo>
                    <a:pt x="277507" y="173253"/>
                  </a:lnTo>
                  <a:lnTo>
                    <a:pt x="276072" y="171983"/>
                  </a:lnTo>
                  <a:lnTo>
                    <a:pt x="272008" y="169443"/>
                  </a:lnTo>
                  <a:lnTo>
                    <a:pt x="269557" y="166903"/>
                  </a:lnTo>
                  <a:lnTo>
                    <a:pt x="267271" y="164363"/>
                  </a:lnTo>
                  <a:lnTo>
                    <a:pt x="264477" y="160553"/>
                  </a:lnTo>
                  <a:lnTo>
                    <a:pt x="261924" y="158013"/>
                  </a:lnTo>
                  <a:lnTo>
                    <a:pt x="259524" y="154203"/>
                  </a:lnTo>
                  <a:lnTo>
                    <a:pt x="260489" y="152933"/>
                  </a:lnTo>
                  <a:lnTo>
                    <a:pt x="261454" y="151663"/>
                  </a:lnTo>
                  <a:lnTo>
                    <a:pt x="267271" y="144043"/>
                  </a:lnTo>
                  <a:lnTo>
                    <a:pt x="266179" y="144043"/>
                  </a:lnTo>
                  <a:lnTo>
                    <a:pt x="260819" y="151663"/>
                  </a:lnTo>
                  <a:lnTo>
                    <a:pt x="260273" y="151091"/>
                  </a:lnTo>
                  <a:lnTo>
                    <a:pt x="260273" y="151663"/>
                  </a:lnTo>
                  <a:lnTo>
                    <a:pt x="259016" y="152933"/>
                  </a:lnTo>
                  <a:lnTo>
                    <a:pt x="258876" y="152793"/>
                  </a:lnTo>
                  <a:lnTo>
                    <a:pt x="258876" y="152933"/>
                  </a:lnTo>
                  <a:lnTo>
                    <a:pt x="258470" y="153454"/>
                  </a:lnTo>
                  <a:lnTo>
                    <a:pt x="257771" y="152400"/>
                  </a:lnTo>
                  <a:lnTo>
                    <a:pt x="257644" y="152247"/>
                  </a:lnTo>
                  <a:lnTo>
                    <a:pt x="257644" y="154508"/>
                  </a:lnTo>
                  <a:lnTo>
                    <a:pt x="255917" y="156743"/>
                  </a:lnTo>
                  <a:lnTo>
                    <a:pt x="257098" y="154203"/>
                  </a:lnTo>
                  <a:lnTo>
                    <a:pt x="257162" y="153898"/>
                  </a:lnTo>
                  <a:lnTo>
                    <a:pt x="257644" y="154508"/>
                  </a:lnTo>
                  <a:lnTo>
                    <a:pt x="257644" y="152247"/>
                  </a:lnTo>
                  <a:lnTo>
                    <a:pt x="257670" y="151663"/>
                  </a:lnTo>
                  <a:lnTo>
                    <a:pt x="258876" y="152933"/>
                  </a:lnTo>
                  <a:lnTo>
                    <a:pt x="258876" y="152793"/>
                  </a:lnTo>
                  <a:lnTo>
                    <a:pt x="257746" y="151663"/>
                  </a:lnTo>
                  <a:lnTo>
                    <a:pt x="258152" y="150393"/>
                  </a:lnTo>
                  <a:lnTo>
                    <a:pt x="260273" y="151663"/>
                  </a:lnTo>
                  <a:lnTo>
                    <a:pt x="260273" y="151091"/>
                  </a:lnTo>
                  <a:lnTo>
                    <a:pt x="258419" y="149123"/>
                  </a:lnTo>
                  <a:lnTo>
                    <a:pt x="259842" y="144043"/>
                  </a:lnTo>
                  <a:lnTo>
                    <a:pt x="260096" y="144043"/>
                  </a:lnTo>
                  <a:lnTo>
                    <a:pt x="261988" y="136423"/>
                  </a:lnTo>
                  <a:lnTo>
                    <a:pt x="263779" y="130073"/>
                  </a:lnTo>
                  <a:lnTo>
                    <a:pt x="265480" y="122453"/>
                  </a:lnTo>
                  <a:lnTo>
                    <a:pt x="267119" y="116103"/>
                  </a:lnTo>
                  <a:lnTo>
                    <a:pt x="267716" y="116103"/>
                  </a:lnTo>
                  <a:lnTo>
                    <a:pt x="269951" y="122453"/>
                  </a:lnTo>
                  <a:lnTo>
                    <a:pt x="272110" y="130073"/>
                  </a:lnTo>
                  <a:lnTo>
                    <a:pt x="274243" y="136423"/>
                  </a:lnTo>
                  <a:lnTo>
                    <a:pt x="276339" y="144043"/>
                  </a:lnTo>
                  <a:lnTo>
                    <a:pt x="276593" y="144043"/>
                  </a:lnTo>
                  <a:lnTo>
                    <a:pt x="280822" y="158013"/>
                  </a:lnTo>
                  <a:lnTo>
                    <a:pt x="282816" y="164363"/>
                  </a:lnTo>
                  <a:lnTo>
                    <a:pt x="283845" y="168173"/>
                  </a:lnTo>
                  <a:lnTo>
                    <a:pt x="283845" y="166484"/>
                  </a:lnTo>
                  <a:lnTo>
                    <a:pt x="279793" y="154203"/>
                  </a:lnTo>
                  <a:lnTo>
                    <a:pt x="277025" y="144043"/>
                  </a:lnTo>
                  <a:lnTo>
                    <a:pt x="276758" y="144043"/>
                  </a:lnTo>
                  <a:lnTo>
                    <a:pt x="274612" y="136423"/>
                  </a:lnTo>
                  <a:lnTo>
                    <a:pt x="272440" y="128803"/>
                  </a:lnTo>
                  <a:lnTo>
                    <a:pt x="270217" y="122453"/>
                  </a:lnTo>
                  <a:lnTo>
                    <a:pt x="268300" y="116103"/>
                  </a:lnTo>
                  <a:lnTo>
                    <a:pt x="267919" y="114833"/>
                  </a:lnTo>
                  <a:lnTo>
                    <a:pt x="267919" y="113563"/>
                  </a:lnTo>
                  <a:lnTo>
                    <a:pt x="269074" y="113563"/>
                  </a:lnTo>
                  <a:lnTo>
                    <a:pt x="268897" y="112293"/>
                  </a:lnTo>
                  <a:lnTo>
                    <a:pt x="268528" y="112293"/>
                  </a:lnTo>
                  <a:lnTo>
                    <a:pt x="268363" y="111023"/>
                  </a:lnTo>
                  <a:lnTo>
                    <a:pt x="268897" y="111023"/>
                  </a:lnTo>
                  <a:lnTo>
                    <a:pt x="268643" y="109753"/>
                  </a:lnTo>
                  <a:lnTo>
                    <a:pt x="268846" y="109753"/>
                  </a:lnTo>
                  <a:lnTo>
                    <a:pt x="269074" y="108483"/>
                  </a:lnTo>
                  <a:lnTo>
                    <a:pt x="268643" y="108483"/>
                  </a:lnTo>
                  <a:lnTo>
                    <a:pt x="268605" y="107213"/>
                  </a:lnTo>
                  <a:lnTo>
                    <a:pt x="268846" y="107213"/>
                  </a:lnTo>
                  <a:lnTo>
                    <a:pt x="269074" y="105943"/>
                  </a:lnTo>
                  <a:lnTo>
                    <a:pt x="268643" y="105943"/>
                  </a:lnTo>
                  <a:lnTo>
                    <a:pt x="268605" y="104673"/>
                  </a:lnTo>
                  <a:lnTo>
                    <a:pt x="268846" y="104673"/>
                  </a:lnTo>
                  <a:lnTo>
                    <a:pt x="269074" y="103403"/>
                  </a:lnTo>
                  <a:lnTo>
                    <a:pt x="268643" y="103403"/>
                  </a:lnTo>
                  <a:lnTo>
                    <a:pt x="268605" y="102133"/>
                  </a:lnTo>
                  <a:lnTo>
                    <a:pt x="268846" y="102133"/>
                  </a:lnTo>
                  <a:lnTo>
                    <a:pt x="269074" y="100863"/>
                  </a:lnTo>
                  <a:lnTo>
                    <a:pt x="268643" y="100863"/>
                  </a:lnTo>
                  <a:lnTo>
                    <a:pt x="268605" y="99593"/>
                  </a:lnTo>
                  <a:lnTo>
                    <a:pt x="269024" y="99593"/>
                  </a:lnTo>
                  <a:lnTo>
                    <a:pt x="269062" y="98323"/>
                  </a:lnTo>
                  <a:lnTo>
                    <a:pt x="272034" y="107213"/>
                  </a:lnTo>
                  <a:lnTo>
                    <a:pt x="275145" y="114833"/>
                  </a:lnTo>
                  <a:lnTo>
                    <a:pt x="278422" y="122453"/>
                  </a:lnTo>
                  <a:lnTo>
                    <a:pt x="281940" y="130073"/>
                  </a:lnTo>
                  <a:lnTo>
                    <a:pt x="284137" y="135153"/>
                  </a:lnTo>
                  <a:lnTo>
                    <a:pt x="286524" y="138963"/>
                  </a:lnTo>
                  <a:lnTo>
                    <a:pt x="289280" y="144043"/>
                  </a:lnTo>
                  <a:lnTo>
                    <a:pt x="289623" y="144043"/>
                  </a:lnTo>
                  <a:lnTo>
                    <a:pt x="286842" y="138963"/>
                  </a:lnTo>
                  <a:lnTo>
                    <a:pt x="284441" y="135153"/>
                  </a:lnTo>
                  <a:lnTo>
                    <a:pt x="282219" y="130073"/>
                  </a:lnTo>
                  <a:lnTo>
                    <a:pt x="278638" y="122453"/>
                  </a:lnTo>
                  <a:lnTo>
                    <a:pt x="275285" y="113563"/>
                  </a:lnTo>
                  <a:lnTo>
                    <a:pt x="272135" y="105943"/>
                  </a:lnTo>
                  <a:lnTo>
                    <a:pt x="269100" y="98323"/>
                  </a:lnTo>
                  <a:lnTo>
                    <a:pt x="268833" y="97447"/>
                  </a:lnTo>
                  <a:lnTo>
                    <a:pt x="268732" y="97053"/>
                  </a:lnTo>
                  <a:lnTo>
                    <a:pt x="268935" y="97053"/>
                  </a:lnTo>
                  <a:lnTo>
                    <a:pt x="269074" y="95783"/>
                  </a:lnTo>
                  <a:lnTo>
                    <a:pt x="268643" y="95783"/>
                  </a:lnTo>
                  <a:lnTo>
                    <a:pt x="268605" y="94513"/>
                  </a:lnTo>
                  <a:lnTo>
                    <a:pt x="269074" y="94513"/>
                  </a:lnTo>
                  <a:lnTo>
                    <a:pt x="269074" y="93243"/>
                  </a:lnTo>
                  <a:lnTo>
                    <a:pt x="268643" y="93243"/>
                  </a:lnTo>
                  <a:lnTo>
                    <a:pt x="268605" y="91973"/>
                  </a:lnTo>
                  <a:lnTo>
                    <a:pt x="269074" y="91973"/>
                  </a:lnTo>
                  <a:lnTo>
                    <a:pt x="269074" y="90703"/>
                  </a:lnTo>
                  <a:lnTo>
                    <a:pt x="268643" y="90703"/>
                  </a:lnTo>
                  <a:lnTo>
                    <a:pt x="268592" y="89433"/>
                  </a:lnTo>
                  <a:lnTo>
                    <a:pt x="269786" y="89433"/>
                  </a:lnTo>
                  <a:lnTo>
                    <a:pt x="269786" y="88163"/>
                  </a:lnTo>
                  <a:lnTo>
                    <a:pt x="267919" y="88163"/>
                  </a:lnTo>
                  <a:lnTo>
                    <a:pt x="267919" y="86893"/>
                  </a:lnTo>
                  <a:lnTo>
                    <a:pt x="266992" y="86893"/>
                  </a:lnTo>
                  <a:lnTo>
                    <a:pt x="266992" y="88163"/>
                  </a:lnTo>
                  <a:lnTo>
                    <a:pt x="266992" y="113563"/>
                  </a:lnTo>
                  <a:lnTo>
                    <a:pt x="266992" y="114833"/>
                  </a:lnTo>
                  <a:lnTo>
                    <a:pt x="265277" y="122453"/>
                  </a:lnTo>
                  <a:lnTo>
                    <a:pt x="263474" y="128803"/>
                  </a:lnTo>
                  <a:lnTo>
                    <a:pt x="261594" y="136423"/>
                  </a:lnTo>
                  <a:lnTo>
                    <a:pt x="259600" y="144043"/>
                  </a:lnTo>
                  <a:lnTo>
                    <a:pt x="259334" y="144043"/>
                  </a:lnTo>
                  <a:lnTo>
                    <a:pt x="258013" y="149123"/>
                  </a:lnTo>
                  <a:lnTo>
                    <a:pt x="257733" y="148932"/>
                  </a:lnTo>
                  <a:lnTo>
                    <a:pt x="257733" y="150393"/>
                  </a:lnTo>
                  <a:lnTo>
                    <a:pt x="257403" y="150393"/>
                  </a:lnTo>
                  <a:lnTo>
                    <a:pt x="257327" y="151663"/>
                  </a:lnTo>
                  <a:lnTo>
                    <a:pt x="256794" y="151130"/>
                  </a:lnTo>
                  <a:lnTo>
                    <a:pt x="256794" y="153416"/>
                  </a:lnTo>
                  <a:lnTo>
                    <a:pt x="256171" y="155473"/>
                  </a:lnTo>
                  <a:lnTo>
                    <a:pt x="255574" y="156743"/>
                  </a:lnTo>
                  <a:lnTo>
                    <a:pt x="255117" y="155308"/>
                  </a:lnTo>
                  <a:lnTo>
                    <a:pt x="255117" y="158013"/>
                  </a:lnTo>
                  <a:lnTo>
                    <a:pt x="253542" y="163093"/>
                  </a:lnTo>
                  <a:lnTo>
                    <a:pt x="251853" y="168173"/>
                  </a:lnTo>
                  <a:lnTo>
                    <a:pt x="248526" y="175793"/>
                  </a:lnTo>
                  <a:lnTo>
                    <a:pt x="246926" y="179603"/>
                  </a:lnTo>
                  <a:lnTo>
                    <a:pt x="245186" y="183413"/>
                  </a:lnTo>
                  <a:lnTo>
                    <a:pt x="244957" y="182702"/>
                  </a:lnTo>
                  <a:lnTo>
                    <a:pt x="244957" y="184683"/>
                  </a:lnTo>
                  <a:lnTo>
                    <a:pt x="234149" y="203733"/>
                  </a:lnTo>
                  <a:lnTo>
                    <a:pt x="233908" y="203187"/>
                  </a:lnTo>
                  <a:lnTo>
                    <a:pt x="233908" y="203733"/>
                  </a:lnTo>
                  <a:lnTo>
                    <a:pt x="216636" y="219100"/>
                  </a:lnTo>
                  <a:lnTo>
                    <a:pt x="214541" y="218592"/>
                  </a:lnTo>
                  <a:lnTo>
                    <a:pt x="215747" y="217703"/>
                  </a:lnTo>
                  <a:lnTo>
                    <a:pt x="218490" y="213893"/>
                  </a:lnTo>
                  <a:lnTo>
                    <a:pt x="220853" y="211353"/>
                  </a:lnTo>
                  <a:lnTo>
                    <a:pt x="223291" y="207543"/>
                  </a:lnTo>
                  <a:lnTo>
                    <a:pt x="225323" y="203733"/>
                  </a:lnTo>
                  <a:lnTo>
                    <a:pt x="227901" y="197383"/>
                  </a:lnTo>
                  <a:lnTo>
                    <a:pt x="229260" y="194843"/>
                  </a:lnTo>
                  <a:lnTo>
                    <a:pt x="230733" y="197383"/>
                  </a:lnTo>
                  <a:lnTo>
                    <a:pt x="232283" y="201193"/>
                  </a:lnTo>
                  <a:lnTo>
                    <a:pt x="233908" y="203733"/>
                  </a:lnTo>
                  <a:lnTo>
                    <a:pt x="233908" y="203187"/>
                  </a:lnTo>
                  <a:lnTo>
                    <a:pt x="232498" y="199923"/>
                  </a:lnTo>
                  <a:lnTo>
                    <a:pt x="230924" y="197383"/>
                  </a:lnTo>
                  <a:lnTo>
                    <a:pt x="229933" y="194843"/>
                  </a:lnTo>
                  <a:lnTo>
                    <a:pt x="229438" y="193573"/>
                  </a:lnTo>
                  <a:lnTo>
                    <a:pt x="230352" y="192303"/>
                  </a:lnTo>
                  <a:lnTo>
                    <a:pt x="231216" y="189763"/>
                  </a:lnTo>
                  <a:lnTo>
                    <a:pt x="234835" y="179603"/>
                  </a:lnTo>
                  <a:lnTo>
                    <a:pt x="237121" y="170713"/>
                  </a:lnTo>
                  <a:lnTo>
                    <a:pt x="239166" y="163093"/>
                  </a:lnTo>
                  <a:lnTo>
                    <a:pt x="241071" y="170713"/>
                  </a:lnTo>
                  <a:lnTo>
                    <a:pt x="242938" y="177063"/>
                  </a:lnTo>
                  <a:lnTo>
                    <a:pt x="244957" y="184683"/>
                  </a:lnTo>
                  <a:lnTo>
                    <a:pt x="244957" y="182702"/>
                  </a:lnTo>
                  <a:lnTo>
                    <a:pt x="243179" y="177063"/>
                  </a:lnTo>
                  <a:lnTo>
                    <a:pt x="239814" y="163093"/>
                  </a:lnTo>
                  <a:lnTo>
                    <a:pt x="239522" y="161823"/>
                  </a:lnTo>
                  <a:lnTo>
                    <a:pt x="240296" y="161823"/>
                  </a:lnTo>
                  <a:lnTo>
                    <a:pt x="240296" y="160553"/>
                  </a:lnTo>
                  <a:lnTo>
                    <a:pt x="240157" y="160553"/>
                  </a:lnTo>
                  <a:lnTo>
                    <a:pt x="240296" y="159283"/>
                  </a:lnTo>
                  <a:lnTo>
                    <a:pt x="239979" y="159283"/>
                  </a:lnTo>
                  <a:lnTo>
                    <a:pt x="239903" y="158013"/>
                  </a:lnTo>
                  <a:lnTo>
                    <a:pt x="239979" y="156743"/>
                  </a:lnTo>
                  <a:lnTo>
                    <a:pt x="240296" y="156743"/>
                  </a:lnTo>
                  <a:lnTo>
                    <a:pt x="240169" y="155473"/>
                  </a:lnTo>
                  <a:lnTo>
                    <a:pt x="240296" y="155473"/>
                  </a:lnTo>
                  <a:lnTo>
                    <a:pt x="240296" y="154203"/>
                  </a:lnTo>
                  <a:lnTo>
                    <a:pt x="239903" y="154203"/>
                  </a:lnTo>
                  <a:lnTo>
                    <a:pt x="239788" y="152933"/>
                  </a:lnTo>
                  <a:lnTo>
                    <a:pt x="239979" y="152933"/>
                  </a:lnTo>
                  <a:lnTo>
                    <a:pt x="239903" y="151663"/>
                  </a:lnTo>
                  <a:lnTo>
                    <a:pt x="239979" y="150393"/>
                  </a:lnTo>
                  <a:lnTo>
                    <a:pt x="240296" y="150393"/>
                  </a:lnTo>
                  <a:lnTo>
                    <a:pt x="240296" y="149123"/>
                  </a:lnTo>
                  <a:lnTo>
                    <a:pt x="240157" y="149123"/>
                  </a:lnTo>
                  <a:lnTo>
                    <a:pt x="240296" y="147853"/>
                  </a:lnTo>
                  <a:lnTo>
                    <a:pt x="239979" y="147853"/>
                  </a:lnTo>
                  <a:lnTo>
                    <a:pt x="239903" y="146583"/>
                  </a:lnTo>
                  <a:lnTo>
                    <a:pt x="239966" y="145313"/>
                  </a:lnTo>
                  <a:lnTo>
                    <a:pt x="239522" y="145313"/>
                  </a:lnTo>
                  <a:lnTo>
                    <a:pt x="239522" y="144043"/>
                  </a:lnTo>
                  <a:lnTo>
                    <a:pt x="239039" y="144043"/>
                  </a:lnTo>
                  <a:lnTo>
                    <a:pt x="239039" y="145313"/>
                  </a:lnTo>
                  <a:lnTo>
                    <a:pt x="238582" y="145313"/>
                  </a:lnTo>
                  <a:lnTo>
                    <a:pt x="238556" y="146583"/>
                  </a:lnTo>
                  <a:lnTo>
                    <a:pt x="238582" y="147853"/>
                  </a:lnTo>
                  <a:lnTo>
                    <a:pt x="238264" y="147853"/>
                  </a:lnTo>
                  <a:lnTo>
                    <a:pt x="238404" y="149123"/>
                  </a:lnTo>
                  <a:lnTo>
                    <a:pt x="238264" y="149123"/>
                  </a:lnTo>
                  <a:lnTo>
                    <a:pt x="238264" y="150393"/>
                  </a:lnTo>
                  <a:lnTo>
                    <a:pt x="238582" y="150393"/>
                  </a:lnTo>
                  <a:lnTo>
                    <a:pt x="238556" y="151663"/>
                  </a:lnTo>
                  <a:lnTo>
                    <a:pt x="238582" y="152933"/>
                  </a:lnTo>
                  <a:lnTo>
                    <a:pt x="238772" y="152933"/>
                  </a:lnTo>
                  <a:lnTo>
                    <a:pt x="238645" y="154203"/>
                  </a:lnTo>
                  <a:lnTo>
                    <a:pt x="238264" y="154203"/>
                  </a:lnTo>
                  <a:lnTo>
                    <a:pt x="238264" y="155473"/>
                  </a:lnTo>
                  <a:lnTo>
                    <a:pt x="238391" y="155473"/>
                  </a:lnTo>
                  <a:lnTo>
                    <a:pt x="238264" y="156743"/>
                  </a:lnTo>
                  <a:lnTo>
                    <a:pt x="238582" y="156743"/>
                  </a:lnTo>
                  <a:lnTo>
                    <a:pt x="238556" y="158013"/>
                  </a:lnTo>
                  <a:lnTo>
                    <a:pt x="238582" y="159283"/>
                  </a:lnTo>
                  <a:lnTo>
                    <a:pt x="238264" y="159283"/>
                  </a:lnTo>
                  <a:lnTo>
                    <a:pt x="238404" y="160553"/>
                  </a:lnTo>
                  <a:lnTo>
                    <a:pt x="238264" y="160553"/>
                  </a:lnTo>
                  <a:lnTo>
                    <a:pt x="238264" y="161823"/>
                  </a:lnTo>
                  <a:lnTo>
                    <a:pt x="239039" y="161823"/>
                  </a:lnTo>
                  <a:lnTo>
                    <a:pt x="237388" y="168173"/>
                  </a:lnTo>
                  <a:lnTo>
                    <a:pt x="235635" y="174523"/>
                  </a:lnTo>
                  <a:lnTo>
                    <a:pt x="233718" y="180873"/>
                  </a:lnTo>
                  <a:lnTo>
                    <a:pt x="231635" y="187223"/>
                  </a:lnTo>
                  <a:lnTo>
                    <a:pt x="230873" y="189763"/>
                  </a:lnTo>
                  <a:lnTo>
                    <a:pt x="230047" y="191033"/>
                  </a:lnTo>
                  <a:lnTo>
                    <a:pt x="229184" y="193573"/>
                  </a:lnTo>
                  <a:lnTo>
                    <a:pt x="228993" y="193065"/>
                  </a:lnTo>
                  <a:lnTo>
                    <a:pt x="228993" y="193573"/>
                  </a:lnTo>
                  <a:lnTo>
                    <a:pt x="227558" y="197383"/>
                  </a:lnTo>
                  <a:lnTo>
                    <a:pt x="224929" y="203733"/>
                  </a:lnTo>
                  <a:lnTo>
                    <a:pt x="222897" y="207543"/>
                  </a:lnTo>
                  <a:lnTo>
                    <a:pt x="220472" y="211353"/>
                  </a:lnTo>
                  <a:lnTo>
                    <a:pt x="218033" y="213893"/>
                  </a:lnTo>
                  <a:lnTo>
                    <a:pt x="215214" y="217703"/>
                  </a:lnTo>
                  <a:lnTo>
                    <a:pt x="214083" y="218478"/>
                  </a:lnTo>
                  <a:lnTo>
                    <a:pt x="213321" y="218300"/>
                  </a:lnTo>
                  <a:lnTo>
                    <a:pt x="213321" y="218998"/>
                  </a:lnTo>
                  <a:lnTo>
                    <a:pt x="211493" y="220243"/>
                  </a:lnTo>
                  <a:lnTo>
                    <a:pt x="208775" y="220243"/>
                  </a:lnTo>
                  <a:lnTo>
                    <a:pt x="208775" y="276123"/>
                  </a:lnTo>
                  <a:lnTo>
                    <a:pt x="208191" y="275666"/>
                  </a:lnTo>
                  <a:lnTo>
                    <a:pt x="208191" y="277393"/>
                  </a:lnTo>
                  <a:lnTo>
                    <a:pt x="199288" y="282473"/>
                  </a:lnTo>
                  <a:lnTo>
                    <a:pt x="197840" y="281647"/>
                  </a:lnTo>
                  <a:lnTo>
                    <a:pt x="197840" y="283743"/>
                  </a:lnTo>
                  <a:lnTo>
                    <a:pt x="189052" y="288823"/>
                  </a:lnTo>
                  <a:lnTo>
                    <a:pt x="189445" y="278663"/>
                  </a:lnTo>
                  <a:lnTo>
                    <a:pt x="197840" y="283743"/>
                  </a:lnTo>
                  <a:lnTo>
                    <a:pt x="197840" y="281647"/>
                  </a:lnTo>
                  <a:lnTo>
                    <a:pt x="192697" y="278663"/>
                  </a:lnTo>
                  <a:lnTo>
                    <a:pt x="190500" y="277393"/>
                  </a:lnTo>
                  <a:lnTo>
                    <a:pt x="192290" y="276123"/>
                  </a:lnTo>
                  <a:lnTo>
                    <a:pt x="199453" y="271043"/>
                  </a:lnTo>
                  <a:lnTo>
                    <a:pt x="208191" y="277393"/>
                  </a:lnTo>
                  <a:lnTo>
                    <a:pt x="208191" y="275666"/>
                  </a:lnTo>
                  <a:lnTo>
                    <a:pt x="202387" y="271043"/>
                  </a:lnTo>
                  <a:lnTo>
                    <a:pt x="200787" y="269773"/>
                  </a:lnTo>
                  <a:lnTo>
                    <a:pt x="208483" y="264693"/>
                  </a:lnTo>
                  <a:lnTo>
                    <a:pt x="208775" y="276123"/>
                  </a:lnTo>
                  <a:lnTo>
                    <a:pt x="208775" y="220243"/>
                  </a:lnTo>
                  <a:lnTo>
                    <a:pt x="208673" y="217271"/>
                  </a:lnTo>
                  <a:lnTo>
                    <a:pt x="213321" y="218998"/>
                  </a:lnTo>
                  <a:lnTo>
                    <a:pt x="213321" y="218300"/>
                  </a:lnTo>
                  <a:lnTo>
                    <a:pt x="208775" y="217170"/>
                  </a:lnTo>
                  <a:lnTo>
                    <a:pt x="208508" y="211353"/>
                  </a:lnTo>
                  <a:lnTo>
                    <a:pt x="208407" y="207543"/>
                  </a:lnTo>
                  <a:lnTo>
                    <a:pt x="208407" y="262153"/>
                  </a:lnTo>
                  <a:lnTo>
                    <a:pt x="206781" y="261073"/>
                  </a:lnTo>
                  <a:lnTo>
                    <a:pt x="206781" y="263423"/>
                  </a:lnTo>
                  <a:lnTo>
                    <a:pt x="206743" y="264693"/>
                  </a:lnTo>
                  <a:lnTo>
                    <a:pt x="199453" y="269773"/>
                  </a:lnTo>
                  <a:lnTo>
                    <a:pt x="198120" y="268846"/>
                  </a:lnTo>
                  <a:lnTo>
                    <a:pt x="198120" y="269773"/>
                  </a:lnTo>
                  <a:lnTo>
                    <a:pt x="189547" y="276123"/>
                  </a:lnTo>
                  <a:lnTo>
                    <a:pt x="189979" y="264693"/>
                  </a:lnTo>
                  <a:lnTo>
                    <a:pt x="198120" y="269773"/>
                  </a:lnTo>
                  <a:lnTo>
                    <a:pt x="198120" y="268846"/>
                  </a:lnTo>
                  <a:lnTo>
                    <a:pt x="192163" y="264693"/>
                  </a:lnTo>
                  <a:lnTo>
                    <a:pt x="206743" y="264693"/>
                  </a:lnTo>
                  <a:lnTo>
                    <a:pt x="206743" y="263423"/>
                  </a:lnTo>
                  <a:lnTo>
                    <a:pt x="192138" y="263423"/>
                  </a:lnTo>
                  <a:lnTo>
                    <a:pt x="193979" y="262153"/>
                  </a:lnTo>
                  <a:lnTo>
                    <a:pt x="199504" y="258343"/>
                  </a:lnTo>
                  <a:lnTo>
                    <a:pt x="206781" y="263423"/>
                  </a:lnTo>
                  <a:lnTo>
                    <a:pt x="206781" y="261073"/>
                  </a:lnTo>
                  <a:lnTo>
                    <a:pt x="202717" y="258343"/>
                  </a:lnTo>
                  <a:lnTo>
                    <a:pt x="200825" y="257073"/>
                  </a:lnTo>
                  <a:lnTo>
                    <a:pt x="202653" y="255803"/>
                  </a:lnTo>
                  <a:lnTo>
                    <a:pt x="208127" y="251993"/>
                  </a:lnTo>
                  <a:lnTo>
                    <a:pt x="208407" y="262153"/>
                  </a:lnTo>
                  <a:lnTo>
                    <a:pt x="208407" y="207543"/>
                  </a:lnTo>
                  <a:lnTo>
                    <a:pt x="208089" y="196113"/>
                  </a:lnTo>
                  <a:lnTo>
                    <a:pt x="208051" y="194589"/>
                  </a:lnTo>
                  <a:lnTo>
                    <a:pt x="208051" y="248183"/>
                  </a:lnTo>
                  <a:lnTo>
                    <a:pt x="207581" y="247853"/>
                  </a:lnTo>
                  <a:lnTo>
                    <a:pt x="207581" y="250723"/>
                  </a:lnTo>
                  <a:lnTo>
                    <a:pt x="199504" y="255803"/>
                  </a:lnTo>
                  <a:lnTo>
                    <a:pt x="198183" y="254965"/>
                  </a:lnTo>
                  <a:lnTo>
                    <a:pt x="198183" y="257073"/>
                  </a:lnTo>
                  <a:lnTo>
                    <a:pt x="190068" y="262153"/>
                  </a:lnTo>
                  <a:lnTo>
                    <a:pt x="190474" y="251993"/>
                  </a:lnTo>
                  <a:lnTo>
                    <a:pt x="198183" y="257073"/>
                  </a:lnTo>
                  <a:lnTo>
                    <a:pt x="198183" y="254965"/>
                  </a:lnTo>
                  <a:lnTo>
                    <a:pt x="193548" y="251993"/>
                  </a:lnTo>
                  <a:lnTo>
                    <a:pt x="191566" y="250723"/>
                  </a:lnTo>
                  <a:lnTo>
                    <a:pt x="193179" y="249453"/>
                  </a:lnTo>
                  <a:lnTo>
                    <a:pt x="199631" y="244373"/>
                  </a:lnTo>
                  <a:lnTo>
                    <a:pt x="207581" y="250723"/>
                  </a:lnTo>
                  <a:lnTo>
                    <a:pt x="207581" y="247853"/>
                  </a:lnTo>
                  <a:lnTo>
                    <a:pt x="202653" y="244373"/>
                  </a:lnTo>
                  <a:lnTo>
                    <a:pt x="200863" y="243103"/>
                  </a:lnTo>
                  <a:lnTo>
                    <a:pt x="202577" y="241833"/>
                  </a:lnTo>
                  <a:lnTo>
                    <a:pt x="207746" y="238023"/>
                  </a:lnTo>
                  <a:lnTo>
                    <a:pt x="208051" y="248183"/>
                  </a:lnTo>
                  <a:lnTo>
                    <a:pt x="208051" y="194589"/>
                  </a:lnTo>
                  <a:lnTo>
                    <a:pt x="208026" y="193573"/>
                  </a:lnTo>
                  <a:lnTo>
                    <a:pt x="207746" y="183413"/>
                  </a:lnTo>
                  <a:lnTo>
                    <a:pt x="207708" y="182143"/>
                  </a:lnTo>
                  <a:lnTo>
                    <a:pt x="208965" y="180873"/>
                  </a:lnTo>
                  <a:lnTo>
                    <a:pt x="210223" y="179603"/>
                  </a:lnTo>
                  <a:lnTo>
                    <a:pt x="216535" y="173253"/>
                  </a:lnTo>
                  <a:lnTo>
                    <a:pt x="219062" y="170713"/>
                  </a:lnTo>
                  <a:lnTo>
                    <a:pt x="221297" y="177063"/>
                  </a:lnTo>
                  <a:lnTo>
                    <a:pt x="223621" y="182143"/>
                  </a:lnTo>
                  <a:lnTo>
                    <a:pt x="227037" y="189763"/>
                  </a:lnTo>
                  <a:lnTo>
                    <a:pt x="228993" y="193573"/>
                  </a:lnTo>
                  <a:lnTo>
                    <a:pt x="228993" y="193065"/>
                  </a:lnTo>
                  <a:lnTo>
                    <a:pt x="228244" y="191033"/>
                  </a:lnTo>
                  <a:lnTo>
                    <a:pt x="223951" y="182143"/>
                  </a:lnTo>
                  <a:lnTo>
                    <a:pt x="221615" y="177063"/>
                  </a:lnTo>
                  <a:lnTo>
                    <a:pt x="219379" y="170713"/>
                  </a:lnTo>
                  <a:lnTo>
                    <a:pt x="220789" y="169443"/>
                  </a:lnTo>
                  <a:lnTo>
                    <a:pt x="225005" y="165633"/>
                  </a:lnTo>
                  <a:lnTo>
                    <a:pt x="225399" y="164363"/>
                  </a:lnTo>
                  <a:lnTo>
                    <a:pt x="225793" y="163093"/>
                  </a:lnTo>
                  <a:lnTo>
                    <a:pt x="228981" y="152933"/>
                  </a:lnTo>
                  <a:lnTo>
                    <a:pt x="231254" y="151663"/>
                  </a:lnTo>
                  <a:lnTo>
                    <a:pt x="233286" y="149123"/>
                  </a:lnTo>
                  <a:lnTo>
                    <a:pt x="235915" y="146583"/>
                  </a:lnTo>
                  <a:lnTo>
                    <a:pt x="237439" y="144043"/>
                  </a:lnTo>
                  <a:lnTo>
                    <a:pt x="237744" y="144043"/>
                  </a:lnTo>
                  <a:lnTo>
                    <a:pt x="240753" y="138963"/>
                  </a:lnTo>
                  <a:lnTo>
                    <a:pt x="243205" y="135153"/>
                  </a:lnTo>
                  <a:lnTo>
                    <a:pt x="243560" y="134302"/>
                  </a:lnTo>
                  <a:lnTo>
                    <a:pt x="245478" y="137160"/>
                  </a:lnTo>
                  <a:lnTo>
                    <a:pt x="251167" y="146050"/>
                  </a:lnTo>
                  <a:lnTo>
                    <a:pt x="251625" y="146659"/>
                  </a:lnTo>
                  <a:lnTo>
                    <a:pt x="255117" y="158013"/>
                  </a:lnTo>
                  <a:lnTo>
                    <a:pt x="255117" y="155308"/>
                  </a:lnTo>
                  <a:lnTo>
                    <a:pt x="252920" y="148348"/>
                  </a:lnTo>
                  <a:lnTo>
                    <a:pt x="256794" y="153416"/>
                  </a:lnTo>
                  <a:lnTo>
                    <a:pt x="256794" y="151130"/>
                  </a:lnTo>
                  <a:lnTo>
                    <a:pt x="252971" y="146126"/>
                  </a:lnTo>
                  <a:lnTo>
                    <a:pt x="255155" y="147853"/>
                  </a:lnTo>
                  <a:lnTo>
                    <a:pt x="257327" y="151663"/>
                  </a:lnTo>
                  <a:lnTo>
                    <a:pt x="257327" y="150291"/>
                  </a:lnTo>
                  <a:lnTo>
                    <a:pt x="255676" y="147853"/>
                  </a:lnTo>
                  <a:lnTo>
                    <a:pt x="257733" y="150393"/>
                  </a:lnTo>
                  <a:lnTo>
                    <a:pt x="257733" y="148932"/>
                  </a:lnTo>
                  <a:lnTo>
                    <a:pt x="256209" y="147853"/>
                  </a:lnTo>
                  <a:lnTo>
                    <a:pt x="254419" y="146583"/>
                  </a:lnTo>
                  <a:lnTo>
                    <a:pt x="253949" y="145313"/>
                  </a:lnTo>
                  <a:lnTo>
                    <a:pt x="253809" y="144970"/>
                  </a:lnTo>
                  <a:lnTo>
                    <a:pt x="253720" y="144729"/>
                  </a:lnTo>
                  <a:lnTo>
                    <a:pt x="253479" y="144043"/>
                  </a:lnTo>
                  <a:lnTo>
                    <a:pt x="253326" y="144043"/>
                  </a:lnTo>
                  <a:lnTo>
                    <a:pt x="253212" y="143814"/>
                  </a:lnTo>
                  <a:lnTo>
                    <a:pt x="252844" y="143814"/>
                  </a:lnTo>
                  <a:lnTo>
                    <a:pt x="252666" y="143459"/>
                  </a:lnTo>
                  <a:lnTo>
                    <a:pt x="252666" y="144043"/>
                  </a:lnTo>
                  <a:lnTo>
                    <a:pt x="251447" y="144043"/>
                  </a:lnTo>
                  <a:lnTo>
                    <a:pt x="249948" y="138379"/>
                  </a:lnTo>
                  <a:lnTo>
                    <a:pt x="249948" y="142100"/>
                  </a:lnTo>
                  <a:lnTo>
                    <a:pt x="246278" y="137160"/>
                  </a:lnTo>
                  <a:lnTo>
                    <a:pt x="243878" y="133565"/>
                  </a:lnTo>
                  <a:lnTo>
                    <a:pt x="245376" y="130073"/>
                  </a:lnTo>
                  <a:lnTo>
                    <a:pt x="245668" y="130073"/>
                  </a:lnTo>
                  <a:lnTo>
                    <a:pt x="247459" y="133883"/>
                  </a:lnTo>
                  <a:lnTo>
                    <a:pt x="249948" y="142100"/>
                  </a:lnTo>
                  <a:lnTo>
                    <a:pt x="249948" y="138379"/>
                  </a:lnTo>
                  <a:lnTo>
                    <a:pt x="249770" y="137693"/>
                  </a:lnTo>
                  <a:lnTo>
                    <a:pt x="250710" y="140233"/>
                  </a:lnTo>
                  <a:lnTo>
                    <a:pt x="251688" y="141503"/>
                  </a:lnTo>
                  <a:lnTo>
                    <a:pt x="252603" y="143814"/>
                  </a:lnTo>
                  <a:lnTo>
                    <a:pt x="252387" y="143814"/>
                  </a:lnTo>
                  <a:lnTo>
                    <a:pt x="252666" y="144043"/>
                  </a:lnTo>
                  <a:lnTo>
                    <a:pt x="252666" y="143459"/>
                  </a:lnTo>
                  <a:lnTo>
                    <a:pt x="251714" y="141503"/>
                  </a:lnTo>
                  <a:lnTo>
                    <a:pt x="249936" y="137693"/>
                  </a:lnTo>
                  <a:lnTo>
                    <a:pt x="249351" y="136423"/>
                  </a:lnTo>
                  <a:lnTo>
                    <a:pt x="247129" y="130073"/>
                  </a:lnTo>
                  <a:lnTo>
                    <a:pt x="246240" y="127533"/>
                  </a:lnTo>
                  <a:lnTo>
                    <a:pt x="244906" y="127533"/>
                  </a:lnTo>
                  <a:lnTo>
                    <a:pt x="245300" y="130073"/>
                  </a:lnTo>
                  <a:lnTo>
                    <a:pt x="243598" y="133134"/>
                  </a:lnTo>
                  <a:lnTo>
                    <a:pt x="243230" y="132588"/>
                  </a:lnTo>
                  <a:lnTo>
                    <a:pt x="243230" y="133794"/>
                  </a:lnTo>
                  <a:lnTo>
                    <a:pt x="242468" y="135153"/>
                  </a:lnTo>
                  <a:lnTo>
                    <a:pt x="239217" y="141503"/>
                  </a:lnTo>
                  <a:lnTo>
                    <a:pt x="233159" y="149123"/>
                  </a:lnTo>
                  <a:lnTo>
                    <a:pt x="231254" y="150393"/>
                  </a:lnTo>
                  <a:lnTo>
                    <a:pt x="229120" y="151663"/>
                  </a:lnTo>
                  <a:lnTo>
                    <a:pt x="230314" y="147853"/>
                  </a:lnTo>
                  <a:lnTo>
                    <a:pt x="237439" y="125107"/>
                  </a:lnTo>
                  <a:lnTo>
                    <a:pt x="243230" y="133794"/>
                  </a:lnTo>
                  <a:lnTo>
                    <a:pt x="243230" y="132588"/>
                  </a:lnTo>
                  <a:lnTo>
                    <a:pt x="237705" y="124269"/>
                  </a:lnTo>
                  <a:lnTo>
                    <a:pt x="242658" y="108483"/>
                  </a:lnTo>
                  <a:lnTo>
                    <a:pt x="248234" y="90703"/>
                  </a:lnTo>
                  <a:lnTo>
                    <a:pt x="248640" y="89433"/>
                  </a:lnTo>
                  <a:lnTo>
                    <a:pt x="265645" y="89433"/>
                  </a:lnTo>
                  <a:lnTo>
                    <a:pt x="266141" y="90703"/>
                  </a:lnTo>
                  <a:lnTo>
                    <a:pt x="265836" y="90703"/>
                  </a:lnTo>
                  <a:lnTo>
                    <a:pt x="265836" y="91973"/>
                  </a:lnTo>
                  <a:lnTo>
                    <a:pt x="266306" y="91973"/>
                  </a:lnTo>
                  <a:lnTo>
                    <a:pt x="266280" y="93243"/>
                  </a:lnTo>
                  <a:lnTo>
                    <a:pt x="265836" y="93243"/>
                  </a:lnTo>
                  <a:lnTo>
                    <a:pt x="265836" y="94513"/>
                  </a:lnTo>
                  <a:lnTo>
                    <a:pt x="266306" y="94513"/>
                  </a:lnTo>
                  <a:lnTo>
                    <a:pt x="266280" y="95783"/>
                  </a:lnTo>
                  <a:lnTo>
                    <a:pt x="265836" y="95783"/>
                  </a:lnTo>
                  <a:lnTo>
                    <a:pt x="265836" y="97053"/>
                  </a:lnTo>
                  <a:lnTo>
                    <a:pt x="266306" y="97053"/>
                  </a:lnTo>
                  <a:lnTo>
                    <a:pt x="266280" y="98323"/>
                  </a:lnTo>
                  <a:lnTo>
                    <a:pt x="265836" y="98323"/>
                  </a:lnTo>
                  <a:lnTo>
                    <a:pt x="265836" y="99593"/>
                  </a:lnTo>
                  <a:lnTo>
                    <a:pt x="266306" y="99593"/>
                  </a:lnTo>
                  <a:lnTo>
                    <a:pt x="266280" y="100863"/>
                  </a:lnTo>
                  <a:lnTo>
                    <a:pt x="265836" y="100863"/>
                  </a:lnTo>
                  <a:lnTo>
                    <a:pt x="266077" y="102133"/>
                  </a:lnTo>
                  <a:lnTo>
                    <a:pt x="266306" y="102133"/>
                  </a:lnTo>
                  <a:lnTo>
                    <a:pt x="266280" y="103403"/>
                  </a:lnTo>
                  <a:lnTo>
                    <a:pt x="265836" y="103403"/>
                  </a:lnTo>
                  <a:lnTo>
                    <a:pt x="266077" y="104673"/>
                  </a:lnTo>
                  <a:lnTo>
                    <a:pt x="266306" y="104673"/>
                  </a:lnTo>
                  <a:lnTo>
                    <a:pt x="266280" y="105943"/>
                  </a:lnTo>
                  <a:lnTo>
                    <a:pt x="265836" y="105943"/>
                  </a:lnTo>
                  <a:lnTo>
                    <a:pt x="266077" y="107213"/>
                  </a:lnTo>
                  <a:lnTo>
                    <a:pt x="266306" y="107213"/>
                  </a:lnTo>
                  <a:lnTo>
                    <a:pt x="266280" y="108483"/>
                  </a:lnTo>
                  <a:lnTo>
                    <a:pt x="265836" y="108483"/>
                  </a:lnTo>
                  <a:lnTo>
                    <a:pt x="266077" y="109753"/>
                  </a:lnTo>
                  <a:lnTo>
                    <a:pt x="266280" y="109753"/>
                  </a:lnTo>
                  <a:lnTo>
                    <a:pt x="266014" y="111023"/>
                  </a:lnTo>
                  <a:lnTo>
                    <a:pt x="266534" y="111023"/>
                  </a:lnTo>
                  <a:lnTo>
                    <a:pt x="266395" y="112293"/>
                  </a:lnTo>
                  <a:lnTo>
                    <a:pt x="266014" y="112293"/>
                  </a:lnTo>
                  <a:lnTo>
                    <a:pt x="265836" y="113563"/>
                  </a:lnTo>
                  <a:lnTo>
                    <a:pt x="266992" y="113563"/>
                  </a:lnTo>
                  <a:lnTo>
                    <a:pt x="266992" y="88163"/>
                  </a:lnTo>
                  <a:lnTo>
                    <a:pt x="265506" y="88163"/>
                  </a:lnTo>
                  <a:lnTo>
                    <a:pt x="265099" y="86944"/>
                  </a:lnTo>
                  <a:lnTo>
                    <a:pt x="265099" y="88163"/>
                  </a:lnTo>
                  <a:lnTo>
                    <a:pt x="249110" y="88163"/>
                  </a:lnTo>
                  <a:lnTo>
                    <a:pt x="250990" y="81813"/>
                  </a:lnTo>
                  <a:lnTo>
                    <a:pt x="252882" y="75463"/>
                  </a:lnTo>
                  <a:lnTo>
                    <a:pt x="254482" y="72923"/>
                  </a:lnTo>
                  <a:lnTo>
                    <a:pt x="255955" y="69113"/>
                  </a:lnTo>
                  <a:lnTo>
                    <a:pt x="257213" y="66776"/>
                  </a:lnTo>
                  <a:lnTo>
                    <a:pt x="257911" y="67094"/>
                  </a:lnTo>
                  <a:lnTo>
                    <a:pt x="262585" y="80543"/>
                  </a:lnTo>
                  <a:lnTo>
                    <a:pt x="265099" y="88163"/>
                  </a:lnTo>
                  <a:lnTo>
                    <a:pt x="265099" y="86944"/>
                  </a:lnTo>
                  <a:lnTo>
                    <a:pt x="262966" y="80543"/>
                  </a:lnTo>
                  <a:lnTo>
                    <a:pt x="260502" y="72923"/>
                  </a:lnTo>
                  <a:lnTo>
                    <a:pt x="258762" y="67475"/>
                  </a:lnTo>
                  <a:lnTo>
                    <a:pt x="267030" y="71120"/>
                  </a:lnTo>
                  <a:lnTo>
                    <a:pt x="284848" y="76200"/>
                  </a:lnTo>
                  <a:lnTo>
                    <a:pt x="294068" y="77470"/>
                  </a:lnTo>
                  <a:lnTo>
                    <a:pt x="267322" y="69850"/>
                  </a:lnTo>
                  <a:lnTo>
                    <a:pt x="258762" y="66040"/>
                  </a:lnTo>
                  <a:lnTo>
                    <a:pt x="258229" y="65811"/>
                  </a:lnTo>
                  <a:lnTo>
                    <a:pt x="258076" y="65303"/>
                  </a:lnTo>
                  <a:lnTo>
                    <a:pt x="258546" y="62763"/>
                  </a:lnTo>
                  <a:lnTo>
                    <a:pt x="258787" y="61493"/>
                  </a:lnTo>
                  <a:lnTo>
                    <a:pt x="258597" y="61493"/>
                  </a:lnTo>
                  <a:lnTo>
                    <a:pt x="257149" y="60629"/>
                  </a:lnTo>
                  <a:lnTo>
                    <a:pt x="257149" y="62763"/>
                  </a:lnTo>
                  <a:lnTo>
                    <a:pt x="256603" y="65062"/>
                  </a:lnTo>
                  <a:lnTo>
                    <a:pt x="256451" y="64998"/>
                  </a:lnTo>
                  <a:lnTo>
                    <a:pt x="256451" y="66433"/>
                  </a:lnTo>
                  <a:lnTo>
                    <a:pt x="255879" y="67843"/>
                  </a:lnTo>
                  <a:lnTo>
                    <a:pt x="254800" y="70383"/>
                  </a:lnTo>
                  <a:lnTo>
                    <a:pt x="253644" y="72923"/>
                  </a:lnTo>
                  <a:lnTo>
                    <a:pt x="255790" y="66128"/>
                  </a:lnTo>
                  <a:lnTo>
                    <a:pt x="256451" y="66433"/>
                  </a:lnTo>
                  <a:lnTo>
                    <a:pt x="256451" y="64998"/>
                  </a:lnTo>
                  <a:lnTo>
                    <a:pt x="256197" y="64884"/>
                  </a:lnTo>
                  <a:lnTo>
                    <a:pt x="256870" y="62763"/>
                  </a:lnTo>
                  <a:lnTo>
                    <a:pt x="257149" y="62763"/>
                  </a:lnTo>
                  <a:lnTo>
                    <a:pt x="257149" y="60629"/>
                  </a:lnTo>
                  <a:lnTo>
                    <a:pt x="256489" y="60223"/>
                  </a:lnTo>
                  <a:lnTo>
                    <a:pt x="256273" y="60223"/>
                  </a:lnTo>
                  <a:lnTo>
                    <a:pt x="255905" y="61493"/>
                  </a:lnTo>
                  <a:lnTo>
                    <a:pt x="255765" y="61493"/>
                  </a:lnTo>
                  <a:lnTo>
                    <a:pt x="254901" y="64287"/>
                  </a:lnTo>
                  <a:lnTo>
                    <a:pt x="254520" y="64122"/>
                  </a:lnTo>
                  <a:lnTo>
                    <a:pt x="254520" y="65557"/>
                  </a:lnTo>
                  <a:lnTo>
                    <a:pt x="249936" y="80543"/>
                  </a:lnTo>
                  <a:lnTo>
                    <a:pt x="249389" y="81457"/>
                  </a:lnTo>
                  <a:lnTo>
                    <a:pt x="249389" y="81813"/>
                  </a:lnTo>
                  <a:lnTo>
                    <a:pt x="247561" y="88163"/>
                  </a:lnTo>
                  <a:lnTo>
                    <a:pt x="246659" y="88163"/>
                  </a:lnTo>
                  <a:lnTo>
                    <a:pt x="246659" y="90703"/>
                  </a:lnTo>
                  <a:lnTo>
                    <a:pt x="241122" y="108483"/>
                  </a:lnTo>
                  <a:lnTo>
                    <a:pt x="240588" y="107835"/>
                  </a:lnTo>
                  <a:lnTo>
                    <a:pt x="240588" y="109753"/>
                  </a:lnTo>
                  <a:lnTo>
                    <a:pt x="236689" y="122720"/>
                  </a:lnTo>
                  <a:lnTo>
                    <a:pt x="236423" y="122326"/>
                  </a:lnTo>
                  <a:lnTo>
                    <a:pt x="236423" y="123583"/>
                  </a:lnTo>
                  <a:lnTo>
                    <a:pt x="229895" y="145313"/>
                  </a:lnTo>
                  <a:lnTo>
                    <a:pt x="229082" y="145923"/>
                  </a:lnTo>
                  <a:lnTo>
                    <a:pt x="229082" y="147853"/>
                  </a:lnTo>
                  <a:lnTo>
                    <a:pt x="227177" y="154203"/>
                  </a:lnTo>
                  <a:lnTo>
                    <a:pt x="226999" y="154305"/>
                  </a:lnTo>
                  <a:lnTo>
                    <a:pt x="224180" y="163093"/>
                  </a:lnTo>
                  <a:lnTo>
                    <a:pt x="223062" y="161366"/>
                  </a:lnTo>
                  <a:lnTo>
                    <a:pt x="223062" y="164363"/>
                  </a:lnTo>
                  <a:lnTo>
                    <a:pt x="222491" y="164363"/>
                  </a:lnTo>
                  <a:lnTo>
                    <a:pt x="222491" y="165633"/>
                  </a:lnTo>
                  <a:lnTo>
                    <a:pt x="218795" y="169443"/>
                  </a:lnTo>
                  <a:lnTo>
                    <a:pt x="218478" y="168554"/>
                  </a:lnTo>
                  <a:lnTo>
                    <a:pt x="218478" y="169443"/>
                  </a:lnTo>
                  <a:lnTo>
                    <a:pt x="214083" y="173253"/>
                  </a:lnTo>
                  <a:lnTo>
                    <a:pt x="212979" y="171869"/>
                  </a:lnTo>
                  <a:lnTo>
                    <a:pt x="212979" y="174523"/>
                  </a:lnTo>
                  <a:lnTo>
                    <a:pt x="207670" y="179603"/>
                  </a:lnTo>
                  <a:lnTo>
                    <a:pt x="207670" y="234213"/>
                  </a:lnTo>
                  <a:lnTo>
                    <a:pt x="206248" y="233146"/>
                  </a:lnTo>
                  <a:lnTo>
                    <a:pt x="206248" y="235483"/>
                  </a:lnTo>
                  <a:lnTo>
                    <a:pt x="206235" y="236753"/>
                  </a:lnTo>
                  <a:lnTo>
                    <a:pt x="199644" y="241833"/>
                  </a:lnTo>
                  <a:lnTo>
                    <a:pt x="198412" y="240880"/>
                  </a:lnTo>
                  <a:lnTo>
                    <a:pt x="198412" y="243103"/>
                  </a:lnTo>
                  <a:lnTo>
                    <a:pt x="190563" y="249453"/>
                  </a:lnTo>
                  <a:lnTo>
                    <a:pt x="191008" y="236753"/>
                  </a:lnTo>
                  <a:lnTo>
                    <a:pt x="198412" y="243103"/>
                  </a:lnTo>
                  <a:lnTo>
                    <a:pt x="198412" y="240880"/>
                  </a:lnTo>
                  <a:lnTo>
                    <a:pt x="193103" y="236753"/>
                  </a:lnTo>
                  <a:lnTo>
                    <a:pt x="206235" y="236753"/>
                  </a:lnTo>
                  <a:lnTo>
                    <a:pt x="206235" y="235483"/>
                  </a:lnTo>
                  <a:lnTo>
                    <a:pt x="193128" y="235483"/>
                  </a:lnTo>
                  <a:lnTo>
                    <a:pt x="199720" y="230403"/>
                  </a:lnTo>
                  <a:lnTo>
                    <a:pt x="206248" y="235483"/>
                  </a:lnTo>
                  <a:lnTo>
                    <a:pt x="206248" y="233146"/>
                  </a:lnTo>
                  <a:lnTo>
                    <a:pt x="202615" y="230403"/>
                  </a:lnTo>
                  <a:lnTo>
                    <a:pt x="200926" y="229133"/>
                  </a:lnTo>
                  <a:lnTo>
                    <a:pt x="202539" y="227863"/>
                  </a:lnTo>
                  <a:lnTo>
                    <a:pt x="207378" y="224053"/>
                  </a:lnTo>
                  <a:lnTo>
                    <a:pt x="207670" y="234213"/>
                  </a:lnTo>
                  <a:lnTo>
                    <a:pt x="207670" y="179603"/>
                  </a:lnTo>
                  <a:lnTo>
                    <a:pt x="207327" y="166903"/>
                  </a:lnTo>
                  <a:lnTo>
                    <a:pt x="212979" y="174523"/>
                  </a:lnTo>
                  <a:lnTo>
                    <a:pt x="212979" y="171869"/>
                  </a:lnTo>
                  <a:lnTo>
                    <a:pt x="209042" y="166903"/>
                  </a:lnTo>
                  <a:lnTo>
                    <a:pt x="208038" y="165633"/>
                  </a:lnTo>
                  <a:lnTo>
                    <a:pt x="217004" y="165633"/>
                  </a:lnTo>
                  <a:lnTo>
                    <a:pt x="218478" y="169443"/>
                  </a:lnTo>
                  <a:lnTo>
                    <a:pt x="218478" y="168554"/>
                  </a:lnTo>
                  <a:lnTo>
                    <a:pt x="217449" y="165633"/>
                  </a:lnTo>
                  <a:lnTo>
                    <a:pt x="222491" y="165633"/>
                  </a:lnTo>
                  <a:lnTo>
                    <a:pt x="222491" y="164363"/>
                  </a:lnTo>
                  <a:lnTo>
                    <a:pt x="216865" y="164363"/>
                  </a:lnTo>
                  <a:lnTo>
                    <a:pt x="216420" y="163512"/>
                  </a:lnTo>
                  <a:lnTo>
                    <a:pt x="216420" y="164363"/>
                  </a:lnTo>
                  <a:lnTo>
                    <a:pt x="208622" y="164363"/>
                  </a:lnTo>
                  <a:lnTo>
                    <a:pt x="214579" y="159283"/>
                  </a:lnTo>
                  <a:lnTo>
                    <a:pt x="215201" y="160553"/>
                  </a:lnTo>
                  <a:lnTo>
                    <a:pt x="215798" y="163093"/>
                  </a:lnTo>
                  <a:lnTo>
                    <a:pt x="216420" y="164363"/>
                  </a:lnTo>
                  <a:lnTo>
                    <a:pt x="216420" y="163512"/>
                  </a:lnTo>
                  <a:lnTo>
                    <a:pt x="216204" y="163093"/>
                  </a:lnTo>
                  <a:lnTo>
                    <a:pt x="215582" y="160553"/>
                  </a:lnTo>
                  <a:lnTo>
                    <a:pt x="214934" y="159283"/>
                  </a:lnTo>
                  <a:lnTo>
                    <a:pt x="217576" y="156743"/>
                  </a:lnTo>
                  <a:lnTo>
                    <a:pt x="218465" y="156743"/>
                  </a:lnTo>
                  <a:lnTo>
                    <a:pt x="223062" y="164363"/>
                  </a:lnTo>
                  <a:lnTo>
                    <a:pt x="223062" y="161366"/>
                  </a:lnTo>
                  <a:lnTo>
                    <a:pt x="220078" y="156743"/>
                  </a:lnTo>
                  <a:lnTo>
                    <a:pt x="222542" y="156743"/>
                  </a:lnTo>
                  <a:lnTo>
                    <a:pt x="224904" y="155473"/>
                  </a:lnTo>
                  <a:lnTo>
                    <a:pt x="222465" y="155473"/>
                  </a:lnTo>
                  <a:lnTo>
                    <a:pt x="219900" y="156743"/>
                  </a:lnTo>
                  <a:lnTo>
                    <a:pt x="219354" y="155473"/>
                  </a:lnTo>
                  <a:lnTo>
                    <a:pt x="229082" y="147853"/>
                  </a:lnTo>
                  <a:lnTo>
                    <a:pt x="229082" y="145923"/>
                  </a:lnTo>
                  <a:lnTo>
                    <a:pt x="217957" y="154203"/>
                  </a:lnTo>
                  <a:lnTo>
                    <a:pt x="217385" y="155473"/>
                  </a:lnTo>
                  <a:lnTo>
                    <a:pt x="215646" y="156743"/>
                  </a:lnTo>
                  <a:lnTo>
                    <a:pt x="214680" y="156743"/>
                  </a:lnTo>
                  <a:lnTo>
                    <a:pt x="215265" y="156273"/>
                  </a:lnTo>
                  <a:lnTo>
                    <a:pt x="214858" y="156235"/>
                  </a:lnTo>
                  <a:lnTo>
                    <a:pt x="214045" y="156108"/>
                  </a:lnTo>
                  <a:lnTo>
                    <a:pt x="214160" y="156400"/>
                  </a:lnTo>
                  <a:lnTo>
                    <a:pt x="214274" y="156705"/>
                  </a:lnTo>
                  <a:lnTo>
                    <a:pt x="214033" y="156743"/>
                  </a:lnTo>
                  <a:lnTo>
                    <a:pt x="214033" y="158013"/>
                  </a:lnTo>
                  <a:lnTo>
                    <a:pt x="207289" y="163525"/>
                  </a:lnTo>
                  <a:lnTo>
                    <a:pt x="207289" y="221513"/>
                  </a:lnTo>
                  <a:lnTo>
                    <a:pt x="206946" y="221513"/>
                  </a:lnTo>
                  <a:lnTo>
                    <a:pt x="206743" y="221335"/>
                  </a:lnTo>
                  <a:lnTo>
                    <a:pt x="206743" y="222783"/>
                  </a:lnTo>
                  <a:lnTo>
                    <a:pt x="204381" y="224053"/>
                  </a:lnTo>
                  <a:lnTo>
                    <a:pt x="206146" y="224053"/>
                  </a:lnTo>
                  <a:lnTo>
                    <a:pt x="199707" y="227863"/>
                  </a:lnTo>
                  <a:lnTo>
                    <a:pt x="198475" y="227037"/>
                  </a:lnTo>
                  <a:lnTo>
                    <a:pt x="198475" y="229133"/>
                  </a:lnTo>
                  <a:lnTo>
                    <a:pt x="191096" y="235483"/>
                  </a:lnTo>
                  <a:lnTo>
                    <a:pt x="191503" y="224053"/>
                  </a:lnTo>
                  <a:lnTo>
                    <a:pt x="193484" y="225323"/>
                  </a:lnTo>
                  <a:lnTo>
                    <a:pt x="198475" y="229133"/>
                  </a:lnTo>
                  <a:lnTo>
                    <a:pt x="198475" y="227037"/>
                  </a:lnTo>
                  <a:lnTo>
                    <a:pt x="194094" y="224053"/>
                  </a:lnTo>
                  <a:lnTo>
                    <a:pt x="192227" y="222783"/>
                  </a:lnTo>
                  <a:lnTo>
                    <a:pt x="193573" y="221513"/>
                  </a:lnTo>
                  <a:lnTo>
                    <a:pt x="195453" y="222821"/>
                  </a:lnTo>
                  <a:lnTo>
                    <a:pt x="197319" y="224053"/>
                  </a:lnTo>
                  <a:lnTo>
                    <a:pt x="201866" y="224053"/>
                  </a:lnTo>
                  <a:lnTo>
                    <a:pt x="199402" y="222783"/>
                  </a:lnTo>
                  <a:lnTo>
                    <a:pt x="195745" y="222783"/>
                  </a:lnTo>
                  <a:lnTo>
                    <a:pt x="194106" y="221576"/>
                  </a:lnTo>
                  <a:lnTo>
                    <a:pt x="194106" y="221449"/>
                  </a:lnTo>
                  <a:lnTo>
                    <a:pt x="196926" y="218973"/>
                  </a:lnTo>
                  <a:lnTo>
                    <a:pt x="197954" y="220243"/>
                  </a:lnTo>
                  <a:lnTo>
                    <a:pt x="198983" y="220243"/>
                  </a:lnTo>
                  <a:lnTo>
                    <a:pt x="201752" y="221513"/>
                  </a:lnTo>
                  <a:lnTo>
                    <a:pt x="205244" y="221513"/>
                  </a:lnTo>
                  <a:lnTo>
                    <a:pt x="206743" y="222783"/>
                  </a:lnTo>
                  <a:lnTo>
                    <a:pt x="206743" y="221335"/>
                  </a:lnTo>
                  <a:lnTo>
                    <a:pt x="204419" y="219240"/>
                  </a:lnTo>
                  <a:lnTo>
                    <a:pt x="204419" y="220243"/>
                  </a:lnTo>
                  <a:lnTo>
                    <a:pt x="199301" y="220243"/>
                  </a:lnTo>
                  <a:lnTo>
                    <a:pt x="198412" y="218973"/>
                  </a:lnTo>
                  <a:lnTo>
                    <a:pt x="197510" y="218973"/>
                  </a:lnTo>
                  <a:lnTo>
                    <a:pt x="200126" y="217703"/>
                  </a:lnTo>
                  <a:lnTo>
                    <a:pt x="204419" y="220243"/>
                  </a:lnTo>
                  <a:lnTo>
                    <a:pt x="204419" y="219240"/>
                  </a:lnTo>
                  <a:lnTo>
                    <a:pt x="202730" y="217703"/>
                  </a:lnTo>
                  <a:lnTo>
                    <a:pt x="201333" y="216433"/>
                  </a:lnTo>
                  <a:lnTo>
                    <a:pt x="202755" y="215163"/>
                  </a:lnTo>
                  <a:lnTo>
                    <a:pt x="207162" y="216700"/>
                  </a:lnTo>
                  <a:lnTo>
                    <a:pt x="207289" y="221513"/>
                  </a:lnTo>
                  <a:lnTo>
                    <a:pt x="207289" y="163525"/>
                  </a:lnTo>
                  <a:lnTo>
                    <a:pt x="207149" y="163639"/>
                  </a:lnTo>
                  <a:lnTo>
                    <a:pt x="207149" y="216344"/>
                  </a:lnTo>
                  <a:lnTo>
                    <a:pt x="203517" y="214490"/>
                  </a:lnTo>
                  <a:lnTo>
                    <a:pt x="207035" y="211353"/>
                  </a:lnTo>
                  <a:lnTo>
                    <a:pt x="207149" y="216344"/>
                  </a:lnTo>
                  <a:lnTo>
                    <a:pt x="207149" y="163639"/>
                  </a:lnTo>
                  <a:lnTo>
                    <a:pt x="206959" y="163791"/>
                  </a:lnTo>
                  <a:lnTo>
                    <a:pt x="206959" y="208813"/>
                  </a:lnTo>
                  <a:lnTo>
                    <a:pt x="206959" y="210083"/>
                  </a:lnTo>
                  <a:lnTo>
                    <a:pt x="202057" y="213741"/>
                  </a:lnTo>
                  <a:lnTo>
                    <a:pt x="201155" y="213283"/>
                  </a:lnTo>
                  <a:lnTo>
                    <a:pt x="201155" y="214414"/>
                  </a:lnTo>
                  <a:lnTo>
                    <a:pt x="200139" y="215163"/>
                  </a:lnTo>
                  <a:lnTo>
                    <a:pt x="198907" y="214388"/>
                  </a:lnTo>
                  <a:lnTo>
                    <a:pt x="198907" y="216433"/>
                  </a:lnTo>
                  <a:lnTo>
                    <a:pt x="197154" y="217703"/>
                  </a:lnTo>
                  <a:lnTo>
                    <a:pt x="195897" y="218973"/>
                  </a:lnTo>
                  <a:lnTo>
                    <a:pt x="194487" y="217703"/>
                  </a:lnTo>
                  <a:lnTo>
                    <a:pt x="194106" y="217703"/>
                  </a:lnTo>
                  <a:lnTo>
                    <a:pt x="195326" y="218973"/>
                  </a:lnTo>
                  <a:lnTo>
                    <a:pt x="192582" y="221513"/>
                  </a:lnTo>
                  <a:lnTo>
                    <a:pt x="192112" y="220599"/>
                  </a:lnTo>
                  <a:lnTo>
                    <a:pt x="191947" y="220243"/>
                  </a:lnTo>
                  <a:lnTo>
                    <a:pt x="191655" y="220243"/>
                  </a:lnTo>
                  <a:lnTo>
                    <a:pt x="191731" y="217703"/>
                  </a:lnTo>
                  <a:lnTo>
                    <a:pt x="191795" y="216471"/>
                  </a:lnTo>
                  <a:lnTo>
                    <a:pt x="192925" y="217703"/>
                  </a:lnTo>
                  <a:lnTo>
                    <a:pt x="193128" y="217703"/>
                  </a:lnTo>
                  <a:lnTo>
                    <a:pt x="191808" y="216433"/>
                  </a:lnTo>
                  <a:lnTo>
                    <a:pt x="191998" y="211353"/>
                  </a:lnTo>
                  <a:lnTo>
                    <a:pt x="198907" y="216433"/>
                  </a:lnTo>
                  <a:lnTo>
                    <a:pt x="198907" y="214388"/>
                  </a:lnTo>
                  <a:lnTo>
                    <a:pt x="194081" y="211353"/>
                  </a:lnTo>
                  <a:lnTo>
                    <a:pt x="192062" y="210083"/>
                  </a:lnTo>
                  <a:lnTo>
                    <a:pt x="198412" y="213360"/>
                  </a:lnTo>
                  <a:lnTo>
                    <a:pt x="201155" y="214414"/>
                  </a:lnTo>
                  <a:lnTo>
                    <a:pt x="201155" y="213283"/>
                  </a:lnTo>
                  <a:lnTo>
                    <a:pt x="198869" y="212090"/>
                  </a:lnTo>
                  <a:lnTo>
                    <a:pt x="192303" y="208622"/>
                  </a:lnTo>
                  <a:lnTo>
                    <a:pt x="194957" y="206273"/>
                  </a:lnTo>
                  <a:lnTo>
                    <a:pt x="199250" y="202463"/>
                  </a:lnTo>
                  <a:lnTo>
                    <a:pt x="206959" y="208813"/>
                  </a:lnTo>
                  <a:lnTo>
                    <a:pt x="206959" y="163791"/>
                  </a:lnTo>
                  <a:lnTo>
                    <a:pt x="206908" y="207543"/>
                  </a:lnTo>
                  <a:lnTo>
                    <a:pt x="201726" y="202463"/>
                  </a:lnTo>
                  <a:lnTo>
                    <a:pt x="200431" y="201193"/>
                  </a:lnTo>
                  <a:lnTo>
                    <a:pt x="201980" y="199923"/>
                  </a:lnTo>
                  <a:lnTo>
                    <a:pt x="206629" y="196113"/>
                  </a:lnTo>
                  <a:lnTo>
                    <a:pt x="206908" y="207543"/>
                  </a:lnTo>
                  <a:lnTo>
                    <a:pt x="206908" y="163830"/>
                  </a:lnTo>
                  <a:lnTo>
                    <a:pt x="206540" y="164134"/>
                  </a:lnTo>
                  <a:lnTo>
                    <a:pt x="206540" y="193573"/>
                  </a:lnTo>
                  <a:lnTo>
                    <a:pt x="206159" y="193255"/>
                  </a:lnTo>
                  <a:lnTo>
                    <a:pt x="206159" y="194843"/>
                  </a:lnTo>
                  <a:lnTo>
                    <a:pt x="199263" y="199923"/>
                  </a:lnTo>
                  <a:lnTo>
                    <a:pt x="198081" y="199034"/>
                  </a:lnTo>
                  <a:lnTo>
                    <a:pt x="198081" y="201193"/>
                  </a:lnTo>
                  <a:lnTo>
                    <a:pt x="192176" y="206273"/>
                  </a:lnTo>
                  <a:lnTo>
                    <a:pt x="192544" y="197383"/>
                  </a:lnTo>
                  <a:lnTo>
                    <a:pt x="198081" y="201193"/>
                  </a:lnTo>
                  <a:lnTo>
                    <a:pt x="198081" y="199034"/>
                  </a:lnTo>
                  <a:lnTo>
                    <a:pt x="195935" y="197383"/>
                  </a:lnTo>
                  <a:lnTo>
                    <a:pt x="192620" y="194843"/>
                  </a:lnTo>
                  <a:lnTo>
                    <a:pt x="195287" y="192303"/>
                  </a:lnTo>
                  <a:lnTo>
                    <a:pt x="199301" y="188493"/>
                  </a:lnTo>
                  <a:lnTo>
                    <a:pt x="206159" y="194843"/>
                  </a:lnTo>
                  <a:lnTo>
                    <a:pt x="206159" y="193255"/>
                  </a:lnTo>
                  <a:lnTo>
                    <a:pt x="200469" y="188493"/>
                  </a:lnTo>
                  <a:lnTo>
                    <a:pt x="201917" y="187223"/>
                  </a:lnTo>
                  <a:lnTo>
                    <a:pt x="206260" y="183413"/>
                  </a:lnTo>
                  <a:lnTo>
                    <a:pt x="206540" y="193573"/>
                  </a:lnTo>
                  <a:lnTo>
                    <a:pt x="206540" y="164134"/>
                  </a:lnTo>
                  <a:lnTo>
                    <a:pt x="206248" y="164363"/>
                  </a:lnTo>
                  <a:lnTo>
                    <a:pt x="206184" y="179603"/>
                  </a:lnTo>
                  <a:lnTo>
                    <a:pt x="205371" y="178689"/>
                  </a:lnTo>
                  <a:lnTo>
                    <a:pt x="205371" y="180873"/>
                  </a:lnTo>
                  <a:lnTo>
                    <a:pt x="204444" y="180873"/>
                  </a:lnTo>
                  <a:lnTo>
                    <a:pt x="204444" y="182143"/>
                  </a:lnTo>
                  <a:lnTo>
                    <a:pt x="199326" y="187223"/>
                  </a:lnTo>
                  <a:lnTo>
                    <a:pt x="198158" y="186029"/>
                  </a:lnTo>
                  <a:lnTo>
                    <a:pt x="198158" y="188493"/>
                  </a:lnTo>
                  <a:lnTo>
                    <a:pt x="192709" y="192303"/>
                  </a:lnTo>
                  <a:lnTo>
                    <a:pt x="193078" y="183413"/>
                  </a:lnTo>
                  <a:lnTo>
                    <a:pt x="198158" y="188493"/>
                  </a:lnTo>
                  <a:lnTo>
                    <a:pt x="198158" y="186029"/>
                  </a:lnTo>
                  <a:lnTo>
                    <a:pt x="195618" y="183413"/>
                  </a:lnTo>
                  <a:lnTo>
                    <a:pt x="194386" y="182143"/>
                  </a:lnTo>
                  <a:lnTo>
                    <a:pt x="204444" y="182143"/>
                  </a:lnTo>
                  <a:lnTo>
                    <a:pt x="204444" y="180873"/>
                  </a:lnTo>
                  <a:lnTo>
                    <a:pt x="193954" y="180873"/>
                  </a:lnTo>
                  <a:lnTo>
                    <a:pt x="195084" y="179603"/>
                  </a:lnTo>
                  <a:lnTo>
                    <a:pt x="199605" y="174523"/>
                  </a:lnTo>
                  <a:lnTo>
                    <a:pt x="205371" y="180873"/>
                  </a:lnTo>
                  <a:lnTo>
                    <a:pt x="205371" y="178689"/>
                  </a:lnTo>
                  <a:lnTo>
                    <a:pt x="201701" y="174523"/>
                  </a:lnTo>
                  <a:lnTo>
                    <a:pt x="200583" y="173253"/>
                  </a:lnTo>
                  <a:lnTo>
                    <a:pt x="201625" y="171983"/>
                  </a:lnTo>
                  <a:lnTo>
                    <a:pt x="205828" y="166903"/>
                  </a:lnTo>
                  <a:lnTo>
                    <a:pt x="206184" y="179603"/>
                  </a:lnTo>
                  <a:lnTo>
                    <a:pt x="206184" y="164363"/>
                  </a:lnTo>
                  <a:lnTo>
                    <a:pt x="204546" y="164363"/>
                  </a:lnTo>
                  <a:lnTo>
                    <a:pt x="204546" y="165633"/>
                  </a:lnTo>
                  <a:lnTo>
                    <a:pt x="199605" y="171983"/>
                  </a:lnTo>
                  <a:lnTo>
                    <a:pt x="198640" y="170776"/>
                  </a:lnTo>
                  <a:lnTo>
                    <a:pt x="198640" y="173253"/>
                  </a:lnTo>
                  <a:lnTo>
                    <a:pt x="193192" y="179603"/>
                  </a:lnTo>
                  <a:lnTo>
                    <a:pt x="193624" y="166903"/>
                  </a:lnTo>
                  <a:lnTo>
                    <a:pt x="198640" y="173253"/>
                  </a:lnTo>
                  <a:lnTo>
                    <a:pt x="198640" y="170776"/>
                  </a:lnTo>
                  <a:lnTo>
                    <a:pt x="195580" y="166903"/>
                  </a:lnTo>
                  <a:lnTo>
                    <a:pt x="194576" y="165633"/>
                  </a:lnTo>
                  <a:lnTo>
                    <a:pt x="204546" y="165633"/>
                  </a:lnTo>
                  <a:lnTo>
                    <a:pt x="204546" y="164363"/>
                  </a:lnTo>
                  <a:lnTo>
                    <a:pt x="193205" y="164363"/>
                  </a:lnTo>
                  <a:lnTo>
                    <a:pt x="192151" y="163525"/>
                  </a:lnTo>
                  <a:lnTo>
                    <a:pt x="192151" y="166903"/>
                  </a:lnTo>
                  <a:lnTo>
                    <a:pt x="191681" y="180873"/>
                  </a:lnTo>
                  <a:lnTo>
                    <a:pt x="191617" y="182143"/>
                  </a:lnTo>
                  <a:lnTo>
                    <a:pt x="190639" y="207746"/>
                  </a:lnTo>
                  <a:lnTo>
                    <a:pt x="190576" y="209257"/>
                  </a:lnTo>
                  <a:lnTo>
                    <a:pt x="190360" y="215163"/>
                  </a:lnTo>
                  <a:lnTo>
                    <a:pt x="190334" y="216433"/>
                  </a:lnTo>
                  <a:lnTo>
                    <a:pt x="190207" y="218973"/>
                  </a:lnTo>
                  <a:lnTo>
                    <a:pt x="189382" y="218973"/>
                  </a:lnTo>
                  <a:lnTo>
                    <a:pt x="187807" y="217703"/>
                  </a:lnTo>
                  <a:lnTo>
                    <a:pt x="184378" y="215163"/>
                  </a:lnTo>
                  <a:lnTo>
                    <a:pt x="181330" y="211353"/>
                  </a:lnTo>
                  <a:lnTo>
                    <a:pt x="175831" y="205003"/>
                  </a:lnTo>
                  <a:lnTo>
                    <a:pt x="173342" y="202463"/>
                  </a:lnTo>
                  <a:lnTo>
                    <a:pt x="170992" y="198653"/>
                  </a:lnTo>
                  <a:lnTo>
                    <a:pt x="175641" y="203733"/>
                  </a:lnTo>
                  <a:lnTo>
                    <a:pt x="180708" y="208813"/>
                  </a:lnTo>
                  <a:lnTo>
                    <a:pt x="186524" y="213893"/>
                  </a:lnTo>
                  <a:lnTo>
                    <a:pt x="187756" y="215163"/>
                  </a:lnTo>
                  <a:lnTo>
                    <a:pt x="189026" y="215163"/>
                  </a:lnTo>
                  <a:lnTo>
                    <a:pt x="190334" y="216433"/>
                  </a:lnTo>
                  <a:lnTo>
                    <a:pt x="190334" y="215163"/>
                  </a:lnTo>
                  <a:lnTo>
                    <a:pt x="189179" y="215163"/>
                  </a:lnTo>
                  <a:lnTo>
                    <a:pt x="188023" y="213893"/>
                  </a:lnTo>
                  <a:lnTo>
                    <a:pt x="186905" y="212623"/>
                  </a:lnTo>
                  <a:lnTo>
                    <a:pt x="181457" y="208813"/>
                  </a:lnTo>
                  <a:lnTo>
                    <a:pt x="176415" y="203733"/>
                  </a:lnTo>
                  <a:lnTo>
                    <a:pt x="171716" y="198653"/>
                  </a:lnTo>
                  <a:lnTo>
                    <a:pt x="170535" y="196977"/>
                  </a:lnTo>
                  <a:lnTo>
                    <a:pt x="179412" y="203200"/>
                  </a:lnTo>
                  <a:lnTo>
                    <a:pt x="188747" y="208280"/>
                  </a:lnTo>
                  <a:lnTo>
                    <a:pt x="190576" y="209257"/>
                  </a:lnTo>
                  <a:lnTo>
                    <a:pt x="190576" y="207721"/>
                  </a:lnTo>
                  <a:lnTo>
                    <a:pt x="189268" y="207010"/>
                  </a:lnTo>
                  <a:lnTo>
                    <a:pt x="179997" y="201930"/>
                  </a:lnTo>
                  <a:lnTo>
                    <a:pt x="171018" y="195580"/>
                  </a:lnTo>
                  <a:lnTo>
                    <a:pt x="168071" y="193433"/>
                  </a:lnTo>
                  <a:lnTo>
                    <a:pt x="167284" y="192303"/>
                  </a:lnTo>
                  <a:lnTo>
                    <a:pt x="167068" y="192303"/>
                  </a:lnTo>
                  <a:lnTo>
                    <a:pt x="169799" y="188493"/>
                  </a:lnTo>
                  <a:lnTo>
                    <a:pt x="172339" y="184683"/>
                  </a:lnTo>
                  <a:lnTo>
                    <a:pt x="176276" y="177063"/>
                  </a:lnTo>
                  <a:lnTo>
                    <a:pt x="177749" y="174523"/>
                  </a:lnTo>
                  <a:lnTo>
                    <a:pt x="179184" y="170713"/>
                  </a:lnTo>
                  <a:lnTo>
                    <a:pt x="191617" y="182143"/>
                  </a:lnTo>
                  <a:lnTo>
                    <a:pt x="191617" y="180822"/>
                  </a:lnTo>
                  <a:lnTo>
                    <a:pt x="185013" y="174523"/>
                  </a:lnTo>
                  <a:lnTo>
                    <a:pt x="186194" y="173253"/>
                  </a:lnTo>
                  <a:lnTo>
                    <a:pt x="192151" y="166903"/>
                  </a:lnTo>
                  <a:lnTo>
                    <a:pt x="192151" y="163525"/>
                  </a:lnTo>
                  <a:lnTo>
                    <a:pt x="191173" y="162750"/>
                  </a:lnTo>
                  <a:lnTo>
                    <a:pt x="191173" y="165633"/>
                  </a:lnTo>
                  <a:lnTo>
                    <a:pt x="183883" y="173253"/>
                  </a:lnTo>
                  <a:lnTo>
                    <a:pt x="181178" y="170713"/>
                  </a:lnTo>
                  <a:lnTo>
                    <a:pt x="179832" y="169443"/>
                  </a:lnTo>
                  <a:lnTo>
                    <a:pt x="181737" y="165633"/>
                  </a:lnTo>
                  <a:lnTo>
                    <a:pt x="191173" y="165633"/>
                  </a:lnTo>
                  <a:lnTo>
                    <a:pt x="191173" y="162750"/>
                  </a:lnTo>
                  <a:lnTo>
                    <a:pt x="190754" y="162420"/>
                  </a:lnTo>
                  <a:lnTo>
                    <a:pt x="190754" y="164363"/>
                  </a:lnTo>
                  <a:lnTo>
                    <a:pt x="182460" y="164363"/>
                  </a:lnTo>
                  <a:lnTo>
                    <a:pt x="183197" y="163093"/>
                  </a:lnTo>
                  <a:lnTo>
                    <a:pt x="184581" y="159283"/>
                  </a:lnTo>
                  <a:lnTo>
                    <a:pt x="190754" y="164363"/>
                  </a:lnTo>
                  <a:lnTo>
                    <a:pt x="190754" y="162420"/>
                  </a:lnTo>
                  <a:lnTo>
                    <a:pt x="186817" y="159283"/>
                  </a:lnTo>
                  <a:lnTo>
                    <a:pt x="185216" y="158013"/>
                  </a:lnTo>
                  <a:lnTo>
                    <a:pt x="186537" y="155473"/>
                  </a:lnTo>
                  <a:lnTo>
                    <a:pt x="187820" y="151663"/>
                  </a:lnTo>
                  <a:lnTo>
                    <a:pt x="189801" y="146583"/>
                  </a:lnTo>
                  <a:lnTo>
                    <a:pt x="191249" y="142773"/>
                  </a:lnTo>
                  <a:lnTo>
                    <a:pt x="193649" y="145313"/>
                  </a:lnTo>
                  <a:lnTo>
                    <a:pt x="196164" y="147853"/>
                  </a:lnTo>
                  <a:lnTo>
                    <a:pt x="201612" y="151663"/>
                  </a:lnTo>
                  <a:lnTo>
                    <a:pt x="204533" y="154203"/>
                  </a:lnTo>
                  <a:lnTo>
                    <a:pt x="209588" y="155473"/>
                  </a:lnTo>
                  <a:lnTo>
                    <a:pt x="211556" y="156743"/>
                  </a:lnTo>
                  <a:lnTo>
                    <a:pt x="213436" y="156743"/>
                  </a:lnTo>
                  <a:lnTo>
                    <a:pt x="211531" y="155473"/>
                  </a:lnTo>
                  <a:lnTo>
                    <a:pt x="209638" y="155473"/>
                  </a:lnTo>
                  <a:lnTo>
                    <a:pt x="204698" y="152933"/>
                  </a:lnTo>
                  <a:lnTo>
                    <a:pt x="201790" y="151663"/>
                  </a:lnTo>
                  <a:lnTo>
                    <a:pt x="199085" y="149123"/>
                  </a:lnTo>
                  <a:lnTo>
                    <a:pt x="196354" y="147853"/>
                  </a:lnTo>
                  <a:lnTo>
                    <a:pt x="193802" y="145313"/>
                  </a:lnTo>
                  <a:lnTo>
                    <a:pt x="191389" y="142773"/>
                  </a:lnTo>
                  <a:lnTo>
                    <a:pt x="193725" y="136423"/>
                  </a:lnTo>
                  <a:lnTo>
                    <a:pt x="195973" y="130073"/>
                  </a:lnTo>
                  <a:lnTo>
                    <a:pt x="198120" y="123723"/>
                  </a:lnTo>
                  <a:lnTo>
                    <a:pt x="200202" y="117373"/>
                  </a:lnTo>
                  <a:lnTo>
                    <a:pt x="203377" y="127533"/>
                  </a:lnTo>
                  <a:lnTo>
                    <a:pt x="206629" y="136423"/>
                  </a:lnTo>
                  <a:lnTo>
                    <a:pt x="209981" y="146583"/>
                  </a:lnTo>
                  <a:lnTo>
                    <a:pt x="213436" y="156743"/>
                  </a:lnTo>
                  <a:lnTo>
                    <a:pt x="213575" y="156743"/>
                  </a:lnTo>
                  <a:lnTo>
                    <a:pt x="214033" y="158013"/>
                  </a:lnTo>
                  <a:lnTo>
                    <a:pt x="214033" y="156743"/>
                  </a:lnTo>
                  <a:lnTo>
                    <a:pt x="210426" y="146583"/>
                  </a:lnTo>
                  <a:lnTo>
                    <a:pt x="207048" y="136423"/>
                  </a:lnTo>
                  <a:lnTo>
                    <a:pt x="203771" y="127533"/>
                  </a:lnTo>
                  <a:lnTo>
                    <a:pt x="200583" y="117373"/>
                  </a:lnTo>
                  <a:lnTo>
                    <a:pt x="200748" y="117373"/>
                  </a:lnTo>
                  <a:lnTo>
                    <a:pt x="200748" y="114833"/>
                  </a:lnTo>
                  <a:lnTo>
                    <a:pt x="201904" y="114833"/>
                  </a:lnTo>
                  <a:lnTo>
                    <a:pt x="201726" y="113563"/>
                  </a:lnTo>
                  <a:lnTo>
                    <a:pt x="201345" y="113563"/>
                  </a:lnTo>
                  <a:lnTo>
                    <a:pt x="201206" y="112293"/>
                  </a:lnTo>
                  <a:lnTo>
                    <a:pt x="201904" y="112293"/>
                  </a:lnTo>
                  <a:lnTo>
                    <a:pt x="201726" y="111023"/>
                  </a:lnTo>
                  <a:lnTo>
                    <a:pt x="201345" y="111023"/>
                  </a:lnTo>
                  <a:lnTo>
                    <a:pt x="201206" y="109753"/>
                  </a:lnTo>
                  <a:lnTo>
                    <a:pt x="201904" y="109753"/>
                  </a:lnTo>
                  <a:lnTo>
                    <a:pt x="201726" y="108483"/>
                  </a:lnTo>
                  <a:lnTo>
                    <a:pt x="201345" y="108483"/>
                  </a:lnTo>
                  <a:lnTo>
                    <a:pt x="201206" y="107213"/>
                  </a:lnTo>
                  <a:lnTo>
                    <a:pt x="201904" y="107213"/>
                  </a:lnTo>
                  <a:lnTo>
                    <a:pt x="201726" y="105943"/>
                  </a:lnTo>
                  <a:lnTo>
                    <a:pt x="201904" y="104673"/>
                  </a:lnTo>
                  <a:lnTo>
                    <a:pt x="201726" y="104673"/>
                  </a:lnTo>
                  <a:lnTo>
                    <a:pt x="201460" y="103403"/>
                  </a:lnTo>
                  <a:lnTo>
                    <a:pt x="201663" y="103403"/>
                  </a:lnTo>
                  <a:lnTo>
                    <a:pt x="201904" y="102158"/>
                  </a:lnTo>
                  <a:lnTo>
                    <a:pt x="204736" y="103403"/>
                  </a:lnTo>
                  <a:lnTo>
                    <a:pt x="207721" y="104673"/>
                  </a:lnTo>
                  <a:lnTo>
                    <a:pt x="215214" y="105943"/>
                  </a:lnTo>
                  <a:lnTo>
                    <a:pt x="219811" y="105943"/>
                  </a:lnTo>
                  <a:lnTo>
                    <a:pt x="224142" y="104673"/>
                  </a:lnTo>
                  <a:lnTo>
                    <a:pt x="234480" y="120650"/>
                  </a:lnTo>
                  <a:lnTo>
                    <a:pt x="236423" y="123583"/>
                  </a:lnTo>
                  <a:lnTo>
                    <a:pt x="236423" y="122326"/>
                  </a:lnTo>
                  <a:lnTo>
                    <a:pt x="235318" y="120650"/>
                  </a:lnTo>
                  <a:lnTo>
                    <a:pt x="224929" y="104355"/>
                  </a:lnTo>
                  <a:lnTo>
                    <a:pt x="227330" y="103403"/>
                  </a:lnTo>
                  <a:lnTo>
                    <a:pt x="230339" y="102133"/>
                  </a:lnTo>
                  <a:lnTo>
                    <a:pt x="233070" y="100863"/>
                  </a:lnTo>
                  <a:lnTo>
                    <a:pt x="240588" y="109753"/>
                  </a:lnTo>
                  <a:lnTo>
                    <a:pt x="240588" y="107835"/>
                  </a:lnTo>
                  <a:lnTo>
                    <a:pt x="234962" y="100863"/>
                  </a:lnTo>
                  <a:lnTo>
                    <a:pt x="236423" y="99593"/>
                  </a:lnTo>
                  <a:lnTo>
                    <a:pt x="243738" y="93243"/>
                  </a:lnTo>
                  <a:lnTo>
                    <a:pt x="246659" y="90703"/>
                  </a:lnTo>
                  <a:lnTo>
                    <a:pt x="246659" y="88163"/>
                  </a:lnTo>
                  <a:lnTo>
                    <a:pt x="245973" y="88163"/>
                  </a:lnTo>
                  <a:lnTo>
                    <a:pt x="245973" y="89433"/>
                  </a:lnTo>
                  <a:lnTo>
                    <a:pt x="240893" y="93243"/>
                  </a:lnTo>
                  <a:lnTo>
                    <a:pt x="242125" y="91973"/>
                  </a:lnTo>
                  <a:lnTo>
                    <a:pt x="243281" y="90703"/>
                  </a:lnTo>
                  <a:lnTo>
                    <a:pt x="244398" y="89433"/>
                  </a:lnTo>
                  <a:lnTo>
                    <a:pt x="245973" y="89433"/>
                  </a:lnTo>
                  <a:lnTo>
                    <a:pt x="245973" y="88163"/>
                  </a:lnTo>
                  <a:lnTo>
                    <a:pt x="245529" y="88163"/>
                  </a:lnTo>
                  <a:lnTo>
                    <a:pt x="246888" y="85623"/>
                  </a:lnTo>
                  <a:lnTo>
                    <a:pt x="248183" y="84353"/>
                  </a:lnTo>
                  <a:lnTo>
                    <a:pt x="249389" y="81813"/>
                  </a:lnTo>
                  <a:lnTo>
                    <a:pt x="249389" y="81457"/>
                  </a:lnTo>
                  <a:lnTo>
                    <a:pt x="248412" y="83083"/>
                  </a:lnTo>
                  <a:lnTo>
                    <a:pt x="246761" y="85623"/>
                  </a:lnTo>
                  <a:lnTo>
                    <a:pt x="244983" y="88163"/>
                  </a:lnTo>
                  <a:lnTo>
                    <a:pt x="243827" y="88163"/>
                  </a:lnTo>
                  <a:lnTo>
                    <a:pt x="243827" y="89433"/>
                  </a:lnTo>
                  <a:lnTo>
                    <a:pt x="241427" y="91973"/>
                  </a:lnTo>
                  <a:lnTo>
                    <a:pt x="238772" y="95783"/>
                  </a:lnTo>
                  <a:lnTo>
                    <a:pt x="235000" y="98323"/>
                  </a:lnTo>
                  <a:lnTo>
                    <a:pt x="234010" y="99593"/>
                  </a:lnTo>
                  <a:lnTo>
                    <a:pt x="232791" y="97929"/>
                  </a:lnTo>
                  <a:lnTo>
                    <a:pt x="232791" y="99593"/>
                  </a:lnTo>
                  <a:lnTo>
                    <a:pt x="230085" y="102133"/>
                  </a:lnTo>
                  <a:lnTo>
                    <a:pt x="227152" y="103403"/>
                  </a:lnTo>
                  <a:lnTo>
                    <a:pt x="224624" y="103847"/>
                  </a:lnTo>
                  <a:lnTo>
                    <a:pt x="223812" y="102425"/>
                  </a:lnTo>
                  <a:lnTo>
                    <a:pt x="223812" y="103987"/>
                  </a:lnTo>
                  <a:lnTo>
                    <a:pt x="219760" y="104673"/>
                  </a:lnTo>
                  <a:lnTo>
                    <a:pt x="215226" y="104673"/>
                  </a:lnTo>
                  <a:lnTo>
                    <a:pt x="207619" y="103403"/>
                  </a:lnTo>
                  <a:lnTo>
                    <a:pt x="204470" y="102133"/>
                  </a:lnTo>
                  <a:lnTo>
                    <a:pt x="201434" y="100863"/>
                  </a:lnTo>
                  <a:lnTo>
                    <a:pt x="201663" y="100863"/>
                  </a:lnTo>
                  <a:lnTo>
                    <a:pt x="201904" y="99593"/>
                  </a:lnTo>
                  <a:lnTo>
                    <a:pt x="201460" y="99593"/>
                  </a:lnTo>
                  <a:lnTo>
                    <a:pt x="201434" y="98323"/>
                  </a:lnTo>
                  <a:lnTo>
                    <a:pt x="201663" y="98323"/>
                  </a:lnTo>
                  <a:lnTo>
                    <a:pt x="201904" y="97053"/>
                  </a:lnTo>
                  <a:lnTo>
                    <a:pt x="201460" y="97053"/>
                  </a:lnTo>
                  <a:lnTo>
                    <a:pt x="201434" y="95783"/>
                  </a:lnTo>
                  <a:lnTo>
                    <a:pt x="201663" y="95783"/>
                  </a:lnTo>
                  <a:lnTo>
                    <a:pt x="201904" y="94513"/>
                  </a:lnTo>
                  <a:lnTo>
                    <a:pt x="201460" y="94513"/>
                  </a:lnTo>
                  <a:lnTo>
                    <a:pt x="201434" y="93243"/>
                  </a:lnTo>
                  <a:lnTo>
                    <a:pt x="201904" y="93243"/>
                  </a:lnTo>
                  <a:lnTo>
                    <a:pt x="201904" y="91973"/>
                  </a:lnTo>
                  <a:lnTo>
                    <a:pt x="201460" y="91973"/>
                  </a:lnTo>
                  <a:lnTo>
                    <a:pt x="201409" y="90703"/>
                  </a:lnTo>
                  <a:lnTo>
                    <a:pt x="201180" y="90703"/>
                  </a:lnTo>
                  <a:lnTo>
                    <a:pt x="200748" y="89433"/>
                  </a:lnTo>
                  <a:lnTo>
                    <a:pt x="214833" y="89433"/>
                  </a:lnTo>
                  <a:lnTo>
                    <a:pt x="223812" y="103987"/>
                  </a:lnTo>
                  <a:lnTo>
                    <a:pt x="223812" y="102425"/>
                  </a:lnTo>
                  <a:lnTo>
                    <a:pt x="216395" y="89433"/>
                  </a:lnTo>
                  <a:lnTo>
                    <a:pt x="224713" y="89433"/>
                  </a:lnTo>
                  <a:lnTo>
                    <a:pt x="232791" y="99593"/>
                  </a:lnTo>
                  <a:lnTo>
                    <a:pt x="232791" y="97929"/>
                  </a:lnTo>
                  <a:lnTo>
                    <a:pt x="226580" y="89433"/>
                  </a:lnTo>
                  <a:lnTo>
                    <a:pt x="243827" y="89433"/>
                  </a:lnTo>
                  <a:lnTo>
                    <a:pt x="243827" y="88163"/>
                  </a:lnTo>
                  <a:lnTo>
                    <a:pt x="215671" y="88163"/>
                  </a:lnTo>
                  <a:lnTo>
                    <a:pt x="214642" y="86360"/>
                  </a:lnTo>
                  <a:lnTo>
                    <a:pt x="204787" y="69850"/>
                  </a:lnTo>
                  <a:lnTo>
                    <a:pt x="195872" y="53340"/>
                  </a:lnTo>
                  <a:lnTo>
                    <a:pt x="187159" y="36830"/>
                  </a:lnTo>
                  <a:lnTo>
                    <a:pt x="183578" y="30480"/>
                  </a:lnTo>
                  <a:lnTo>
                    <a:pt x="209715" y="38100"/>
                  </a:lnTo>
                  <a:lnTo>
                    <a:pt x="210680" y="38100"/>
                  </a:lnTo>
                  <a:lnTo>
                    <a:pt x="218211" y="44450"/>
                  </a:lnTo>
                  <a:lnTo>
                    <a:pt x="225894" y="49530"/>
                  </a:lnTo>
                  <a:lnTo>
                    <a:pt x="233756" y="54610"/>
                  </a:lnTo>
                  <a:lnTo>
                    <a:pt x="241782" y="58420"/>
                  </a:lnTo>
                  <a:lnTo>
                    <a:pt x="249999" y="63500"/>
                  </a:lnTo>
                  <a:lnTo>
                    <a:pt x="254520" y="65557"/>
                  </a:lnTo>
                  <a:lnTo>
                    <a:pt x="254520" y="64122"/>
                  </a:lnTo>
                  <a:lnTo>
                    <a:pt x="250393" y="62230"/>
                  </a:lnTo>
                  <a:lnTo>
                    <a:pt x="242214" y="58420"/>
                  </a:lnTo>
                  <a:lnTo>
                    <a:pt x="234213" y="53340"/>
                  </a:lnTo>
                  <a:lnTo>
                    <a:pt x="226402" y="48260"/>
                  </a:lnTo>
                  <a:lnTo>
                    <a:pt x="218744" y="43180"/>
                  </a:lnTo>
                  <a:lnTo>
                    <a:pt x="212813" y="38519"/>
                  </a:lnTo>
                  <a:lnTo>
                    <a:pt x="184797" y="30480"/>
                  </a:lnTo>
                  <a:lnTo>
                    <a:pt x="182295" y="29756"/>
                  </a:lnTo>
                  <a:lnTo>
                    <a:pt x="185394" y="36830"/>
                  </a:lnTo>
                  <a:lnTo>
                    <a:pt x="194500" y="53340"/>
                  </a:lnTo>
                  <a:lnTo>
                    <a:pt x="203835" y="69850"/>
                  </a:lnTo>
                  <a:lnTo>
                    <a:pt x="213728" y="87630"/>
                  </a:lnTo>
                  <a:lnTo>
                    <a:pt x="214045" y="88163"/>
                  </a:lnTo>
                  <a:lnTo>
                    <a:pt x="199821" y="88163"/>
                  </a:lnTo>
                  <a:lnTo>
                    <a:pt x="199821" y="89433"/>
                  </a:lnTo>
                  <a:lnTo>
                    <a:pt x="199821" y="114833"/>
                  </a:lnTo>
                  <a:lnTo>
                    <a:pt x="199821" y="117373"/>
                  </a:lnTo>
                  <a:lnTo>
                    <a:pt x="197739" y="123723"/>
                  </a:lnTo>
                  <a:lnTo>
                    <a:pt x="195580" y="130073"/>
                  </a:lnTo>
                  <a:lnTo>
                    <a:pt x="193332" y="136423"/>
                  </a:lnTo>
                  <a:lnTo>
                    <a:pt x="190995" y="142773"/>
                  </a:lnTo>
                  <a:lnTo>
                    <a:pt x="190855" y="142621"/>
                  </a:lnTo>
                  <a:lnTo>
                    <a:pt x="190855" y="142773"/>
                  </a:lnTo>
                  <a:lnTo>
                    <a:pt x="187337" y="151663"/>
                  </a:lnTo>
                  <a:lnTo>
                    <a:pt x="186080" y="154203"/>
                  </a:lnTo>
                  <a:lnTo>
                    <a:pt x="184785" y="158013"/>
                  </a:lnTo>
                  <a:lnTo>
                    <a:pt x="184150" y="157505"/>
                  </a:lnTo>
                  <a:lnTo>
                    <a:pt x="184150" y="159283"/>
                  </a:lnTo>
                  <a:lnTo>
                    <a:pt x="182651" y="163093"/>
                  </a:lnTo>
                  <a:lnTo>
                    <a:pt x="181864" y="164363"/>
                  </a:lnTo>
                  <a:lnTo>
                    <a:pt x="181127" y="164363"/>
                  </a:lnTo>
                  <a:lnTo>
                    <a:pt x="181127" y="165633"/>
                  </a:lnTo>
                  <a:lnTo>
                    <a:pt x="179400" y="169443"/>
                  </a:lnTo>
                  <a:lnTo>
                    <a:pt x="178752" y="168846"/>
                  </a:lnTo>
                  <a:lnTo>
                    <a:pt x="178752" y="170713"/>
                  </a:lnTo>
                  <a:lnTo>
                    <a:pt x="177292" y="173253"/>
                  </a:lnTo>
                  <a:lnTo>
                    <a:pt x="175793" y="177063"/>
                  </a:lnTo>
                  <a:lnTo>
                    <a:pt x="171894" y="183413"/>
                  </a:lnTo>
                  <a:lnTo>
                    <a:pt x="169392" y="188493"/>
                  </a:lnTo>
                  <a:lnTo>
                    <a:pt x="166725" y="192303"/>
                  </a:lnTo>
                  <a:lnTo>
                    <a:pt x="165557" y="190131"/>
                  </a:lnTo>
                  <a:lnTo>
                    <a:pt x="165557" y="193370"/>
                  </a:lnTo>
                  <a:lnTo>
                    <a:pt x="137579" y="221513"/>
                  </a:lnTo>
                  <a:lnTo>
                    <a:pt x="124752" y="225844"/>
                  </a:lnTo>
                  <a:lnTo>
                    <a:pt x="124333" y="210820"/>
                  </a:lnTo>
                  <a:lnTo>
                    <a:pt x="124294" y="209550"/>
                  </a:lnTo>
                  <a:lnTo>
                    <a:pt x="124180" y="205740"/>
                  </a:lnTo>
                  <a:lnTo>
                    <a:pt x="124142" y="204470"/>
                  </a:lnTo>
                  <a:lnTo>
                    <a:pt x="123418" y="179070"/>
                  </a:lnTo>
                  <a:lnTo>
                    <a:pt x="123380" y="176530"/>
                  </a:lnTo>
                  <a:lnTo>
                    <a:pt x="123253" y="172720"/>
                  </a:lnTo>
                  <a:lnTo>
                    <a:pt x="123253" y="298450"/>
                  </a:lnTo>
                  <a:lnTo>
                    <a:pt x="121234" y="297307"/>
                  </a:lnTo>
                  <a:lnTo>
                    <a:pt x="121234" y="300990"/>
                  </a:lnTo>
                  <a:lnTo>
                    <a:pt x="96735" y="312420"/>
                  </a:lnTo>
                  <a:lnTo>
                    <a:pt x="76962" y="303530"/>
                  </a:lnTo>
                  <a:lnTo>
                    <a:pt x="72809" y="300990"/>
                  </a:lnTo>
                  <a:lnTo>
                    <a:pt x="76174" y="299720"/>
                  </a:lnTo>
                  <a:lnTo>
                    <a:pt x="78663" y="298450"/>
                  </a:lnTo>
                  <a:lnTo>
                    <a:pt x="81153" y="297180"/>
                  </a:lnTo>
                  <a:lnTo>
                    <a:pt x="97256" y="288290"/>
                  </a:lnTo>
                  <a:lnTo>
                    <a:pt x="121234" y="300990"/>
                  </a:lnTo>
                  <a:lnTo>
                    <a:pt x="121234" y="297307"/>
                  </a:lnTo>
                  <a:lnTo>
                    <a:pt x="105435" y="288290"/>
                  </a:lnTo>
                  <a:lnTo>
                    <a:pt x="100977" y="285750"/>
                  </a:lnTo>
                  <a:lnTo>
                    <a:pt x="105346" y="283210"/>
                  </a:lnTo>
                  <a:lnTo>
                    <a:pt x="114084" y="278130"/>
                  </a:lnTo>
                  <a:lnTo>
                    <a:pt x="122555" y="273050"/>
                  </a:lnTo>
                  <a:lnTo>
                    <a:pt x="123253" y="298450"/>
                  </a:lnTo>
                  <a:lnTo>
                    <a:pt x="123253" y="172720"/>
                  </a:lnTo>
                  <a:lnTo>
                    <a:pt x="122732" y="154940"/>
                  </a:lnTo>
                  <a:lnTo>
                    <a:pt x="128130" y="160020"/>
                  </a:lnTo>
                  <a:lnTo>
                    <a:pt x="133616" y="166370"/>
                  </a:lnTo>
                  <a:lnTo>
                    <a:pt x="139217" y="171450"/>
                  </a:lnTo>
                  <a:lnTo>
                    <a:pt x="144919" y="176530"/>
                  </a:lnTo>
                  <a:lnTo>
                    <a:pt x="153162" y="182880"/>
                  </a:lnTo>
                  <a:lnTo>
                    <a:pt x="161632" y="190500"/>
                  </a:lnTo>
                  <a:lnTo>
                    <a:pt x="165557" y="193370"/>
                  </a:lnTo>
                  <a:lnTo>
                    <a:pt x="165557" y="190131"/>
                  </a:lnTo>
                  <a:lnTo>
                    <a:pt x="164896" y="188899"/>
                  </a:lnTo>
                  <a:lnTo>
                    <a:pt x="164896" y="191122"/>
                  </a:lnTo>
                  <a:lnTo>
                    <a:pt x="162318" y="189230"/>
                  </a:lnTo>
                  <a:lnTo>
                    <a:pt x="153885" y="182880"/>
                  </a:lnTo>
                  <a:lnTo>
                    <a:pt x="145694" y="175260"/>
                  </a:lnTo>
                  <a:lnTo>
                    <a:pt x="139776" y="170180"/>
                  </a:lnTo>
                  <a:lnTo>
                    <a:pt x="133972" y="165100"/>
                  </a:lnTo>
                  <a:lnTo>
                    <a:pt x="128282" y="158750"/>
                  </a:lnTo>
                  <a:lnTo>
                    <a:pt x="124079" y="154940"/>
                  </a:lnTo>
                  <a:lnTo>
                    <a:pt x="122682" y="153670"/>
                  </a:lnTo>
                  <a:lnTo>
                    <a:pt x="122567" y="149860"/>
                  </a:lnTo>
                  <a:lnTo>
                    <a:pt x="122466" y="146050"/>
                  </a:lnTo>
                  <a:lnTo>
                    <a:pt x="122389" y="143510"/>
                  </a:lnTo>
                  <a:lnTo>
                    <a:pt x="122377" y="143090"/>
                  </a:lnTo>
                  <a:lnTo>
                    <a:pt x="122377" y="267970"/>
                  </a:lnTo>
                  <a:lnTo>
                    <a:pt x="120688" y="266979"/>
                  </a:lnTo>
                  <a:lnTo>
                    <a:pt x="120688" y="270510"/>
                  </a:lnTo>
                  <a:lnTo>
                    <a:pt x="103174" y="280670"/>
                  </a:lnTo>
                  <a:lnTo>
                    <a:pt x="97218" y="283210"/>
                  </a:lnTo>
                  <a:lnTo>
                    <a:pt x="93497" y="281216"/>
                  </a:lnTo>
                  <a:lnTo>
                    <a:pt x="93497" y="285750"/>
                  </a:lnTo>
                  <a:lnTo>
                    <a:pt x="85750" y="289560"/>
                  </a:lnTo>
                  <a:lnTo>
                    <a:pt x="78968" y="293370"/>
                  </a:lnTo>
                  <a:lnTo>
                    <a:pt x="73545" y="297180"/>
                  </a:lnTo>
                  <a:lnTo>
                    <a:pt x="69900" y="298450"/>
                  </a:lnTo>
                  <a:lnTo>
                    <a:pt x="70904" y="273050"/>
                  </a:lnTo>
                  <a:lnTo>
                    <a:pt x="93497" y="285750"/>
                  </a:lnTo>
                  <a:lnTo>
                    <a:pt x="93497" y="281216"/>
                  </a:lnTo>
                  <a:lnTo>
                    <a:pt x="78295" y="273050"/>
                  </a:lnTo>
                  <a:lnTo>
                    <a:pt x="73558" y="270510"/>
                  </a:lnTo>
                  <a:lnTo>
                    <a:pt x="78295" y="267970"/>
                  </a:lnTo>
                  <a:lnTo>
                    <a:pt x="97269" y="257810"/>
                  </a:lnTo>
                  <a:lnTo>
                    <a:pt x="120688" y="270510"/>
                  </a:lnTo>
                  <a:lnTo>
                    <a:pt x="120688" y="266979"/>
                  </a:lnTo>
                  <a:lnTo>
                    <a:pt x="105168" y="257810"/>
                  </a:lnTo>
                  <a:lnTo>
                    <a:pt x="100863" y="255270"/>
                  </a:lnTo>
                  <a:lnTo>
                    <a:pt x="105029" y="252730"/>
                  </a:lnTo>
                  <a:lnTo>
                    <a:pt x="121678" y="242570"/>
                  </a:lnTo>
                  <a:lnTo>
                    <a:pt x="122377" y="267970"/>
                  </a:lnTo>
                  <a:lnTo>
                    <a:pt x="122377" y="143090"/>
                  </a:lnTo>
                  <a:lnTo>
                    <a:pt x="122275" y="139700"/>
                  </a:lnTo>
                  <a:lnTo>
                    <a:pt x="122250" y="138430"/>
                  </a:lnTo>
                  <a:lnTo>
                    <a:pt x="122123" y="134289"/>
                  </a:lnTo>
                  <a:lnTo>
                    <a:pt x="124091" y="130073"/>
                  </a:lnTo>
                  <a:lnTo>
                    <a:pt x="126923" y="123723"/>
                  </a:lnTo>
                  <a:lnTo>
                    <a:pt x="129374" y="128803"/>
                  </a:lnTo>
                  <a:lnTo>
                    <a:pt x="131876" y="133883"/>
                  </a:lnTo>
                  <a:lnTo>
                    <a:pt x="134454" y="138963"/>
                  </a:lnTo>
                  <a:lnTo>
                    <a:pt x="137909" y="146583"/>
                  </a:lnTo>
                  <a:lnTo>
                    <a:pt x="141452" y="152933"/>
                  </a:lnTo>
                  <a:lnTo>
                    <a:pt x="145110" y="159283"/>
                  </a:lnTo>
                  <a:lnTo>
                    <a:pt x="148882" y="166903"/>
                  </a:lnTo>
                  <a:lnTo>
                    <a:pt x="152781" y="173253"/>
                  </a:lnTo>
                  <a:lnTo>
                    <a:pt x="156845" y="179603"/>
                  </a:lnTo>
                  <a:lnTo>
                    <a:pt x="161124" y="186016"/>
                  </a:lnTo>
                  <a:lnTo>
                    <a:pt x="164896" y="191122"/>
                  </a:lnTo>
                  <a:lnTo>
                    <a:pt x="164896" y="188899"/>
                  </a:lnTo>
                  <a:lnTo>
                    <a:pt x="164680" y="188493"/>
                  </a:lnTo>
                  <a:lnTo>
                    <a:pt x="163690" y="187223"/>
                  </a:lnTo>
                  <a:lnTo>
                    <a:pt x="163550" y="186956"/>
                  </a:lnTo>
                  <a:lnTo>
                    <a:pt x="163550" y="187223"/>
                  </a:lnTo>
                  <a:lnTo>
                    <a:pt x="159842" y="182143"/>
                  </a:lnTo>
                  <a:lnTo>
                    <a:pt x="156260" y="177063"/>
                  </a:lnTo>
                  <a:lnTo>
                    <a:pt x="152819" y="171983"/>
                  </a:lnTo>
                  <a:lnTo>
                    <a:pt x="149491" y="165633"/>
                  </a:lnTo>
                  <a:lnTo>
                    <a:pt x="145732" y="159283"/>
                  </a:lnTo>
                  <a:lnTo>
                    <a:pt x="142087" y="152933"/>
                  </a:lnTo>
                  <a:lnTo>
                    <a:pt x="138557" y="146583"/>
                  </a:lnTo>
                  <a:lnTo>
                    <a:pt x="135115" y="138963"/>
                  </a:lnTo>
                  <a:lnTo>
                    <a:pt x="132448" y="133883"/>
                  </a:lnTo>
                  <a:lnTo>
                    <a:pt x="127317" y="123723"/>
                  </a:lnTo>
                  <a:lnTo>
                    <a:pt x="127774" y="122453"/>
                  </a:lnTo>
                  <a:lnTo>
                    <a:pt x="130035" y="116103"/>
                  </a:lnTo>
                  <a:lnTo>
                    <a:pt x="134937" y="128803"/>
                  </a:lnTo>
                  <a:lnTo>
                    <a:pt x="140017" y="140233"/>
                  </a:lnTo>
                  <a:lnTo>
                    <a:pt x="145300" y="152933"/>
                  </a:lnTo>
                  <a:lnTo>
                    <a:pt x="150850" y="164363"/>
                  </a:lnTo>
                  <a:lnTo>
                    <a:pt x="153771" y="169443"/>
                  </a:lnTo>
                  <a:lnTo>
                    <a:pt x="156806" y="175793"/>
                  </a:lnTo>
                  <a:lnTo>
                    <a:pt x="159943" y="182143"/>
                  </a:lnTo>
                  <a:lnTo>
                    <a:pt x="163550" y="187223"/>
                  </a:lnTo>
                  <a:lnTo>
                    <a:pt x="163550" y="186956"/>
                  </a:lnTo>
                  <a:lnTo>
                    <a:pt x="160439" y="180873"/>
                  </a:lnTo>
                  <a:lnTo>
                    <a:pt x="157314" y="175793"/>
                  </a:lnTo>
                  <a:lnTo>
                    <a:pt x="154292" y="169443"/>
                  </a:lnTo>
                  <a:lnTo>
                    <a:pt x="151371" y="164363"/>
                  </a:lnTo>
                  <a:lnTo>
                    <a:pt x="145834" y="151663"/>
                  </a:lnTo>
                  <a:lnTo>
                    <a:pt x="140563" y="140233"/>
                  </a:lnTo>
                  <a:lnTo>
                    <a:pt x="135483" y="128803"/>
                  </a:lnTo>
                  <a:lnTo>
                    <a:pt x="130568" y="116103"/>
                  </a:lnTo>
                  <a:lnTo>
                    <a:pt x="130568" y="114833"/>
                  </a:lnTo>
                  <a:lnTo>
                    <a:pt x="131724" y="114833"/>
                  </a:lnTo>
                  <a:lnTo>
                    <a:pt x="131724" y="113563"/>
                  </a:lnTo>
                  <a:lnTo>
                    <a:pt x="131254" y="113563"/>
                  </a:lnTo>
                  <a:lnTo>
                    <a:pt x="131165" y="112293"/>
                  </a:lnTo>
                  <a:lnTo>
                    <a:pt x="131724" y="112293"/>
                  </a:lnTo>
                  <a:lnTo>
                    <a:pt x="131724" y="111023"/>
                  </a:lnTo>
                  <a:lnTo>
                    <a:pt x="131254" y="111023"/>
                  </a:lnTo>
                  <a:lnTo>
                    <a:pt x="131165" y="109753"/>
                  </a:lnTo>
                  <a:lnTo>
                    <a:pt x="131724" y="109753"/>
                  </a:lnTo>
                  <a:lnTo>
                    <a:pt x="131724" y="108483"/>
                  </a:lnTo>
                  <a:lnTo>
                    <a:pt x="131254" y="108483"/>
                  </a:lnTo>
                  <a:lnTo>
                    <a:pt x="131165" y="107213"/>
                  </a:lnTo>
                  <a:lnTo>
                    <a:pt x="131724" y="107213"/>
                  </a:lnTo>
                  <a:lnTo>
                    <a:pt x="131724" y="105943"/>
                  </a:lnTo>
                  <a:lnTo>
                    <a:pt x="131254" y="105943"/>
                  </a:lnTo>
                  <a:lnTo>
                    <a:pt x="131165" y="104673"/>
                  </a:lnTo>
                  <a:lnTo>
                    <a:pt x="131724" y="104673"/>
                  </a:lnTo>
                  <a:lnTo>
                    <a:pt x="131724" y="103403"/>
                  </a:lnTo>
                  <a:lnTo>
                    <a:pt x="131254" y="103403"/>
                  </a:lnTo>
                  <a:lnTo>
                    <a:pt x="131165" y="102133"/>
                  </a:lnTo>
                  <a:lnTo>
                    <a:pt x="131724" y="102133"/>
                  </a:lnTo>
                  <a:lnTo>
                    <a:pt x="131724" y="100863"/>
                  </a:lnTo>
                  <a:lnTo>
                    <a:pt x="131254" y="100863"/>
                  </a:lnTo>
                  <a:lnTo>
                    <a:pt x="131165" y="99593"/>
                  </a:lnTo>
                  <a:lnTo>
                    <a:pt x="131724" y="99593"/>
                  </a:lnTo>
                  <a:lnTo>
                    <a:pt x="131724" y="98323"/>
                  </a:lnTo>
                  <a:lnTo>
                    <a:pt x="131254" y="98323"/>
                  </a:lnTo>
                  <a:lnTo>
                    <a:pt x="131165" y="97053"/>
                  </a:lnTo>
                  <a:lnTo>
                    <a:pt x="131724" y="97053"/>
                  </a:lnTo>
                  <a:lnTo>
                    <a:pt x="131724" y="95783"/>
                  </a:lnTo>
                  <a:lnTo>
                    <a:pt x="131165" y="95783"/>
                  </a:lnTo>
                  <a:lnTo>
                    <a:pt x="131025" y="94513"/>
                  </a:lnTo>
                  <a:lnTo>
                    <a:pt x="131724" y="94513"/>
                  </a:lnTo>
                  <a:lnTo>
                    <a:pt x="131724" y="93243"/>
                  </a:lnTo>
                  <a:lnTo>
                    <a:pt x="131165" y="93243"/>
                  </a:lnTo>
                  <a:lnTo>
                    <a:pt x="131025" y="91973"/>
                  </a:lnTo>
                  <a:lnTo>
                    <a:pt x="131724" y="91973"/>
                  </a:lnTo>
                  <a:lnTo>
                    <a:pt x="131546" y="90703"/>
                  </a:lnTo>
                  <a:lnTo>
                    <a:pt x="131229" y="90703"/>
                  </a:lnTo>
                  <a:lnTo>
                    <a:pt x="131000" y="89433"/>
                  </a:lnTo>
                  <a:lnTo>
                    <a:pt x="148717" y="89433"/>
                  </a:lnTo>
                  <a:lnTo>
                    <a:pt x="172643" y="165633"/>
                  </a:lnTo>
                  <a:lnTo>
                    <a:pt x="178752" y="170713"/>
                  </a:lnTo>
                  <a:lnTo>
                    <a:pt x="178752" y="168846"/>
                  </a:lnTo>
                  <a:lnTo>
                    <a:pt x="175336" y="165633"/>
                  </a:lnTo>
                  <a:lnTo>
                    <a:pt x="181127" y="165633"/>
                  </a:lnTo>
                  <a:lnTo>
                    <a:pt x="181127" y="164363"/>
                  </a:lnTo>
                  <a:lnTo>
                    <a:pt x="174752" y="164363"/>
                  </a:lnTo>
                  <a:lnTo>
                    <a:pt x="175666" y="163093"/>
                  </a:lnTo>
                  <a:lnTo>
                    <a:pt x="180263" y="156743"/>
                  </a:lnTo>
                  <a:lnTo>
                    <a:pt x="184150" y="159283"/>
                  </a:lnTo>
                  <a:lnTo>
                    <a:pt x="184150" y="157505"/>
                  </a:lnTo>
                  <a:lnTo>
                    <a:pt x="183222" y="156743"/>
                  </a:lnTo>
                  <a:lnTo>
                    <a:pt x="179095" y="153390"/>
                  </a:lnTo>
                  <a:lnTo>
                    <a:pt x="179095" y="155473"/>
                  </a:lnTo>
                  <a:lnTo>
                    <a:pt x="173583" y="163093"/>
                  </a:lnTo>
                  <a:lnTo>
                    <a:pt x="168402" y="146583"/>
                  </a:lnTo>
                  <a:lnTo>
                    <a:pt x="179095" y="155473"/>
                  </a:lnTo>
                  <a:lnTo>
                    <a:pt x="179095" y="153390"/>
                  </a:lnTo>
                  <a:lnTo>
                    <a:pt x="170738" y="146583"/>
                  </a:lnTo>
                  <a:lnTo>
                    <a:pt x="167614" y="144043"/>
                  </a:lnTo>
                  <a:lnTo>
                    <a:pt x="156870" y="109753"/>
                  </a:lnTo>
                  <a:lnTo>
                    <a:pt x="157873" y="108483"/>
                  </a:lnTo>
                  <a:lnTo>
                    <a:pt x="161899" y="103403"/>
                  </a:lnTo>
                  <a:lnTo>
                    <a:pt x="167068" y="112293"/>
                  </a:lnTo>
                  <a:lnTo>
                    <a:pt x="172453" y="119913"/>
                  </a:lnTo>
                  <a:lnTo>
                    <a:pt x="190855" y="142773"/>
                  </a:lnTo>
                  <a:lnTo>
                    <a:pt x="190855" y="142621"/>
                  </a:lnTo>
                  <a:lnTo>
                    <a:pt x="188734" y="140233"/>
                  </a:lnTo>
                  <a:lnTo>
                    <a:pt x="186575" y="137693"/>
                  </a:lnTo>
                  <a:lnTo>
                    <a:pt x="162204" y="103403"/>
                  </a:lnTo>
                  <a:lnTo>
                    <a:pt x="163245" y="102133"/>
                  </a:lnTo>
                  <a:lnTo>
                    <a:pt x="165328" y="99593"/>
                  </a:lnTo>
                  <a:lnTo>
                    <a:pt x="173685" y="89433"/>
                  </a:lnTo>
                  <a:lnTo>
                    <a:pt x="182892" y="89433"/>
                  </a:lnTo>
                  <a:lnTo>
                    <a:pt x="187629" y="93243"/>
                  </a:lnTo>
                  <a:lnTo>
                    <a:pt x="192697" y="97053"/>
                  </a:lnTo>
                  <a:lnTo>
                    <a:pt x="198577" y="100863"/>
                  </a:lnTo>
                  <a:lnTo>
                    <a:pt x="199123" y="100863"/>
                  </a:lnTo>
                  <a:lnTo>
                    <a:pt x="199097" y="102133"/>
                  </a:lnTo>
                  <a:lnTo>
                    <a:pt x="198666" y="102133"/>
                  </a:lnTo>
                  <a:lnTo>
                    <a:pt x="198894" y="103403"/>
                  </a:lnTo>
                  <a:lnTo>
                    <a:pt x="199097" y="103403"/>
                  </a:lnTo>
                  <a:lnTo>
                    <a:pt x="198843" y="104673"/>
                  </a:lnTo>
                  <a:lnTo>
                    <a:pt x="198666" y="104673"/>
                  </a:lnTo>
                  <a:lnTo>
                    <a:pt x="198894" y="105943"/>
                  </a:lnTo>
                  <a:lnTo>
                    <a:pt x="198666" y="107213"/>
                  </a:lnTo>
                  <a:lnTo>
                    <a:pt x="199377" y="107213"/>
                  </a:lnTo>
                  <a:lnTo>
                    <a:pt x="199212" y="108483"/>
                  </a:lnTo>
                  <a:lnTo>
                    <a:pt x="198843" y="108483"/>
                  </a:lnTo>
                  <a:lnTo>
                    <a:pt x="198666" y="109753"/>
                  </a:lnTo>
                  <a:lnTo>
                    <a:pt x="199377" y="109753"/>
                  </a:lnTo>
                  <a:lnTo>
                    <a:pt x="199212" y="111023"/>
                  </a:lnTo>
                  <a:lnTo>
                    <a:pt x="198843" y="111023"/>
                  </a:lnTo>
                  <a:lnTo>
                    <a:pt x="198666" y="112293"/>
                  </a:lnTo>
                  <a:lnTo>
                    <a:pt x="199377" y="112293"/>
                  </a:lnTo>
                  <a:lnTo>
                    <a:pt x="199212" y="113563"/>
                  </a:lnTo>
                  <a:lnTo>
                    <a:pt x="198843" y="113563"/>
                  </a:lnTo>
                  <a:lnTo>
                    <a:pt x="198666" y="114833"/>
                  </a:lnTo>
                  <a:lnTo>
                    <a:pt x="199821" y="114833"/>
                  </a:lnTo>
                  <a:lnTo>
                    <a:pt x="199821" y="89433"/>
                  </a:lnTo>
                  <a:lnTo>
                    <a:pt x="199377" y="90703"/>
                  </a:lnTo>
                  <a:lnTo>
                    <a:pt x="199161" y="90703"/>
                  </a:lnTo>
                  <a:lnTo>
                    <a:pt x="199097" y="91973"/>
                  </a:lnTo>
                  <a:lnTo>
                    <a:pt x="198666" y="91973"/>
                  </a:lnTo>
                  <a:lnTo>
                    <a:pt x="198666" y="93243"/>
                  </a:lnTo>
                  <a:lnTo>
                    <a:pt x="199136" y="93243"/>
                  </a:lnTo>
                  <a:lnTo>
                    <a:pt x="199097" y="94513"/>
                  </a:lnTo>
                  <a:lnTo>
                    <a:pt x="198666" y="94513"/>
                  </a:lnTo>
                  <a:lnTo>
                    <a:pt x="198894" y="95783"/>
                  </a:lnTo>
                  <a:lnTo>
                    <a:pt x="199136" y="95783"/>
                  </a:lnTo>
                  <a:lnTo>
                    <a:pt x="199097" y="97053"/>
                  </a:lnTo>
                  <a:lnTo>
                    <a:pt x="198666" y="97053"/>
                  </a:lnTo>
                  <a:lnTo>
                    <a:pt x="198894" y="98323"/>
                  </a:lnTo>
                  <a:lnTo>
                    <a:pt x="199136" y="98323"/>
                  </a:lnTo>
                  <a:lnTo>
                    <a:pt x="199097" y="99593"/>
                  </a:lnTo>
                  <a:lnTo>
                    <a:pt x="198691" y="99593"/>
                  </a:lnTo>
                  <a:lnTo>
                    <a:pt x="193179" y="97053"/>
                  </a:lnTo>
                  <a:lnTo>
                    <a:pt x="188290" y="93243"/>
                  </a:lnTo>
                  <a:lnTo>
                    <a:pt x="183718" y="89433"/>
                  </a:lnTo>
                  <a:lnTo>
                    <a:pt x="199821" y="89433"/>
                  </a:lnTo>
                  <a:lnTo>
                    <a:pt x="199821" y="88163"/>
                  </a:lnTo>
                  <a:lnTo>
                    <a:pt x="182003" y="88163"/>
                  </a:lnTo>
                  <a:lnTo>
                    <a:pt x="180505" y="86893"/>
                  </a:lnTo>
                  <a:lnTo>
                    <a:pt x="179031" y="84353"/>
                  </a:lnTo>
                  <a:lnTo>
                    <a:pt x="177596" y="83083"/>
                  </a:lnTo>
                  <a:lnTo>
                    <a:pt x="155994" y="57683"/>
                  </a:lnTo>
                  <a:lnTo>
                    <a:pt x="152044" y="52603"/>
                  </a:lnTo>
                  <a:lnTo>
                    <a:pt x="148196" y="47523"/>
                  </a:lnTo>
                  <a:lnTo>
                    <a:pt x="144437" y="42443"/>
                  </a:lnTo>
                  <a:lnTo>
                    <a:pt x="137134" y="31013"/>
                  </a:lnTo>
                  <a:lnTo>
                    <a:pt x="126936" y="14503"/>
                  </a:lnTo>
                  <a:lnTo>
                    <a:pt x="126619" y="14414"/>
                  </a:lnTo>
                  <a:lnTo>
                    <a:pt x="147688" y="47523"/>
                  </a:lnTo>
                  <a:lnTo>
                    <a:pt x="151549" y="52603"/>
                  </a:lnTo>
                  <a:lnTo>
                    <a:pt x="155511" y="58953"/>
                  </a:lnTo>
                  <a:lnTo>
                    <a:pt x="181190" y="88163"/>
                  </a:lnTo>
                  <a:lnTo>
                    <a:pt x="171780" y="88163"/>
                  </a:lnTo>
                  <a:lnTo>
                    <a:pt x="171780" y="89433"/>
                  </a:lnTo>
                  <a:lnTo>
                    <a:pt x="163855" y="99593"/>
                  </a:lnTo>
                  <a:lnTo>
                    <a:pt x="162915" y="98869"/>
                  </a:lnTo>
                  <a:lnTo>
                    <a:pt x="162915" y="100863"/>
                  </a:lnTo>
                  <a:lnTo>
                    <a:pt x="161378" y="102133"/>
                  </a:lnTo>
                  <a:lnTo>
                    <a:pt x="161074" y="101561"/>
                  </a:lnTo>
                  <a:lnTo>
                    <a:pt x="161074" y="102133"/>
                  </a:lnTo>
                  <a:lnTo>
                    <a:pt x="156337" y="108483"/>
                  </a:lnTo>
                  <a:lnTo>
                    <a:pt x="150685" y="90703"/>
                  </a:lnTo>
                  <a:lnTo>
                    <a:pt x="156819" y="95783"/>
                  </a:lnTo>
                  <a:lnTo>
                    <a:pt x="159423" y="99593"/>
                  </a:lnTo>
                  <a:lnTo>
                    <a:pt x="161074" y="102133"/>
                  </a:lnTo>
                  <a:lnTo>
                    <a:pt x="161074" y="101561"/>
                  </a:lnTo>
                  <a:lnTo>
                    <a:pt x="160032" y="99593"/>
                  </a:lnTo>
                  <a:lnTo>
                    <a:pt x="157848" y="95783"/>
                  </a:lnTo>
                  <a:lnTo>
                    <a:pt x="162915" y="100863"/>
                  </a:lnTo>
                  <a:lnTo>
                    <a:pt x="162915" y="98869"/>
                  </a:lnTo>
                  <a:lnTo>
                    <a:pt x="158965" y="95783"/>
                  </a:lnTo>
                  <a:lnTo>
                    <a:pt x="155714" y="93243"/>
                  </a:lnTo>
                  <a:lnTo>
                    <a:pt x="155067" y="91973"/>
                  </a:lnTo>
                  <a:lnTo>
                    <a:pt x="154724" y="91313"/>
                  </a:lnTo>
                  <a:lnTo>
                    <a:pt x="154724" y="91973"/>
                  </a:lnTo>
                  <a:lnTo>
                    <a:pt x="153073" y="90703"/>
                  </a:lnTo>
                  <a:lnTo>
                    <a:pt x="151422" y="89433"/>
                  </a:lnTo>
                  <a:lnTo>
                    <a:pt x="153225" y="89433"/>
                  </a:lnTo>
                  <a:lnTo>
                    <a:pt x="154724" y="91973"/>
                  </a:lnTo>
                  <a:lnTo>
                    <a:pt x="154724" y="91313"/>
                  </a:lnTo>
                  <a:lnTo>
                    <a:pt x="153771" y="89433"/>
                  </a:lnTo>
                  <a:lnTo>
                    <a:pt x="171780" y="89433"/>
                  </a:lnTo>
                  <a:lnTo>
                    <a:pt x="171780" y="88163"/>
                  </a:lnTo>
                  <a:lnTo>
                    <a:pt x="152920" y="88163"/>
                  </a:lnTo>
                  <a:lnTo>
                    <a:pt x="152349" y="86995"/>
                  </a:lnTo>
                  <a:lnTo>
                    <a:pt x="152349" y="88163"/>
                  </a:lnTo>
                  <a:lnTo>
                    <a:pt x="149783" y="88163"/>
                  </a:lnTo>
                  <a:lnTo>
                    <a:pt x="148234" y="82829"/>
                  </a:lnTo>
                  <a:lnTo>
                    <a:pt x="148234" y="88163"/>
                  </a:lnTo>
                  <a:lnTo>
                    <a:pt x="128625" y="88163"/>
                  </a:lnTo>
                  <a:lnTo>
                    <a:pt x="128295" y="89433"/>
                  </a:lnTo>
                  <a:lnTo>
                    <a:pt x="129197" y="89433"/>
                  </a:lnTo>
                  <a:lnTo>
                    <a:pt x="128968" y="90703"/>
                  </a:lnTo>
                  <a:lnTo>
                    <a:pt x="128663" y="90703"/>
                  </a:lnTo>
                  <a:lnTo>
                    <a:pt x="128473" y="91973"/>
                  </a:lnTo>
                  <a:lnTo>
                    <a:pt x="129184" y="91973"/>
                  </a:lnTo>
                  <a:lnTo>
                    <a:pt x="129032" y="93243"/>
                  </a:lnTo>
                  <a:lnTo>
                    <a:pt x="128473" y="93243"/>
                  </a:lnTo>
                  <a:lnTo>
                    <a:pt x="128473" y="94513"/>
                  </a:lnTo>
                  <a:lnTo>
                    <a:pt x="129184" y="94513"/>
                  </a:lnTo>
                  <a:lnTo>
                    <a:pt x="129032" y="95783"/>
                  </a:lnTo>
                  <a:lnTo>
                    <a:pt x="128473" y="95783"/>
                  </a:lnTo>
                  <a:lnTo>
                    <a:pt x="128473" y="97053"/>
                  </a:lnTo>
                  <a:lnTo>
                    <a:pt x="129032" y="97053"/>
                  </a:lnTo>
                  <a:lnTo>
                    <a:pt x="128955" y="98323"/>
                  </a:lnTo>
                  <a:lnTo>
                    <a:pt x="128473" y="98323"/>
                  </a:lnTo>
                  <a:lnTo>
                    <a:pt x="128473" y="99593"/>
                  </a:lnTo>
                  <a:lnTo>
                    <a:pt x="129032" y="99593"/>
                  </a:lnTo>
                  <a:lnTo>
                    <a:pt x="128955" y="100863"/>
                  </a:lnTo>
                  <a:lnTo>
                    <a:pt x="128473" y="100863"/>
                  </a:lnTo>
                  <a:lnTo>
                    <a:pt x="128473" y="102133"/>
                  </a:lnTo>
                  <a:lnTo>
                    <a:pt x="129032" y="102133"/>
                  </a:lnTo>
                  <a:lnTo>
                    <a:pt x="128955" y="103403"/>
                  </a:lnTo>
                  <a:lnTo>
                    <a:pt x="128473" y="103403"/>
                  </a:lnTo>
                  <a:lnTo>
                    <a:pt x="128473" y="104673"/>
                  </a:lnTo>
                  <a:lnTo>
                    <a:pt x="129032" y="104673"/>
                  </a:lnTo>
                  <a:lnTo>
                    <a:pt x="128955" y="105943"/>
                  </a:lnTo>
                  <a:lnTo>
                    <a:pt x="128473" y="105943"/>
                  </a:lnTo>
                  <a:lnTo>
                    <a:pt x="128473" y="107213"/>
                  </a:lnTo>
                  <a:lnTo>
                    <a:pt x="129032" y="107213"/>
                  </a:lnTo>
                  <a:lnTo>
                    <a:pt x="128955" y="108483"/>
                  </a:lnTo>
                  <a:lnTo>
                    <a:pt x="128473" y="108483"/>
                  </a:lnTo>
                  <a:lnTo>
                    <a:pt x="128473" y="109753"/>
                  </a:lnTo>
                  <a:lnTo>
                    <a:pt x="129032" y="109753"/>
                  </a:lnTo>
                  <a:lnTo>
                    <a:pt x="128955" y="111023"/>
                  </a:lnTo>
                  <a:lnTo>
                    <a:pt x="128473" y="111023"/>
                  </a:lnTo>
                  <a:lnTo>
                    <a:pt x="128473" y="112293"/>
                  </a:lnTo>
                  <a:lnTo>
                    <a:pt x="129032" y="112293"/>
                  </a:lnTo>
                  <a:lnTo>
                    <a:pt x="128955" y="113563"/>
                  </a:lnTo>
                  <a:lnTo>
                    <a:pt x="128473" y="113563"/>
                  </a:lnTo>
                  <a:lnTo>
                    <a:pt x="128473" y="114833"/>
                  </a:lnTo>
                  <a:lnTo>
                    <a:pt x="129628" y="114833"/>
                  </a:lnTo>
                  <a:lnTo>
                    <a:pt x="129628" y="116103"/>
                  </a:lnTo>
                  <a:lnTo>
                    <a:pt x="128752" y="118643"/>
                  </a:lnTo>
                  <a:lnTo>
                    <a:pt x="126949" y="122453"/>
                  </a:lnTo>
                  <a:lnTo>
                    <a:pt x="126555" y="121627"/>
                  </a:lnTo>
                  <a:lnTo>
                    <a:pt x="126555" y="123723"/>
                  </a:lnTo>
                  <a:lnTo>
                    <a:pt x="123647" y="130073"/>
                  </a:lnTo>
                  <a:lnTo>
                    <a:pt x="122097" y="133337"/>
                  </a:lnTo>
                  <a:lnTo>
                    <a:pt x="121513" y="113030"/>
                  </a:lnTo>
                  <a:lnTo>
                    <a:pt x="121488" y="112331"/>
                  </a:lnTo>
                  <a:lnTo>
                    <a:pt x="121488" y="236220"/>
                  </a:lnTo>
                  <a:lnTo>
                    <a:pt x="120002" y="235305"/>
                  </a:lnTo>
                  <a:lnTo>
                    <a:pt x="120002" y="240030"/>
                  </a:lnTo>
                  <a:lnTo>
                    <a:pt x="97243" y="252730"/>
                  </a:lnTo>
                  <a:lnTo>
                    <a:pt x="93649" y="250698"/>
                  </a:lnTo>
                  <a:lnTo>
                    <a:pt x="93649" y="255270"/>
                  </a:lnTo>
                  <a:lnTo>
                    <a:pt x="71120" y="267970"/>
                  </a:lnTo>
                  <a:lnTo>
                    <a:pt x="72136" y="242570"/>
                  </a:lnTo>
                  <a:lnTo>
                    <a:pt x="93649" y="255270"/>
                  </a:lnTo>
                  <a:lnTo>
                    <a:pt x="93649" y="250698"/>
                  </a:lnTo>
                  <a:lnTo>
                    <a:pt x="79286" y="242570"/>
                  </a:lnTo>
                  <a:lnTo>
                    <a:pt x="74790" y="240030"/>
                  </a:lnTo>
                  <a:lnTo>
                    <a:pt x="78955" y="237490"/>
                  </a:lnTo>
                  <a:lnTo>
                    <a:pt x="97675" y="226060"/>
                  </a:lnTo>
                  <a:lnTo>
                    <a:pt x="120002" y="240030"/>
                  </a:lnTo>
                  <a:lnTo>
                    <a:pt x="120002" y="235305"/>
                  </a:lnTo>
                  <a:lnTo>
                    <a:pt x="106273" y="226796"/>
                  </a:lnTo>
                  <a:lnTo>
                    <a:pt x="115836" y="227863"/>
                  </a:lnTo>
                  <a:lnTo>
                    <a:pt x="103390" y="225005"/>
                  </a:lnTo>
                  <a:lnTo>
                    <a:pt x="101003" y="223520"/>
                  </a:lnTo>
                  <a:lnTo>
                    <a:pt x="104952" y="220980"/>
                  </a:lnTo>
                  <a:lnTo>
                    <a:pt x="120738" y="210820"/>
                  </a:lnTo>
                  <a:lnTo>
                    <a:pt x="121196" y="226682"/>
                  </a:lnTo>
                  <a:lnTo>
                    <a:pt x="120891" y="226745"/>
                  </a:lnTo>
                  <a:lnTo>
                    <a:pt x="115849" y="227863"/>
                  </a:lnTo>
                  <a:lnTo>
                    <a:pt x="121234" y="227863"/>
                  </a:lnTo>
                  <a:lnTo>
                    <a:pt x="121488" y="236220"/>
                  </a:lnTo>
                  <a:lnTo>
                    <a:pt x="121488" y="112331"/>
                  </a:lnTo>
                  <a:lnTo>
                    <a:pt x="121475" y="111975"/>
                  </a:lnTo>
                  <a:lnTo>
                    <a:pt x="122847" y="114833"/>
                  </a:lnTo>
                  <a:lnTo>
                    <a:pt x="126555" y="123723"/>
                  </a:lnTo>
                  <a:lnTo>
                    <a:pt x="126555" y="121627"/>
                  </a:lnTo>
                  <a:lnTo>
                    <a:pt x="123329" y="114833"/>
                  </a:lnTo>
                  <a:lnTo>
                    <a:pt x="121424" y="110070"/>
                  </a:lnTo>
                  <a:lnTo>
                    <a:pt x="121335" y="106680"/>
                  </a:lnTo>
                  <a:lnTo>
                    <a:pt x="120713" y="85572"/>
                  </a:lnTo>
                  <a:lnTo>
                    <a:pt x="123812" y="83083"/>
                  </a:lnTo>
                  <a:lnTo>
                    <a:pt x="129717" y="78003"/>
                  </a:lnTo>
                  <a:lnTo>
                    <a:pt x="135267" y="72923"/>
                  </a:lnTo>
                  <a:lnTo>
                    <a:pt x="140462" y="67843"/>
                  </a:lnTo>
                  <a:lnTo>
                    <a:pt x="141224" y="67843"/>
                  </a:lnTo>
                  <a:lnTo>
                    <a:pt x="142760" y="70383"/>
                  </a:lnTo>
                  <a:lnTo>
                    <a:pt x="148234" y="88163"/>
                  </a:lnTo>
                  <a:lnTo>
                    <a:pt x="148234" y="82829"/>
                  </a:lnTo>
                  <a:lnTo>
                    <a:pt x="146469" y="76733"/>
                  </a:lnTo>
                  <a:lnTo>
                    <a:pt x="149161" y="82016"/>
                  </a:lnTo>
                  <a:lnTo>
                    <a:pt x="152349" y="88163"/>
                  </a:lnTo>
                  <a:lnTo>
                    <a:pt x="152349" y="86995"/>
                  </a:lnTo>
                  <a:lnTo>
                    <a:pt x="150456" y="83083"/>
                  </a:lnTo>
                  <a:lnTo>
                    <a:pt x="148056" y="79273"/>
                  </a:lnTo>
                  <a:lnTo>
                    <a:pt x="146875" y="76733"/>
                  </a:lnTo>
                  <a:lnTo>
                    <a:pt x="145694" y="74193"/>
                  </a:lnTo>
                  <a:lnTo>
                    <a:pt x="143611" y="67843"/>
                  </a:lnTo>
                  <a:lnTo>
                    <a:pt x="141947" y="62763"/>
                  </a:lnTo>
                  <a:lnTo>
                    <a:pt x="139750" y="62763"/>
                  </a:lnTo>
                  <a:lnTo>
                    <a:pt x="120700" y="84797"/>
                  </a:lnTo>
                  <a:lnTo>
                    <a:pt x="120675" y="83820"/>
                  </a:lnTo>
                  <a:lnTo>
                    <a:pt x="120548" y="79248"/>
                  </a:lnTo>
                  <a:lnTo>
                    <a:pt x="120548" y="204470"/>
                  </a:lnTo>
                  <a:lnTo>
                    <a:pt x="116433" y="201790"/>
                  </a:lnTo>
                  <a:lnTo>
                    <a:pt x="116433" y="205740"/>
                  </a:lnTo>
                  <a:lnTo>
                    <a:pt x="116319" y="209550"/>
                  </a:lnTo>
                  <a:lnTo>
                    <a:pt x="97675" y="220980"/>
                  </a:lnTo>
                  <a:lnTo>
                    <a:pt x="94348" y="218948"/>
                  </a:lnTo>
                  <a:lnTo>
                    <a:pt x="94348" y="223520"/>
                  </a:lnTo>
                  <a:lnTo>
                    <a:pt x="72364" y="237490"/>
                  </a:lnTo>
                  <a:lnTo>
                    <a:pt x="73456" y="209550"/>
                  </a:lnTo>
                  <a:lnTo>
                    <a:pt x="94348" y="223520"/>
                  </a:lnTo>
                  <a:lnTo>
                    <a:pt x="94348" y="218948"/>
                  </a:lnTo>
                  <a:lnTo>
                    <a:pt x="78994" y="209550"/>
                  </a:lnTo>
                  <a:lnTo>
                    <a:pt x="116319" y="209550"/>
                  </a:lnTo>
                  <a:lnTo>
                    <a:pt x="116319" y="205740"/>
                  </a:lnTo>
                  <a:lnTo>
                    <a:pt x="78955" y="205740"/>
                  </a:lnTo>
                  <a:lnTo>
                    <a:pt x="80835" y="204470"/>
                  </a:lnTo>
                  <a:lnTo>
                    <a:pt x="97802" y="193040"/>
                  </a:lnTo>
                  <a:lnTo>
                    <a:pt x="116433" y="205740"/>
                  </a:lnTo>
                  <a:lnTo>
                    <a:pt x="116433" y="201790"/>
                  </a:lnTo>
                  <a:lnTo>
                    <a:pt x="103035" y="193040"/>
                  </a:lnTo>
                  <a:lnTo>
                    <a:pt x="101092" y="191770"/>
                  </a:lnTo>
                  <a:lnTo>
                    <a:pt x="104838" y="189230"/>
                  </a:lnTo>
                  <a:lnTo>
                    <a:pt x="119837" y="179070"/>
                  </a:lnTo>
                  <a:lnTo>
                    <a:pt x="120548" y="204470"/>
                  </a:lnTo>
                  <a:lnTo>
                    <a:pt x="120548" y="79248"/>
                  </a:lnTo>
                  <a:lnTo>
                    <a:pt x="120357" y="72390"/>
                  </a:lnTo>
                  <a:lnTo>
                    <a:pt x="119634" y="47434"/>
                  </a:lnTo>
                  <a:lnTo>
                    <a:pt x="119634" y="172720"/>
                  </a:lnTo>
                  <a:lnTo>
                    <a:pt x="118427" y="171818"/>
                  </a:lnTo>
                  <a:lnTo>
                    <a:pt x="118427" y="175260"/>
                  </a:lnTo>
                  <a:lnTo>
                    <a:pt x="97802" y="189230"/>
                  </a:lnTo>
                  <a:lnTo>
                    <a:pt x="94513" y="186982"/>
                  </a:lnTo>
                  <a:lnTo>
                    <a:pt x="94513" y="191770"/>
                  </a:lnTo>
                  <a:lnTo>
                    <a:pt x="76885" y="202514"/>
                  </a:lnTo>
                  <a:lnTo>
                    <a:pt x="78244" y="201193"/>
                  </a:lnTo>
                  <a:lnTo>
                    <a:pt x="84353" y="194843"/>
                  </a:lnTo>
                  <a:lnTo>
                    <a:pt x="89979" y="188582"/>
                  </a:lnTo>
                  <a:lnTo>
                    <a:pt x="94513" y="191770"/>
                  </a:lnTo>
                  <a:lnTo>
                    <a:pt x="94513" y="186982"/>
                  </a:lnTo>
                  <a:lnTo>
                    <a:pt x="92494" y="185585"/>
                  </a:lnTo>
                  <a:lnTo>
                    <a:pt x="95402" y="182143"/>
                  </a:lnTo>
                  <a:lnTo>
                    <a:pt x="100736" y="173253"/>
                  </a:lnTo>
                  <a:lnTo>
                    <a:pt x="105333" y="166255"/>
                  </a:lnTo>
                  <a:lnTo>
                    <a:pt x="118427" y="175260"/>
                  </a:lnTo>
                  <a:lnTo>
                    <a:pt x="118427" y="171818"/>
                  </a:lnTo>
                  <a:lnTo>
                    <a:pt x="107175" y="163309"/>
                  </a:lnTo>
                  <a:lnTo>
                    <a:pt x="110439" y="158013"/>
                  </a:lnTo>
                  <a:lnTo>
                    <a:pt x="114858" y="150393"/>
                  </a:lnTo>
                  <a:lnTo>
                    <a:pt x="116179" y="147777"/>
                  </a:lnTo>
                  <a:lnTo>
                    <a:pt x="119024" y="151130"/>
                  </a:lnTo>
                  <a:lnTo>
                    <a:pt x="119634" y="172720"/>
                  </a:lnTo>
                  <a:lnTo>
                    <a:pt x="119634" y="47434"/>
                  </a:lnTo>
                  <a:lnTo>
                    <a:pt x="119621" y="46990"/>
                  </a:lnTo>
                  <a:lnTo>
                    <a:pt x="119405" y="39370"/>
                  </a:lnTo>
                  <a:lnTo>
                    <a:pt x="118973" y="24180"/>
                  </a:lnTo>
                  <a:lnTo>
                    <a:pt x="118973" y="149860"/>
                  </a:lnTo>
                  <a:lnTo>
                    <a:pt x="116776" y="147320"/>
                  </a:lnTo>
                  <a:lnTo>
                    <a:pt x="118859" y="146050"/>
                  </a:lnTo>
                  <a:lnTo>
                    <a:pt x="118973" y="149860"/>
                  </a:lnTo>
                  <a:lnTo>
                    <a:pt x="118973" y="24180"/>
                  </a:lnTo>
                  <a:lnTo>
                    <a:pt x="118719" y="15240"/>
                  </a:lnTo>
                  <a:lnTo>
                    <a:pt x="118681" y="13970"/>
                  </a:lnTo>
                  <a:lnTo>
                    <a:pt x="118656" y="13233"/>
                  </a:lnTo>
                  <a:lnTo>
                    <a:pt x="118656" y="138430"/>
                  </a:lnTo>
                  <a:lnTo>
                    <a:pt x="115074" y="135801"/>
                  </a:lnTo>
                  <a:lnTo>
                    <a:pt x="115074" y="139700"/>
                  </a:lnTo>
                  <a:lnTo>
                    <a:pt x="114731" y="139700"/>
                  </a:lnTo>
                  <a:lnTo>
                    <a:pt x="114731" y="148158"/>
                  </a:lnTo>
                  <a:lnTo>
                    <a:pt x="114236" y="149123"/>
                  </a:lnTo>
                  <a:lnTo>
                    <a:pt x="109804" y="158013"/>
                  </a:lnTo>
                  <a:lnTo>
                    <a:pt x="106743" y="162979"/>
                  </a:lnTo>
                  <a:lnTo>
                    <a:pt x="104902" y="161582"/>
                  </a:lnTo>
                  <a:lnTo>
                    <a:pt x="104902" y="165963"/>
                  </a:lnTo>
                  <a:lnTo>
                    <a:pt x="100114" y="173253"/>
                  </a:lnTo>
                  <a:lnTo>
                    <a:pt x="91808" y="185115"/>
                  </a:lnTo>
                  <a:lnTo>
                    <a:pt x="89585" y="183591"/>
                  </a:lnTo>
                  <a:lnTo>
                    <a:pt x="89585" y="188302"/>
                  </a:lnTo>
                  <a:lnTo>
                    <a:pt x="89446" y="188493"/>
                  </a:lnTo>
                  <a:lnTo>
                    <a:pt x="83731" y="194843"/>
                  </a:lnTo>
                  <a:lnTo>
                    <a:pt x="77609" y="201193"/>
                  </a:lnTo>
                  <a:lnTo>
                    <a:pt x="73672" y="204254"/>
                  </a:lnTo>
                  <a:lnTo>
                    <a:pt x="74739" y="177800"/>
                  </a:lnTo>
                  <a:lnTo>
                    <a:pt x="89585" y="188302"/>
                  </a:lnTo>
                  <a:lnTo>
                    <a:pt x="89585" y="183591"/>
                  </a:lnTo>
                  <a:lnTo>
                    <a:pt x="81203" y="177800"/>
                  </a:lnTo>
                  <a:lnTo>
                    <a:pt x="77520" y="175260"/>
                  </a:lnTo>
                  <a:lnTo>
                    <a:pt x="81267" y="172720"/>
                  </a:lnTo>
                  <a:lnTo>
                    <a:pt x="98132" y="161290"/>
                  </a:lnTo>
                  <a:lnTo>
                    <a:pt x="104902" y="165963"/>
                  </a:lnTo>
                  <a:lnTo>
                    <a:pt x="104902" y="161582"/>
                  </a:lnTo>
                  <a:lnTo>
                    <a:pt x="104521" y="161290"/>
                  </a:lnTo>
                  <a:lnTo>
                    <a:pt x="101168" y="158750"/>
                  </a:lnTo>
                  <a:lnTo>
                    <a:pt x="104419" y="156210"/>
                  </a:lnTo>
                  <a:lnTo>
                    <a:pt x="114731" y="148158"/>
                  </a:lnTo>
                  <a:lnTo>
                    <a:pt x="114731" y="139700"/>
                  </a:lnTo>
                  <a:lnTo>
                    <a:pt x="113334" y="139700"/>
                  </a:lnTo>
                  <a:lnTo>
                    <a:pt x="113334" y="144780"/>
                  </a:lnTo>
                  <a:lnTo>
                    <a:pt x="98145" y="156210"/>
                  </a:lnTo>
                  <a:lnTo>
                    <a:pt x="95110" y="153911"/>
                  </a:lnTo>
                  <a:lnTo>
                    <a:pt x="95110" y="158750"/>
                  </a:lnTo>
                  <a:lnTo>
                    <a:pt x="74942" y="172720"/>
                  </a:lnTo>
                  <a:lnTo>
                    <a:pt x="76111" y="144780"/>
                  </a:lnTo>
                  <a:lnTo>
                    <a:pt x="95110" y="158750"/>
                  </a:lnTo>
                  <a:lnTo>
                    <a:pt x="95110" y="153911"/>
                  </a:lnTo>
                  <a:lnTo>
                    <a:pt x="83083" y="144780"/>
                  </a:lnTo>
                  <a:lnTo>
                    <a:pt x="81407" y="143510"/>
                  </a:lnTo>
                  <a:lnTo>
                    <a:pt x="112179" y="143510"/>
                  </a:lnTo>
                  <a:lnTo>
                    <a:pt x="112560" y="144780"/>
                  </a:lnTo>
                  <a:lnTo>
                    <a:pt x="113334" y="144780"/>
                  </a:lnTo>
                  <a:lnTo>
                    <a:pt x="113334" y="139700"/>
                  </a:lnTo>
                  <a:lnTo>
                    <a:pt x="110566" y="139700"/>
                  </a:lnTo>
                  <a:lnTo>
                    <a:pt x="108915" y="138214"/>
                  </a:lnTo>
                  <a:lnTo>
                    <a:pt x="108915" y="139700"/>
                  </a:lnTo>
                  <a:lnTo>
                    <a:pt x="81470" y="139700"/>
                  </a:lnTo>
                  <a:lnTo>
                    <a:pt x="98196" y="128270"/>
                  </a:lnTo>
                  <a:lnTo>
                    <a:pt x="101714" y="132080"/>
                  </a:lnTo>
                  <a:lnTo>
                    <a:pt x="105283" y="135890"/>
                  </a:lnTo>
                  <a:lnTo>
                    <a:pt x="108915" y="139700"/>
                  </a:lnTo>
                  <a:lnTo>
                    <a:pt x="108915" y="138214"/>
                  </a:lnTo>
                  <a:lnTo>
                    <a:pt x="104952" y="134620"/>
                  </a:lnTo>
                  <a:lnTo>
                    <a:pt x="102196" y="130810"/>
                  </a:lnTo>
                  <a:lnTo>
                    <a:pt x="115074" y="139700"/>
                  </a:lnTo>
                  <a:lnTo>
                    <a:pt x="115074" y="135801"/>
                  </a:lnTo>
                  <a:lnTo>
                    <a:pt x="108280" y="130810"/>
                  </a:lnTo>
                  <a:lnTo>
                    <a:pt x="104825" y="128270"/>
                  </a:lnTo>
                  <a:lnTo>
                    <a:pt x="101371" y="125730"/>
                  </a:lnTo>
                  <a:lnTo>
                    <a:pt x="104686" y="123190"/>
                  </a:lnTo>
                  <a:lnTo>
                    <a:pt x="117944" y="113030"/>
                  </a:lnTo>
                  <a:lnTo>
                    <a:pt x="118656" y="138430"/>
                  </a:lnTo>
                  <a:lnTo>
                    <a:pt x="118656" y="13233"/>
                  </a:lnTo>
                  <a:lnTo>
                    <a:pt x="118618" y="12103"/>
                  </a:lnTo>
                  <a:lnTo>
                    <a:pt x="126619" y="14414"/>
                  </a:lnTo>
                  <a:lnTo>
                    <a:pt x="126187" y="13652"/>
                  </a:lnTo>
                  <a:lnTo>
                    <a:pt x="182295" y="29756"/>
                  </a:lnTo>
                  <a:lnTo>
                    <a:pt x="182054" y="29210"/>
                  </a:lnTo>
                  <a:lnTo>
                    <a:pt x="126098" y="13487"/>
                  </a:lnTo>
                  <a:lnTo>
                    <a:pt x="125971" y="13233"/>
                  </a:lnTo>
                  <a:lnTo>
                    <a:pt x="117741" y="11036"/>
                  </a:lnTo>
                  <a:lnTo>
                    <a:pt x="117741" y="106680"/>
                  </a:lnTo>
                  <a:lnTo>
                    <a:pt x="116662" y="105791"/>
                  </a:lnTo>
                  <a:lnTo>
                    <a:pt x="116662" y="110490"/>
                  </a:lnTo>
                  <a:lnTo>
                    <a:pt x="98336" y="123190"/>
                  </a:lnTo>
                  <a:lnTo>
                    <a:pt x="95288" y="121297"/>
                  </a:lnTo>
                  <a:lnTo>
                    <a:pt x="95288" y="125730"/>
                  </a:lnTo>
                  <a:lnTo>
                    <a:pt x="76314" y="139700"/>
                  </a:lnTo>
                  <a:lnTo>
                    <a:pt x="77393" y="113030"/>
                  </a:lnTo>
                  <a:lnTo>
                    <a:pt x="95288" y="125730"/>
                  </a:lnTo>
                  <a:lnTo>
                    <a:pt x="95288" y="121297"/>
                  </a:lnTo>
                  <a:lnTo>
                    <a:pt x="92227" y="119380"/>
                  </a:lnTo>
                  <a:lnTo>
                    <a:pt x="89331" y="115570"/>
                  </a:lnTo>
                  <a:lnTo>
                    <a:pt x="88099" y="113931"/>
                  </a:lnTo>
                  <a:lnTo>
                    <a:pt x="88099" y="115570"/>
                  </a:lnTo>
                  <a:lnTo>
                    <a:pt x="84429" y="113030"/>
                  </a:lnTo>
                  <a:lnTo>
                    <a:pt x="80759" y="110490"/>
                  </a:lnTo>
                  <a:lnTo>
                    <a:pt x="82613" y="109220"/>
                  </a:lnTo>
                  <a:lnTo>
                    <a:pt x="86271" y="114300"/>
                  </a:lnTo>
                  <a:lnTo>
                    <a:pt x="88099" y="115570"/>
                  </a:lnTo>
                  <a:lnTo>
                    <a:pt x="88099" y="113931"/>
                  </a:lnTo>
                  <a:lnTo>
                    <a:pt x="84582" y="109220"/>
                  </a:lnTo>
                  <a:lnTo>
                    <a:pt x="83629" y="107950"/>
                  </a:lnTo>
                  <a:lnTo>
                    <a:pt x="87134" y="105410"/>
                  </a:lnTo>
                  <a:lnTo>
                    <a:pt x="99415" y="96520"/>
                  </a:lnTo>
                  <a:lnTo>
                    <a:pt x="116662" y="110490"/>
                  </a:lnTo>
                  <a:lnTo>
                    <a:pt x="116662" y="105791"/>
                  </a:lnTo>
                  <a:lnTo>
                    <a:pt x="105460" y="96520"/>
                  </a:lnTo>
                  <a:lnTo>
                    <a:pt x="103720" y="95097"/>
                  </a:lnTo>
                  <a:lnTo>
                    <a:pt x="106438" y="94513"/>
                  </a:lnTo>
                  <a:lnTo>
                    <a:pt x="112204" y="90703"/>
                  </a:lnTo>
                  <a:lnTo>
                    <a:pt x="115684" y="99593"/>
                  </a:lnTo>
                  <a:lnTo>
                    <a:pt x="117652" y="103860"/>
                  </a:lnTo>
                  <a:lnTo>
                    <a:pt x="117741" y="106680"/>
                  </a:lnTo>
                  <a:lnTo>
                    <a:pt x="117741" y="11036"/>
                  </a:lnTo>
                  <a:lnTo>
                    <a:pt x="117576" y="10985"/>
                  </a:lnTo>
                  <a:lnTo>
                    <a:pt x="117576" y="101092"/>
                  </a:lnTo>
                  <a:lnTo>
                    <a:pt x="116319" y="98323"/>
                  </a:lnTo>
                  <a:lnTo>
                    <a:pt x="112915" y="90703"/>
                  </a:lnTo>
                  <a:lnTo>
                    <a:pt x="114465" y="89433"/>
                  </a:lnTo>
                  <a:lnTo>
                    <a:pt x="116014" y="89433"/>
                  </a:lnTo>
                  <a:lnTo>
                    <a:pt x="117195" y="88430"/>
                  </a:lnTo>
                  <a:lnTo>
                    <a:pt x="117576" y="101092"/>
                  </a:lnTo>
                  <a:lnTo>
                    <a:pt x="117576" y="10985"/>
                  </a:lnTo>
                  <a:lnTo>
                    <a:pt x="117157" y="10883"/>
                  </a:lnTo>
                  <a:lnTo>
                    <a:pt x="117157" y="86931"/>
                  </a:lnTo>
                  <a:lnTo>
                    <a:pt x="115722" y="88163"/>
                  </a:lnTo>
                  <a:lnTo>
                    <a:pt x="112674" y="90703"/>
                  </a:lnTo>
                  <a:lnTo>
                    <a:pt x="111963" y="88988"/>
                  </a:lnTo>
                  <a:lnTo>
                    <a:pt x="111963" y="90703"/>
                  </a:lnTo>
                  <a:lnTo>
                    <a:pt x="106235" y="93243"/>
                  </a:lnTo>
                  <a:lnTo>
                    <a:pt x="103111" y="94589"/>
                  </a:lnTo>
                  <a:lnTo>
                    <a:pt x="102387" y="93980"/>
                  </a:lnTo>
                  <a:lnTo>
                    <a:pt x="106057" y="91440"/>
                  </a:lnTo>
                  <a:lnTo>
                    <a:pt x="110782" y="88176"/>
                  </a:lnTo>
                  <a:lnTo>
                    <a:pt x="111963" y="90703"/>
                  </a:lnTo>
                  <a:lnTo>
                    <a:pt x="111963" y="88988"/>
                  </a:lnTo>
                  <a:lnTo>
                    <a:pt x="111442" y="87718"/>
                  </a:lnTo>
                  <a:lnTo>
                    <a:pt x="117068" y="83820"/>
                  </a:lnTo>
                  <a:lnTo>
                    <a:pt x="117157" y="86931"/>
                  </a:lnTo>
                  <a:lnTo>
                    <a:pt x="117157" y="10883"/>
                  </a:lnTo>
                  <a:lnTo>
                    <a:pt x="116852" y="10795"/>
                  </a:lnTo>
                  <a:lnTo>
                    <a:pt x="116852" y="76200"/>
                  </a:lnTo>
                  <a:lnTo>
                    <a:pt x="116852" y="78740"/>
                  </a:lnTo>
                  <a:lnTo>
                    <a:pt x="109855" y="83845"/>
                  </a:lnTo>
                  <a:lnTo>
                    <a:pt x="109169" y="82181"/>
                  </a:lnTo>
                  <a:lnTo>
                    <a:pt x="109169" y="84353"/>
                  </a:lnTo>
                  <a:lnTo>
                    <a:pt x="99453" y="91440"/>
                  </a:lnTo>
                  <a:lnTo>
                    <a:pt x="96481" y="89217"/>
                  </a:lnTo>
                  <a:lnTo>
                    <a:pt x="96481" y="93980"/>
                  </a:lnTo>
                  <a:lnTo>
                    <a:pt x="91808" y="97523"/>
                  </a:lnTo>
                  <a:lnTo>
                    <a:pt x="89458" y="98005"/>
                  </a:lnTo>
                  <a:lnTo>
                    <a:pt x="89458" y="99301"/>
                  </a:lnTo>
                  <a:lnTo>
                    <a:pt x="81394" y="105410"/>
                  </a:lnTo>
                  <a:lnTo>
                    <a:pt x="80365" y="104305"/>
                  </a:lnTo>
                  <a:lnTo>
                    <a:pt x="80365" y="106680"/>
                  </a:lnTo>
                  <a:lnTo>
                    <a:pt x="77571" y="107950"/>
                  </a:lnTo>
                  <a:lnTo>
                    <a:pt x="77787" y="102870"/>
                  </a:lnTo>
                  <a:lnTo>
                    <a:pt x="80365" y="106680"/>
                  </a:lnTo>
                  <a:lnTo>
                    <a:pt x="80365" y="104305"/>
                  </a:lnTo>
                  <a:lnTo>
                    <a:pt x="79032" y="102870"/>
                  </a:lnTo>
                  <a:lnTo>
                    <a:pt x="77851" y="101600"/>
                  </a:lnTo>
                  <a:lnTo>
                    <a:pt x="77876" y="100863"/>
                  </a:lnTo>
                  <a:lnTo>
                    <a:pt x="80022" y="100863"/>
                  </a:lnTo>
                  <a:lnTo>
                    <a:pt x="87985" y="99593"/>
                  </a:lnTo>
                  <a:lnTo>
                    <a:pt x="89458" y="99301"/>
                  </a:lnTo>
                  <a:lnTo>
                    <a:pt x="89458" y="98005"/>
                  </a:lnTo>
                  <a:lnTo>
                    <a:pt x="87884" y="98323"/>
                  </a:lnTo>
                  <a:lnTo>
                    <a:pt x="79997" y="99593"/>
                  </a:lnTo>
                  <a:lnTo>
                    <a:pt x="77927" y="99593"/>
                  </a:lnTo>
                  <a:lnTo>
                    <a:pt x="78054" y="96520"/>
                  </a:lnTo>
                  <a:lnTo>
                    <a:pt x="78701" y="80010"/>
                  </a:lnTo>
                  <a:lnTo>
                    <a:pt x="96481" y="93980"/>
                  </a:lnTo>
                  <a:lnTo>
                    <a:pt x="96481" y="89217"/>
                  </a:lnTo>
                  <a:lnTo>
                    <a:pt x="84213" y="80010"/>
                  </a:lnTo>
                  <a:lnTo>
                    <a:pt x="80822" y="77470"/>
                  </a:lnTo>
                  <a:lnTo>
                    <a:pt x="81013" y="73660"/>
                  </a:lnTo>
                  <a:lnTo>
                    <a:pt x="85852" y="69850"/>
                  </a:lnTo>
                  <a:lnTo>
                    <a:pt x="97155" y="60960"/>
                  </a:lnTo>
                  <a:lnTo>
                    <a:pt x="100965" y="63919"/>
                  </a:lnTo>
                  <a:lnTo>
                    <a:pt x="109169" y="84353"/>
                  </a:lnTo>
                  <a:lnTo>
                    <a:pt x="109169" y="82181"/>
                  </a:lnTo>
                  <a:lnTo>
                    <a:pt x="104343" y="70383"/>
                  </a:lnTo>
                  <a:lnTo>
                    <a:pt x="102095" y="64795"/>
                  </a:lnTo>
                  <a:lnTo>
                    <a:pt x="116852" y="76200"/>
                  </a:lnTo>
                  <a:lnTo>
                    <a:pt x="116852" y="10795"/>
                  </a:lnTo>
                  <a:lnTo>
                    <a:pt x="116751" y="72390"/>
                  </a:lnTo>
                  <a:lnTo>
                    <a:pt x="103124" y="60960"/>
                  </a:lnTo>
                  <a:lnTo>
                    <a:pt x="100101" y="58420"/>
                  </a:lnTo>
                  <a:lnTo>
                    <a:pt x="101866" y="57150"/>
                  </a:lnTo>
                  <a:lnTo>
                    <a:pt x="116027" y="46990"/>
                  </a:lnTo>
                  <a:lnTo>
                    <a:pt x="116751" y="72390"/>
                  </a:lnTo>
                  <a:lnTo>
                    <a:pt x="116751" y="10769"/>
                  </a:lnTo>
                  <a:lnTo>
                    <a:pt x="115798" y="10515"/>
                  </a:lnTo>
                  <a:lnTo>
                    <a:pt x="115798" y="39370"/>
                  </a:lnTo>
                  <a:lnTo>
                    <a:pt x="114820" y="38582"/>
                  </a:lnTo>
                  <a:lnTo>
                    <a:pt x="114820" y="43180"/>
                  </a:lnTo>
                  <a:lnTo>
                    <a:pt x="98602" y="56032"/>
                  </a:lnTo>
                  <a:lnTo>
                    <a:pt x="97993" y="54330"/>
                  </a:lnTo>
                  <a:lnTo>
                    <a:pt x="97993" y="56515"/>
                  </a:lnTo>
                  <a:lnTo>
                    <a:pt x="97193" y="57150"/>
                  </a:lnTo>
                  <a:lnTo>
                    <a:pt x="94234" y="54635"/>
                  </a:lnTo>
                  <a:lnTo>
                    <a:pt x="94234" y="58420"/>
                  </a:lnTo>
                  <a:lnTo>
                    <a:pt x="79095" y="69850"/>
                  </a:lnTo>
                  <a:lnTo>
                    <a:pt x="80010" y="48260"/>
                  </a:lnTo>
                  <a:lnTo>
                    <a:pt x="94234" y="58420"/>
                  </a:lnTo>
                  <a:lnTo>
                    <a:pt x="94234" y="54635"/>
                  </a:lnTo>
                  <a:lnTo>
                    <a:pt x="86753" y="48260"/>
                  </a:lnTo>
                  <a:lnTo>
                    <a:pt x="82270" y="44450"/>
                  </a:lnTo>
                  <a:lnTo>
                    <a:pt x="82486" y="40640"/>
                  </a:lnTo>
                  <a:lnTo>
                    <a:pt x="85775" y="38100"/>
                  </a:lnTo>
                  <a:lnTo>
                    <a:pt x="89839" y="34963"/>
                  </a:lnTo>
                  <a:lnTo>
                    <a:pt x="92481" y="42443"/>
                  </a:lnTo>
                  <a:lnTo>
                    <a:pt x="97955" y="56413"/>
                  </a:lnTo>
                  <a:lnTo>
                    <a:pt x="97993" y="54330"/>
                  </a:lnTo>
                  <a:lnTo>
                    <a:pt x="93281" y="41173"/>
                  </a:lnTo>
                  <a:lnTo>
                    <a:pt x="90665" y="34328"/>
                  </a:lnTo>
                  <a:lnTo>
                    <a:pt x="97282" y="29210"/>
                  </a:lnTo>
                  <a:lnTo>
                    <a:pt x="114820" y="43180"/>
                  </a:lnTo>
                  <a:lnTo>
                    <a:pt x="114820" y="38582"/>
                  </a:lnTo>
                  <a:lnTo>
                    <a:pt x="103301" y="29210"/>
                  </a:lnTo>
                  <a:lnTo>
                    <a:pt x="100177" y="26670"/>
                  </a:lnTo>
                  <a:lnTo>
                    <a:pt x="103492" y="24130"/>
                  </a:lnTo>
                  <a:lnTo>
                    <a:pt x="115100" y="15240"/>
                  </a:lnTo>
                  <a:lnTo>
                    <a:pt x="115798" y="39370"/>
                  </a:lnTo>
                  <a:lnTo>
                    <a:pt x="115798" y="10515"/>
                  </a:lnTo>
                  <a:lnTo>
                    <a:pt x="111912" y="9474"/>
                  </a:lnTo>
                  <a:lnTo>
                    <a:pt x="111912" y="10160"/>
                  </a:lnTo>
                  <a:lnTo>
                    <a:pt x="110477" y="10160"/>
                  </a:lnTo>
                  <a:lnTo>
                    <a:pt x="110477" y="13970"/>
                  </a:lnTo>
                  <a:lnTo>
                    <a:pt x="97332" y="24130"/>
                  </a:lnTo>
                  <a:lnTo>
                    <a:pt x="94437" y="21805"/>
                  </a:lnTo>
                  <a:lnTo>
                    <a:pt x="94437" y="26670"/>
                  </a:lnTo>
                  <a:lnTo>
                    <a:pt x="89331" y="30835"/>
                  </a:lnTo>
                  <a:lnTo>
                    <a:pt x="88595" y="28905"/>
                  </a:lnTo>
                  <a:lnTo>
                    <a:pt x="88595" y="31432"/>
                  </a:lnTo>
                  <a:lnTo>
                    <a:pt x="80416" y="38100"/>
                  </a:lnTo>
                  <a:lnTo>
                    <a:pt x="81292" y="15240"/>
                  </a:lnTo>
                  <a:lnTo>
                    <a:pt x="83286" y="16979"/>
                  </a:lnTo>
                  <a:lnTo>
                    <a:pt x="87122" y="27203"/>
                  </a:lnTo>
                  <a:lnTo>
                    <a:pt x="88595" y="31432"/>
                  </a:lnTo>
                  <a:lnTo>
                    <a:pt x="88595" y="28905"/>
                  </a:lnTo>
                  <a:lnTo>
                    <a:pt x="87947" y="27203"/>
                  </a:lnTo>
                  <a:lnTo>
                    <a:pt x="84658" y="18186"/>
                  </a:lnTo>
                  <a:lnTo>
                    <a:pt x="94437" y="26670"/>
                  </a:lnTo>
                  <a:lnTo>
                    <a:pt x="94437" y="21805"/>
                  </a:lnTo>
                  <a:lnTo>
                    <a:pt x="86258" y="15240"/>
                  </a:lnTo>
                  <a:lnTo>
                    <a:pt x="84670" y="13970"/>
                  </a:lnTo>
                  <a:lnTo>
                    <a:pt x="110477" y="13970"/>
                  </a:lnTo>
                  <a:lnTo>
                    <a:pt x="110477" y="10160"/>
                  </a:lnTo>
                  <a:lnTo>
                    <a:pt x="83604" y="10160"/>
                  </a:lnTo>
                  <a:lnTo>
                    <a:pt x="86017" y="7620"/>
                  </a:lnTo>
                  <a:lnTo>
                    <a:pt x="88417" y="5080"/>
                  </a:lnTo>
                  <a:lnTo>
                    <a:pt x="89623" y="3810"/>
                  </a:lnTo>
                  <a:lnTo>
                    <a:pt x="98577" y="6311"/>
                  </a:lnTo>
                  <a:lnTo>
                    <a:pt x="111912" y="10160"/>
                  </a:lnTo>
                  <a:lnTo>
                    <a:pt x="111912" y="9474"/>
                  </a:lnTo>
                  <a:lnTo>
                    <a:pt x="107061" y="8166"/>
                  </a:lnTo>
                  <a:lnTo>
                    <a:pt x="85547" y="1993"/>
                  </a:lnTo>
                  <a:lnTo>
                    <a:pt x="85547" y="2540"/>
                  </a:lnTo>
                  <a:lnTo>
                    <a:pt x="83654" y="3175"/>
                  </a:lnTo>
                  <a:lnTo>
                    <a:pt x="83654" y="5080"/>
                  </a:lnTo>
                  <a:lnTo>
                    <a:pt x="81622" y="7620"/>
                  </a:lnTo>
                  <a:lnTo>
                    <a:pt x="81686" y="5080"/>
                  </a:lnTo>
                  <a:lnTo>
                    <a:pt x="83654" y="5080"/>
                  </a:lnTo>
                  <a:lnTo>
                    <a:pt x="83654" y="3175"/>
                  </a:lnTo>
                  <a:lnTo>
                    <a:pt x="81749" y="3810"/>
                  </a:lnTo>
                  <a:lnTo>
                    <a:pt x="81838" y="1460"/>
                  </a:lnTo>
                  <a:lnTo>
                    <a:pt x="85547" y="2540"/>
                  </a:lnTo>
                  <a:lnTo>
                    <a:pt x="85547" y="1993"/>
                  </a:lnTo>
                  <a:lnTo>
                    <a:pt x="84188" y="1600"/>
                  </a:lnTo>
                  <a:lnTo>
                    <a:pt x="84188" y="2032"/>
                  </a:lnTo>
                  <a:lnTo>
                    <a:pt x="81838" y="1397"/>
                  </a:lnTo>
                  <a:lnTo>
                    <a:pt x="81851" y="1270"/>
                  </a:lnTo>
                  <a:lnTo>
                    <a:pt x="84188" y="2032"/>
                  </a:lnTo>
                  <a:lnTo>
                    <a:pt x="84188" y="1600"/>
                  </a:lnTo>
                  <a:lnTo>
                    <a:pt x="83070" y="1270"/>
                  </a:lnTo>
                  <a:lnTo>
                    <a:pt x="78638" y="0"/>
                  </a:lnTo>
                  <a:lnTo>
                    <a:pt x="78181" y="609"/>
                  </a:lnTo>
                  <a:lnTo>
                    <a:pt x="78181" y="3352"/>
                  </a:lnTo>
                  <a:lnTo>
                    <a:pt x="78117" y="5080"/>
                  </a:lnTo>
                  <a:lnTo>
                    <a:pt x="78054" y="6350"/>
                  </a:lnTo>
                  <a:lnTo>
                    <a:pt x="77978" y="8890"/>
                  </a:lnTo>
                  <a:lnTo>
                    <a:pt x="77812" y="8775"/>
                  </a:lnTo>
                  <a:lnTo>
                    <a:pt x="77812" y="12700"/>
                  </a:lnTo>
                  <a:lnTo>
                    <a:pt x="74434" y="96520"/>
                  </a:lnTo>
                  <a:lnTo>
                    <a:pt x="69684" y="90170"/>
                  </a:lnTo>
                  <a:lnTo>
                    <a:pt x="64084" y="82550"/>
                  </a:lnTo>
                  <a:lnTo>
                    <a:pt x="60401" y="77470"/>
                  </a:lnTo>
                  <a:lnTo>
                    <a:pt x="49999" y="63500"/>
                  </a:lnTo>
                  <a:lnTo>
                    <a:pt x="40894" y="50800"/>
                  </a:lnTo>
                  <a:lnTo>
                    <a:pt x="72428" y="8890"/>
                  </a:lnTo>
                  <a:lnTo>
                    <a:pt x="77812" y="12700"/>
                  </a:lnTo>
                  <a:lnTo>
                    <a:pt x="77812" y="8775"/>
                  </a:lnTo>
                  <a:lnTo>
                    <a:pt x="76263" y="7620"/>
                  </a:lnTo>
                  <a:lnTo>
                    <a:pt x="78054" y="6350"/>
                  </a:lnTo>
                  <a:lnTo>
                    <a:pt x="78054" y="5105"/>
                  </a:lnTo>
                  <a:lnTo>
                    <a:pt x="74866" y="6350"/>
                  </a:lnTo>
                  <a:lnTo>
                    <a:pt x="74726" y="5727"/>
                  </a:lnTo>
                  <a:lnTo>
                    <a:pt x="77457" y="2108"/>
                  </a:lnTo>
                  <a:lnTo>
                    <a:pt x="77647" y="1917"/>
                  </a:lnTo>
                  <a:lnTo>
                    <a:pt x="78181" y="3352"/>
                  </a:lnTo>
                  <a:lnTo>
                    <a:pt x="78181" y="609"/>
                  </a:lnTo>
                  <a:lnTo>
                    <a:pt x="75463" y="4178"/>
                  </a:lnTo>
                  <a:lnTo>
                    <a:pt x="77076" y="2501"/>
                  </a:lnTo>
                  <a:lnTo>
                    <a:pt x="74714" y="5638"/>
                  </a:lnTo>
                  <a:lnTo>
                    <a:pt x="74637" y="5270"/>
                  </a:lnTo>
                  <a:lnTo>
                    <a:pt x="40017" y="50800"/>
                  </a:lnTo>
                  <a:lnTo>
                    <a:pt x="40297" y="51219"/>
                  </a:lnTo>
                  <a:lnTo>
                    <a:pt x="17183" y="81813"/>
                  </a:lnTo>
                  <a:lnTo>
                    <a:pt x="40335" y="51269"/>
                  </a:lnTo>
                  <a:lnTo>
                    <a:pt x="59334" y="78740"/>
                  </a:lnTo>
                  <a:lnTo>
                    <a:pt x="64249" y="85090"/>
                  </a:lnTo>
                  <a:lnTo>
                    <a:pt x="69265" y="91440"/>
                  </a:lnTo>
                  <a:lnTo>
                    <a:pt x="74371" y="99060"/>
                  </a:lnTo>
                  <a:lnTo>
                    <a:pt x="74345" y="99593"/>
                  </a:lnTo>
                  <a:lnTo>
                    <a:pt x="64160" y="99593"/>
                  </a:lnTo>
                  <a:lnTo>
                    <a:pt x="72034" y="100863"/>
                  </a:lnTo>
                  <a:lnTo>
                    <a:pt x="74295" y="100863"/>
                  </a:lnTo>
                  <a:lnTo>
                    <a:pt x="70053" y="205447"/>
                  </a:lnTo>
                  <a:lnTo>
                    <a:pt x="69977" y="207124"/>
                  </a:lnTo>
                  <a:lnTo>
                    <a:pt x="69964" y="207543"/>
                  </a:lnTo>
                  <a:lnTo>
                    <a:pt x="69392" y="207543"/>
                  </a:lnTo>
                  <a:lnTo>
                    <a:pt x="61823" y="213893"/>
                  </a:lnTo>
                  <a:lnTo>
                    <a:pt x="53746" y="217703"/>
                  </a:lnTo>
                  <a:lnTo>
                    <a:pt x="45212" y="221513"/>
                  </a:lnTo>
                  <a:lnTo>
                    <a:pt x="36296" y="224053"/>
                  </a:lnTo>
                  <a:lnTo>
                    <a:pt x="32499" y="224053"/>
                  </a:lnTo>
                  <a:lnTo>
                    <a:pt x="5715" y="124993"/>
                  </a:lnTo>
                  <a:lnTo>
                    <a:pt x="12979" y="136423"/>
                  </a:lnTo>
                  <a:lnTo>
                    <a:pt x="22415" y="150393"/>
                  </a:lnTo>
                  <a:lnTo>
                    <a:pt x="27305" y="158013"/>
                  </a:lnTo>
                  <a:lnTo>
                    <a:pt x="32308" y="164363"/>
                  </a:lnTo>
                  <a:lnTo>
                    <a:pt x="37452" y="171983"/>
                  </a:lnTo>
                  <a:lnTo>
                    <a:pt x="65938" y="202463"/>
                  </a:lnTo>
                  <a:lnTo>
                    <a:pt x="67424" y="205003"/>
                  </a:lnTo>
                  <a:lnTo>
                    <a:pt x="69977" y="207124"/>
                  </a:lnTo>
                  <a:lnTo>
                    <a:pt x="69977" y="205397"/>
                  </a:lnTo>
                  <a:lnTo>
                    <a:pt x="67957" y="203733"/>
                  </a:lnTo>
                  <a:lnTo>
                    <a:pt x="66446" y="202463"/>
                  </a:lnTo>
                  <a:lnTo>
                    <a:pt x="60325" y="196113"/>
                  </a:lnTo>
                  <a:lnTo>
                    <a:pt x="54457" y="191033"/>
                  </a:lnTo>
                  <a:lnTo>
                    <a:pt x="48818" y="184683"/>
                  </a:lnTo>
                  <a:lnTo>
                    <a:pt x="43370" y="177063"/>
                  </a:lnTo>
                  <a:lnTo>
                    <a:pt x="38087" y="170713"/>
                  </a:lnTo>
                  <a:lnTo>
                    <a:pt x="32969" y="164363"/>
                  </a:lnTo>
                  <a:lnTo>
                    <a:pt x="27978" y="158013"/>
                  </a:lnTo>
                  <a:lnTo>
                    <a:pt x="23114" y="150393"/>
                  </a:lnTo>
                  <a:lnTo>
                    <a:pt x="13703" y="136423"/>
                  </a:lnTo>
                  <a:lnTo>
                    <a:pt x="6527" y="124993"/>
                  </a:lnTo>
                  <a:lnTo>
                    <a:pt x="4927" y="122453"/>
                  </a:lnTo>
                  <a:lnTo>
                    <a:pt x="0" y="104673"/>
                  </a:lnTo>
                  <a:lnTo>
                    <a:pt x="32385" y="224053"/>
                  </a:lnTo>
                  <a:lnTo>
                    <a:pt x="32727" y="225323"/>
                  </a:lnTo>
                  <a:lnTo>
                    <a:pt x="36512" y="224053"/>
                  </a:lnTo>
                  <a:lnTo>
                    <a:pt x="45478" y="222783"/>
                  </a:lnTo>
                  <a:lnTo>
                    <a:pt x="54114" y="218973"/>
                  </a:lnTo>
                  <a:lnTo>
                    <a:pt x="60223" y="215163"/>
                  </a:lnTo>
                  <a:lnTo>
                    <a:pt x="69900" y="209067"/>
                  </a:lnTo>
                  <a:lnTo>
                    <a:pt x="65455" y="318770"/>
                  </a:lnTo>
                  <a:lnTo>
                    <a:pt x="69049" y="318770"/>
                  </a:lnTo>
                  <a:lnTo>
                    <a:pt x="69697" y="303530"/>
                  </a:lnTo>
                  <a:lnTo>
                    <a:pt x="72682" y="304800"/>
                  </a:lnTo>
                  <a:lnTo>
                    <a:pt x="77266" y="307340"/>
                  </a:lnTo>
                  <a:lnTo>
                    <a:pt x="83794" y="309880"/>
                  </a:lnTo>
                  <a:lnTo>
                    <a:pt x="92570" y="314960"/>
                  </a:lnTo>
                  <a:lnTo>
                    <a:pt x="82537" y="318770"/>
                  </a:lnTo>
                  <a:lnTo>
                    <a:pt x="90843" y="318770"/>
                  </a:lnTo>
                  <a:lnTo>
                    <a:pt x="96761" y="316230"/>
                  </a:lnTo>
                  <a:lnTo>
                    <a:pt x="102781" y="318770"/>
                  </a:lnTo>
                  <a:lnTo>
                    <a:pt x="111239" y="318770"/>
                  </a:lnTo>
                  <a:lnTo>
                    <a:pt x="104330" y="316230"/>
                  </a:lnTo>
                  <a:lnTo>
                    <a:pt x="100939" y="314960"/>
                  </a:lnTo>
                  <a:lnTo>
                    <a:pt x="105930" y="312420"/>
                  </a:lnTo>
                  <a:lnTo>
                    <a:pt x="123418" y="303530"/>
                  </a:lnTo>
                  <a:lnTo>
                    <a:pt x="123875" y="318770"/>
                  </a:lnTo>
                  <a:lnTo>
                    <a:pt x="127469" y="318770"/>
                  </a:lnTo>
                  <a:lnTo>
                    <a:pt x="127025" y="303530"/>
                  </a:lnTo>
                  <a:lnTo>
                    <a:pt x="126923" y="300990"/>
                  </a:lnTo>
                  <a:lnTo>
                    <a:pt x="126847" y="298450"/>
                  </a:lnTo>
                  <a:lnTo>
                    <a:pt x="126149" y="273050"/>
                  </a:lnTo>
                  <a:lnTo>
                    <a:pt x="125971" y="267970"/>
                  </a:lnTo>
                  <a:lnTo>
                    <a:pt x="125272" y="242570"/>
                  </a:lnTo>
                  <a:lnTo>
                    <a:pt x="125171" y="240030"/>
                  </a:lnTo>
                  <a:lnTo>
                    <a:pt x="125056" y="236220"/>
                  </a:lnTo>
                  <a:lnTo>
                    <a:pt x="124790" y="227152"/>
                  </a:lnTo>
                  <a:lnTo>
                    <a:pt x="132689" y="225323"/>
                  </a:lnTo>
                  <a:lnTo>
                    <a:pt x="137883" y="222783"/>
                  </a:lnTo>
                  <a:lnTo>
                    <a:pt x="166395" y="193967"/>
                  </a:lnTo>
                  <a:lnTo>
                    <a:pt x="167589" y="194843"/>
                  </a:lnTo>
                  <a:lnTo>
                    <a:pt x="170815" y="199923"/>
                  </a:lnTo>
                  <a:lnTo>
                    <a:pt x="174256" y="203733"/>
                  </a:lnTo>
                  <a:lnTo>
                    <a:pt x="180949" y="212623"/>
                  </a:lnTo>
                  <a:lnTo>
                    <a:pt x="184035" y="215201"/>
                  </a:lnTo>
                  <a:lnTo>
                    <a:pt x="188353" y="218973"/>
                  </a:lnTo>
                  <a:lnTo>
                    <a:pt x="189255" y="218973"/>
                  </a:lnTo>
                  <a:lnTo>
                    <a:pt x="190106" y="220154"/>
                  </a:lnTo>
                  <a:lnTo>
                    <a:pt x="190144" y="221284"/>
                  </a:lnTo>
                  <a:lnTo>
                    <a:pt x="186880" y="306603"/>
                  </a:lnTo>
                  <a:lnTo>
                    <a:pt x="188366" y="306603"/>
                  </a:lnTo>
                  <a:lnTo>
                    <a:pt x="188493" y="304063"/>
                  </a:lnTo>
                  <a:lnTo>
                    <a:pt x="189420" y="304063"/>
                  </a:lnTo>
                  <a:lnTo>
                    <a:pt x="195072" y="306603"/>
                  </a:lnTo>
                  <a:lnTo>
                    <a:pt x="198437" y="306603"/>
                  </a:lnTo>
                  <a:lnTo>
                    <a:pt x="191223" y="304063"/>
                  </a:lnTo>
                  <a:lnTo>
                    <a:pt x="189725" y="302793"/>
                  </a:lnTo>
                  <a:lnTo>
                    <a:pt x="191427" y="301523"/>
                  </a:lnTo>
                  <a:lnTo>
                    <a:pt x="194640" y="300253"/>
                  </a:lnTo>
                  <a:lnTo>
                    <a:pt x="199288" y="297713"/>
                  </a:lnTo>
                  <a:lnTo>
                    <a:pt x="208686" y="302793"/>
                  </a:lnTo>
                  <a:lnTo>
                    <a:pt x="199720" y="306603"/>
                  </a:lnTo>
                  <a:lnTo>
                    <a:pt x="203047" y="306603"/>
                  </a:lnTo>
                  <a:lnTo>
                    <a:pt x="209537" y="304063"/>
                  </a:lnTo>
                  <a:lnTo>
                    <a:pt x="209626" y="306603"/>
                  </a:lnTo>
                  <a:lnTo>
                    <a:pt x="211099" y="306603"/>
                  </a:lnTo>
                  <a:lnTo>
                    <a:pt x="211023" y="304063"/>
                  </a:lnTo>
                  <a:lnTo>
                    <a:pt x="210959" y="301523"/>
                  </a:lnTo>
                  <a:lnTo>
                    <a:pt x="210680" y="291363"/>
                  </a:lnTo>
                  <a:lnTo>
                    <a:pt x="210616" y="288823"/>
                  </a:lnTo>
                  <a:lnTo>
                    <a:pt x="210337" y="278663"/>
                  </a:lnTo>
                  <a:lnTo>
                    <a:pt x="210248" y="276123"/>
                  </a:lnTo>
                  <a:lnTo>
                    <a:pt x="209943" y="264693"/>
                  </a:lnTo>
                  <a:lnTo>
                    <a:pt x="209905" y="263423"/>
                  </a:lnTo>
                  <a:lnTo>
                    <a:pt x="209867" y="262153"/>
                  </a:lnTo>
                  <a:lnTo>
                    <a:pt x="209600" y="251993"/>
                  </a:lnTo>
                  <a:lnTo>
                    <a:pt x="209486" y="248183"/>
                  </a:lnTo>
                  <a:lnTo>
                    <a:pt x="209473" y="247700"/>
                  </a:lnTo>
                  <a:lnTo>
                    <a:pt x="209473" y="301523"/>
                  </a:lnTo>
                  <a:lnTo>
                    <a:pt x="202946" y="297713"/>
                  </a:lnTo>
                  <a:lnTo>
                    <a:pt x="200774" y="296443"/>
                  </a:lnTo>
                  <a:lnTo>
                    <a:pt x="202882" y="295173"/>
                  </a:lnTo>
                  <a:lnTo>
                    <a:pt x="209194" y="291363"/>
                  </a:lnTo>
                  <a:lnTo>
                    <a:pt x="209473" y="301523"/>
                  </a:lnTo>
                  <a:lnTo>
                    <a:pt x="209473" y="247700"/>
                  </a:lnTo>
                  <a:lnTo>
                    <a:pt x="209219" y="238023"/>
                  </a:lnTo>
                  <a:lnTo>
                    <a:pt x="209181" y="236753"/>
                  </a:lnTo>
                  <a:lnTo>
                    <a:pt x="209156" y="235483"/>
                  </a:lnTo>
                  <a:lnTo>
                    <a:pt x="209118" y="234213"/>
                  </a:lnTo>
                  <a:lnTo>
                    <a:pt x="209105" y="233756"/>
                  </a:lnTo>
                  <a:lnTo>
                    <a:pt x="209105" y="288823"/>
                  </a:lnTo>
                  <a:lnTo>
                    <a:pt x="208470" y="288442"/>
                  </a:lnTo>
                  <a:lnTo>
                    <a:pt x="208470" y="290093"/>
                  </a:lnTo>
                  <a:lnTo>
                    <a:pt x="199275" y="295173"/>
                  </a:lnTo>
                  <a:lnTo>
                    <a:pt x="197777" y="294360"/>
                  </a:lnTo>
                  <a:lnTo>
                    <a:pt x="197777" y="296443"/>
                  </a:lnTo>
                  <a:lnTo>
                    <a:pt x="191744" y="300253"/>
                  </a:lnTo>
                  <a:lnTo>
                    <a:pt x="189445" y="301523"/>
                  </a:lnTo>
                  <a:lnTo>
                    <a:pt x="188582" y="301523"/>
                  </a:lnTo>
                  <a:lnTo>
                    <a:pt x="188976" y="291363"/>
                  </a:lnTo>
                  <a:lnTo>
                    <a:pt x="197777" y="296443"/>
                  </a:lnTo>
                  <a:lnTo>
                    <a:pt x="197777" y="294360"/>
                  </a:lnTo>
                  <a:lnTo>
                    <a:pt x="192316" y="291363"/>
                  </a:lnTo>
                  <a:lnTo>
                    <a:pt x="190004" y="290093"/>
                  </a:lnTo>
                  <a:lnTo>
                    <a:pt x="192328" y="288823"/>
                  </a:lnTo>
                  <a:lnTo>
                    <a:pt x="199288" y="285013"/>
                  </a:lnTo>
                  <a:lnTo>
                    <a:pt x="208470" y="290093"/>
                  </a:lnTo>
                  <a:lnTo>
                    <a:pt x="208470" y="288442"/>
                  </a:lnTo>
                  <a:lnTo>
                    <a:pt x="202831" y="285013"/>
                  </a:lnTo>
                  <a:lnTo>
                    <a:pt x="200736" y="283743"/>
                  </a:lnTo>
                  <a:lnTo>
                    <a:pt x="202768" y="282473"/>
                  </a:lnTo>
                  <a:lnTo>
                    <a:pt x="208851" y="278663"/>
                  </a:lnTo>
                  <a:lnTo>
                    <a:pt x="209105" y="288823"/>
                  </a:lnTo>
                  <a:lnTo>
                    <a:pt x="209105" y="233756"/>
                  </a:lnTo>
                  <a:lnTo>
                    <a:pt x="208876" y="225323"/>
                  </a:lnTo>
                  <a:lnTo>
                    <a:pt x="208915" y="222618"/>
                  </a:lnTo>
                  <a:lnTo>
                    <a:pt x="209600" y="221513"/>
                  </a:lnTo>
                  <a:lnTo>
                    <a:pt x="212471" y="221513"/>
                  </a:lnTo>
                  <a:lnTo>
                    <a:pt x="213842" y="220243"/>
                  </a:lnTo>
                  <a:lnTo>
                    <a:pt x="212293" y="220243"/>
                  </a:lnTo>
                  <a:lnTo>
                    <a:pt x="213766" y="219163"/>
                  </a:lnTo>
                  <a:lnTo>
                    <a:pt x="215277" y="219710"/>
                  </a:lnTo>
                  <a:lnTo>
                    <a:pt x="214299" y="220154"/>
                  </a:lnTo>
                  <a:lnTo>
                    <a:pt x="215696" y="219875"/>
                  </a:lnTo>
                  <a:lnTo>
                    <a:pt x="218732" y="220980"/>
                  </a:lnTo>
                  <a:lnTo>
                    <a:pt x="229336" y="223520"/>
                  </a:lnTo>
                  <a:lnTo>
                    <a:pt x="240157" y="224790"/>
                  </a:lnTo>
                  <a:lnTo>
                    <a:pt x="250812" y="224790"/>
                  </a:lnTo>
                  <a:lnTo>
                    <a:pt x="251536" y="225323"/>
                  </a:lnTo>
                  <a:lnTo>
                    <a:pt x="253466" y="226593"/>
                  </a:lnTo>
                  <a:lnTo>
                    <a:pt x="255574" y="227863"/>
                  </a:lnTo>
                  <a:lnTo>
                    <a:pt x="257517" y="227863"/>
                  </a:lnTo>
                  <a:lnTo>
                    <a:pt x="255625" y="226593"/>
                  </a:lnTo>
                  <a:lnTo>
                    <a:pt x="253593" y="226593"/>
                  </a:lnTo>
                  <a:lnTo>
                    <a:pt x="251701" y="225323"/>
                  </a:lnTo>
                  <a:lnTo>
                    <a:pt x="250990" y="224790"/>
                  </a:lnTo>
                  <a:lnTo>
                    <a:pt x="259575" y="223799"/>
                  </a:lnTo>
                  <a:lnTo>
                    <a:pt x="260540" y="225323"/>
                  </a:lnTo>
                  <a:lnTo>
                    <a:pt x="261213" y="226593"/>
                  </a:lnTo>
                  <a:lnTo>
                    <a:pt x="259499" y="226593"/>
                  </a:lnTo>
                  <a:lnTo>
                    <a:pt x="257517" y="227863"/>
                  </a:lnTo>
                  <a:lnTo>
                    <a:pt x="259613" y="227863"/>
                  </a:lnTo>
                  <a:lnTo>
                    <a:pt x="261391" y="226593"/>
                  </a:lnTo>
                  <a:lnTo>
                    <a:pt x="262750" y="228053"/>
                  </a:lnTo>
                  <a:lnTo>
                    <a:pt x="263855" y="229133"/>
                  </a:lnTo>
                  <a:lnTo>
                    <a:pt x="266534" y="231673"/>
                  </a:lnTo>
                  <a:lnTo>
                    <a:pt x="267766" y="232943"/>
                  </a:lnTo>
                  <a:lnTo>
                    <a:pt x="267893" y="232943"/>
                  </a:lnTo>
                  <a:lnTo>
                    <a:pt x="266700" y="231673"/>
                  </a:lnTo>
                  <a:lnTo>
                    <a:pt x="262674" y="227711"/>
                  </a:lnTo>
                  <a:lnTo>
                    <a:pt x="261670" y="226593"/>
                  </a:lnTo>
                  <a:lnTo>
                    <a:pt x="263652" y="225323"/>
                  </a:lnTo>
                  <a:lnTo>
                    <a:pt x="265226" y="224040"/>
                  </a:lnTo>
                  <a:lnTo>
                    <a:pt x="267144" y="221602"/>
                  </a:lnTo>
                  <a:lnTo>
                    <a:pt x="272351" y="219710"/>
                  </a:lnTo>
                  <a:lnTo>
                    <a:pt x="278803" y="217258"/>
                  </a:lnTo>
                  <a:lnTo>
                    <a:pt x="278447" y="226593"/>
                  </a:lnTo>
                  <a:lnTo>
                    <a:pt x="277025" y="229133"/>
                  </a:lnTo>
                  <a:lnTo>
                    <a:pt x="275348" y="231673"/>
                  </a:lnTo>
                  <a:lnTo>
                    <a:pt x="273151" y="231673"/>
                  </a:lnTo>
                  <a:lnTo>
                    <a:pt x="271932" y="232943"/>
                  </a:lnTo>
                  <a:lnTo>
                    <a:pt x="273265" y="232943"/>
                  </a:lnTo>
                  <a:lnTo>
                    <a:pt x="275412" y="231673"/>
                  </a:lnTo>
                  <a:lnTo>
                    <a:pt x="277050" y="229133"/>
                  </a:lnTo>
                  <a:lnTo>
                    <a:pt x="278422" y="227863"/>
                  </a:lnTo>
                  <a:lnTo>
                    <a:pt x="275526" y="304063"/>
                  </a:lnTo>
                  <a:lnTo>
                    <a:pt x="276377" y="304063"/>
                  </a:lnTo>
                  <a:lnTo>
                    <a:pt x="276580" y="298983"/>
                  </a:lnTo>
                  <a:lnTo>
                    <a:pt x="276758" y="293903"/>
                  </a:lnTo>
                  <a:lnTo>
                    <a:pt x="283070" y="297713"/>
                  </a:lnTo>
                  <a:lnTo>
                    <a:pt x="276758" y="301383"/>
                  </a:lnTo>
                  <a:lnTo>
                    <a:pt x="283997" y="297713"/>
                  </a:lnTo>
                  <a:lnTo>
                    <a:pt x="291414" y="301472"/>
                  </a:lnTo>
                  <a:lnTo>
                    <a:pt x="284937" y="297713"/>
                  </a:lnTo>
                  <a:lnTo>
                    <a:pt x="287058" y="296443"/>
                  </a:lnTo>
                  <a:lnTo>
                    <a:pt x="291312" y="293903"/>
                  </a:lnTo>
                  <a:lnTo>
                    <a:pt x="291579" y="304063"/>
                  </a:lnTo>
                  <a:lnTo>
                    <a:pt x="292430" y="304063"/>
                  </a:lnTo>
                  <a:lnTo>
                    <a:pt x="292138" y="293903"/>
                  </a:lnTo>
                  <a:lnTo>
                    <a:pt x="292138" y="292633"/>
                  </a:lnTo>
                  <a:lnTo>
                    <a:pt x="291934" y="286283"/>
                  </a:lnTo>
                  <a:lnTo>
                    <a:pt x="291896" y="285013"/>
                  </a:lnTo>
                  <a:lnTo>
                    <a:pt x="291731" y="278663"/>
                  </a:lnTo>
                  <a:lnTo>
                    <a:pt x="291668" y="276123"/>
                  </a:lnTo>
                  <a:lnTo>
                    <a:pt x="291503" y="269773"/>
                  </a:lnTo>
                  <a:lnTo>
                    <a:pt x="291477" y="268503"/>
                  </a:lnTo>
                  <a:lnTo>
                    <a:pt x="291274" y="261340"/>
                  </a:lnTo>
                  <a:lnTo>
                    <a:pt x="291274" y="292633"/>
                  </a:lnTo>
                  <a:lnTo>
                    <a:pt x="290804" y="292442"/>
                  </a:lnTo>
                  <a:lnTo>
                    <a:pt x="290804" y="293903"/>
                  </a:lnTo>
                  <a:lnTo>
                    <a:pt x="283997" y="296443"/>
                  </a:lnTo>
                  <a:lnTo>
                    <a:pt x="277380" y="293903"/>
                  </a:lnTo>
                  <a:lnTo>
                    <a:pt x="279628" y="292633"/>
                  </a:lnTo>
                  <a:lnTo>
                    <a:pt x="284137" y="290093"/>
                  </a:lnTo>
                  <a:lnTo>
                    <a:pt x="286816" y="291363"/>
                  </a:lnTo>
                  <a:lnTo>
                    <a:pt x="290804" y="293903"/>
                  </a:lnTo>
                  <a:lnTo>
                    <a:pt x="290804" y="292442"/>
                  </a:lnTo>
                  <a:lnTo>
                    <a:pt x="285102" y="290093"/>
                  </a:lnTo>
                  <a:lnTo>
                    <a:pt x="287096" y="288823"/>
                  </a:lnTo>
                  <a:lnTo>
                    <a:pt x="291109" y="286283"/>
                  </a:lnTo>
                  <a:lnTo>
                    <a:pt x="291274" y="292633"/>
                  </a:lnTo>
                  <a:lnTo>
                    <a:pt x="291274" y="261340"/>
                  </a:lnTo>
                  <a:lnTo>
                    <a:pt x="291261" y="260883"/>
                  </a:lnTo>
                  <a:lnTo>
                    <a:pt x="291236" y="259613"/>
                  </a:lnTo>
                  <a:lnTo>
                    <a:pt x="291058" y="253339"/>
                  </a:lnTo>
                  <a:lnTo>
                    <a:pt x="291058" y="285013"/>
                  </a:lnTo>
                  <a:lnTo>
                    <a:pt x="290601" y="284721"/>
                  </a:lnTo>
                  <a:lnTo>
                    <a:pt x="290601" y="286283"/>
                  </a:lnTo>
                  <a:lnTo>
                    <a:pt x="284124" y="288823"/>
                  </a:lnTo>
                  <a:lnTo>
                    <a:pt x="283159" y="288442"/>
                  </a:lnTo>
                  <a:lnTo>
                    <a:pt x="283159" y="290093"/>
                  </a:lnTo>
                  <a:lnTo>
                    <a:pt x="276821" y="292633"/>
                  </a:lnTo>
                  <a:lnTo>
                    <a:pt x="277050" y="286283"/>
                  </a:lnTo>
                  <a:lnTo>
                    <a:pt x="277736" y="286283"/>
                  </a:lnTo>
                  <a:lnTo>
                    <a:pt x="283159" y="290093"/>
                  </a:lnTo>
                  <a:lnTo>
                    <a:pt x="283159" y="288442"/>
                  </a:lnTo>
                  <a:lnTo>
                    <a:pt x="281038" y="287553"/>
                  </a:lnTo>
                  <a:lnTo>
                    <a:pt x="278815" y="286283"/>
                  </a:lnTo>
                  <a:lnTo>
                    <a:pt x="277787" y="286283"/>
                  </a:lnTo>
                  <a:lnTo>
                    <a:pt x="278892" y="285013"/>
                  </a:lnTo>
                  <a:lnTo>
                    <a:pt x="281063" y="283743"/>
                  </a:lnTo>
                  <a:lnTo>
                    <a:pt x="284251" y="282473"/>
                  </a:lnTo>
                  <a:lnTo>
                    <a:pt x="290601" y="286283"/>
                  </a:lnTo>
                  <a:lnTo>
                    <a:pt x="290601" y="284721"/>
                  </a:lnTo>
                  <a:lnTo>
                    <a:pt x="287096" y="282473"/>
                  </a:lnTo>
                  <a:lnTo>
                    <a:pt x="285115" y="281203"/>
                  </a:lnTo>
                  <a:lnTo>
                    <a:pt x="290880" y="278663"/>
                  </a:lnTo>
                  <a:lnTo>
                    <a:pt x="291058" y="285013"/>
                  </a:lnTo>
                  <a:lnTo>
                    <a:pt x="291058" y="253339"/>
                  </a:lnTo>
                  <a:lnTo>
                    <a:pt x="291020" y="251993"/>
                  </a:lnTo>
                  <a:lnTo>
                    <a:pt x="290995" y="250723"/>
                  </a:lnTo>
                  <a:lnTo>
                    <a:pt x="290830" y="244906"/>
                  </a:lnTo>
                  <a:lnTo>
                    <a:pt x="290830" y="276123"/>
                  </a:lnTo>
                  <a:lnTo>
                    <a:pt x="290449" y="275958"/>
                  </a:lnTo>
                  <a:lnTo>
                    <a:pt x="290449" y="277393"/>
                  </a:lnTo>
                  <a:lnTo>
                    <a:pt x="284251" y="281203"/>
                  </a:lnTo>
                  <a:lnTo>
                    <a:pt x="283387" y="280682"/>
                  </a:lnTo>
                  <a:lnTo>
                    <a:pt x="283387" y="281203"/>
                  </a:lnTo>
                  <a:lnTo>
                    <a:pt x="279133" y="283743"/>
                  </a:lnTo>
                  <a:lnTo>
                    <a:pt x="277101" y="285013"/>
                  </a:lnTo>
                  <a:lnTo>
                    <a:pt x="277368" y="278663"/>
                  </a:lnTo>
                  <a:lnTo>
                    <a:pt x="283387" y="281203"/>
                  </a:lnTo>
                  <a:lnTo>
                    <a:pt x="283387" y="280682"/>
                  </a:lnTo>
                  <a:lnTo>
                    <a:pt x="280073" y="278663"/>
                  </a:lnTo>
                  <a:lnTo>
                    <a:pt x="277990" y="277393"/>
                  </a:lnTo>
                  <a:lnTo>
                    <a:pt x="284251" y="273583"/>
                  </a:lnTo>
                  <a:lnTo>
                    <a:pt x="290449" y="277393"/>
                  </a:lnTo>
                  <a:lnTo>
                    <a:pt x="290449" y="275958"/>
                  </a:lnTo>
                  <a:lnTo>
                    <a:pt x="285102" y="273583"/>
                  </a:lnTo>
                  <a:lnTo>
                    <a:pt x="286943" y="272313"/>
                  </a:lnTo>
                  <a:lnTo>
                    <a:pt x="290652" y="269773"/>
                  </a:lnTo>
                  <a:lnTo>
                    <a:pt x="290830" y="276123"/>
                  </a:lnTo>
                  <a:lnTo>
                    <a:pt x="290830" y="244906"/>
                  </a:lnTo>
                  <a:lnTo>
                    <a:pt x="290779" y="243103"/>
                  </a:lnTo>
                  <a:lnTo>
                    <a:pt x="290715" y="240563"/>
                  </a:lnTo>
                  <a:lnTo>
                    <a:pt x="290601" y="236486"/>
                  </a:lnTo>
                  <a:lnTo>
                    <a:pt x="290601" y="268503"/>
                  </a:lnTo>
                  <a:lnTo>
                    <a:pt x="290271" y="268274"/>
                  </a:lnTo>
                  <a:lnTo>
                    <a:pt x="290271" y="268503"/>
                  </a:lnTo>
                  <a:lnTo>
                    <a:pt x="284251" y="272313"/>
                  </a:lnTo>
                  <a:lnTo>
                    <a:pt x="283425" y="271792"/>
                  </a:lnTo>
                  <a:lnTo>
                    <a:pt x="283425" y="273583"/>
                  </a:lnTo>
                  <a:lnTo>
                    <a:pt x="277418" y="277393"/>
                  </a:lnTo>
                  <a:lnTo>
                    <a:pt x="277685" y="269773"/>
                  </a:lnTo>
                  <a:lnTo>
                    <a:pt x="283425" y="273583"/>
                  </a:lnTo>
                  <a:lnTo>
                    <a:pt x="283425" y="271792"/>
                  </a:lnTo>
                  <a:lnTo>
                    <a:pt x="280289" y="269773"/>
                  </a:lnTo>
                  <a:lnTo>
                    <a:pt x="278320" y="268503"/>
                  </a:lnTo>
                  <a:lnTo>
                    <a:pt x="284365" y="264693"/>
                  </a:lnTo>
                  <a:lnTo>
                    <a:pt x="290271" y="268503"/>
                  </a:lnTo>
                  <a:lnTo>
                    <a:pt x="290271" y="268274"/>
                  </a:lnTo>
                  <a:lnTo>
                    <a:pt x="285140" y="264693"/>
                  </a:lnTo>
                  <a:lnTo>
                    <a:pt x="286893" y="263423"/>
                  </a:lnTo>
                  <a:lnTo>
                    <a:pt x="290410" y="260883"/>
                  </a:lnTo>
                  <a:lnTo>
                    <a:pt x="290601" y="268503"/>
                  </a:lnTo>
                  <a:lnTo>
                    <a:pt x="290601" y="236486"/>
                  </a:lnTo>
                  <a:lnTo>
                    <a:pt x="290537" y="234213"/>
                  </a:lnTo>
                  <a:lnTo>
                    <a:pt x="290461" y="231673"/>
                  </a:lnTo>
                  <a:lnTo>
                    <a:pt x="290360" y="227774"/>
                  </a:lnTo>
                  <a:lnTo>
                    <a:pt x="290360" y="259613"/>
                  </a:lnTo>
                  <a:lnTo>
                    <a:pt x="289407" y="258914"/>
                  </a:lnTo>
                  <a:lnTo>
                    <a:pt x="289407" y="259613"/>
                  </a:lnTo>
                  <a:lnTo>
                    <a:pt x="289394" y="260883"/>
                  </a:lnTo>
                  <a:lnTo>
                    <a:pt x="284365" y="263423"/>
                  </a:lnTo>
                  <a:lnTo>
                    <a:pt x="283591" y="263042"/>
                  </a:lnTo>
                  <a:lnTo>
                    <a:pt x="283591" y="264693"/>
                  </a:lnTo>
                  <a:lnTo>
                    <a:pt x="277736" y="268503"/>
                  </a:lnTo>
                  <a:lnTo>
                    <a:pt x="278028" y="260883"/>
                  </a:lnTo>
                  <a:lnTo>
                    <a:pt x="283591" y="264693"/>
                  </a:lnTo>
                  <a:lnTo>
                    <a:pt x="283591" y="263042"/>
                  </a:lnTo>
                  <a:lnTo>
                    <a:pt x="279336" y="260883"/>
                  </a:lnTo>
                  <a:lnTo>
                    <a:pt x="289394" y="260883"/>
                  </a:lnTo>
                  <a:lnTo>
                    <a:pt x="289394" y="259613"/>
                  </a:lnTo>
                  <a:lnTo>
                    <a:pt x="279336" y="259613"/>
                  </a:lnTo>
                  <a:lnTo>
                    <a:pt x="284403" y="255803"/>
                  </a:lnTo>
                  <a:lnTo>
                    <a:pt x="289407" y="259613"/>
                  </a:lnTo>
                  <a:lnTo>
                    <a:pt x="289407" y="258914"/>
                  </a:lnTo>
                  <a:lnTo>
                    <a:pt x="285165" y="255803"/>
                  </a:lnTo>
                  <a:lnTo>
                    <a:pt x="286829" y="254533"/>
                  </a:lnTo>
                  <a:lnTo>
                    <a:pt x="290169" y="251993"/>
                  </a:lnTo>
                  <a:lnTo>
                    <a:pt x="290360" y="259613"/>
                  </a:lnTo>
                  <a:lnTo>
                    <a:pt x="290360" y="227774"/>
                  </a:lnTo>
                  <a:lnTo>
                    <a:pt x="290296" y="225323"/>
                  </a:lnTo>
                  <a:lnTo>
                    <a:pt x="290220" y="222783"/>
                  </a:lnTo>
                  <a:lnTo>
                    <a:pt x="290118" y="218973"/>
                  </a:lnTo>
                  <a:lnTo>
                    <a:pt x="290118" y="250723"/>
                  </a:lnTo>
                  <a:lnTo>
                    <a:pt x="289852" y="250520"/>
                  </a:lnTo>
                  <a:lnTo>
                    <a:pt x="289852" y="250723"/>
                  </a:lnTo>
                  <a:lnTo>
                    <a:pt x="284403" y="254533"/>
                  </a:lnTo>
                  <a:lnTo>
                    <a:pt x="283629" y="253987"/>
                  </a:lnTo>
                  <a:lnTo>
                    <a:pt x="283629" y="255803"/>
                  </a:lnTo>
                  <a:lnTo>
                    <a:pt x="278079" y="259613"/>
                  </a:lnTo>
                  <a:lnTo>
                    <a:pt x="278358" y="251993"/>
                  </a:lnTo>
                  <a:lnTo>
                    <a:pt x="283629" y="255803"/>
                  </a:lnTo>
                  <a:lnTo>
                    <a:pt x="283629" y="253987"/>
                  </a:lnTo>
                  <a:lnTo>
                    <a:pt x="280822" y="251993"/>
                  </a:lnTo>
                  <a:lnTo>
                    <a:pt x="279044" y="250723"/>
                  </a:lnTo>
                  <a:lnTo>
                    <a:pt x="284480" y="246913"/>
                  </a:lnTo>
                  <a:lnTo>
                    <a:pt x="289852" y="250723"/>
                  </a:lnTo>
                  <a:lnTo>
                    <a:pt x="289852" y="250520"/>
                  </a:lnTo>
                  <a:lnTo>
                    <a:pt x="285191" y="246913"/>
                  </a:lnTo>
                  <a:lnTo>
                    <a:pt x="286766" y="245643"/>
                  </a:lnTo>
                  <a:lnTo>
                    <a:pt x="289915" y="243103"/>
                  </a:lnTo>
                  <a:lnTo>
                    <a:pt x="290118" y="250723"/>
                  </a:lnTo>
                  <a:lnTo>
                    <a:pt x="290118" y="218973"/>
                  </a:lnTo>
                  <a:lnTo>
                    <a:pt x="290017" y="215163"/>
                  </a:lnTo>
                  <a:lnTo>
                    <a:pt x="289979" y="213893"/>
                  </a:lnTo>
                  <a:lnTo>
                    <a:pt x="289915" y="211886"/>
                  </a:lnTo>
                  <a:lnTo>
                    <a:pt x="291896" y="210820"/>
                  </a:lnTo>
                  <a:lnTo>
                    <a:pt x="297395" y="206883"/>
                  </a:lnTo>
                  <a:lnTo>
                    <a:pt x="297726" y="207911"/>
                  </a:lnTo>
                  <a:lnTo>
                    <a:pt x="300469" y="217957"/>
                  </a:lnTo>
                  <a:lnTo>
                    <a:pt x="301764" y="222821"/>
                  </a:lnTo>
                  <a:lnTo>
                    <a:pt x="305333" y="230454"/>
                  </a:lnTo>
                  <a:lnTo>
                    <a:pt x="306082" y="231673"/>
                  </a:lnTo>
                  <a:lnTo>
                    <a:pt x="307873" y="235483"/>
                  </a:lnTo>
                  <a:lnTo>
                    <a:pt x="310832" y="239293"/>
                  </a:lnTo>
                  <a:lnTo>
                    <a:pt x="311670" y="239293"/>
                  </a:lnTo>
                  <a:lnTo>
                    <a:pt x="310921" y="238023"/>
                  </a:lnTo>
                  <a:lnTo>
                    <a:pt x="308978" y="236740"/>
                  </a:lnTo>
                  <a:lnTo>
                    <a:pt x="308013" y="235483"/>
                  </a:lnTo>
                  <a:lnTo>
                    <a:pt x="306222" y="231673"/>
                  </a:lnTo>
                  <a:lnTo>
                    <a:pt x="305447" y="230403"/>
                  </a:lnTo>
                  <a:lnTo>
                    <a:pt x="301929" y="222821"/>
                  </a:lnTo>
                  <a:lnTo>
                    <a:pt x="299910" y="215163"/>
                  </a:lnTo>
                  <a:lnTo>
                    <a:pt x="297675" y="207543"/>
                  </a:lnTo>
                  <a:lnTo>
                    <a:pt x="298538" y="208813"/>
                  </a:lnTo>
                  <a:lnTo>
                    <a:pt x="299427" y="211353"/>
                  </a:lnTo>
                  <a:lnTo>
                    <a:pt x="301332" y="213893"/>
                  </a:lnTo>
                  <a:lnTo>
                    <a:pt x="302323" y="216433"/>
                  </a:lnTo>
                  <a:lnTo>
                    <a:pt x="304609" y="218973"/>
                  </a:lnTo>
                  <a:lnTo>
                    <a:pt x="305892" y="220243"/>
                  </a:lnTo>
                  <a:lnTo>
                    <a:pt x="307530" y="221513"/>
                  </a:lnTo>
                  <a:lnTo>
                    <a:pt x="308102" y="222783"/>
                  </a:lnTo>
                  <a:lnTo>
                    <a:pt x="308889" y="222783"/>
                  </a:lnTo>
                  <a:lnTo>
                    <a:pt x="309168" y="222783"/>
                  </a:lnTo>
                  <a:lnTo>
                    <a:pt x="308698" y="222224"/>
                  </a:lnTo>
                  <a:lnTo>
                    <a:pt x="308483" y="221513"/>
                  </a:lnTo>
                  <a:lnTo>
                    <a:pt x="308140" y="221513"/>
                  </a:lnTo>
                  <a:lnTo>
                    <a:pt x="307721" y="221005"/>
                  </a:lnTo>
                  <a:lnTo>
                    <a:pt x="307721" y="221284"/>
                  </a:lnTo>
                  <a:lnTo>
                    <a:pt x="306108" y="220243"/>
                  </a:lnTo>
                  <a:lnTo>
                    <a:pt x="304850" y="218973"/>
                  </a:lnTo>
                  <a:lnTo>
                    <a:pt x="302590" y="216433"/>
                  </a:lnTo>
                  <a:lnTo>
                    <a:pt x="301612" y="213893"/>
                  </a:lnTo>
                  <a:lnTo>
                    <a:pt x="299402" y="210083"/>
                  </a:lnTo>
                  <a:lnTo>
                    <a:pt x="298259" y="207543"/>
                  </a:lnTo>
                  <a:lnTo>
                    <a:pt x="297840" y="206565"/>
                  </a:lnTo>
                  <a:lnTo>
                    <a:pt x="298043" y="206425"/>
                  </a:lnTo>
                  <a:lnTo>
                    <a:pt x="298627" y="207543"/>
                  </a:lnTo>
                  <a:lnTo>
                    <a:pt x="300824" y="211353"/>
                  </a:lnTo>
                  <a:lnTo>
                    <a:pt x="305130" y="217703"/>
                  </a:lnTo>
                  <a:lnTo>
                    <a:pt x="306908" y="220243"/>
                  </a:lnTo>
                  <a:lnTo>
                    <a:pt x="307721" y="221284"/>
                  </a:lnTo>
                  <a:lnTo>
                    <a:pt x="307721" y="221005"/>
                  </a:lnTo>
                  <a:lnTo>
                    <a:pt x="307035" y="220154"/>
                  </a:lnTo>
                  <a:lnTo>
                    <a:pt x="305282" y="217703"/>
                  </a:lnTo>
                  <a:lnTo>
                    <a:pt x="300951" y="211353"/>
                  </a:lnTo>
                  <a:lnTo>
                    <a:pt x="298767" y="207543"/>
                  </a:lnTo>
                  <a:lnTo>
                    <a:pt x="298196" y="206311"/>
                  </a:lnTo>
                  <a:lnTo>
                    <a:pt x="300774" y="204470"/>
                  </a:lnTo>
                  <a:lnTo>
                    <a:pt x="302209" y="203200"/>
                  </a:lnTo>
                  <a:lnTo>
                    <a:pt x="308406" y="208280"/>
                  </a:lnTo>
                  <a:lnTo>
                    <a:pt x="314858" y="213360"/>
                  </a:lnTo>
                  <a:lnTo>
                    <a:pt x="317842" y="215049"/>
                  </a:lnTo>
                  <a:lnTo>
                    <a:pt x="317995" y="215163"/>
                  </a:lnTo>
                  <a:lnTo>
                    <a:pt x="317627" y="216433"/>
                  </a:lnTo>
                  <a:lnTo>
                    <a:pt x="317220" y="216433"/>
                  </a:lnTo>
                  <a:lnTo>
                    <a:pt x="316788" y="217703"/>
                  </a:lnTo>
                  <a:lnTo>
                    <a:pt x="315785" y="218973"/>
                  </a:lnTo>
                  <a:lnTo>
                    <a:pt x="314604" y="220243"/>
                  </a:lnTo>
                  <a:lnTo>
                    <a:pt x="312991" y="221513"/>
                  </a:lnTo>
                  <a:lnTo>
                    <a:pt x="312178" y="222783"/>
                  </a:lnTo>
                  <a:lnTo>
                    <a:pt x="313143" y="221513"/>
                  </a:lnTo>
                  <a:lnTo>
                    <a:pt x="314833" y="221513"/>
                  </a:lnTo>
                  <a:lnTo>
                    <a:pt x="316026" y="218973"/>
                  </a:lnTo>
                  <a:lnTo>
                    <a:pt x="317042" y="217703"/>
                  </a:lnTo>
                  <a:lnTo>
                    <a:pt x="317855" y="216433"/>
                  </a:lnTo>
                  <a:lnTo>
                    <a:pt x="318185" y="215239"/>
                  </a:lnTo>
                  <a:lnTo>
                    <a:pt x="318439" y="215392"/>
                  </a:lnTo>
                  <a:lnTo>
                    <a:pt x="322300" y="218973"/>
                  </a:lnTo>
                  <a:lnTo>
                    <a:pt x="319354" y="215912"/>
                  </a:lnTo>
                  <a:lnTo>
                    <a:pt x="321614" y="217170"/>
                  </a:lnTo>
                  <a:lnTo>
                    <a:pt x="322351" y="217576"/>
                  </a:lnTo>
                  <a:lnTo>
                    <a:pt x="322313" y="218973"/>
                  </a:lnTo>
                  <a:lnTo>
                    <a:pt x="321945" y="229133"/>
                  </a:lnTo>
                  <a:lnTo>
                    <a:pt x="319595" y="290093"/>
                  </a:lnTo>
                  <a:lnTo>
                    <a:pt x="319938" y="290093"/>
                  </a:lnTo>
                  <a:lnTo>
                    <a:pt x="320217" y="283743"/>
                  </a:lnTo>
                  <a:lnTo>
                    <a:pt x="325234" y="286283"/>
                  </a:lnTo>
                  <a:lnTo>
                    <a:pt x="320179" y="288747"/>
                  </a:lnTo>
                  <a:lnTo>
                    <a:pt x="325615" y="286296"/>
                  </a:lnTo>
                  <a:lnTo>
                    <a:pt x="331228" y="288823"/>
                  </a:lnTo>
                  <a:lnTo>
                    <a:pt x="325996" y="286283"/>
                  </a:lnTo>
                  <a:lnTo>
                    <a:pt x="331063" y="283743"/>
                  </a:lnTo>
                  <a:lnTo>
                    <a:pt x="331228" y="288823"/>
                  </a:lnTo>
                  <a:lnTo>
                    <a:pt x="331279" y="290093"/>
                  </a:lnTo>
                  <a:lnTo>
                    <a:pt x="331609" y="290093"/>
                  </a:lnTo>
                  <a:lnTo>
                    <a:pt x="331431" y="283743"/>
                  </a:lnTo>
                  <a:lnTo>
                    <a:pt x="331393" y="282473"/>
                  </a:lnTo>
                  <a:lnTo>
                    <a:pt x="331254" y="277393"/>
                  </a:lnTo>
                  <a:lnTo>
                    <a:pt x="331089" y="271043"/>
                  </a:lnTo>
                  <a:lnTo>
                    <a:pt x="331050" y="269519"/>
                  </a:lnTo>
                  <a:lnTo>
                    <a:pt x="331050" y="282473"/>
                  </a:lnTo>
                  <a:lnTo>
                    <a:pt x="330873" y="282384"/>
                  </a:lnTo>
                  <a:lnTo>
                    <a:pt x="325628" y="286283"/>
                  </a:lnTo>
                  <a:lnTo>
                    <a:pt x="322199" y="283743"/>
                  </a:lnTo>
                  <a:lnTo>
                    <a:pt x="320497" y="282473"/>
                  </a:lnTo>
                  <a:lnTo>
                    <a:pt x="325704" y="279933"/>
                  </a:lnTo>
                  <a:lnTo>
                    <a:pt x="321487" y="277393"/>
                  </a:lnTo>
                  <a:lnTo>
                    <a:pt x="321627" y="277393"/>
                  </a:lnTo>
                  <a:lnTo>
                    <a:pt x="323888" y="275996"/>
                  </a:lnTo>
                  <a:lnTo>
                    <a:pt x="325793" y="274853"/>
                  </a:lnTo>
                  <a:lnTo>
                    <a:pt x="330708" y="277393"/>
                  </a:lnTo>
                  <a:lnTo>
                    <a:pt x="325704" y="279933"/>
                  </a:lnTo>
                  <a:lnTo>
                    <a:pt x="327914" y="281203"/>
                  </a:lnTo>
                  <a:lnTo>
                    <a:pt x="330873" y="282473"/>
                  </a:lnTo>
                  <a:lnTo>
                    <a:pt x="326097" y="279933"/>
                  </a:lnTo>
                  <a:lnTo>
                    <a:pt x="330923" y="277393"/>
                  </a:lnTo>
                  <a:lnTo>
                    <a:pt x="331050" y="282473"/>
                  </a:lnTo>
                  <a:lnTo>
                    <a:pt x="331050" y="269519"/>
                  </a:lnTo>
                  <a:lnTo>
                    <a:pt x="330962" y="265963"/>
                  </a:lnTo>
                  <a:lnTo>
                    <a:pt x="330923" y="264693"/>
                  </a:lnTo>
                  <a:lnTo>
                    <a:pt x="330885" y="263334"/>
                  </a:lnTo>
                  <a:lnTo>
                    <a:pt x="330885" y="277380"/>
                  </a:lnTo>
                  <a:lnTo>
                    <a:pt x="326148" y="274853"/>
                  </a:lnTo>
                  <a:lnTo>
                    <a:pt x="327685" y="273583"/>
                  </a:lnTo>
                  <a:lnTo>
                    <a:pt x="330758" y="271043"/>
                  </a:lnTo>
                  <a:lnTo>
                    <a:pt x="330885" y="277380"/>
                  </a:lnTo>
                  <a:lnTo>
                    <a:pt x="330885" y="263334"/>
                  </a:lnTo>
                  <a:lnTo>
                    <a:pt x="330720" y="257441"/>
                  </a:lnTo>
                  <a:lnTo>
                    <a:pt x="330720" y="271030"/>
                  </a:lnTo>
                  <a:lnTo>
                    <a:pt x="330581" y="270954"/>
                  </a:lnTo>
                  <a:lnTo>
                    <a:pt x="327393" y="273583"/>
                  </a:lnTo>
                  <a:lnTo>
                    <a:pt x="325793" y="273583"/>
                  </a:lnTo>
                  <a:lnTo>
                    <a:pt x="325450" y="273405"/>
                  </a:lnTo>
                  <a:lnTo>
                    <a:pt x="325450" y="274853"/>
                  </a:lnTo>
                  <a:lnTo>
                    <a:pt x="322872" y="276123"/>
                  </a:lnTo>
                  <a:lnTo>
                    <a:pt x="320675" y="277393"/>
                  </a:lnTo>
                  <a:lnTo>
                    <a:pt x="320802" y="277393"/>
                  </a:lnTo>
                  <a:lnTo>
                    <a:pt x="321932" y="278663"/>
                  </a:lnTo>
                  <a:lnTo>
                    <a:pt x="325310" y="279933"/>
                  </a:lnTo>
                  <a:lnTo>
                    <a:pt x="320243" y="282473"/>
                  </a:lnTo>
                  <a:lnTo>
                    <a:pt x="320446" y="277393"/>
                  </a:lnTo>
                  <a:lnTo>
                    <a:pt x="320560" y="273583"/>
                  </a:lnTo>
                  <a:lnTo>
                    <a:pt x="320662" y="271068"/>
                  </a:lnTo>
                  <a:lnTo>
                    <a:pt x="325450" y="274853"/>
                  </a:lnTo>
                  <a:lnTo>
                    <a:pt x="325450" y="273405"/>
                  </a:lnTo>
                  <a:lnTo>
                    <a:pt x="320979" y="271043"/>
                  </a:lnTo>
                  <a:lnTo>
                    <a:pt x="325805" y="268503"/>
                  </a:lnTo>
                  <a:lnTo>
                    <a:pt x="325462" y="268224"/>
                  </a:lnTo>
                  <a:lnTo>
                    <a:pt x="325462" y="268503"/>
                  </a:lnTo>
                  <a:lnTo>
                    <a:pt x="320675" y="271043"/>
                  </a:lnTo>
                  <a:lnTo>
                    <a:pt x="320890" y="265963"/>
                  </a:lnTo>
                  <a:lnTo>
                    <a:pt x="325462" y="268503"/>
                  </a:lnTo>
                  <a:lnTo>
                    <a:pt x="325462" y="268224"/>
                  </a:lnTo>
                  <a:lnTo>
                    <a:pt x="322745" y="265963"/>
                  </a:lnTo>
                  <a:lnTo>
                    <a:pt x="321221" y="264693"/>
                  </a:lnTo>
                  <a:lnTo>
                    <a:pt x="325882" y="262153"/>
                  </a:lnTo>
                  <a:lnTo>
                    <a:pt x="330428" y="264693"/>
                  </a:lnTo>
                  <a:lnTo>
                    <a:pt x="325805" y="268503"/>
                  </a:lnTo>
                  <a:lnTo>
                    <a:pt x="330581" y="271043"/>
                  </a:lnTo>
                  <a:lnTo>
                    <a:pt x="326148" y="268503"/>
                  </a:lnTo>
                  <a:lnTo>
                    <a:pt x="330593" y="265963"/>
                  </a:lnTo>
                  <a:lnTo>
                    <a:pt x="330720" y="271030"/>
                  </a:lnTo>
                  <a:lnTo>
                    <a:pt x="330720" y="257441"/>
                  </a:lnTo>
                  <a:lnTo>
                    <a:pt x="330568" y="251993"/>
                  </a:lnTo>
                  <a:lnTo>
                    <a:pt x="330568" y="264693"/>
                  </a:lnTo>
                  <a:lnTo>
                    <a:pt x="326199" y="262153"/>
                  </a:lnTo>
                  <a:lnTo>
                    <a:pt x="327596" y="260883"/>
                  </a:lnTo>
                  <a:lnTo>
                    <a:pt x="330390" y="258368"/>
                  </a:lnTo>
                  <a:lnTo>
                    <a:pt x="330441" y="259613"/>
                  </a:lnTo>
                  <a:lnTo>
                    <a:pt x="330568" y="264693"/>
                  </a:lnTo>
                  <a:lnTo>
                    <a:pt x="330568" y="251993"/>
                  </a:lnTo>
                  <a:lnTo>
                    <a:pt x="330390" y="245643"/>
                  </a:lnTo>
                  <a:lnTo>
                    <a:pt x="330390" y="258343"/>
                  </a:lnTo>
                  <a:lnTo>
                    <a:pt x="329996" y="258114"/>
                  </a:lnTo>
                  <a:lnTo>
                    <a:pt x="329996" y="258343"/>
                  </a:lnTo>
                  <a:lnTo>
                    <a:pt x="325882" y="260883"/>
                  </a:lnTo>
                  <a:lnTo>
                    <a:pt x="325564" y="260692"/>
                  </a:lnTo>
                  <a:lnTo>
                    <a:pt x="325564" y="262153"/>
                  </a:lnTo>
                  <a:lnTo>
                    <a:pt x="320916" y="264693"/>
                  </a:lnTo>
                  <a:lnTo>
                    <a:pt x="321132" y="258635"/>
                  </a:lnTo>
                  <a:lnTo>
                    <a:pt x="321157" y="258368"/>
                  </a:lnTo>
                  <a:lnTo>
                    <a:pt x="325564" y="262153"/>
                  </a:lnTo>
                  <a:lnTo>
                    <a:pt x="325564" y="260692"/>
                  </a:lnTo>
                  <a:lnTo>
                    <a:pt x="321767" y="258343"/>
                  </a:lnTo>
                  <a:lnTo>
                    <a:pt x="325907" y="255803"/>
                  </a:lnTo>
                  <a:lnTo>
                    <a:pt x="329996" y="258343"/>
                  </a:lnTo>
                  <a:lnTo>
                    <a:pt x="329996" y="258114"/>
                  </a:lnTo>
                  <a:lnTo>
                    <a:pt x="326224" y="255803"/>
                  </a:lnTo>
                  <a:lnTo>
                    <a:pt x="327558" y="254533"/>
                  </a:lnTo>
                  <a:lnTo>
                    <a:pt x="330212" y="252018"/>
                  </a:lnTo>
                  <a:lnTo>
                    <a:pt x="330263" y="253161"/>
                  </a:lnTo>
                  <a:lnTo>
                    <a:pt x="330390" y="258343"/>
                  </a:lnTo>
                  <a:lnTo>
                    <a:pt x="330390" y="245643"/>
                  </a:lnTo>
                  <a:lnTo>
                    <a:pt x="330365" y="244373"/>
                  </a:lnTo>
                  <a:lnTo>
                    <a:pt x="330225" y="239293"/>
                  </a:lnTo>
                  <a:lnTo>
                    <a:pt x="330212" y="238874"/>
                  </a:lnTo>
                  <a:lnTo>
                    <a:pt x="330212" y="251993"/>
                  </a:lnTo>
                  <a:lnTo>
                    <a:pt x="325907" y="254533"/>
                  </a:lnTo>
                  <a:lnTo>
                    <a:pt x="321843" y="252044"/>
                  </a:lnTo>
                  <a:lnTo>
                    <a:pt x="325970" y="249453"/>
                  </a:lnTo>
                  <a:lnTo>
                    <a:pt x="330111" y="251993"/>
                  </a:lnTo>
                  <a:lnTo>
                    <a:pt x="327571" y="249453"/>
                  </a:lnTo>
                  <a:lnTo>
                    <a:pt x="326250" y="248183"/>
                  </a:lnTo>
                  <a:lnTo>
                    <a:pt x="330060" y="245643"/>
                  </a:lnTo>
                  <a:lnTo>
                    <a:pt x="330212" y="251993"/>
                  </a:lnTo>
                  <a:lnTo>
                    <a:pt x="330212" y="238874"/>
                  </a:lnTo>
                  <a:lnTo>
                    <a:pt x="330187" y="238023"/>
                  </a:lnTo>
                  <a:lnTo>
                    <a:pt x="330047" y="232943"/>
                  </a:lnTo>
                  <a:lnTo>
                    <a:pt x="330034" y="232524"/>
                  </a:lnTo>
                  <a:lnTo>
                    <a:pt x="330034" y="244373"/>
                  </a:lnTo>
                  <a:lnTo>
                    <a:pt x="326301" y="241833"/>
                  </a:lnTo>
                  <a:lnTo>
                    <a:pt x="329882" y="239293"/>
                  </a:lnTo>
                  <a:lnTo>
                    <a:pt x="330034" y="244373"/>
                  </a:lnTo>
                  <a:lnTo>
                    <a:pt x="330034" y="232524"/>
                  </a:lnTo>
                  <a:lnTo>
                    <a:pt x="329933" y="229133"/>
                  </a:lnTo>
                  <a:lnTo>
                    <a:pt x="329844" y="225767"/>
                  </a:lnTo>
                  <a:lnTo>
                    <a:pt x="329844" y="238023"/>
                  </a:lnTo>
                  <a:lnTo>
                    <a:pt x="329755" y="239293"/>
                  </a:lnTo>
                  <a:lnTo>
                    <a:pt x="326009" y="241833"/>
                  </a:lnTo>
                  <a:lnTo>
                    <a:pt x="329692" y="245643"/>
                  </a:lnTo>
                  <a:lnTo>
                    <a:pt x="325970" y="248183"/>
                  </a:lnTo>
                  <a:lnTo>
                    <a:pt x="322300" y="245643"/>
                  </a:lnTo>
                  <a:lnTo>
                    <a:pt x="326009" y="241833"/>
                  </a:lnTo>
                  <a:lnTo>
                    <a:pt x="322402" y="239293"/>
                  </a:lnTo>
                  <a:lnTo>
                    <a:pt x="326212" y="235483"/>
                  </a:lnTo>
                  <a:lnTo>
                    <a:pt x="322529" y="232943"/>
                  </a:lnTo>
                  <a:lnTo>
                    <a:pt x="322567" y="231673"/>
                  </a:lnTo>
                  <a:lnTo>
                    <a:pt x="325208" y="229133"/>
                  </a:lnTo>
                  <a:lnTo>
                    <a:pt x="324650" y="229133"/>
                  </a:lnTo>
                  <a:lnTo>
                    <a:pt x="322249" y="231673"/>
                  </a:lnTo>
                  <a:lnTo>
                    <a:pt x="322186" y="232943"/>
                  </a:lnTo>
                  <a:lnTo>
                    <a:pt x="325945" y="235483"/>
                  </a:lnTo>
                  <a:lnTo>
                    <a:pt x="321970" y="239293"/>
                  </a:lnTo>
                  <a:lnTo>
                    <a:pt x="325729" y="241833"/>
                  </a:lnTo>
                  <a:lnTo>
                    <a:pt x="321665" y="245643"/>
                  </a:lnTo>
                  <a:lnTo>
                    <a:pt x="325678" y="248183"/>
                  </a:lnTo>
                  <a:lnTo>
                    <a:pt x="321424" y="251980"/>
                  </a:lnTo>
                  <a:lnTo>
                    <a:pt x="325602" y="255803"/>
                  </a:lnTo>
                  <a:lnTo>
                    <a:pt x="321170" y="258343"/>
                  </a:lnTo>
                  <a:lnTo>
                    <a:pt x="322630" y="218973"/>
                  </a:lnTo>
                  <a:lnTo>
                    <a:pt x="324294" y="221513"/>
                  </a:lnTo>
                  <a:lnTo>
                    <a:pt x="325551" y="221513"/>
                  </a:lnTo>
                  <a:lnTo>
                    <a:pt x="323773" y="223901"/>
                  </a:lnTo>
                  <a:lnTo>
                    <a:pt x="325805" y="222783"/>
                  </a:lnTo>
                  <a:lnTo>
                    <a:pt x="327736" y="223888"/>
                  </a:lnTo>
                  <a:lnTo>
                    <a:pt x="326961" y="222783"/>
                  </a:lnTo>
                  <a:lnTo>
                    <a:pt x="326085" y="221513"/>
                  </a:lnTo>
                  <a:lnTo>
                    <a:pt x="327152" y="221513"/>
                  </a:lnTo>
                  <a:lnTo>
                    <a:pt x="327799" y="223888"/>
                  </a:lnTo>
                  <a:lnTo>
                    <a:pt x="327977" y="224040"/>
                  </a:lnTo>
                  <a:lnTo>
                    <a:pt x="327469" y="221513"/>
                  </a:lnTo>
                  <a:lnTo>
                    <a:pt x="327228" y="221513"/>
                  </a:lnTo>
                  <a:lnTo>
                    <a:pt x="327977" y="220611"/>
                  </a:lnTo>
                  <a:lnTo>
                    <a:pt x="328688" y="220980"/>
                  </a:lnTo>
                  <a:lnTo>
                    <a:pt x="329387" y="221284"/>
                  </a:lnTo>
                  <a:lnTo>
                    <a:pt x="329488" y="225323"/>
                  </a:lnTo>
                  <a:lnTo>
                    <a:pt x="328955" y="224866"/>
                  </a:lnTo>
                  <a:lnTo>
                    <a:pt x="329399" y="225323"/>
                  </a:lnTo>
                  <a:lnTo>
                    <a:pt x="328650" y="226593"/>
                  </a:lnTo>
                  <a:lnTo>
                    <a:pt x="328193" y="224231"/>
                  </a:lnTo>
                  <a:lnTo>
                    <a:pt x="328028" y="224104"/>
                  </a:lnTo>
                  <a:lnTo>
                    <a:pt x="328574" y="226593"/>
                  </a:lnTo>
                  <a:lnTo>
                    <a:pt x="325793" y="227863"/>
                  </a:lnTo>
                  <a:lnTo>
                    <a:pt x="322986" y="226593"/>
                  </a:lnTo>
                  <a:lnTo>
                    <a:pt x="323037" y="225323"/>
                  </a:lnTo>
                  <a:lnTo>
                    <a:pt x="323481" y="224053"/>
                  </a:lnTo>
                  <a:lnTo>
                    <a:pt x="323215" y="224053"/>
                  </a:lnTo>
                  <a:lnTo>
                    <a:pt x="323316" y="223761"/>
                  </a:lnTo>
                  <a:lnTo>
                    <a:pt x="322948" y="224053"/>
                  </a:lnTo>
                  <a:lnTo>
                    <a:pt x="322516" y="224053"/>
                  </a:lnTo>
                  <a:lnTo>
                    <a:pt x="322478" y="226593"/>
                  </a:lnTo>
                  <a:lnTo>
                    <a:pt x="322770" y="226593"/>
                  </a:lnTo>
                  <a:lnTo>
                    <a:pt x="322376" y="227711"/>
                  </a:lnTo>
                  <a:lnTo>
                    <a:pt x="322859" y="226593"/>
                  </a:lnTo>
                  <a:lnTo>
                    <a:pt x="325513" y="229133"/>
                  </a:lnTo>
                  <a:lnTo>
                    <a:pt x="326072" y="229133"/>
                  </a:lnTo>
                  <a:lnTo>
                    <a:pt x="327367" y="227863"/>
                  </a:lnTo>
                  <a:lnTo>
                    <a:pt x="328676" y="226593"/>
                  </a:lnTo>
                  <a:lnTo>
                    <a:pt x="329488" y="225361"/>
                  </a:lnTo>
                  <a:lnTo>
                    <a:pt x="329552" y="228155"/>
                  </a:lnTo>
                  <a:lnTo>
                    <a:pt x="329641" y="231648"/>
                  </a:lnTo>
                  <a:lnTo>
                    <a:pt x="329679" y="232943"/>
                  </a:lnTo>
                  <a:lnTo>
                    <a:pt x="326224" y="235483"/>
                  </a:lnTo>
                  <a:lnTo>
                    <a:pt x="329755" y="239293"/>
                  </a:lnTo>
                  <a:lnTo>
                    <a:pt x="329755" y="237959"/>
                  </a:lnTo>
                  <a:lnTo>
                    <a:pt x="326491" y="235483"/>
                  </a:lnTo>
                  <a:lnTo>
                    <a:pt x="329717" y="232943"/>
                  </a:lnTo>
                  <a:lnTo>
                    <a:pt x="329844" y="238023"/>
                  </a:lnTo>
                  <a:lnTo>
                    <a:pt x="329844" y="225767"/>
                  </a:lnTo>
                  <a:lnTo>
                    <a:pt x="329730" y="221424"/>
                  </a:lnTo>
                  <a:lnTo>
                    <a:pt x="334721" y="223520"/>
                  </a:lnTo>
                  <a:lnTo>
                    <a:pt x="337515" y="224066"/>
                  </a:lnTo>
                  <a:lnTo>
                    <a:pt x="338620" y="224282"/>
                  </a:lnTo>
                  <a:lnTo>
                    <a:pt x="338963" y="225323"/>
                  </a:lnTo>
                  <a:lnTo>
                    <a:pt x="340080" y="228053"/>
                  </a:lnTo>
                  <a:lnTo>
                    <a:pt x="341909" y="234213"/>
                  </a:lnTo>
                  <a:lnTo>
                    <a:pt x="346303" y="238023"/>
                  </a:lnTo>
                  <a:lnTo>
                    <a:pt x="347078" y="236753"/>
                  </a:lnTo>
                  <a:lnTo>
                    <a:pt x="347865" y="235483"/>
                  </a:lnTo>
                  <a:lnTo>
                    <a:pt x="348005" y="235483"/>
                  </a:lnTo>
                  <a:lnTo>
                    <a:pt x="348005" y="236753"/>
                  </a:lnTo>
                  <a:lnTo>
                    <a:pt x="347853" y="236753"/>
                  </a:lnTo>
                  <a:lnTo>
                    <a:pt x="347751" y="238023"/>
                  </a:lnTo>
                  <a:lnTo>
                    <a:pt x="346316" y="238023"/>
                  </a:lnTo>
                  <a:lnTo>
                    <a:pt x="347789" y="239293"/>
                  </a:lnTo>
                  <a:lnTo>
                    <a:pt x="347751" y="240563"/>
                  </a:lnTo>
                  <a:lnTo>
                    <a:pt x="348005" y="240563"/>
                  </a:lnTo>
                  <a:lnTo>
                    <a:pt x="347853" y="241833"/>
                  </a:lnTo>
                  <a:lnTo>
                    <a:pt x="347751" y="243103"/>
                  </a:lnTo>
                  <a:lnTo>
                    <a:pt x="347751" y="244373"/>
                  </a:lnTo>
                  <a:lnTo>
                    <a:pt x="348005" y="244373"/>
                  </a:lnTo>
                  <a:lnTo>
                    <a:pt x="348005" y="245643"/>
                  </a:lnTo>
                  <a:lnTo>
                    <a:pt x="348881" y="249453"/>
                  </a:lnTo>
                  <a:lnTo>
                    <a:pt x="347052" y="296443"/>
                  </a:lnTo>
                  <a:lnTo>
                    <a:pt x="347319" y="296443"/>
                  </a:lnTo>
                  <a:lnTo>
                    <a:pt x="347370" y="295173"/>
                  </a:lnTo>
                  <a:lnTo>
                    <a:pt x="349618" y="293903"/>
                  </a:lnTo>
                  <a:lnTo>
                    <a:pt x="351878" y="292633"/>
                  </a:lnTo>
                  <a:lnTo>
                    <a:pt x="351574" y="292455"/>
                  </a:lnTo>
                  <a:lnTo>
                    <a:pt x="351574" y="292633"/>
                  </a:lnTo>
                  <a:lnTo>
                    <a:pt x="347383" y="293903"/>
                  </a:lnTo>
                  <a:lnTo>
                    <a:pt x="347484" y="291363"/>
                  </a:lnTo>
                  <a:lnTo>
                    <a:pt x="347560" y="290118"/>
                  </a:lnTo>
                  <a:lnTo>
                    <a:pt x="351574" y="292633"/>
                  </a:lnTo>
                  <a:lnTo>
                    <a:pt x="351574" y="292455"/>
                  </a:lnTo>
                  <a:lnTo>
                    <a:pt x="347776" y="290093"/>
                  </a:lnTo>
                  <a:lnTo>
                    <a:pt x="351955" y="287553"/>
                  </a:lnTo>
                  <a:lnTo>
                    <a:pt x="350139" y="286283"/>
                  </a:lnTo>
                  <a:lnTo>
                    <a:pt x="348018" y="286283"/>
                  </a:lnTo>
                  <a:lnTo>
                    <a:pt x="351624" y="287553"/>
                  </a:lnTo>
                  <a:lnTo>
                    <a:pt x="347573" y="290093"/>
                  </a:lnTo>
                  <a:lnTo>
                    <a:pt x="347726" y="286283"/>
                  </a:lnTo>
                  <a:lnTo>
                    <a:pt x="348018" y="286283"/>
                  </a:lnTo>
                  <a:lnTo>
                    <a:pt x="348665" y="285013"/>
                  </a:lnTo>
                  <a:lnTo>
                    <a:pt x="347738" y="285013"/>
                  </a:lnTo>
                  <a:lnTo>
                    <a:pt x="347903" y="281216"/>
                  </a:lnTo>
                  <a:lnTo>
                    <a:pt x="351739" y="283743"/>
                  </a:lnTo>
                  <a:lnTo>
                    <a:pt x="351282" y="284035"/>
                  </a:lnTo>
                  <a:lnTo>
                    <a:pt x="352031" y="283743"/>
                  </a:lnTo>
                  <a:lnTo>
                    <a:pt x="355968" y="285013"/>
                  </a:lnTo>
                  <a:lnTo>
                    <a:pt x="351955" y="287553"/>
                  </a:lnTo>
                  <a:lnTo>
                    <a:pt x="355460" y="290093"/>
                  </a:lnTo>
                  <a:lnTo>
                    <a:pt x="356082" y="290093"/>
                  </a:lnTo>
                  <a:lnTo>
                    <a:pt x="351878" y="292633"/>
                  </a:lnTo>
                  <a:lnTo>
                    <a:pt x="356374" y="295173"/>
                  </a:lnTo>
                  <a:lnTo>
                    <a:pt x="356412" y="296443"/>
                  </a:lnTo>
                  <a:lnTo>
                    <a:pt x="356679" y="296443"/>
                  </a:lnTo>
                  <a:lnTo>
                    <a:pt x="356616" y="293903"/>
                  </a:lnTo>
                  <a:lnTo>
                    <a:pt x="356400" y="286283"/>
                  </a:lnTo>
                  <a:lnTo>
                    <a:pt x="356374" y="285445"/>
                  </a:lnTo>
                  <a:lnTo>
                    <a:pt x="356374" y="293903"/>
                  </a:lnTo>
                  <a:lnTo>
                    <a:pt x="352183" y="292633"/>
                  </a:lnTo>
                  <a:lnTo>
                    <a:pt x="356260" y="290093"/>
                  </a:lnTo>
                  <a:lnTo>
                    <a:pt x="356374" y="293903"/>
                  </a:lnTo>
                  <a:lnTo>
                    <a:pt x="356374" y="285445"/>
                  </a:lnTo>
                  <a:lnTo>
                    <a:pt x="356362" y="285013"/>
                  </a:lnTo>
                  <a:lnTo>
                    <a:pt x="356260" y="281203"/>
                  </a:lnTo>
                  <a:lnTo>
                    <a:pt x="356235" y="280276"/>
                  </a:lnTo>
                  <a:lnTo>
                    <a:pt x="356235" y="290093"/>
                  </a:lnTo>
                  <a:lnTo>
                    <a:pt x="352259" y="287553"/>
                  </a:lnTo>
                  <a:lnTo>
                    <a:pt x="356133" y="286283"/>
                  </a:lnTo>
                  <a:lnTo>
                    <a:pt x="356235" y="290093"/>
                  </a:lnTo>
                  <a:lnTo>
                    <a:pt x="356235" y="280276"/>
                  </a:lnTo>
                  <a:lnTo>
                    <a:pt x="356120" y="276085"/>
                  </a:lnTo>
                  <a:lnTo>
                    <a:pt x="356120" y="285013"/>
                  </a:lnTo>
                  <a:lnTo>
                    <a:pt x="352310" y="283743"/>
                  </a:lnTo>
                  <a:lnTo>
                    <a:pt x="354152" y="282473"/>
                  </a:lnTo>
                  <a:lnTo>
                    <a:pt x="355993" y="281203"/>
                  </a:lnTo>
                  <a:lnTo>
                    <a:pt x="356120" y="285013"/>
                  </a:lnTo>
                  <a:lnTo>
                    <a:pt x="356120" y="276085"/>
                  </a:lnTo>
                  <a:lnTo>
                    <a:pt x="355981" y="270967"/>
                  </a:lnTo>
                  <a:lnTo>
                    <a:pt x="355981" y="281203"/>
                  </a:lnTo>
                  <a:lnTo>
                    <a:pt x="355854" y="281127"/>
                  </a:lnTo>
                  <a:lnTo>
                    <a:pt x="352031" y="282473"/>
                  </a:lnTo>
                  <a:lnTo>
                    <a:pt x="348145" y="281203"/>
                  </a:lnTo>
                  <a:lnTo>
                    <a:pt x="352031" y="278663"/>
                  </a:lnTo>
                  <a:lnTo>
                    <a:pt x="351751" y="278472"/>
                  </a:lnTo>
                  <a:lnTo>
                    <a:pt x="351751" y="278663"/>
                  </a:lnTo>
                  <a:lnTo>
                    <a:pt x="347916" y="281203"/>
                  </a:lnTo>
                  <a:lnTo>
                    <a:pt x="348043" y="277393"/>
                  </a:lnTo>
                  <a:lnTo>
                    <a:pt x="348094" y="276136"/>
                  </a:lnTo>
                  <a:lnTo>
                    <a:pt x="351751" y="278663"/>
                  </a:lnTo>
                  <a:lnTo>
                    <a:pt x="351751" y="278472"/>
                  </a:lnTo>
                  <a:lnTo>
                    <a:pt x="348361" y="276123"/>
                  </a:lnTo>
                  <a:lnTo>
                    <a:pt x="352082" y="273583"/>
                  </a:lnTo>
                  <a:lnTo>
                    <a:pt x="351840" y="273405"/>
                  </a:lnTo>
                  <a:lnTo>
                    <a:pt x="351840" y="273583"/>
                  </a:lnTo>
                  <a:lnTo>
                    <a:pt x="348107" y="276123"/>
                  </a:lnTo>
                  <a:lnTo>
                    <a:pt x="348297" y="271056"/>
                  </a:lnTo>
                  <a:lnTo>
                    <a:pt x="351840" y="273583"/>
                  </a:lnTo>
                  <a:lnTo>
                    <a:pt x="351840" y="273405"/>
                  </a:lnTo>
                  <a:lnTo>
                    <a:pt x="348792" y="271043"/>
                  </a:lnTo>
                  <a:lnTo>
                    <a:pt x="352107" y="268503"/>
                  </a:lnTo>
                  <a:lnTo>
                    <a:pt x="351853" y="268312"/>
                  </a:lnTo>
                  <a:lnTo>
                    <a:pt x="351853" y="268503"/>
                  </a:lnTo>
                  <a:lnTo>
                    <a:pt x="348310" y="271043"/>
                  </a:lnTo>
                  <a:lnTo>
                    <a:pt x="348500" y="265976"/>
                  </a:lnTo>
                  <a:lnTo>
                    <a:pt x="351853" y="268503"/>
                  </a:lnTo>
                  <a:lnTo>
                    <a:pt x="351853" y="268312"/>
                  </a:lnTo>
                  <a:lnTo>
                    <a:pt x="348792" y="265963"/>
                  </a:lnTo>
                  <a:lnTo>
                    <a:pt x="352158" y="263423"/>
                  </a:lnTo>
                  <a:lnTo>
                    <a:pt x="349211" y="260883"/>
                  </a:lnTo>
                  <a:lnTo>
                    <a:pt x="351637" y="258343"/>
                  </a:lnTo>
                  <a:lnTo>
                    <a:pt x="351701" y="258635"/>
                  </a:lnTo>
                  <a:lnTo>
                    <a:pt x="351663" y="258343"/>
                  </a:lnTo>
                  <a:lnTo>
                    <a:pt x="352196" y="258343"/>
                  </a:lnTo>
                  <a:lnTo>
                    <a:pt x="351650" y="257708"/>
                  </a:lnTo>
                  <a:lnTo>
                    <a:pt x="351955" y="257479"/>
                  </a:lnTo>
                  <a:lnTo>
                    <a:pt x="351282" y="256959"/>
                  </a:lnTo>
                  <a:lnTo>
                    <a:pt x="351358" y="257238"/>
                  </a:lnTo>
                  <a:lnTo>
                    <a:pt x="351447" y="257454"/>
                  </a:lnTo>
                  <a:lnTo>
                    <a:pt x="351282" y="257251"/>
                  </a:lnTo>
                  <a:lnTo>
                    <a:pt x="351548" y="258343"/>
                  </a:lnTo>
                  <a:lnTo>
                    <a:pt x="348716" y="260883"/>
                  </a:lnTo>
                  <a:lnTo>
                    <a:pt x="351929" y="263423"/>
                  </a:lnTo>
                  <a:lnTo>
                    <a:pt x="348500" y="265963"/>
                  </a:lnTo>
                  <a:lnTo>
                    <a:pt x="349173" y="248183"/>
                  </a:lnTo>
                  <a:lnTo>
                    <a:pt x="349478" y="240563"/>
                  </a:lnTo>
                  <a:lnTo>
                    <a:pt x="351815" y="243103"/>
                  </a:lnTo>
                  <a:lnTo>
                    <a:pt x="349389" y="244373"/>
                  </a:lnTo>
                  <a:lnTo>
                    <a:pt x="349338" y="245643"/>
                  </a:lnTo>
                  <a:lnTo>
                    <a:pt x="351802" y="248183"/>
                  </a:lnTo>
                  <a:lnTo>
                    <a:pt x="349224" y="249453"/>
                  </a:lnTo>
                  <a:lnTo>
                    <a:pt x="349110" y="250723"/>
                  </a:lnTo>
                  <a:lnTo>
                    <a:pt x="349389" y="250723"/>
                  </a:lnTo>
                  <a:lnTo>
                    <a:pt x="349694" y="252044"/>
                  </a:lnTo>
                  <a:lnTo>
                    <a:pt x="350354" y="254533"/>
                  </a:lnTo>
                  <a:lnTo>
                    <a:pt x="348945" y="255803"/>
                  </a:lnTo>
                  <a:lnTo>
                    <a:pt x="350520" y="256667"/>
                  </a:lnTo>
                  <a:lnTo>
                    <a:pt x="349288" y="255803"/>
                  </a:lnTo>
                  <a:lnTo>
                    <a:pt x="350431" y="254533"/>
                  </a:lnTo>
                  <a:lnTo>
                    <a:pt x="350659" y="255803"/>
                  </a:lnTo>
                  <a:lnTo>
                    <a:pt x="350862" y="255803"/>
                  </a:lnTo>
                  <a:lnTo>
                    <a:pt x="351028" y="256667"/>
                  </a:lnTo>
                  <a:lnTo>
                    <a:pt x="351129" y="257009"/>
                  </a:lnTo>
                  <a:lnTo>
                    <a:pt x="350901" y="255803"/>
                  </a:lnTo>
                  <a:lnTo>
                    <a:pt x="350469" y="254533"/>
                  </a:lnTo>
                  <a:lnTo>
                    <a:pt x="352361" y="253263"/>
                  </a:lnTo>
                  <a:lnTo>
                    <a:pt x="349846" y="251104"/>
                  </a:lnTo>
                  <a:lnTo>
                    <a:pt x="352145" y="253263"/>
                  </a:lnTo>
                  <a:lnTo>
                    <a:pt x="350380" y="254533"/>
                  </a:lnTo>
                  <a:lnTo>
                    <a:pt x="349453" y="250774"/>
                  </a:lnTo>
                  <a:lnTo>
                    <a:pt x="349846" y="251104"/>
                  </a:lnTo>
                  <a:lnTo>
                    <a:pt x="349440" y="250736"/>
                  </a:lnTo>
                  <a:lnTo>
                    <a:pt x="349427" y="249453"/>
                  </a:lnTo>
                  <a:lnTo>
                    <a:pt x="352018" y="248183"/>
                  </a:lnTo>
                  <a:lnTo>
                    <a:pt x="355142" y="250723"/>
                  </a:lnTo>
                  <a:lnTo>
                    <a:pt x="352361" y="253263"/>
                  </a:lnTo>
                  <a:lnTo>
                    <a:pt x="355193" y="255803"/>
                  </a:lnTo>
                  <a:lnTo>
                    <a:pt x="352196" y="258343"/>
                  </a:lnTo>
                  <a:lnTo>
                    <a:pt x="355142" y="260883"/>
                  </a:lnTo>
                  <a:lnTo>
                    <a:pt x="353098" y="262102"/>
                  </a:lnTo>
                  <a:lnTo>
                    <a:pt x="352971" y="262191"/>
                  </a:lnTo>
                  <a:lnTo>
                    <a:pt x="352386" y="262636"/>
                  </a:lnTo>
                  <a:lnTo>
                    <a:pt x="352577" y="262788"/>
                  </a:lnTo>
                  <a:lnTo>
                    <a:pt x="352158" y="263423"/>
                  </a:lnTo>
                  <a:lnTo>
                    <a:pt x="353771" y="264528"/>
                  </a:lnTo>
                  <a:lnTo>
                    <a:pt x="353529" y="263512"/>
                  </a:lnTo>
                  <a:lnTo>
                    <a:pt x="353771" y="263690"/>
                  </a:lnTo>
                  <a:lnTo>
                    <a:pt x="353618" y="263385"/>
                  </a:lnTo>
                  <a:lnTo>
                    <a:pt x="353415" y="262877"/>
                  </a:lnTo>
                  <a:lnTo>
                    <a:pt x="353415" y="263423"/>
                  </a:lnTo>
                  <a:lnTo>
                    <a:pt x="353212" y="263423"/>
                  </a:lnTo>
                  <a:lnTo>
                    <a:pt x="353187" y="263258"/>
                  </a:lnTo>
                  <a:lnTo>
                    <a:pt x="353415" y="263423"/>
                  </a:lnTo>
                  <a:lnTo>
                    <a:pt x="353415" y="262877"/>
                  </a:lnTo>
                  <a:lnTo>
                    <a:pt x="353364" y="262750"/>
                  </a:lnTo>
                  <a:lnTo>
                    <a:pt x="353187" y="262318"/>
                  </a:lnTo>
                  <a:lnTo>
                    <a:pt x="353110" y="262153"/>
                  </a:lnTo>
                  <a:lnTo>
                    <a:pt x="355422" y="260896"/>
                  </a:lnTo>
                  <a:lnTo>
                    <a:pt x="355561" y="265620"/>
                  </a:lnTo>
                  <a:lnTo>
                    <a:pt x="355307" y="265798"/>
                  </a:lnTo>
                  <a:lnTo>
                    <a:pt x="355117" y="265645"/>
                  </a:lnTo>
                  <a:lnTo>
                    <a:pt x="355295" y="265811"/>
                  </a:lnTo>
                  <a:lnTo>
                    <a:pt x="355066" y="265963"/>
                  </a:lnTo>
                  <a:lnTo>
                    <a:pt x="354799" y="265963"/>
                  </a:lnTo>
                  <a:lnTo>
                    <a:pt x="352107" y="268503"/>
                  </a:lnTo>
                  <a:lnTo>
                    <a:pt x="355384" y="271043"/>
                  </a:lnTo>
                  <a:lnTo>
                    <a:pt x="352082" y="273583"/>
                  </a:lnTo>
                  <a:lnTo>
                    <a:pt x="355739" y="276123"/>
                  </a:lnTo>
                  <a:lnTo>
                    <a:pt x="352031" y="278663"/>
                  </a:lnTo>
                  <a:lnTo>
                    <a:pt x="355854" y="281203"/>
                  </a:lnTo>
                  <a:lnTo>
                    <a:pt x="352310" y="278663"/>
                  </a:lnTo>
                  <a:lnTo>
                    <a:pt x="355854" y="276123"/>
                  </a:lnTo>
                  <a:lnTo>
                    <a:pt x="352348" y="273583"/>
                  </a:lnTo>
                  <a:lnTo>
                    <a:pt x="355727" y="271043"/>
                  </a:lnTo>
                  <a:lnTo>
                    <a:pt x="355854" y="276123"/>
                  </a:lnTo>
                  <a:lnTo>
                    <a:pt x="355981" y="281203"/>
                  </a:lnTo>
                  <a:lnTo>
                    <a:pt x="355981" y="270967"/>
                  </a:lnTo>
                  <a:lnTo>
                    <a:pt x="355879" y="267233"/>
                  </a:lnTo>
                  <a:lnTo>
                    <a:pt x="355701" y="260997"/>
                  </a:lnTo>
                  <a:lnTo>
                    <a:pt x="355701" y="271043"/>
                  </a:lnTo>
                  <a:lnTo>
                    <a:pt x="352361" y="268503"/>
                  </a:lnTo>
                  <a:lnTo>
                    <a:pt x="354939" y="267233"/>
                  </a:lnTo>
                  <a:lnTo>
                    <a:pt x="355625" y="268503"/>
                  </a:lnTo>
                  <a:lnTo>
                    <a:pt x="355701" y="271043"/>
                  </a:lnTo>
                  <a:lnTo>
                    <a:pt x="355701" y="260997"/>
                  </a:lnTo>
                  <a:lnTo>
                    <a:pt x="355422" y="251180"/>
                  </a:lnTo>
                  <a:lnTo>
                    <a:pt x="355422" y="260883"/>
                  </a:lnTo>
                  <a:lnTo>
                    <a:pt x="352425" y="258343"/>
                  </a:lnTo>
                  <a:lnTo>
                    <a:pt x="355295" y="255803"/>
                  </a:lnTo>
                  <a:lnTo>
                    <a:pt x="355422" y="260883"/>
                  </a:lnTo>
                  <a:lnTo>
                    <a:pt x="355422" y="251180"/>
                  </a:lnTo>
                  <a:lnTo>
                    <a:pt x="355409" y="250723"/>
                  </a:lnTo>
                  <a:lnTo>
                    <a:pt x="355384" y="249453"/>
                  </a:lnTo>
                  <a:lnTo>
                    <a:pt x="355282" y="246075"/>
                  </a:lnTo>
                  <a:lnTo>
                    <a:pt x="355282" y="255803"/>
                  </a:lnTo>
                  <a:lnTo>
                    <a:pt x="352590" y="253263"/>
                  </a:lnTo>
                  <a:lnTo>
                    <a:pt x="355168" y="250723"/>
                  </a:lnTo>
                  <a:lnTo>
                    <a:pt x="355282" y="255803"/>
                  </a:lnTo>
                  <a:lnTo>
                    <a:pt x="355282" y="246075"/>
                  </a:lnTo>
                  <a:lnTo>
                    <a:pt x="355269" y="245643"/>
                  </a:lnTo>
                  <a:lnTo>
                    <a:pt x="355231" y="244373"/>
                  </a:lnTo>
                  <a:lnTo>
                    <a:pt x="355130" y="240563"/>
                  </a:lnTo>
                  <a:lnTo>
                    <a:pt x="355130" y="249453"/>
                  </a:lnTo>
                  <a:lnTo>
                    <a:pt x="352247" y="248183"/>
                  </a:lnTo>
                  <a:lnTo>
                    <a:pt x="353618" y="246913"/>
                  </a:lnTo>
                  <a:lnTo>
                    <a:pt x="355003" y="245643"/>
                  </a:lnTo>
                  <a:lnTo>
                    <a:pt x="355130" y="249453"/>
                  </a:lnTo>
                  <a:lnTo>
                    <a:pt x="355130" y="240563"/>
                  </a:lnTo>
                  <a:lnTo>
                    <a:pt x="355307" y="240563"/>
                  </a:lnTo>
                  <a:lnTo>
                    <a:pt x="362089" y="260883"/>
                  </a:lnTo>
                  <a:lnTo>
                    <a:pt x="368490" y="265963"/>
                  </a:lnTo>
                  <a:lnTo>
                    <a:pt x="365937" y="263423"/>
                  </a:lnTo>
                  <a:lnTo>
                    <a:pt x="368681" y="260883"/>
                  </a:lnTo>
                  <a:lnTo>
                    <a:pt x="368503" y="265963"/>
                  </a:lnTo>
                  <a:lnTo>
                    <a:pt x="366903" y="306603"/>
                  </a:lnTo>
                  <a:lnTo>
                    <a:pt x="367449" y="306603"/>
                  </a:lnTo>
                  <a:lnTo>
                    <a:pt x="368020" y="305333"/>
                  </a:lnTo>
                  <a:lnTo>
                    <a:pt x="370941" y="304063"/>
                  </a:lnTo>
                  <a:lnTo>
                    <a:pt x="370700" y="303885"/>
                  </a:lnTo>
                  <a:lnTo>
                    <a:pt x="370700" y="304063"/>
                  </a:lnTo>
                  <a:lnTo>
                    <a:pt x="367347" y="305333"/>
                  </a:lnTo>
                  <a:lnTo>
                    <a:pt x="367195" y="305333"/>
                  </a:lnTo>
                  <a:lnTo>
                    <a:pt x="367347" y="301536"/>
                  </a:lnTo>
                  <a:lnTo>
                    <a:pt x="370700" y="304063"/>
                  </a:lnTo>
                  <a:lnTo>
                    <a:pt x="370700" y="303885"/>
                  </a:lnTo>
                  <a:lnTo>
                    <a:pt x="367563" y="301523"/>
                  </a:lnTo>
                  <a:lnTo>
                    <a:pt x="370941" y="300253"/>
                  </a:lnTo>
                  <a:lnTo>
                    <a:pt x="374294" y="301523"/>
                  </a:lnTo>
                  <a:lnTo>
                    <a:pt x="370941" y="304063"/>
                  </a:lnTo>
                  <a:lnTo>
                    <a:pt x="374383" y="306603"/>
                  </a:lnTo>
                  <a:lnTo>
                    <a:pt x="374789" y="306603"/>
                  </a:lnTo>
                  <a:lnTo>
                    <a:pt x="374751" y="305333"/>
                  </a:lnTo>
                  <a:lnTo>
                    <a:pt x="374510" y="296989"/>
                  </a:lnTo>
                  <a:lnTo>
                    <a:pt x="374510" y="305333"/>
                  </a:lnTo>
                  <a:lnTo>
                    <a:pt x="371182" y="304063"/>
                  </a:lnTo>
                  <a:lnTo>
                    <a:pt x="373570" y="302793"/>
                  </a:lnTo>
                  <a:lnTo>
                    <a:pt x="374396" y="301548"/>
                  </a:lnTo>
                  <a:lnTo>
                    <a:pt x="374510" y="305333"/>
                  </a:lnTo>
                  <a:lnTo>
                    <a:pt x="374510" y="296989"/>
                  </a:lnTo>
                  <a:lnTo>
                    <a:pt x="374421" y="293903"/>
                  </a:lnTo>
                  <a:lnTo>
                    <a:pt x="374396" y="293065"/>
                  </a:lnTo>
                  <a:lnTo>
                    <a:pt x="374396" y="301523"/>
                  </a:lnTo>
                  <a:lnTo>
                    <a:pt x="371182" y="300253"/>
                  </a:lnTo>
                  <a:lnTo>
                    <a:pt x="372732" y="298983"/>
                  </a:lnTo>
                  <a:lnTo>
                    <a:pt x="374281" y="297726"/>
                  </a:lnTo>
                  <a:lnTo>
                    <a:pt x="374396" y="301523"/>
                  </a:lnTo>
                  <a:lnTo>
                    <a:pt x="374396" y="293065"/>
                  </a:lnTo>
                  <a:lnTo>
                    <a:pt x="374383" y="292633"/>
                  </a:lnTo>
                  <a:lnTo>
                    <a:pt x="374281" y="288823"/>
                  </a:lnTo>
                  <a:lnTo>
                    <a:pt x="374281" y="297713"/>
                  </a:lnTo>
                  <a:lnTo>
                    <a:pt x="370941" y="298983"/>
                  </a:lnTo>
                  <a:lnTo>
                    <a:pt x="370713" y="298894"/>
                  </a:lnTo>
                  <a:lnTo>
                    <a:pt x="370713" y="300253"/>
                  </a:lnTo>
                  <a:lnTo>
                    <a:pt x="367360" y="301523"/>
                  </a:lnTo>
                  <a:lnTo>
                    <a:pt x="367512" y="297726"/>
                  </a:lnTo>
                  <a:lnTo>
                    <a:pt x="370713" y="300253"/>
                  </a:lnTo>
                  <a:lnTo>
                    <a:pt x="370713" y="298894"/>
                  </a:lnTo>
                  <a:lnTo>
                    <a:pt x="367741" y="297713"/>
                  </a:lnTo>
                  <a:lnTo>
                    <a:pt x="371005" y="295173"/>
                  </a:lnTo>
                  <a:lnTo>
                    <a:pt x="370776" y="295084"/>
                  </a:lnTo>
                  <a:lnTo>
                    <a:pt x="367525" y="297713"/>
                  </a:lnTo>
                  <a:lnTo>
                    <a:pt x="367690" y="293903"/>
                  </a:lnTo>
                  <a:lnTo>
                    <a:pt x="370776" y="295173"/>
                  </a:lnTo>
                  <a:lnTo>
                    <a:pt x="368122" y="293903"/>
                  </a:lnTo>
                  <a:lnTo>
                    <a:pt x="373875" y="293903"/>
                  </a:lnTo>
                  <a:lnTo>
                    <a:pt x="371005" y="295173"/>
                  </a:lnTo>
                  <a:lnTo>
                    <a:pt x="374192" y="297713"/>
                  </a:lnTo>
                  <a:lnTo>
                    <a:pt x="371221" y="295173"/>
                  </a:lnTo>
                  <a:lnTo>
                    <a:pt x="374167" y="293903"/>
                  </a:lnTo>
                  <a:lnTo>
                    <a:pt x="374281" y="297713"/>
                  </a:lnTo>
                  <a:lnTo>
                    <a:pt x="374281" y="288823"/>
                  </a:lnTo>
                  <a:lnTo>
                    <a:pt x="374180" y="285013"/>
                  </a:lnTo>
                  <a:lnTo>
                    <a:pt x="374154" y="283743"/>
                  </a:lnTo>
                  <a:lnTo>
                    <a:pt x="374154" y="292633"/>
                  </a:lnTo>
                  <a:lnTo>
                    <a:pt x="371233" y="291363"/>
                  </a:lnTo>
                  <a:lnTo>
                    <a:pt x="374053" y="288823"/>
                  </a:lnTo>
                  <a:lnTo>
                    <a:pt x="374154" y="292633"/>
                  </a:lnTo>
                  <a:lnTo>
                    <a:pt x="374154" y="283743"/>
                  </a:lnTo>
                  <a:lnTo>
                    <a:pt x="374027" y="279273"/>
                  </a:lnTo>
                  <a:lnTo>
                    <a:pt x="374027" y="288823"/>
                  </a:lnTo>
                  <a:lnTo>
                    <a:pt x="371017" y="291363"/>
                  </a:lnTo>
                  <a:lnTo>
                    <a:pt x="373888" y="292633"/>
                  </a:lnTo>
                  <a:lnTo>
                    <a:pt x="368122" y="292633"/>
                  </a:lnTo>
                  <a:lnTo>
                    <a:pt x="371017" y="291363"/>
                  </a:lnTo>
                  <a:lnTo>
                    <a:pt x="368122" y="288823"/>
                  </a:lnTo>
                  <a:lnTo>
                    <a:pt x="371055" y="286283"/>
                  </a:lnTo>
                  <a:lnTo>
                    <a:pt x="370865" y="286105"/>
                  </a:lnTo>
                  <a:lnTo>
                    <a:pt x="370865" y="286283"/>
                  </a:lnTo>
                  <a:lnTo>
                    <a:pt x="367855" y="288823"/>
                  </a:lnTo>
                  <a:lnTo>
                    <a:pt x="370801" y="291363"/>
                  </a:lnTo>
                  <a:lnTo>
                    <a:pt x="367690" y="292633"/>
                  </a:lnTo>
                  <a:lnTo>
                    <a:pt x="368046" y="283768"/>
                  </a:lnTo>
                  <a:lnTo>
                    <a:pt x="370865" y="286283"/>
                  </a:lnTo>
                  <a:lnTo>
                    <a:pt x="370865" y="286105"/>
                  </a:lnTo>
                  <a:lnTo>
                    <a:pt x="368490" y="283743"/>
                  </a:lnTo>
                  <a:lnTo>
                    <a:pt x="371094" y="282473"/>
                  </a:lnTo>
                  <a:lnTo>
                    <a:pt x="368554" y="279933"/>
                  </a:lnTo>
                  <a:lnTo>
                    <a:pt x="371233" y="277393"/>
                  </a:lnTo>
                  <a:lnTo>
                    <a:pt x="371043" y="277215"/>
                  </a:lnTo>
                  <a:lnTo>
                    <a:pt x="371043" y="277393"/>
                  </a:lnTo>
                  <a:lnTo>
                    <a:pt x="368261" y="279933"/>
                  </a:lnTo>
                  <a:lnTo>
                    <a:pt x="370890" y="282473"/>
                  </a:lnTo>
                  <a:lnTo>
                    <a:pt x="368046" y="283743"/>
                  </a:lnTo>
                  <a:lnTo>
                    <a:pt x="368719" y="267233"/>
                  </a:lnTo>
                  <a:lnTo>
                    <a:pt x="370763" y="268503"/>
                  </a:lnTo>
                  <a:lnTo>
                    <a:pt x="368642" y="269773"/>
                  </a:lnTo>
                  <a:lnTo>
                    <a:pt x="368604" y="271043"/>
                  </a:lnTo>
                  <a:lnTo>
                    <a:pt x="370738" y="272313"/>
                  </a:lnTo>
                  <a:lnTo>
                    <a:pt x="368465" y="274853"/>
                  </a:lnTo>
                  <a:lnTo>
                    <a:pt x="368401" y="276123"/>
                  </a:lnTo>
                  <a:lnTo>
                    <a:pt x="371043" y="277393"/>
                  </a:lnTo>
                  <a:lnTo>
                    <a:pt x="371043" y="277215"/>
                  </a:lnTo>
                  <a:lnTo>
                    <a:pt x="368655" y="274853"/>
                  </a:lnTo>
                  <a:lnTo>
                    <a:pt x="370941" y="273583"/>
                  </a:lnTo>
                  <a:lnTo>
                    <a:pt x="373621" y="274840"/>
                  </a:lnTo>
                  <a:lnTo>
                    <a:pt x="373659" y="276123"/>
                  </a:lnTo>
                  <a:lnTo>
                    <a:pt x="371233" y="277393"/>
                  </a:lnTo>
                  <a:lnTo>
                    <a:pt x="373710" y="279933"/>
                  </a:lnTo>
                  <a:lnTo>
                    <a:pt x="371094" y="282473"/>
                  </a:lnTo>
                  <a:lnTo>
                    <a:pt x="373672" y="283743"/>
                  </a:lnTo>
                  <a:lnTo>
                    <a:pt x="371055" y="286283"/>
                  </a:lnTo>
                  <a:lnTo>
                    <a:pt x="373964" y="288823"/>
                  </a:lnTo>
                  <a:lnTo>
                    <a:pt x="371259" y="286283"/>
                  </a:lnTo>
                  <a:lnTo>
                    <a:pt x="373913" y="285013"/>
                  </a:lnTo>
                  <a:lnTo>
                    <a:pt x="374027" y="288823"/>
                  </a:lnTo>
                  <a:lnTo>
                    <a:pt x="374027" y="279273"/>
                  </a:lnTo>
                  <a:lnTo>
                    <a:pt x="373938" y="276123"/>
                  </a:lnTo>
                  <a:lnTo>
                    <a:pt x="373913" y="275209"/>
                  </a:lnTo>
                  <a:lnTo>
                    <a:pt x="373913" y="283743"/>
                  </a:lnTo>
                  <a:lnTo>
                    <a:pt x="371284" y="282473"/>
                  </a:lnTo>
                  <a:lnTo>
                    <a:pt x="373799" y="279933"/>
                  </a:lnTo>
                  <a:lnTo>
                    <a:pt x="373913" y="283743"/>
                  </a:lnTo>
                  <a:lnTo>
                    <a:pt x="373913" y="275209"/>
                  </a:lnTo>
                  <a:lnTo>
                    <a:pt x="373786" y="270586"/>
                  </a:lnTo>
                  <a:lnTo>
                    <a:pt x="373786" y="279933"/>
                  </a:lnTo>
                  <a:lnTo>
                    <a:pt x="371424" y="277393"/>
                  </a:lnTo>
                  <a:lnTo>
                    <a:pt x="373684" y="276123"/>
                  </a:lnTo>
                  <a:lnTo>
                    <a:pt x="373786" y="279933"/>
                  </a:lnTo>
                  <a:lnTo>
                    <a:pt x="373786" y="270586"/>
                  </a:lnTo>
                  <a:lnTo>
                    <a:pt x="373659" y="265963"/>
                  </a:lnTo>
                  <a:lnTo>
                    <a:pt x="373621" y="264947"/>
                  </a:lnTo>
                  <a:lnTo>
                    <a:pt x="373621" y="274828"/>
                  </a:lnTo>
                  <a:lnTo>
                    <a:pt x="372389" y="273583"/>
                  </a:lnTo>
                  <a:lnTo>
                    <a:pt x="371119" y="272313"/>
                  </a:lnTo>
                  <a:lnTo>
                    <a:pt x="373532" y="271056"/>
                  </a:lnTo>
                  <a:lnTo>
                    <a:pt x="373621" y="274828"/>
                  </a:lnTo>
                  <a:lnTo>
                    <a:pt x="373621" y="264947"/>
                  </a:lnTo>
                  <a:lnTo>
                    <a:pt x="373532" y="261391"/>
                  </a:lnTo>
                  <a:lnTo>
                    <a:pt x="373532" y="271043"/>
                  </a:lnTo>
                  <a:lnTo>
                    <a:pt x="371144" y="268503"/>
                  </a:lnTo>
                  <a:lnTo>
                    <a:pt x="373418" y="265963"/>
                  </a:lnTo>
                  <a:lnTo>
                    <a:pt x="373532" y="271043"/>
                  </a:lnTo>
                  <a:lnTo>
                    <a:pt x="373532" y="261391"/>
                  </a:lnTo>
                  <a:lnTo>
                    <a:pt x="373519" y="260883"/>
                  </a:lnTo>
                  <a:lnTo>
                    <a:pt x="375526" y="264337"/>
                  </a:lnTo>
                  <a:lnTo>
                    <a:pt x="376580" y="263423"/>
                  </a:lnTo>
                  <a:lnTo>
                    <a:pt x="379501" y="260883"/>
                  </a:lnTo>
                  <a:lnTo>
                    <a:pt x="380326" y="258343"/>
                  </a:lnTo>
                  <a:lnTo>
                    <a:pt x="380720" y="258343"/>
                  </a:lnTo>
                  <a:lnTo>
                    <a:pt x="380720" y="257073"/>
                  </a:lnTo>
                  <a:lnTo>
                    <a:pt x="380593" y="257073"/>
                  </a:lnTo>
                  <a:lnTo>
                    <a:pt x="380987" y="255803"/>
                  </a:lnTo>
                  <a:lnTo>
                    <a:pt x="381393" y="254533"/>
                  </a:lnTo>
                  <a:lnTo>
                    <a:pt x="383006" y="249453"/>
                  </a:lnTo>
                  <a:lnTo>
                    <a:pt x="384365" y="245643"/>
                  </a:lnTo>
                  <a:lnTo>
                    <a:pt x="385622" y="249453"/>
                  </a:lnTo>
                  <a:lnTo>
                    <a:pt x="386080" y="250799"/>
                  </a:lnTo>
                  <a:lnTo>
                    <a:pt x="390017" y="253250"/>
                  </a:lnTo>
                  <a:lnTo>
                    <a:pt x="386092" y="249453"/>
                  </a:lnTo>
                  <a:lnTo>
                    <a:pt x="385851" y="249453"/>
                  </a:lnTo>
                  <a:lnTo>
                    <a:pt x="384467" y="245643"/>
                  </a:lnTo>
                  <a:lnTo>
                    <a:pt x="384822" y="244373"/>
                  </a:lnTo>
                  <a:lnTo>
                    <a:pt x="385178" y="243103"/>
                  </a:lnTo>
                  <a:lnTo>
                    <a:pt x="385533" y="241833"/>
                  </a:lnTo>
                  <a:lnTo>
                    <a:pt x="387502" y="235483"/>
                  </a:lnTo>
                  <a:lnTo>
                    <a:pt x="389839" y="229133"/>
                  </a:lnTo>
                  <a:lnTo>
                    <a:pt x="390055" y="227863"/>
                  </a:lnTo>
                  <a:lnTo>
                    <a:pt x="390283" y="226593"/>
                  </a:lnTo>
                  <a:lnTo>
                    <a:pt x="390105" y="226593"/>
                  </a:lnTo>
                  <a:lnTo>
                    <a:pt x="389509" y="229133"/>
                  </a:lnTo>
                  <a:lnTo>
                    <a:pt x="387324" y="235483"/>
                  </a:lnTo>
                  <a:lnTo>
                    <a:pt x="387172" y="235483"/>
                  </a:lnTo>
                  <a:lnTo>
                    <a:pt x="385406" y="241833"/>
                  </a:lnTo>
                  <a:lnTo>
                    <a:pt x="385114" y="243103"/>
                  </a:lnTo>
                  <a:lnTo>
                    <a:pt x="382803" y="239293"/>
                  </a:lnTo>
                  <a:lnTo>
                    <a:pt x="384289" y="238023"/>
                  </a:lnTo>
                  <a:lnTo>
                    <a:pt x="384632" y="239331"/>
                  </a:lnTo>
                  <a:lnTo>
                    <a:pt x="384810" y="239928"/>
                  </a:lnTo>
                  <a:lnTo>
                    <a:pt x="384302" y="238023"/>
                  </a:lnTo>
                  <a:lnTo>
                    <a:pt x="387172" y="235483"/>
                  </a:lnTo>
                  <a:lnTo>
                    <a:pt x="384225" y="238023"/>
                  </a:lnTo>
                  <a:lnTo>
                    <a:pt x="383578" y="235483"/>
                  </a:lnTo>
                  <a:lnTo>
                    <a:pt x="383971" y="238023"/>
                  </a:lnTo>
                  <a:lnTo>
                    <a:pt x="384200" y="238023"/>
                  </a:lnTo>
                  <a:lnTo>
                    <a:pt x="382651" y="239293"/>
                  </a:lnTo>
                  <a:lnTo>
                    <a:pt x="379895" y="235483"/>
                  </a:lnTo>
                  <a:lnTo>
                    <a:pt x="379577" y="235483"/>
                  </a:lnTo>
                  <a:lnTo>
                    <a:pt x="385013" y="243103"/>
                  </a:lnTo>
                  <a:lnTo>
                    <a:pt x="384340" y="244373"/>
                  </a:lnTo>
                  <a:lnTo>
                    <a:pt x="383463" y="241833"/>
                  </a:lnTo>
                  <a:lnTo>
                    <a:pt x="383298" y="241833"/>
                  </a:lnTo>
                  <a:lnTo>
                    <a:pt x="384238" y="245643"/>
                  </a:lnTo>
                  <a:lnTo>
                    <a:pt x="382828" y="249453"/>
                  </a:lnTo>
                  <a:lnTo>
                    <a:pt x="381381" y="254533"/>
                  </a:lnTo>
                  <a:lnTo>
                    <a:pt x="381101" y="254533"/>
                  </a:lnTo>
                  <a:lnTo>
                    <a:pt x="381241" y="254114"/>
                  </a:lnTo>
                  <a:lnTo>
                    <a:pt x="380720" y="254533"/>
                  </a:lnTo>
                  <a:lnTo>
                    <a:pt x="380504" y="251993"/>
                  </a:lnTo>
                  <a:lnTo>
                    <a:pt x="380504" y="250723"/>
                  </a:lnTo>
                  <a:lnTo>
                    <a:pt x="380377" y="250723"/>
                  </a:lnTo>
                  <a:lnTo>
                    <a:pt x="380377" y="249453"/>
                  </a:lnTo>
                  <a:lnTo>
                    <a:pt x="380326" y="250723"/>
                  </a:lnTo>
                  <a:lnTo>
                    <a:pt x="380263" y="258343"/>
                  </a:lnTo>
                  <a:lnTo>
                    <a:pt x="379387" y="260883"/>
                  </a:lnTo>
                  <a:lnTo>
                    <a:pt x="379196" y="260629"/>
                  </a:lnTo>
                  <a:lnTo>
                    <a:pt x="379196" y="260883"/>
                  </a:lnTo>
                  <a:lnTo>
                    <a:pt x="375920" y="263423"/>
                  </a:lnTo>
                  <a:lnTo>
                    <a:pt x="373634" y="260883"/>
                  </a:lnTo>
                  <a:lnTo>
                    <a:pt x="377355" y="258343"/>
                  </a:lnTo>
                  <a:lnTo>
                    <a:pt x="379196" y="260883"/>
                  </a:lnTo>
                  <a:lnTo>
                    <a:pt x="379196" y="260629"/>
                  </a:lnTo>
                  <a:lnTo>
                    <a:pt x="377545" y="258343"/>
                  </a:lnTo>
                  <a:lnTo>
                    <a:pt x="380199" y="255803"/>
                  </a:lnTo>
                  <a:lnTo>
                    <a:pt x="380111" y="257073"/>
                  </a:lnTo>
                  <a:lnTo>
                    <a:pt x="379984" y="257073"/>
                  </a:lnTo>
                  <a:lnTo>
                    <a:pt x="379984" y="258343"/>
                  </a:lnTo>
                  <a:lnTo>
                    <a:pt x="380263" y="258343"/>
                  </a:lnTo>
                  <a:lnTo>
                    <a:pt x="380263" y="250723"/>
                  </a:lnTo>
                  <a:lnTo>
                    <a:pt x="380111" y="251993"/>
                  </a:lnTo>
                  <a:lnTo>
                    <a:pt x="380111" y="254533"/>
                  </a:lnTo>
                  <a:lnTo>
                    <a:pt x="380136" y="255803"/>
                  </a:lnTo>
                  <a:lnTo>
                    <a:pt x="377228" y="257073"/>
                  </a:lnTo>
                  <a:lnTo>
                    <a:pt x="373316" y="260883"/>
                  </a:lnTo>
                  <a:lnTo>
                    <a:pt x="373405" y="265963"/>
                  </a:lnTo>
                  <a:lnTo>
                    <a:pt x="371208" y="263423"/>
                  </a:lnTo>
                  <a:lnTo>
                    <a:pt x="373278" y="260883"/>
                  </a:lnTo>
                  <a:lnTo>
                    <a:pt x="372999" y="260883"/>
                  </a:lnTo>
                  <a:lnTo>
                    <a:pt x="371055" y="263423"/>
                  </a:lnTo>
                  <a:lnTo>
                    <a:pt x="373278" y="265963"/>
                  </a:lnTo>
                  <a:lnTo>
                    <a:pt x="373037" y="265963"/>
                  </a:lnTo>
                  <a:lnTo>
                    <a:pt x="370954" y="268503"/>
                  </a:lnTo>
                  <a:lnTo>
                    <a:pt x="373456" y="271043"/>
                  </a:lnTo>
                  <a:lnTo>
                    <a:pt x="370941" y="272313"/>
                  </a:lnTo>
                  <a:lnTo>
                    <a:pt x="368833" y="271043"/>
                  </a:lnTo>
                  <a:lnTo>
                    <a:pt x="368871" y="269773"/>
                  </a:lnTo>
                  <a:lnTo>
                    <a:pt x="370941" y="268503"/>
                  </a:lnTo>
                  <a:lnTo>
                    <a:pt x="369951" y="267233"/>
                  </a:lnTo>
                  <a:lnTo>
                    <a:pt x="368947" y="265963"/>
                  </a:lnTo>
                  <a:lnTo>
                    <a:pt x="371055" y="263423"/>
                  </a:lnTo>
                  <a:lnTo>
                    <a:pt x="369074" y="260883"/>
                  </a:lnTo>
                  <a:lnTo>
                    <a:pt x="368922" y="260883"/>
                  </a:lnTo>
                  <a:lnTo>
                    <a:pt x="370890" y="263423"/>
                  </a:lnTo>
                  <a:lnTo>
                    <a:pt x="368744" y="265963"/>
                  </a:lnTo>
                  <a:lnTo>
                    <a:pt x="368922" y="260883"/>
                  </a:lnTo>
                  <a:lnTo>
                    <a:pt x="368515" y="260654"/>
                  </a:lnTo>
                  <a:lnTo>
                    <a:pt x="368515" y="260883"/>
                  </a:lnTo>
                  <a:lnTo>
                    <a:pt x="365772" y="263410"/>
                  </a:lnTo>
                  <a:lnTo>
                    <a:pt x="362521" y="260883"/>
                  </a:lnTo>
                  <a:lnTo>
                    <a:pt x="364502" y="258343"/>
                  </a:lnTo>
                  <a:lnTo>
                    <a:pt x="368439" y="260883"/>
                  </a:lnTo>
                  <a:lnTo>
                    <a:pt x="368515" y="260654"/>
                  </a:lnTo>
                  <a:lnTo>
                    <a:pt x="365366" y="258343"/>
                  </a:lnTo>
                  <a:lnTo>
                    <a:pt x="364109" y="257441"/>
                  </a:lnTo>
                  <a:lnTo>
                    <a:pt x="362229" y="260883"/>
                  </a:lnTo>
                  <a:lnTo>
                    <a:pt x="360324" y="254673"/>
                  </a:lnTo>
                  <a:lnTo>
                    <a:pt x="360146" y="254533"/>
                  </a:lnTo>
                  <a:lnTo>
                    <a:pt x="356489" y="243103"/>
                  </a:lnTo>
                  <a:lnTo>
                    <a:pt x="358089" y="240563"/>
                  </a:lnTo>
                  <a:lnTo>
                    <a:pt x="358825" y="243103"/>
                  </a:lnTo>
                  <a:lnTo>
                    <a:pt x="359625" y="244373"/>
                  </a:lnTo>
                  <a:lnTo>
                    <a:pt x="358851" y="243103"/>
                  </a:lnTo>
                  <a:lnTo>
                    <a:pt x="358114" y="240563"/>
                  </a:lnTo>
                  <a:lnTo>
                    <a:pt x="359143" y="239293"/>
                  </a:lnTo>
                  <a:lnTo>
                    <a:pt x="362254" y="235483"/>
                  </a:lnTo>
                  <a:lnTo>
                    <a:pt x="361937" y="235483"/>
                  </a:lnTo>
                  <a:lnTo>
                    <a:pt x="359016" y="239293"/>
                  </a:lnTo>
                  <a:lnTo>
                    <a:pt x="358863" y="239179"/>
                  </a:lnTo>
                  <a:lnTo>
                    <a:pt x="358013" y="240563"/>
                  </a:lnTo>
                  <a:lnTo>
                    <a:pt x="356412" y="243103"/>
                  </a:lnTo>
                  <a:lnTo>
                    <a:pt x="355511" y="239293"/>
                  </a:lnTo>
                  <a:lnTo>
                    <a:pt x="357124" y="238023"/>
                  </a:lnTo>
                  <a:lnTo>
                    <a:pt x="357911" y="240563"/>
                  </a:lnTo>
                  <a:lnTo>
                    <a:pt x="357162" y="238023"/>
                  </a:lnTo>
                  <a:lnTo>
                    <a:pt x="358863" y="239293"/>
                  </a:lnTo>
                  <a:lnTo>
                    <a:pt x="357339" y="238023"/>
                  </a:lnTo>
                  <a:lnTo>
                    <a:pt x="357593" y="237769"/>
                  </a:lnTo>
                  <a:lnTo>
                    <a:pt x="357314" y="237172"/>
                  </a:lnTo>
                  <a:lnTo>
                    <a:pt x="357517" y="236982"/>
                  </a:lnTo>
                  <a:lnTo>
                    <a:pt x="356946" y="236270"/>
                  </a:lnTo>
                  <a:lnTo>
                    <a:pt x="356946" y="238023"/>
                  </a:lnTo>
                  <a:lnTo>
                    <a:pt x="355409" y="239293"/>
                  </a:lnTo>
                  <a:lnTo>
                    <a:pt x="355079" y="238023"/>
                  </a:lnTo>
                  <a:lnTo>
                    <a:pt x="354990" y="235064"/>
                  </a:lnTo>
                  <a:lnTo>
                    <a:pt x="354990" y="244373"/>
                  </a:lnTo>
                  <a:lnTo>
                    <a:pt x="354914" y="245643"/>
                  </a:lnTo>
                  <a:lnTo>
                    <a:pt x="352018" y="246913"/>
                  </a:lnTo>
                  <a:lnTo>
                    <a:pt x="349618" y="245643"/>
                  </a:lnTo>
                  <a:lnTo>
                    <a:pt x="349656" y="244373"/>
                  </a:lnTo>
                  <a:lnTo>
                    <a:pt x="352031" y="243103"/>
                  </a:lnTo>
                  <a:lnTo>
                    <a:pt x="354914" y="245643"/>
                  </a:lnTo>
                  <a:lnTo>
                    <a:pt x="354914" y="244348"/>
                  </a:lnTo>
                  <a:lnTo>
                    <a:pt x="352259" y="243103"/>
                  </a:lnTo>
                  <a:lnTo>
                    <a:pt x="353555" y="241833"/>
                  </a:lnTo>
                  <a:lnTo>
                    <a:pt x="354863" y="240563"/>
                  </a:lnTo>
                  <a:lnTo>
                    <a:pt x="354990" y="244373"/>
                  </a:lnTo>
                  <a:lnTo>
                    <a:pt x="354990" y="235064"/>
                  </a:lnTo>
                  <a:lnTo>
                    <a:pt x="354965" y="234213"/>
                  </a:lnTo>
                  <a:lnTo>
                    <a:pt x="355981" y="235483"/>
                  </a:lnTo>
                  <a:lnTo>
                    <a:pt x="356171" y="235483"/>
                  </a:lnTo>
                  <a:lnTo>
                    <a:pt x="356400" y="236804"/>
                  </a:lnTo>
                  <a:lnTo>
                    <a:pt x="356946" y="238023"/>
                  </a:lnTo>
                  <a:lnTo>
                    <a:pt x="356946" y="236270"/>
                  </a:lnTo>
                  <a:lnTo>
                    <a:pt x="356806" y="236093"/>
                  </a:lnTo>
                  <a:lnTo>
                    <a:pt x="356527" y="235483"/>
                  </a:lnTo>
                  <a:lnTo>
                    <a:pt x="356196" y="235483"/>
                  </a:lnTo>
                  <a:lnTo>
                    <a:pt x="355803" y="234378"/>
                  </a:lnTo>
                  <a:lnTo>
                    <a:pt x="356133" y="234784"/>
                  </a:lnTo>
                  <a:lnTo>
                    <a:pt x="355993" y="234353"/>
                  </a:lnTo>
                  <a:lnTo>
                    <a:pt x="355854" y="233908"/>
                  </a:lnTo>
                  <a:lnTo>
                    <a:pt x="355714" y="233476"/>
                  </a:lnTo>
                  <a:lnTo>
                    <a:pt x="355587" y="233184"/>
                  </a:lnTo>
                  <a:lnTo>
                    <a:pt x="355587" y="233019"/>
                  </a:lnTo>
                  <a:lnTo>
                    <a:pt x="359333" y="230416"/>
                  </a:lnTo>
                  <a:lnTo>
                    <a:pt x="361467" y="234213"/>
                  </a:lnTo>
                  <a:lnTo>
                    <a:pt x="359664" y="235483"/>
                  </a:lnTo>
                  <a:lnTo>
                    <a:pt x="359397" y="235483"/>
                  </a:lnTo>
                  <a:lnTo>
                    <a:pt x="358533" y="236804"/>
                  </a:lnTo>
                  <a:lnTo>
                    <a:pt x="359803" y="235483"/>
                  </a:lnTo>
                  <a:lnTo>
                    <a:pt x="360083" y="235483"/>
                  </a:lnTo>
                  <a:lnTo>
                    <a:pt x="361835" y="234213"/>
                  </a:lnTo>
                  <a:lnTo>
                    <a:pt x="364261" y="226390"/>
                  </a:lnTo>
                  <a:lnTo>
                    <a:pt x="365353" y="226060"/>
                  </a:lnTo>
                  <a:lnTo>
                    <a:pt x="373926" y="223520"/>
                  </a:lnTo>
                  <a:lnTo>
                    <a:pt x="379996" y="219710"/>
                  </a:lnTo>
                  <a:lnTo>
                    <a:pt x="380631" y="219341"/>
                  </a:lnTo>
                  <a:lnTo>
                    <a:pt x="380860" y="221284"/>
                  </a:lnTo>
                  <a:lnTo>
                    <a:pt x="381063" y="222821"/>
                  </a:lnTo>
                  <a:lnTo>
                    <a:pt x="380657" y="219329"/>
                  </a:lnTo>
                  <a:lnTo>
                    <a:pt x="390931" y="213360"/>
                  </a:lnTo>
                  <a:lnTo>
                    <a:pt x="395884" y="208254"/>
                  </a:lnTo>
                  <a:lnTo>
                    <a:pt x="405193" y="198120"/>
                  </a:lnTo>
                  <a:lnTo>
                    <a:pt x="409524" y="193040"/>
                  </a:lnTo>
                  <a:lnTo>
                    <a:pt x="413499" y="186690"/>
                  </a:lnTo>
                  <a:lnTo>
                    <a:pt x="414591" y="187960"/>
                  </a:lnTo>
                  <a:lnTo>
                    <a:pt x="437769" y="215900"/>
                  </a:lnTo>
                  <a:lnTo>
                    <a:pt x="438785" y="215900"/>
                  </a:lnTo>
                  <a:lnTo>
                    <a:pt x="439902" y="217258"/>
                  </a:lnTo>
                  <a:lnTo>
                    <a:pt x="440918" y="218440"/>
                  </a:lnTo>
                  <a:lnTo>
                    <a:pt x="439280" y="260896"/>
                  </a:lnTo>
                  <a:lnTo>
                    <a:pt x="439280" y="261023"/>
                  </a:lnTo>
                  <a:lnTo>
                    <a:pt x="439242" y="261950"/>
                  </a:lnTo>
                  <a:lnTo>
                    <a:pt x="439229" y="262204"/>
                  </a:lnTo>
                  <a:lnTo>
                    <a:pt x="438708" y="275805"/>
                  </a:lnTo>
                  <a:lnTo>
                    <a:pt x="438696" y="276110"/>
                  </a:lnTo>
                  <a:lnTo>
                    <a:pt x="438607" y="278523"/>
                  </a:lnTo>
                  <a:lnTo>
                    <a:pt x="438213" y="279819"/>
                  </a:lnTo>
                  <a:lnTo>
                    <a:pt x="438073" y="279603"/>
                  </a:lnTo>
                  <a:lnTo>
                    <a:pt x="438073" y="279946"/>
                  </a:lnTo>
                  <a:lnTo>
                    <a:pt x="437997" y="280073"/>
                  </a:lnTo>
                  <a:lnTo>
                    <a:pt x="435648" y="282359"/>
                  </a:lnTo>
                  <a:lnTo>
                    <a:pt x="435521" y="282194"/>
                  </a:lnTo>
                  <a:lnTo>
                    <a:pt x="435521" y="282486"/>
                  </a:lnTo>
                  <a:lnTo>
                    <a:pt x="433984" y="283883"/>
                  </a:lnTo>
                  <a:lnTo>
                    <a:pt x="433895" y="281127"/>
                  </a:lnTo>
                  <a:lnTo>
                    <a:pt x="433895" y="287185"/>
                  </a:lnTo>
                  <a:lnTo>
                    <a:pt x="433844" y="287439"/>
                  </a:lnTo>
                  <a:lnTo>
                    <a:pt x="431977" y="288963"/>
                  </a:lnTo>
                  <a:lnTo>
                    <a:pt x="430441" y="287693"/>
                  </a:lnTo>
                  <a:lnTo>
                    <a:pt x="430453" y="287058"/>
                  </a:lnTo>
                  <a:lnTo>
                    <a:pt x="431990" y="285788"/>
                  </a:lnTo>
                  <a:lnTo>
                    <a:pt x="433844" y="287439"/>
                  </a:lnTo>
                  <a:lnTo>
                    <a:pt x="433844" y="287147"/>
                  </a:lnTo>
                  <a:lnTo>
                    <a:pt x="432282" y="285788"/>
                  </a:lnTo>
                  <a:lnTo>
                    <a:pt x="432130" y="285661"/>
                  </a:lnTo>
                  <a:lnTo>
                    <a:pt x="432282" y="285534"/>
                  </a:lnTo>
                  <a:lnTo>
                    <a:pt x="433806" y="284264"/>
                  </a:lnTo>
                  <a:lnTo>
                    <a:pt x="433895" y="287185"/>
                  </a:lnTo>
                  <a:lnTo>
                    <a:pt x="433895" y="281127"/>
                  </a:lnTo>
                  <a:lnTo>
                    <a:pt x="433870" y="280327"/>
                  </a:lnTo>
                  <a:lnTo>
                    <a:pt x="435521" y="282486"/>
                  </a:lnTo>
                  <a:lnTo>
                    <a:pt x="435521" y="282194"/>
                  </a:lnTo>
                  <a:lnTo>
                    <a:pt x="434162" y="280327"/>
                  </a:lnTo>
                  <a:lnTo>
                    <a:pt x="434073" y="280200"/>
                  </a:lnTo>
                  <a:lnTo>
                    <a:pt x="433971" y="280073"/>
                  </a:lnTo>
                  <a:lnTo>
                    <a:pt x="437997" y="280073"/>
                  </a:lnTo>
                  <a:lnTo>
                    <a:pt x="437997" y="279946"/>
                  </a:lnTo>
                  <a:lnTo>
                    <a:pt x="434035" y="279946"/>
                  </a:lnTo>
                  <a:lnTo>
                    <a:pt x="436714" y="277787"/>
                  </a:lnTo>
                  <a:lnTo>
                    <a:pt x="438073" y="279946"/>
                  </a:lnTo>
                  <a:lnTo>
                    <a:pt x="438073" y="279603"/>
                  </a:lnTo>
                  <a:lnTo>
                    <a:pt x="436930" y="277787"/>
                  </a:lnTo>
                  <a:lnTo>
                    <a:pt x="436841" y="277660"/>
                  </a:lnTo>
                  <a:lnTo>
                    <a:pt x="438696" y="276110"/>
                  </a:lnTo>
                  <a:lnTo>
                    <a:pt x="438696" y="275818"/>
                  </a:lnTo>
                  <a:lnTo>
                    <a:pt x="433806" y="279895"/>
                  </a:lnTo>
                  <a:lnTo>
                    <a:pt x="433806" y="284010"/>
                  </a:lnTo>
                  <a:lnTo>
                    <a:pt x="433692" y="283870"/>
                  </a:lnTo>
                  <a:lnTo>
                    <a:pt x="433692" y="284137"/>
                  </a:lnTo>
                  <a:lnTo>
                    <a:pt x="433527" y="284137"/>
                  </a:lnTo>
                  <a:lnTo>
                    <a:pt x="433527" y="284264"/>
                  </a:lnTo>
                  <a:lnTo>
                    <a:pt x="431990" y="285534"/>
                  </a:lnTo>
                  <a:lnTo>
                    <a:pt x="430657" y="284391"/>
                  </a:lnTo>
                  <a:lnTo>
                    <a:pt x="430504" y="284264"/>
                  </a:lnTo>
                  <a:lnTo>
                    <a:pt x="433527" y="284264"/>
                  </a:lnTo>
                  <a:lnTo>
                    <a:pt x="433527" y="284137"/>
                  </a:lnTo>
                  <a:lnTo>
                    <a:pt x="430453" y="284137"/>
                  </a:lnTo>
                  <a:lnTo>
                    <a:pt x="430555" y="284010"/>
                  </a:lnTo>
                  <a:lnTo>
                    <a:pt x="430657" y="283883"/>
                  </a:lnTo>
                  <a:lnTo>
                    <a:pt x="432066" y="282105"/>
                  </a:lnTo>
                  <a:lnTo>
                    <a:pt x="433692" y="284137"/>
                  </a:lnTo>
                  <a:lnTo>
                    <a:pt x="433692" y="283870"/>
                  </a:lnTo>
                  <a:lnTo>
                    <a:pt x="432282" y="282105"/>
                  </a:lnTo>
                  <a:lnTo>
                    <a:pt x="432295" y="281851"/>
                  </a:lnTo>
                  <a:lnTo>
                    <a:pt x="433692" y="280200"/>
                  </a:lnTo>
                  <a:lnTo>
                    <a:pt x="433806" y="284010"/>
                  </a:lnTo>
                  <a:lnTo>
                    <a:pt x="433806" y="279895"/>
                  </a:lnTo>
                  <a:lnTo>
                    <a:pt x="433489" y="279946"/>
                  </a:lnTo>
                  <a:lnTo>
                    <a:pt x="433489" y="280073"/>
                  </a:lnTo>
                  <a:lnTo>
                    <a:pt x="432066" y="281851"/>
                  </a:lnTo>
                  <a:lnTo>
                    <a:pt x="431838" y="281571"/>
                  </a:lnTo>
                  <a:lnTo>
                    <a:pt x="431838" y="281851"/>
                  </a:lnTo>
                  <a:lnTo>
                    <a:pt x="431838" y="282105"/>
                  </a:lnTo>
                  <a:lnTo>
                    <a:pt x="430364" y="283883"/>
                  </a:lnTo>
                  <a:lnTo>
                    <a:pt x="430491" y="280200"/>
                  </a:lnTo>
                  <a:lnTo>
                    <a:pt x="431838" y="281851"/>
                  </a:lnTo>
                  <a:lnTo>
                    <a:pt x="431838" y="281571"/>
                  </a:lnTo>
                  <a:lnTo>
                    <a:pt x="430720" y="280200"/>
                  </a:lnTo>
                  <a:lnTo>
                    <a:pt x="430606" y="280073"/>
                  </a:lnTo>
                  <a:lnTo>
                    <a:pt x="433489" y="280073"/>
                  </a:lnTo>
                  <a:lnTo>
                    <a:pt x="433489" y="279946"/>
                  </a:lnTo>
                  <a:lnTo>
                    <a:pt x="430441" y="279946"/>
                  </a:lnTo>
                  <a:lnTo>
                    <a:pt x="430314" y="279857"/>
                  </a:lnTo>
                  <a:lnTo>
                    <a:pt x="430314" y="280200"/>
                  </a:lnTo>
                  <a:lnTo>
                    <a:pt x="430187" y="284010"/>
                  </a:lnTo>
                  <a:lnTo>
                    <a:pt x="428294" y="282359"/>
                  </a:lnTo>
                  <a:lnTo>
                    <a:pt x="428421" y="282232"/>
                  </a:lnTo>
                  <a:lnTo>
                    <a:pt x="430314" y="280200"/>
                  </a:lnTo>
                  <a:lnTo>
                    <a:pt x="430314" y="279857"/>
                  </a:lnTo>
                  <a:lnTo>
                    <a:pt x="430199" y="280073"/>
                  </a:lnTo>
                  <a:lnTo>
                    <a:pt x="428282" y="282105"/>
                  </a:lnTo>
                  <a:lnTo>
                    <a:pt x="428193" y="282232"/>
                  </a:lnTo>
                  <a:lnTo>
                    <a:pt x="428053" y="282105"/>
                  </a:lnTo>
                  <a:lnTo>
                    <a:pt x="425780" y="280073"/>
                  </a:lnTo>
                  <a:lnTo>
                    <a:pt x="430199" y="280073"/>
                  </a:lnTo>
                  <a:lnTo>
                    <a:pt x="430199" y="279768"/>
                  </a:lnTo>
                  <a:lnTo>
                    <a:pt x="430149" y="279946"/>
                  </a:lnTo>
                  <a:lnTo>
                    <a:pt x="425704" y="279946"/>
                  </a:lnTo>
                  <a:lnTo>
                    <a:pt x="425792" y="279819"/>
                  </a:lnTo>
                  <a:lnTo>
                    <a:pt x="427240" y="277660"/>
                  </a:lnTo>
                  <a:lnTo>
                    <a:pt x="430149" y="279946"/>
                  </a:lnTo>
                  <a:lnTo>
                    <a:pt x="430149" y="279730"/>
                  </a:lnTo>
                  <a:lnTo>
                    <a:pt x="427482" y="277660"/>
                  </a:lnTo>
                  <a:lnTo>
                    <a:pt x="427088" y="277368"/>
                  </a:lnTo>
                  <a:lnTo>
                    <a:pt x="427088" y="277533"/>
                  </a:lnTo>
                  <a:lnTo>
                    <a:pt x="425564" y="279819"/>
                  </a:lnTo>
                  <a:lnTo>
                    <a:pt x="424116" y="275247"/>
                  </a:lnTo>
                  <a:lnTo>
                    <a:pt x="427088" y="277533"/>
                  </a:lnTo>
                  <a:lnTo>
                    <a:pt x="427088" y="277368"/>
                  </a:lnTo>
                  <a:lnTo>
                    <a:pt x="424357" y="275247"/>
                  </a:lnTo>
                  <a:lnTo>
                    <a:pt x="424027" y="274993"/>
                  </a:lnTo>
                  <a:lnTo>
                    <a:pt x="421424" y="266611"/>
                  </a:lnTo>
                  <a:lnTo>
                    <a:pt x="421449" y="266230"/>
                  </a:lnTo>
                  <a:lnTo>
                    <a:pt x="423405" y="263817"/>
                  </a:lnTo>
                  <a:lnTo>
                    <a:pt x="425577" y="261150"/>
                  </a:lnTo>
                  <a:lnTo>
                    <a:pt x="432206" y="261150"/>
                  </a:lnTo>
                  <a:lnTo>
                    <a:pt x="432206" y="261404"/>
                  </a:lnTo>
                  <a:lnTo>
                    <a:pt x="432041" y="261912"/>
                  </a:lnTo>
                  <a:lnTo>
                    <a:pt x="431939" y="262039"/>
                  </a:lnTo>
                  <a:lnTo>
                    <a:pt x="432104" y="262039"/>
                  </a:lnTo>
                  <a:lnTo>
                    <a:pt x="432041" y="262420"/>
                  </a:lnTo>
                  <a:lnTo>
                    <a:pt x="431939" y="262674"/>
                  </a:lnTo>
                  <a:lnTo>
                    <a:pt x="432104" y="262674"/>
                  </a:lnTo>
                  <a:lnTo>
                    <a:pt x="432041" y="263055"/>
                  </a:lnTo>
                  <a:lnTo>
                    <a:pt x="431927" y="263182"/>
                  </a:lnTo>
                  <a:lnTo>
                    <a:pt x="432206" y="263182"/>
                  </a:lnTo>
                  <a:lnTo>
                    <a:pt x="432104" y="263309"/>
                  </a:lnTo>
                  <a:lnTo>
                    <a:pt x="432041" y="263690"/>
                  </a:lnTo>
                  <a:lnTo>
                    <a:pt x="431939" y="263817"/>
                  </a:lnTo>
                  <a:lnTo>
                    <a:pt x="432206" y="263817"/>
                  </a:lnTo>
                  <a:lnTo>
                    <a:pt x="432104" y="263944"/>
                  </a:lnTo>
                  <a:lnTo>
                    <a:pt x="432041" y="264325"/>
                  </a:lnTo>
                  <a:lnTo>
                    <a:pt x="431939" y="264452"/>
                  </a:lnTo>
                  <a:lnTo>
                    <a:pt x="432104" y="264452"/>
                  </a:lnTo>
                  <a:lnTo>
                    <a:pt x="432041" y="264960"/>
                  </a:lnTo>
                  <a:lnTo>
                    <a:pt x="431939" y="265087"/>
                  </a:lnTo>
                  <a:lnTo>
                    <a:pt x="432104" y="265087"/>
                  </a:lnTo>
                  <a:lnTo>
                    <a:pt x="432041" y="265595"/>
                  </a:lnTo>
                  <a:lnTo>
                    <a:pt x="431939" y="265722"/>
                  </a:lnTo>
                  <a:lnTo>
                    <a:pt x="432104" y="265722"/>
                  </a:lnTo>
                  <a:lnTo>
                    <a:pt x="432041" y="266230"/>
                  </a:lnTo>
                  <a:lnTo>
                    <a:pt x="431939" y="266357"/>
                  </a:lnTo>
                  <a:lnTo>
                    <a:pt x="432104" y="266357"/>
                  </a:lnTo>
                  <a:lnTo>
                    <a:pt x="432041" y="266865"/>
                  </a:lnTo>
                  <a:lnTo>
                    <a:pt x="431939" y="266992"/>
                  </a:lnTo>
                  <a:lnTo>
                    <a:pt x="432104" y="266992"/>
                  </a:lnTo>
                  <a:lnTo>
                    <a:pt x="432041" y="267373"/>
                  </a:lnTo>
                  <a:lnTo>
                    <a:pt x="431927" y="267500"/>
                  </a:lnTo>
                  <a:lnTo>
                    <a:pt x="432206" y="267500"/>
                  </a:lnTo>
                  <a:lnTo>
                    <a:pt x="432206" y="268008"/>
                  </a:lnTo>
                  <a:lnTo>
                    <a:pt x="432257" y="267500"/>
                  </a:lnTo>
                  <a:lnTo>
                    <a:pt x="432549" y="267500"/>
                  </a:lnTo>
                  <a:lnTo>
                    <a:pt x="432523" y="267373"/>
                  </a:lnTo>
                  <a:lnTo>
                    <a:pt x="432358" y="266992"/>
                  </a:lnTo>
                  <a:lnTo>
                    <a:pt x="432523" y="266992"/>
                  </a:lnTo>
                  <a:lnTo>
                    <a:pt x="432549" y="266865"/>
                  </a:lnTo>
                  <a:lnTo>
                    <a:pt x="432358" y="266357"/>
                  </a:lnTo>
                  <a:lnTo>
                    <a:pt x="432523" y="266357"/>
                  </a:lnTo>
                  <a:lnTo>
                    <a:pt x="432549" y="266230"/>
                  </a:lnTo>
                  <a:lnTo>
                    <a:pt x="432358" y="265722"/>
                  </a:lnTo>
                  <a:lnTo>
                    <a:pt x="432549" y="265722"/>
                  </a:lnTo>
                  <a:lnTo>
                    <a:pt x="432549" y="265595"/>
                  </a:lnTo>
                  <a:lnTo>
                    <a:pt x="432358" y="265087"/>
                  </a:lnTo>
                  <a:lnTo>
                    <a:pt x="432549" y="265087"/>
                  </a:lnTo>
                  <a:lnTo>
                    <a:pt x="432549" y="264960"/>
                  </a:lnTo>
                  <a:lnTo>
                    <a:pt x="432358" y="264452"/>
                  </a:lnTo>
                  <a:lnTo>
                    <a:pt x="432549" y="264452"/>
                  </a:lnTo>
                  <a:lnTo>
                    <a:pt x="432549" y="264325"/>
                  </a:lnTo>
                  <a:lnTo>
                    <a:pt x="432346" y="263944"/>
                  </a:lnTo>
                  <a:lnTo>
                    <a:pt x="432257" y="263817"/>
                  </a:lnTo>
                  <a:lnTo>
                    <a:pt x="432549" y="263817"/>
                  </a:lnTo>
                  <a:lnTo>
                    <a:pt x="432549" y="263690"/>
                  </a:lnTo>
                  <a:lnTo>
                    <a:pt x="432346" y="263309"/>
                  </a:lnTo>
                  <a:lnTo>
                    <a:pt x="432257" y="263182"/>
                  </a:lnTo>
                  <a:lnTo>
                    <a:pt x="432549" y="263182"/>
                  </a:lnTo>
                  <a:lnTo>
                    <a:pt x="432523" y="263055"/>
                  </a:lnTo>
                  <a:lnTo>
                    <a:pt x="432358" y="262674"/>
                  </a:lnTo>
                  <a:lnTo>
                    <a:pt x="432523" y="262674"/>
                  </a:lnTo>
                  <a:lnTo>
                    <a:pt x="432523" y="262420"/>
                  </a:lnTo>
                  <a:lnTo>
                    <a:pt x="432358" y="262039"/>
                  </a:lnTo>
                  <a:lnTo>
                    <a:pt x="432523" y="262039"/>
                  </a:lnTo>
                  <a:lnTo>
                    <a:pt x="432549" y="261912"/>
                  </a:lnTo>
                  <a:lnTo>
                    <a:pt x="432358" y="261404"/>
                  </a:lnTo>
                  <a:lnTo>
                    <a:pt x="432257" y="261150"/>
                  </a:lnTo>
                  <a:lnTo>
                    <a:pt x="438353" y="261023"/>
                  </a:lnTo>
                  <a:lnTo>
                    <a:pt x="439229" y="262204"/>
                  </a:lnTo>
                  <a:lnTo>
                    <a:pt x="439229" y="261937"/>
                  </a:lnTo>
                  <a:lnTo>
                    <a:pt x="438581" y="261023"/>
                  </a:lnTo>
                  <a:lnTo>
                    <a:pt x="439280" y="261023"/>
                  </a:lnTo>
                  <a:lnTo>
                    <a:pt x="439280" y="260896"/>
                  </a:lnTo>
                  <a:lnTo>
                    <a:pt x="425348" y="260896"/>
                  </a:lnTo>
                  <a:lnTo>
                    <a:pt x="425348" y="261150"/>
                  </a:lnTo>
                  <a:lnTo>
                    <a:pt x="423189" y="263817"/>
                  </a:lnTo>
                  <a:lnTo>
                    <a:pt x="422973" y="263652"/>
                  </a:lnTo>
                  <a:lnTo>
                    <a:pt x="422973" y="264071"/>
                  </a:lnTo>
                  <a:lnTo>
                    <a:pt x="421259" y="266230"/>
                  </a:lnTo>
                  <a:lnTo>
                    <a:pt x="419709" y="261277"/>
                  </a:lnTo>
                  <a:lnTo>
                    <a:pt x="422922" y="263817"/>
                  </a:lnTo>
                  <a:lnTo>
                    <a:pt x="422973" y="264071"/>
                  </a:lnTo>
                  <a:lnTo>
                    <a:pt x="422973" y="263652"/>
                  </a:lnTo>
                  <a:lnTo>
                    <a:pt x="419976" y="261277"/>
                  </a:lnTo>
                  <a:lnTo>
                    <a:pt x="419811" y="261150"/>
                  </a:lnTo>
                  <a:lnTo>
                    <a:pt x="425348" y="261150"/>
                  </a:lnTo>
                  <a:lnTo>
                    <a:pt x="425348" y="260896"/>
                  </a:lnTo>
                  <a:lnTo>
                    <a:pt x="419608" y="260896"/>
                  </a:lnTo>
                  <a:lnTo>
                    <a:pt x="417690" y="254800"/>
                  </a:lnTo>
                  <a:lnTo>
                    <a:pt x="417639" y="254673"/>
                  </a:lnTo>
                  <a:lnTo>
                    <a:pt x="417283" y="254673"/>
                  </a:lnTo>
                  <a:lnTo>
                    <a:pt x="417449" y="255689"/>
                  </a:lnTo>
                  <a:lnTo>
                    <a:pt x="417626" y="255689"/>
                  </a:lnTo>
                  <a:lnTo>
                    <a:pt x="417474" y="254800"/>
                  </a:lnTo>
                  <a:lnTo>
                    <a:pt x="419417" y="260896"/>
                  </a:lnTo>
                  <a:lnTo>
                    <a:pt x="414489" y="260896"/>
                  </a:lnTo>
                  <a:lnTo>
                    <a:pt x="414477" y="261023"/>
                  </a:lnTo>
                  <a:lnTo>
                    <a:pt x="415061" y="261023"/>
                  </a:lnTo>
                  <a:lnTo>
                    <a:pt x="415061" y="261404"/>
                  </a:lnTo>
                  <a:lnTo>
                    <a:pt x="414883" y="261912"/>
                  </a:lnTo>
                  <a:lnTo>
                    <a:pt x="414794" y="262039"/>
                  </a:lnTo>
                  <a:lnTo>
                    <a:pt x="414959" y="262039"/>
                  </a:lnTo>
                  <a:lnTo>
                    <a:pt x="414883" y="262420"/>
                  </a:lnTo>
                  <a:lnTo>
                    <a:pt x="414794" y="262674"/>
                  </a:lnTo>
                  <a:lnTo>
                    <a:pt x="414959" y="262674"/>
                  </a:lnTo>
                  <a:lnTo>
                    <a:pt x="414883" y="263055"/>
                  </a:lnTo>
                  <a:lnTo>
                    <a:pt x="414782" y="263182"/>
                  </a:lnTo>
                  <a:lnTo>
                    <a:pt x="415061" y="263182"/>
                  </a:lnTo>
                  <a:lnTo>
                    <a:pt x="414972" y="263309"/>
                  </a:lnTo>
                  <a:lnTo>
                    <a:pt x="414883" y="263690"/>
                  </a:lnTo>
                  <a:lnTo>
                    <a:pt x="414794" y="263817"/>
                  </a:lnTo>
                  <a:lnTo>
                    <a:pt x="415061" y="263817"/>
                  </a:lnTo>
                  <a:lnTo>
                    <a:pt x="414972" y="263944"/>
                  </a:lnTo>
                  <a:lnTo>
                    <a:pt x="414883" y="264325"/>
                  </a:lnTo>
                  <a:lnTo>
                    <a:pt x="414794" y="264452"/>
                  </a:lnTo>
                  <a:lnTo>
                    <a:pt x="414959" y="264452"/>
                  </a:lnTo>
                  <a:lnTo>
                    <a:pt x="414883" y="264960"/>
                  </a:lnTo>
                  <a:lnTo>
                    <a:pt x="414794" y="265087"/>
                  </a:lnTo>
                  <a:lnTo>
                    <a:pt x="414959" y="265087"/>
                  </a:lnTo>
                  <a:lnTo>
                    <a:pt x="414883" y="265595"/>
                  </a:lnTo>
                  <a:lnTo>
                    <a:pt x="414794" y="265722"/>
                  </a:lnTo>
                  <a:lnTo>
                    <a:pt x="414959" y="265722"/>
                  </a:lnTo>
                  <a:lnTo>
                    <a:pt x="414883" y="266230"/>
                  </a:lnTo>
                  <a:lnTo>
                    <a:pt x="414794" y="266357"/>
                  </a:lnTo>
                  <a:lnTo>
                    <a:pt x="414959" y="266357"/>
                  </a:lnTo>
                  <a:lnTo>
                    <a:pt x="414883" y="266865"/>
                  </a:lnTo>
                  <a:lnTo>
                    <a:pt x="414794" y="266992"/>
                  </a:lnTo>
                  <a:lnTo>
                    <a:pt x="414959" y="266992"/>
                  </a:lnTo>
                  <a:lnTo>
                    <a:pt x="414883" y="267373"/>
                  </a:lnTo>
                  <a:lnTo>
                    <a:pt x="414782" y="267500"/>
                  </a:lnTo>
                  <a:lnTo>
                    <a:pt x="415061" y="267500"/>
                  </a:lnTo>
                  <a:lnTo>
                    <a:pt x="415061" y="268008"/>
                  </a:lnTo>
                  <a:lnTo>
                    <a:pt x="415112" y="267500"/>
                  </a:lnTo>
                  <a:lnTo>
                    <a:pt x="415378" y="267500"/>
                  </a:lnTo>
                  <a:lnTo>
                    <a:pt x="415378" y="267373"/>
                  </a:lnTo>
                  <a:lnTo>
                    <a:pt x="415213" y="266992"/>
                  </a:lnTo>
                  <a:lnTo>
                    <a:pt x="415378" y="266992"/>
                  </a:lnTo>
                  <a:lnTo>
                    <a:pt x="415378" y="266865"/>
                  </a:lnTo>
                  <a:lnTo>
                    <a:pt x="415213" y="266357"/>
                  </a:lnTo>
                  <a:lnTo>
                    <a:pt x="415378" y="266357"/>
                  </a:lnTo>
                  <a:lnTo>
                    <a:pt x="415378" y="266230"/>
                  </a:lnTo>
                  <a:lnTo>
                    <a:pt x="415213" y="265722"/>
                  </a:lnTo>
                  <a:lnTo>
                    <a:pt x="415378" y="265722"/>
                  </a:lnTo>
                  <a:lnTo>
                    <a:pt x="415378" y="265595"/>
                  </a:lnTo>
                  <a:lnTo>
                    <a:pt x="415213" y="265087"/>
                  </a:lnTo>
                  <a:lnTo>
                    <a:pt x="415378" y="265087"/>
                  </a:lnTo>
                  <a:lnTo>
                    <a:pt x="415378" y="264960"/>
                  </a:lnTo>
                  <a:lnTo>
                    <a:pt x="415213" y="264452"/>
                  </a:lnTo>
                  <a:lnTo>
                    <a:pt x="415378" y="264452"/>
                  </a:lnTo>
                  <a:lnTo>
                    <a:pt x="415378" y="264325"/>
                  </a:lnTo>
                  <a:lnTo>
                    <a:pt x="415201" y="263944"/>
                  </a:lnTo>
                  <a:lnTo>
                    <a:pt x="415112" y="263817"/>
                  </a:lnTo>
                  <a:lnTo>
                    <a:pt x="415378" y="263817"/>
                  </a:lnTo>
                  <a:lnTo>
                    <a:pt x="415378" y="263690"/>
                  </a:lnTo>
                  <a:lnTo>
                    <a:pt x="415201" y="263309"/>
                  </a:lnTo>
                  <a:lnTo>
                    <a:pt x="415112" y="263182"/>
                  </a:lnTo>
                  <a:lnTo>
                    <a:pt x="415378" y="263182"/>
                  </a:lnTo>
                  <a:lnTo>
                    <a:pt x="415378" y="263055"/>
                  </a:lnTo>
                  <a:lnTo>
                    <a:pt x="415213" y="262674"/>
                  </a:lnTo>
                  <a:lnTo>
                    <a:pt x="415378" y="262674"/>
                  </a:lnTo>
                  <a:lnTo>
                    <a:pt x="415378" y="262420"/>
                  </a:lnTo>
                  <a:lnTo>
                    <a:pt x="415213" y="262039"/>
                  </a:lnTo>
                  <a:lnTo>
                    <a:pt x="415378" y="262039"/>
                  </a:lnTo>
                  <a:lnTo>
                    <a:pt x="415378" y="261912"/>
                  </a:lnTo>
                  <a:lnTo>
                    <a:pt x="415213" y="261404"/>
                  </a:lnTo>
                  <a:lnTo>
                    <a:pt x="415112" y="261023"/>
                  </a:lnTo>
                  <a:lnTo>
                    <a:pt x="417461" y="261150"/>
                  </a:lnTo>
                  <a:lnTo>
                    <a:pt x="419468" y="261150"/>
                  </a:lnTo>
                  <a:lnTo>
                    <a:pt x="425450" y="280073"/>
                  </a:lnTo>
                  <a:lnTo>
                    <a:pt x="430034" y="284137"/>
                  </a:lnTo>
                  <a:lnTo>
                    <a:pt x="430136" y="285534"/>
                  </a:lnTo>
                  <a:lnTo>
                    <a:pt x="429323" y="306616"/>
                  </a:lnTo>
                  <a:lnTo>
                    <a:pt x="429501" y="306616"/>
                  </a:lnTo>
                  <a:lnTo>
                    <a:pt x="429577" y="304584"/>
                  </a:lnTo>
                  <a:lnTo>
                    <a:pt x="431863" y="306108"/>
                  </a:lnTo>
                  <a:lnTo>
                    <a:pt x="431088" y="306616"/>
                  </a:lnTo>
                  <a:lnTo>
                    <a:pt x="431406" y="306616"/>
                  </a:lnTo>
                  <a:lnTo>
                    <a:pt x="432028" y="306235"/>
                  </a:lnTo>
                  <a:lnTo>
                    <a:pt x="432638" y="306616"/>
                  </a:lnTo>
                  <a:lnTo>
                    <a:pt x="432955" y="306616"/>
                  </a:lnTo>
                  <a:lnTo>
                    <a:pt x="432384" y="306235"/>
                  </a:lnTo>
                  <a:lnTo>
                    <a:pt x="432193" y="306108"/>
                  </a:lnTo>
                  <a:lnTo>
                    <a:pt x="432396" y="305981"/>
                  </a:lnTo>
                  <a:lnTo>
                    <a:pt x="434365" y="304711"/>
                  </a:lnTo>
                  <a:lnTo>
                    <a:pt x="434416" y="306616"/>
                  </a:lnTo>
                  <a:lnTo>
                    <a:pt x="434594" y="306616"/>
                  </a:lnTo>
                  <a:lnTo>
                    <a:pt x="434543" y="304711"/>
                  </a:lnTo>
                  <a:lnTo>
                    <a:pt x="434543" y="304584"/>
                  </a:lnTo>
                  <a:lnTo>
                    <a:pt x="434543" y="304457"/>
                  </a:lnTo>
                  <a:lnTo>
                    <a:pt x="434543" y="304330"/>
                  </a:lnTo>
                  <a:lnTo>
                    <a:pt x="434454" y="301409"/>
                  </a:lnTo>
                  <a:lnTo>
                    <a:pt x="434441" y="301028"/>
                  </a:lnTo>
                  <a:lnTo>
                    <a:pt x="434365" y="297853"/>
                  </a:lnTo>
                  <a:lnTo>
                    <a:pt x="434352" y="297726"/>
                  </a:lnTo>
                  <a:lnTo>
                    <a:pt x="434352" y="304330"/>
                  </a:lnTo>
                  <a:lnTo>
                    <a:pt x="434149" y="304190"/>
                  </a:lnTo>
                  <a:lnTo>
                    <a:pt x="434149" y="304457"/>
                  </a:lnTo>
                  <a:lnTo>
                    <a:pt x="434149" y="304584"/>
                  </a:lnTo>
                  <a:lnTo>
                    <a:pt x="432028" y="305981"/>
                  </a:lnTo>
                  <a:lnTo>
                    <a:pt x="429907" y="304584"/>
                  </a:lnTo>
                  <a:lnTo>
                    <a:pt x="434149" y="304584"/>
                  </a:lnTo>
                  <a:lnTo>
                    <a:pt x="434149" y="304457"/>
                  </a:lnTo>
                  <a:lnTo>
                    <a:pt x="429907" y="304457"/>
                  </a:lnTo>
                  <a:lnTo>
                    <a:pt x="432041" y="302933"/>
                  </a:lnTo>
                  <a:lnTo>
                    <a:pt x="434149" y="304457"/>
                  </a:lnTo>
                  <a:lnTo>
                    <a:pt x="434149" y="304190"/>
                  </a:lnTo>
                  <a:lnTo>
                    <a:pt x="432384" y="302933"/>
                  </a:lnTo>
                  <a:lnTo>
                    <a:pt x="432206" y="302806"/>
                  </a:lnTo>
                  <a:lnTo>
                    <a:pt x="432396" y="302679"/>
                  </a:lnTo>
                  <a:lnTo>
                    <a:pt x="434263" y="301409"/>
                  </a:lnTo>
                  <a:lnTo>
                    <a:pt x="434352" y="304330"/>
                  </a:lnTo>
                  <a:lnTo>
                    <a:pt x="434352" y="297726"/>
                  </a:lnTo>
                  <a:lnTo>
                    <a:pt x="434352" y="297599"/>
                  </a:lnTo>
                  <a:lnTo>
                    <a:pt x="434352" y="297472"/>
                  </a:lnTo>
                  <a:lnTo>
                    <a:pt x="434276" y="294551"/>
                  </a:lnTo>
                  <a:lnTo>
                    <a:pt x="434263" y="294170"/>
                  </a:lnTo>
                  <a:lnTo>
                    <a:pt x="434263" y="301028"/>
                  </a:lnTo>
                  <a:lnTo>
                    <a:pt x="434213" y="301155"/>
                  </a:lnTo>
                  <a:lnTo>
                    <a:pt x="432041" y="302679"/>
                  </a:lnTo>
                  <a:lnTo>
                    <a:pt x="431876" y="302577"/>
                  </a:lnTo>
                  <a:lnTo>
                    <a:pt x="431876" y="302806"/>
                  </a:lnTo>
                  <a:lnTo>
                    <a:pt x="429577" y="304457"/>
                  </a:lnTo>
                  <a:lnTo>
                    <a:pt x="429704" y="301282"/>
                  </a:lnTo>
                  <a:lnTo>
                    <a:pt x="431876" y="302806"/>
                  </a:lnTo>
                  <a:lnTo>
                    <a:pt x="431876" y="302577"/>
                  </a:lnTo>
                  <a:lnTo>
                    <a:pt x="429907" y="301282"/>
                  </a:lnTo>
                  <a:lnTo>
                    <a:pt x="430072" y="301155"/>
                  </a:lnTo>
                  <a:lnTo>
                    <a:pt x="432066" y="299504"/>
                  </a:lnTo>
                  <a:lnTo>
                    <a:pt x="434213" y="301155"/>
                  </a:lnTo>
                  <a:lnTo>
                    <a:pt x="434213" y="300990"/>
                  </a:lnTo>
                  <a:lnTo>
                    <a:pt x="432384" y="299504"/>
                  </a:lnTo>
                  <a:lnTo>
                    <a:pt x="432219" y="299377"/>
                  </a:lnTo>
                  <a:lnTo>
                    <a:pt x="432384" y="299250"/>
                  </a:lnTo>
                  <a:lnTo>
                    <a:pt x="434174" y="297853"/>
                  </a:lnTo>
                  <a:lnTo>
                    <a:pt x="434263" y="301028"/>
                  </a:lnTo>
                  <a:lnTo>
                    <a:pt x="434263" y="294170"/>
                  </a:lnTo>
                  <a:lnTo>
                    <a:pt x="434187" y="291376"/>
                  </a:lnTo>
                  <a:lnTo>
                    <a:pt x="434162" y="290614"/>
                  </a:lnTo>
                  <a:lnTo>
                    <a:pt x="434162" y="297472"/>
                  </a:lnTo>
                  <a:lnTo>
                    <a:pt x="433984" y="297332"/>
                  </a:lnTo>
                  <a:lnTo>
                    <a:pt x="433984" y="297599"/>
                  </a:lnTo>
                  <a:lnTo>
                    <a:pt x="433984" y="297853"/>
                  </a:lnTo>
                  <a:lnTo>
                    <a:pt x="432066" y="299250"/>
                  </a:lnTo>
                  <a:lnTo>
                    <a:pt x="431927" y="299148"/>
                  </a:lnTo>
                  <a:lnTo>
                    <a:pt x="431927" y="299377"/>
                  </a:lnTo>
                  <a:lnTo>
                    <a:pt x="429704" y="301155"/>
                  </a:lnTo>
                  <a:lnTo>
                    <a:pt x="429844" y="297726"/>
                  </a:lnTo>
                  <a:lnTo>
                    <a:pt x="431927" y="299377"/>
                  </a:lnTo>
                  <a:lnTo>
                    <a:pt x="431927" y="299148"/>
                  </a:lnTo>
                  <a:lnTo>
                    <a:pt x="430174" y="297853"/>
                  </a:lnTo>
                  <a:lnTo>
                    <a:pt x="433984" y="297853"/>
                  </a:lnTo>
                  <a:lnTo>
                    <a:pt x="433984" y="297599"/>
                  </a:lnTo>
                  <a:lnTo>
                    <a:pt x="430174" y="297599"/>
                  </a:lnTo>
                  <a:lnTo>
                    <a:pt x="432092" y="296075"/>
                  </a:lnTo>
                  <a:lnTo>
                    <a:pt x="433984" y="297599"/>
                  </a:lnTo>
                  <a:lnTo>
                    <a:pt x="433984" y="297332"/>
                  </a:lnTo>
                  <a:lnTo>
                    <a:pt x="432409" y="296075"/>
                  </a:lnTo>
                  <a:lnTo>
                    <a:pt x="432244" y="295948"/>
                  </a:lnTo>
                  <a:lnTo>
                    <a:pt x="432422" y="295821"/>
                  </a:lnTo>
                  <a:lnTo>
                    <a:pt x="434098" y="294551"/>
                  </a:lnTo>
                  <a:lnTo>
                    <a:pt x="434162" y="297472"/>
                  </a:lnTo>
                  <a:lnTo>
                    <a:pt x="434162" y="290614"/>
                  </a:lnTo>
                  <a:lnTo>
                    <a:pt x="434086" y="287566"/>
                  </a:lnTo>
                  <a:lnTo>
                    <a:pt x="434086" y="294170"/>
                  </a:lnTo>
                  <a:lnTo>
                    <a:pt x="434035" y="294424"/>
                  </a:lnTo>
                  <a:lnTo>
                    <a:pt x="432092" y="295821"/>
                  </a:lnTo>
                  <a:lnTo>
                    <a:pt x="430225" y="294424"/>
                  </a:lnTo>
                  <a:lnTo>
                    <a:pt x="432206" y="292900"/>
                  </a:lnTo>
                  <a:lnTo>
                    <a:pt x="434035" y="294424"/>
                  </a:lnTo>
                  <a:lnTo>
                    <a:pt x="434035" y="294132"/>
                  </a:lnTo>
                  <a:lnTo>
                    <a:pt x="432511" y="292900"/>
                  </a:lnTo>
                  <a:lnTo>
                    <a:pt x="432346" y="292773"/>
                  </a:lnTo>
                  <a:lnTo>
                    <a:pt x="432498" y="292646"/>
                  </a:lnTo>
                  <a:lnTo>
                    <a:pt x="433997" y="291376"/>
                  </a:lnTo>
                  <a:lnTo>
                    <a:pt x="434086" y="294170"/>
                  </a:lnTo>
                  <a:lnTo>
                    <a:pt x="434086" y="287566"/>
                  </a:lnTo>
                  <a:lnTo>
                    <a:pt x="434073" y="287185"/>
                  </a:lnTo>
                  <a:lnTo>
                    <a:pt x="433997" y="284264"/>
                  </a:lnTo>
                  <a:lnTo>
                    <a:pt x="433984" y="284137"/>
                  </a:lnTo>
                  <a:lnTo>
                    <a:pt x="433984" y="290614"/>
                  </a:lnTo>
                  <a:lnTo>
                    <a:pt x="433984" y="290868"/>
                  </a:lnTo>
                  <a:lnTo>
                    <a:pt x="433984" y="291122"/>
                  </a:lnTo>
                  <a:lnTo>
                    <a:pt x="432206" y="292646"/>
                  </a:lnTo>
                  <a:lnTo>
                    <a:pt x="432054" y="292519"/>
                  </a:lnTo>
                  <a:lnTo>
                    <a:pt x="432054" y="292773"/>
                  </a:lnTo>
                  <a:lnTo>
                    <a:pt x="429983" y="294424"/>
                  </a:lnTo>
                  <a:lnTo>
                    <a:pt x="431939" y="295948"/>
                  </a:lnTo>
                  <a:lnTo>
                    <a:pt x="429856" y="297599"/>
                  </a:lnTo>
                  <a:lnTo>
                    <a:pt x="430339" y="284391"/>
                  </a:lnTo>
                  <a:lnTo>
                    <a:pt x="431850" y="285661"/>
                  </a:lnTo>
                  <a:lnTo>
                    <a:pt x="430276" y="287058"/>
                  </a:lnTo>
                  <a:lnTo>
                    <a:pt x="430288" y="287820"/>
                  </a:lnTo>
                  <a:lnTo>
                    <a:pt x="431838" y="289090"/>
                  </a:lnTo>
                  <a:lnTo>
                    <a:pt x="430149" y="290360"/>
                  </a:lnTo>
                  <a:lnTo>
                    <a:pt x="430123" y="291122"/>
                  </a:lnTo>
                  <a:lnTo>
                    <a:pt x="432054" y="292773"/>
                  </a:lnTo>
                  <a:lnTo>
                    <a:pt x="432054" y="292519"/>
                  </a:lnTo>
                  <a:lnTo>
                    <a:pt x="430288" y="290995"/>
                  </a:lnTo>
                  <a:lnTo>
                    <a:pt x="430314" y="290487"/>
                  </a:lnTo>
                  <a:lnTo>
                    <a:pt x="431977" y="289217"/>
                  </a:lnTo>
                  <a:lnTo>
                    <a:pt x="433984" y="290868"/>
                  </a:lnTo>
                  <a:lnTo>
                    <a:pt x="433984" y="290614"/>
                  </a:lnTo>
                  <a:lnTo>
                    <a:pt x="432282" y="289217"/>
                  </a:lnTo>
                  <a:lnTo>
                    <a:pt x="432117" y="289090"/>
                  </a:lnTo>
                  <a:lnTo>
                    <a:pt x="432269" y="288963"/>
                  </a:lnTo>
                  <a:lnTo>
                    <a:pt x="433908" y="287566"/>
                  </a:lnTo>
                  <a:lnTo>
                    <a:pt x="433984" y="290614"/>
                  </a:lnTo>
                  <a:lnTo>
                    <a:pt x="433984" y="284137"/>
                  </a:lnTo>
                  <a:lnTo>
                    <a:pt x="434124" y="284010"/>
                  </a:lnTo>
                  <a:lnTo>
                    <a:pt x="434263" y="283883"/>
                  </a:lnTo>
                  <a:lnTo>
                    <a:pt x="435876" y="282359"/>
                  </a:lnTo>
                  <a:lnTo>
                    <a:pt x="438302" y="280073"/>
                  </a:lnTo>
                  <a:lnTo>
                    <a:pt x="438340" y="279946"/>
                  </a:lnTo>
                  <a:lnTo>
                    <a:pt x="438391" y="279819"/>
                  </a:lnTo>
                  <a:lnTo>
                    <a:pt x="438581" y="279184"/>
                  </a:lnTo>
                  <a:lnTo>
                    <a:pt x="437070" y="318770"/>
                  </a:lnTo>
                  <a:lnTo>
                    <a:pt x="438785" y="318770"/>
                  </a:lnTo>
                  <a:lnTo>
                    <a:pt x="438937" y="314960"/>
                  </a:lnTo>
                  <a:lnTo>
                    <a:pt x="440016" y="316230"/>
                  </a:lnTo>
                  <a:lnTo>
                    <a:pt x="442188" y="317500"/>
                  </a:lnTo>
                  <a:lnTo>
                    <a:pt x="446608" y="318770"/>
                  </a:lnTo>
                  <a:lnTo>
                    <a:pt x="450532" y="318770"/>
                  </a:lnTo>
                  <a:lnTo>
                    <a:pt x="445604" y="317500"/>
                  </a:lnTo>
                  <a:lnTo>
                    <a:pt x="442112" y="314960"/>
                  </a:lnTo>
                  <a:lnTo>
                    <a:pt x="440372" y="313690"/>
                  </a:lnTo>
                  <a:lnTo>
                    <a:pt x="442353" y="313690"/>
                  </a:lnTo>
                  <a:lnTo>
                    <a:pt x="444220" y="312420"/>
                  </a:lnTo>
                  <a:lnTo>
                    <a:pt x="446087" y="311150"/>
                  </a:lnTo>
                  <a:lnTo>
                    <a:pt x="451510" y="307340"/>
                  </a:lnTo>
                  <a:lnTo>
                    <a:pt x="462457" y="313690"/>
                  </a:lnTo>
                  <a:lnTo>
                    <a:pt x="452018" y="318770"/>
                  </a:lnTo>
                  <a:lnTo>
                    <a:pt x="455904" y="318770"/>
                  </a:lnTo>
                  <a:lnTo>
                    <a:pt x="463448" y="314960"/>
                  </a:lnTo>
                  <a:lnTo>
                    <a:pt x="463562" y="318770"/>
                  </a:lnTo>
                  <a:lnTo>
                    <a:pt x="465277" y="318770"/>
                  </a:lnTo>
                  <a:lnTo>
                    <a:pt x="465175" y="314960"/>
                  </a:lnTo>
                  <a:lnTo>
                    <a:pt x="465099" y="312420"/>
                  </a:lnTo>
                  <a:lnTo>
                    <a:pt x="464781" y="300990"/>
                  </a:lnTo>
                  <a:lnTo>
                    <a:pt x="464667" y="297180"/>
                  </a:lnTo>
                  <a:lnTo>
                    <a:pt x="464375" y="285750"/>
                  </a:lnTo>
                  <a:lnTo>
                    <a:pt x="464286" y="283210"/>
                  </a:lnTo>
                  <a:lnTo>
                    <a:pt x="463956" y="270510"/>
                  </a:lnTo>
                  <a:lnTo>
                    <a:pt x="463931" y="269240"/>
                  </a:lnTo>
                  <a:lnTo>
                    <a:pt x="463892" y="267970"/>
                  </a:lnTo>
                  <a:lnTo>
                    <a:pt x="463867" y="266700"/>
                  </a:lnTo>
                  <a:lnTo>
                    <a:pt x="463562" y="255270"/>
                  </a:lnTo>
                  <a:lnTo>
                    <a:pt x="463448" y="251460"/>
                  </a:lnTo>
                  <a:lnTo>
                    <a:pt x="463372" y="248742"/>
                  </a:lnTo>
                  <a:lnTo>
                    <a:pt x="463372" y="312420"/>
                  </a:lnTo>
                  <a:lnTo>
                    <a:pt x="453250" y="307340"/>
                  </a:lnTo>
                  <a:lnTo>
                    <a:pt x="455206" y="306070"/>
                  </a:lnTo>
                  <a:lnTo>
                    <a:pt x="463054" y="300990"/>
                  </a:lnTo>
                  <a:lnTo>
                    <a:pt x="463372" y="312420"/>
                  </a:lnTo>
                  <a:lnTo>
                    <a:pt x="463372" y="248742"/>
                  </a:lnTo>
                  <a:lnTo>
                    <a:pt x="463092" y="238760"/>
                  </a:lnTo>
                  <a:lnTo>
                    <a:pt x="463054" y="237490"/>
                  </a:lnTo>
                  <a:lnTo>
                    <a:pt x="463029" y="236220"/>
                  </a:lnTo>
                  <a:lnTo>
                    <a:pt x="462991" y="234950"/>
                  </a:lnTo>
                  <a:lnTo>
                    <a:pt x="462978" y="234505"/>
                  </a:lnTo>
                  <a:lnTo>
                    <a:pt x="462978" y="297180"/>
                  </a:lnTo>
                  <a:lnTo>
                    <a:pt x="462191" y="296773"/>
                  </a:lnTo>
                  <a:lnTo>
                    <a:pt x="462191" y="299720"/>
                  </a:lnTo>
                  <a:lnTo>
                    <a:pt x="458876" y="300990"/>
                  </a:lnTo>
                  <a:lnTo>
                    <a:pt x="451497" y="306070"/>
                  </a:lnTo>
                  <a:lnTo>
                    <a:pt x="449757" y="305054"/>
                  </a:lnTo>
                  <a:lnTo>
                    <a:pt x="449757" y="307340"/>
                  </a:lnTo>
                  <a:lnTo>
                    <a:pt x="442734" y="311150"/>
                  </a:lnTo>
                  <a:lnTo>
                    <a:pt x="440055" y="312420"/>
                  </a:lnTo>
                  <a:lnTo>
                    <a:pt x="439039" y="312420"/>
                  </a:lnTo>
                  <a:lnTo>
                    <a:pt x="439496" y="300990"/>
                  </a:lnTo>
                  <a:lnTo>
                    <a:pt x="449757" y="307340"/>
                  </a:lnTo>
                  <a:lnTo>
                    <a:pt x="449757" y="305054"/>
                  </a:lnTo>
                  <a:lnTo>
                    <a:pt x="442861" y="300990"/>
                  </a:lnTo>
                  <a:lnTo>
                    <a:pt x="440702" y="299720"/>
                  </a:lnTo>
                  <a:lnTo>
                    <a:pt x="442861" y="298450"/>
                  </a:lnTo>
                  <a:lnTo>
                    <a:pt x="451510" y="293370"/>
                  </a:lnTo>
                  <a:lnTo>
                    <a:pt x="462191" y="299720"/>
                  </a:lnTo>
                  <a:lnTo>
                    <a:pt x="462191" y="296773"/>
                  </a:lnTo>
                  <a:lnTo>
                    <a:pt x="455650" y="293370"/>
                  </a:lnTo>
                  <a:lnTo>
                    <a:pt x="453199" y="292100"/>
                  </a:lnTo>
                  <a:lnTo>
                    <a:pt x="455091" y="290830"/>
                  </a:lnTo>
                  <a:lnTo>
                    <a:pt x="462648" y="285750"/>
                  </a:lnTo>
                  <a:lnTo>
                    <a:pt x="462978" y="297180"/>
                  </a:lnTo>
                  <a:lnTo>
                    <a:pt x="462978" y="234505"/>
                  </a:lnTo>
                  <a:lnTo>
                    <a:pt x="462597" y="220980"/>
                  </a:lnTo>
                  <a:lnTo>
                    <a:pt x="463524" y="219710"/>
                  </a:lnTo>
                  <a:lnTo>
                    <a:pt x="465264" y="219710"/>
                  </a:lnTo>
                  <a:lnTo>
                    <a:pt x="466877" y="218440"/>
                  </a:lnTo>
                  <a:lnTo>
                    <a:pt x="466674" y="218440"/>
                  </a:lnTo>
                  <a:lnTo>
                    <a:pt x="470687" y="214630"/>
                  </a:lnTo>
                  <a:lnTo>
                    <a:pt x="473887" y="210820"/>
                  </a:lnTo>
                  <a:lnTo>
                    <a:pt x="476643" y="207010"/>
                  </a:lnTo>
                  <a:lnTo>
                    <a:pt x="479475" y="203200"/>
                  </a:lnTo>
                  <a:lnTo>
                    <a:pt x="484835" y="191770"/>
                  </a:lnTo>
                  <a:lnTo>
                    <a:pt x="486422" y="187960"/>
                  </a:lnTo>
                  <a:lnTo>
                    <a:pt x="488137" y="191770"/>
                  </a:lnTo>
                  <a:lnTo>
                    <a:pt x="489940" y="195580"/>
                  </a:lnTo>
                  <a:lnTo>
                    <a:pt x="491845" y="198120"/>
                  </a:lnTo>
                  <a:lnTo>
                    <a:pt x="489546" y="201930"/>
                  </a:lnTo>
                  <a:lnTo>
                    <a:pt x="487045" y="204470"/>
                  </a:lnTo>
                  <a:lnTo>
                    <a:pt x="484276" y="208280"/>
                  </a:lnTo>
                  <a:lnTo>
                    <a:pt x="480136" y="212090"/>
                  </a:lnTo>
                  <a:lnTo>
                    <a:pt x="475310" y="215900"/>
                  </a:lnTo>
                  <a:lnTo>
                    <a:pt x="468757" y="217170"/>
                  </a:lnTo>
                  <a:lnTo>
                    <a:pt x="467728" y="218440"/>
                  </a:lnTo>
                  <a:lnTo>
                    <a:pt x="468464" y="218440"/>
                  </a:lnTo>
                  <a:lnTo>
                    <a:pt x="475665" y="215900"/>
                  </a:lnTo>
                  <a:lnTo>
                    <a:pt x="480555" y="212090"/>
                  </a:lnTo>
                  <a:lnTo>
                    <a:pt x="484784" y="208254"/>
                  </a:lnTo>
                  <a:lnTo>
                    <a:pt x="487476" y="205740"/>
                  </a:lnTo>
                  <a:lnTo>
                    <a:pt x="489915" y="201930"/>
                  </a:lnTo>
                  <a:lnTo>
                    <a:pt x="492188" y="199390"/>
                  </a:lnTo>
                  <a:lnTo>
                    <a:pt x="494830" y="204470"/>
                  </a:lnTo>
                  <a:lnTo>
                    <a:pt x="498843" y="210820"/>
                  </a:lnTo>
                  <a:lnTo>
                    <a:pt x="501662" y="214630"/>
                  </a:lnTo>
                  <a:lnTo>
                    <a:pt x="504215" y="217258"/>
                  </a:lnTo>
                  <a:lnTo>
                    <a:pt x="501967" y="214630"/>
                  </a:lnTo>
                  <a:lnTo>
                    <a:pt x="499173" y="210820"/>
                  </a:lnTo>
                  <a:lnTo>
                    <a:pt x="496595" y="205740"/>
                  </a:lnTo>
                  <a:lnTo>
                    <a:pt x="495160" y="203200"/>
                  </a:lnTo>
                  <a:lnTo>
                    <a:pt x="493788" y="201930"/>
                  </a:lnTo>
                  <a:lnTo>
                    <a:pt x="492455" y="199390"/>
                  </a:lnTo>
                  <a:lnTo>
                    <a:pt x="493014" y="198120"/>
                  </a:lnTo>
                  <a:lnTo>
                    <a:pt x="493572" y="196850"/>
                  </a:lnTo>
                  <a:lnTo>
                    <a:pt x="494652" y="195580"/>
                  </a:lnTo>
                  <a:lnTo>
                    <a:pt x="499173" y="189230"/>
                  </a:lnTo>
                  <a:lnTo>
                    <a:pt x="502208" y="182880"/>
                  </a:lnTo>
                  <a:lnTo>
                    <a:pt x="504964" y="176530"/>
                  </a:lnTo>
                  <a:lnTo>
                    <a:pt x="506971" y="184150"/>
                  </a:lnTo>
                  <a:lnTo>
                    <a:pt x="509943" y="193040"/>
                  </a:lnTo>
                  <a:lnTo>
                    <a:pt x="511975" y="199390"/>
                  </a:lnTo>
                  <a:lnTo>
                    <a:pt x="516610" y="212090"/>
                  </a:lnTo>
                  <a:lnTo>
                    <a:pt x="519214" y="217258"/>
                  </a:lnTo>
                  <a:lnTo>
                    <a:pt x="522490" y="223520"/>
                  </a:lnTo>
                  <a:lnTo>
                    <a:pt x="523392" y="224497"/>
                  </a:lnTo>
                  <a:lnTo>
                    <a:pt x="522795" y="223520"/>
                  </a:lnTo>
                  <a:lnTo>
                    <a:pt x="519480" y="217170"/>
                  </a:lnTo>
                  <a:lnTo>
                    <a:pt x="516953" y="212090"/>
                  </a:lnTo>
                  <a:lnTo>
                    <a:pt x="512343" y="199390"/>
                  </a:lnTo>
                  <a:lnTo>
                    <a:pt x="510311" y="193040"/>
                  </a:lnTo>
                  <a:lnTo>
                    <a:pt x="507314" y="184150"/>
                  </a:lnTo>
                  <a:lnTo>
                    <a:pt x="505231" y="176530"/>
                  </a:lnTo>
                  <a:lnTo>
                    <a:pt x="505764" y="175260"/>
                  </a:lnTo>
                  <a:lnTo>
                    <a:pt x="507377" y="171450"/>
                  </a:lnTo>
                  <a:lnTo>
                    <a:pt x="509333" y="167640"/>
                  </a:lnTo>
                  <a:lnTo>
                    <a:pt x="513207" y="157480"/>
                  </a:lnTo>
                  <a:lnTo>
                    <a:pt x="515086" y="152400"/>
                  </a:lnTo>
                  <a:lnTo>
                    <a:pt x="516851" y="146050"/>
                  </a:lnTo>
                  <a:lnTo>
                    <a:pt x="530034" y="187960"/>
                  </a:lnTo>
                  <a:lnTo>
                    <a:pt x="530085" y="189230"/>
                  </a:lnTo>
                  <a:lnTo>
                    <a:pt x="539216" y="196850"/>
                  </a:lnTo>
                  <a:lnTo>
                    <a:pt x="539356" y="194310"/>
                  </a:lnTo>
                  <a:lnTo>
                    <a:pt x="538619" y="194310"/>
                  </a:lnTo>
                  <a:lnTo>
                    <a:pt x="531837" y="189230"/>
                  </a:lnTo>
                  <a:lnTo>
                    <a:pt x="539648" y="189230"/>
                  </a:lnTo>
                  <a:lnTo>
                    <a:pt x="539724" y="187960"/>
                  </a:lnTo>
                  <a:lnTo>
                    <a:pt x="531444" y="187960"/>
                  </a:lnTo>
                  <a:lnTo>
                    <a:pt x="532320" y="186690"/>
                  </a:lnTo>
                  <a:lnTo>
                    <a:pt x="535800" y="181610"/>
                  </a:lnTo>
                  <a:lnTo>
                    <a:pt x="539915" y="184150"/>
                  </a:lnTo>
                  <a:lnTo>
                    <a:pt x="539750" y="187515"/>
                  </a:lnTo>
                  <a:lnTo>
                    <a:pt x="539940" y="184150"/>
                  </a:lnTo>
                  <a:lnTo>
                    <a:pt x="539991" y="182880"/>
                  </a:lnTo>
                  <a:lnTo>
                    <a:pt x="538238" y="181610"/>
                  </a:lnTo>
                  <a:lnTo>
                    <a:pt x="535012" y="179273"/>
                  </a:lnTo>
                  <a:lnTo>
                    <a:pt x="535012" y="180340"/>
                  </a:lnTo>
                  <a:lnTo>
                    <a:pt x="530656" y="186690"/>
                  </a:lnTo>
                  <a:lnTo>
                    <a:pt x="526542" y="173990"/>
                  </a:lnTo>
                  <a:lnTo>
                    <a:pt x="535012" y="180340"/>
                  </a:lnTo>
                  <a:lnTo>
                    <a:pt x="535012" y="179273"/>
                  </a:lnTo>
                  <a:lnTo>
                    <a:pt x="527761" y="173990"/>
                  </a:lnTo>
                  <a:lnTo>
                    <a:pt x="526008" y="172720"/>
                  </a:lnTo>
                  <a:lnTo>
                    <a:pt x="517702" y="146050"/>
                  </a:lnTo>
                  <a:lnTo>
                    <a:pt x="518655" y="144780"/>
                  </a:lnTo>
                  <a:lnTo>
                    <a:pt x="521525" y="140970"/>
                  </a:lnTo>
                  <a:lnTo>
                    <a:pt x="524306" y="144780"/>
                  </a:lnTo>
                  <a:lnTo>
                    <a:pt x="527278" y="149860"/>
                  </a:lnTo>
                  <a:lnTo>
                    <a:pt x="533222" y="156210"/>
                  </a:lnTo>
                  <a:lnTo>
                    <a:pt x="536079" y="158750"/>
                  </a:lnTo>
                  <a:lnTo>
                    <a:pt x="540842" y="162560"/>
                  </a:lnTo>
                  <a:lnTo>
                    <a:pt x="536219" y="158750"/>
                  </a:lnTo>
                  <a:lnTo>
                    <a:pt x="533374" y="156210"/>
                  </a:lnTo>
                  <a:lnTo>
                    <a:pt x="524484" y="144780"/>
                  </a:lnTo>
                  <a:lnTo>
                    <a:pt x="521677" y="140970"/>
                  </a:lnTo>
                  <a:lnTo>
                    <a:pt x="522681" y="139700"/>
                  </a:lnTo>
                  <a:lnTo>
                    <a:pt x="524687" y="137160"/>
                  </a:lnTo>
                  <a:lnTo>
                    <a:pt x="530707" y="129540"/>
                  </a:lnTo>
                  <a:lnTo>
                    <a:pt x="541566" y="129540"/>
                  </a:lnTo>
                  <a:lnTo>
                    <a:pt x="542823" y="133350"/>
                  </a:lnTo>
                  <a:lnTo>
                    <a:pt x="541185" y="162560"/>
                  </a:lnTo>
                  <a:lnTo>
                    <a:pt x="542874" y="133350"/>
                  </a:lnTo>
                  <a:lnTo>
                    <a:pt x="542899" y="132080"/>
                  </a:lnTo>
                  <a:lnTo>
                    <a:pt x="542074" y="129540"/>
                  </a:lnTo>
                  <a:lnTo>
                    <a:pt x="543052" y="129540"/>
                  </a:lnTo>
                  <a:lnTo>
                    <a:pt x="542899" y="132080"/>
                  </a:lnTo>
                  <a:lnTo>
                    <a:pt x="543090" y="129540"/>
                  </a:lnTo>
                  <a:lnTo>
                    <a:pt x="543166" y="128270"/>
                  </a:lnTo>
                  <a:lnTo>
                    <a:pt x="544487" y="105410"/>
                  </a:lnTo>
                  <a:close/>
                </a:path>
              </a:pathLst>
            </a:custGeom>
            <a:solidFill>
              <a:srgbClr val="00364C"/>
            </a:solidFill>
          </p:spPr>
          <p:txBody>
            <a:bodyPr wrap="square" lIns="0" tIns="0" rIns="0" bIns="0" rtlCol="0"/>
            <a:lstStyle/>
            <a:p>
              <a:endParaRPr/>
            </a:p>
          </p:txBody>
        </p:sp>
        <p:sp>
          <p:nvSpPr>
            <p:cNvPr id="12" name="object 12"/>
            <p:cNvSpPr/>
            <p:nvPr/>
          </p:nvSpPr>
          <p:spPr>
            <a:xfrm>
              <a:off x="1873364" y="6675335"/>
              <a:ext cx="362585" cy="147320"/>
            </a:xfrm>
            <a:custGeom>
              <a:avLst/>
              <a:gdLst/>
              <a:ahLst/>
              <a:cxnLst/>
              <a:rect l="l" t="t" r="r" b="b"/>
              <a:pathLst>
                <a:path w="362585" h="147320">
                  <a:moveTo>
                    <a:pt x="362127" y="62014"/>
                  </a:moveTo>
                  <a:lnTo>
                    <a:pt x="0" y="62014"/>
                  </a:lnTo>
                  <a:lnTo>
                    <a:pt x="0" y="147231"/>
                  </a:lnTo>
                  <a:lnTo>
                    <a:pt x="362127" y="147231"/>
                  </a:lnTo>
                  <a:lnTo>
                    <a:pt x="362127" y="62014"/>
                  </a:lnTo>
                  <a:close/>
                </a:path>
                <a:path w="362585" h="147320">
                  <a:moveTo>
                    <a:pt x="362127" y="0"/>
                  </a:moveTo>
                  <a:lnTo>
                    <a:pt x="0" y="0"/>
                  </a:lnTo>
                  <a:lnTo>
                    <a:pt x="0" y="1549"/>
                  </a:lnTo>
                  <a:lnTo>
                    <a:pt x="362127" y="1549"/>
                  </a:lnTo>
                  <a:lnTo>
                    <a:pt x="362127" y="0"/>
                  </a:lnTo>
                  <a:close/>
                </a:path>
              </a:pathLst>
            </a:custGeom>
            <a:solidFill>
              <a:srgbClr val="CFD1D0"/>
            </a:solidFill>
          </p:spPr>
          <p:txBody>
            <a:bodyPr wrap="square" lIns="0" tIns="0" rIns="0" bIns="0" rtlCol="0"/>
            <a:lstStyle/>
            <a:p>
              <a:endParaRPr/>
            </a:p>
          </p:txBody>
        </p:sp>
        <p:sp>
          <p:nvSpPr>
            <p:cNvPr id="13" name="object 13"/>
            <p:cNvSpPr/>
            <p:nvPr/>
          </p:nvSpPr>
          <p:spPr>
            <a:xfrm>
              <a:off x="1873370" y="6675323"/>
              <a:ext cx="362585" cy="147320"/>
            </a:xfrm>
            <a:custGeom>
              <a:avLst/>
              <a:gdLst/>
              <a:ahLst/>
              <a:cxnLst/>
              <a:rect l="l" t="t" r="r" b="b"/>
              <a:pathLst>
                <a:path w="362585" h="147320">
                  <a:moveTo>
                    <a:pt x="0" y="147243"/>
                  </a:moveTo>
                  <a:lnTo>
                    <a:pt x="362127" y="147243"/>
                  </a:lnTo>
                  <a:lnTo>
                    <a:pt x="362127" y="0"/>
                  </a:lnTo>
                  <a:lnTo>
                    <a:pt x="0" y="0"/>
                  </a:lnTo>
                  <a:lnTo>
                    <a:pt x="0" y="147243"/>
                  </a:lnTo>
                  <a:close/>
                </a:path>
              </a:pathLst>
            </a:custGeom>
            <a:ln w="9232">
              <a:solidFill>
                <a:srgbClr val="FFFFFF"/>
              </a:solidFill>
            </a:ln>
          </p:spPr>
          <p:txBody>
            <a:bodyPr wrap="square" lIns="0" tIns="0" rIns="0" bIns="0" rtlCol="0"/>
            <a:lstStyle/>
            <a:p>
              <a:endParaRPr/>
            </a:p>
          </p:txBody>
        </p:sp>
        <p:sp>
          <p:nvSpPr>
            <p:cNvPr id="14" name="object 14"/>
            <p:cNvSpPr/>
            <p:nvPr/>
          </p:nvSpPr>
          <p:spPr>
            <a:xfrm>
              <a:off x="1899450" y="6737350"/>
              <a:ext cx="313690" cy="9525"/>
            </a:xfrm>
            <a:custGeom>
              <a:avLst/>
              <a:gdLst/>
              <a:ahLst/>
              <a:cxnLst/>
              <a:rect l="l" t="t" r="r" b="b"/>
              <a:pathLst>
                <a:path w="313689" h="9525">
                  <a:moveTo>
                    <a:pt x="0" y="9232"/>
                  </a:moveTo>
                  <a:lnTo>
                    <a:pt x="313321" y="9232"/>
                  </a:lnTo>
                  <a:lnTo>
                    <a:pt x="313321" y="0"/>
                  </a:lnTo>
                  <a:lnTo>
                    <a:pt x="0" y="0"/>
                  </a:lnTo>
                  <a:lnTo>
                    <a:pt x="0" y="9232"/>
                  </a:lnTo>
                  <a:close/>
                </a:path>
              </a:pathLst>
            </a:custGeom>
            <a:solidFill>
              <a:srgbClr val="C6CACB"/>
            </a:solidFill>
          </p:spPr>
          <p:txBody>
            <a:bodyPr wrap="square" lIns="0" tIns="0" rIns="0" bIns="0" rtlCol="0"/>
            <a:lstStyle/>
            <a:p>
              <a:endParaRPr/>
            </a:p>
          </p:txBody>
        </p:sp>
        <p:sp>
          <p:nvSpPr>
            <p:cNvPr id="15" name="object 15"/>
            <p:cNvSpPr/>
            <p:nvPr/>
          </p:nvSpPr>
          <p:spPr>
            <a:xfrm>
              <a:off x="1899450" y="6737350"/>
              <a:ext cx="313690" cy="9525"/>
            </a:xfrm>
            <a:custGeom>
              <a:avLst/>
              <a:gdLst/>
              <a:ahLst/>
              <a:cxnLst/>
              <a:rect l="l" t="t" r="r" b="b"/>
              <a:pathLst>
                <a:path w="313689" h="9525">
                  <a:moveTo>
                    <a:pt x="5003" y="0"/>
                  </a:moveTo>
                  <a:lnTo>
                    <a:pt x="0" y="0"/>
                  </a:lnTo>
                  <a:lnTo>
                    <a:pt x="0" y="9232"/>
                  </a:lnTo>
                  <a:lnTo>
                    <a:pt x="5003" y="9232"/>
                  </a:lnTo>
                  <a:lnTo>
                    <a:pt x="5003" y="0"/>
                  </a:lnTo>
                  <a:close/>
                </a:path>
                <a:path w="313689" h="9525">
                  <a:moveTo>
                    <a:pt x="66675" y="0"/>
                  </a:moveTo>
                  <a:lnTo>
                    <a:pt x="61671" y="0"/>
                  </a:lnTo>
                  <a:lnTo>
                    <a:pt x="61671" y="9232"/>
                  </a:lnTo>
                  <a:lnTo>
                    <a:pt x="66675" y="9232"/>
                  </a:lnTo>
                  <a:lnTo>
                    <a:pt x="66675" y="0"/>
                  </a:lnTo>
                  <a:close/>
                </a:path>
                <a:path w="313689" h="9525">
                  <a:moveTo>
                    <a:pt x="128346" y="0"/>
                  </a:moveTo>
                  <a:lnTo>
                    <a:pt x="123329" y="0"/>
                  </a:lnTo>
                  <a:lnTo>
                    <a:pt x="123329" y="9232"/>
                  </a:lnTo>
                  <a:lnTo>
                    <a:pt x="128346" y="9232"/>
                  </a:lnTo>
                  <a:lnTo>
                    <a:pt x="128346" y="0"/>
                  </a:lnTo>
                  <a:close/>
                </a:path>
                <a:path w="313689" h="9525">
                  <a:moveTo>
                    <a:pt x="189992" y="0"/>
                  </a:moveTo>
                  <a:lnTo>
                    <a:pt x="184988" y="0"/>
                  </a:lnTo>
                  <a:lnTo>
                    <a:pt x="184988" y="9232"/>
                  </a:lnTo>
                  <a:lnTo>
                    <a:pt x="189992" y="9232"/>
                  </a:lnTo>
                  <a:lnTo>
                    <a:pt x="189992" y="0"/>
                  </a:lnTo>
                  <a:close/>
                </a:path>
                <a:path w="313689" h="9525">
                  <a:moveTo>
                    <a:pt x="251663" y="0"/>
                  </a:moveTo>
                  <a:lnTo>
                    <a:pt x="246659" y="0"/>
                  </a:lnTo>
                  <a:lnTo>
                    <a:pt x="246659" y="9232"/>
                  </a:lnTo>
                  <a:lnTo>
                    <a:pt x="251663" y="9232"/>
                  </a:lnTo>
                  <a:lnTo>
                    <a:pt x="251663" y="0"/>
                  </a:lnTo>
                  <a:close/>
                </a:path>
                <a:path w="313689" h="9525">
                  <a:moveTo>
                    <a:pt x="313334" y="0"/>
                  </a:moveTo>
                  <a:lnTo>
                    <a:pt x="308317" y="0"/>
                  </a:lnTo>
                  <a:lnTo>
                    <a:pt x="308317" y="9232"/>
                  </a:lnTo>
                  <a:lnTo>
                    <a:pt x="313334" y="9232"/>
                  </a:lnTo>
                  <a:lnTo>
                    <a:pt x="313334" y="0"/>
                  </a:lnTo>
                  <a:close/>
                </a:path>
              </a:pathLst>
            </a:custGeom>
            <a:solidFill>
              <a:srgbClr val="8F9293"/>
            </a:solidFill>
          </p:spPr>
          <p:txBody>
            <a:bodyPr wrap="square" lIns="0" tIns="0" rIns="0" bIns="0" rtlCol="0"/>
            <a:lstStyle/>
            <a:p>
              <a:endParaRPr/>
            </a:p>
          </p:txBody>
        </p:sp>
        <p:sp>
          <p:nvSpPr>
            <p:cNvPr id="16" name="object 16"/>
            <p:cNvSpPr/>
            <p:nvPr/>
          </p:nvSpPr>
          <p:spPr>
            <a:xfrm>
              <a:off x="1887816" y="6675348"/>
              <a:ext cx="347980" cy="1905"/>
            </a:xfrm>
            <a:custGeom>
              <a:avLst/>
              <a:gdLst/>
              <a:ahLst/>
              <a:cxnLst/>
              <a:rect l="l" t="t" r="r" b="b"/>
              <a:pathLst>
                <a:path w="347980" h="1904">
                  <a:moveTo>
                    <a:pt x="0" y="1536"/>
                  </a:moveTo>
                  <a:lnTo>
                    <a:pt x="347675" y="1536"/>
                  </a:lnTo>
                  <a:lnTo>
                    <a:pt x="347675" y="0"/>
                  </a:lnTo>
                  <a:lnTo>
                    <a:pt x="0" y="0"/>
                  </a:lnTo>
                  <a:lnTo>
                    <a:pt x="0" y="1536"/>
                  </a:lnTo>
                  <a:close/>
                </a:path>
              </a:pathLst>
            </a:custGeom>
            <a:solidFill>
              <a:srgbClr val="A5A592"/>
            </a:solidFill>
          </p:spPr>
          <p:txBody>
            <a:bodyPr wrap="square" lIns="0" tIns="0" rIns="0" bIns="0" rtlCol="0"/>
            <a:lstStyle/>
            <a:p>
              <a:endParaRPr/>
            </a:p>
          </p:txBody>
        </p:sp>
        <p:sp>
          <p:nvSpPr>
            <p:cNvPr id="17" name="object 17"/>
            <p:cNvSpPr/>
            <p:nvPr/>
          </p:nvSpPr>
          <p:spPr>
            <a:xfrm>
              <a:off x="774839" y="6600914"/>
              <a:ext cx="1113155" cy="222250"/>
            </a:xfrm>
            <a:custGeom>
              <a:avLst/>
              <a:gdLst/>
              <a:ahLst/>
              <a:cxnLst/>
              <a:rect l="l" t="t" r="r" b="b"/>
              <a:pathLst>
                <a:path w="1113155" h="222250">
                  <a:moveTo>
                    <a:pt x="1112977" y="0"/>
                  </a:moveTo>
                  <a:lnTo>
                    <a:pt x="0" y="0"/>
                  </a:lnTo>
                  <a:lnTo>
                    <a:pt x="0" y="221653"/>
                  </a:lnTo>
                  <a:lnTo>
                    <a:pt x="1112977" y="221653"/>
                  </a:lnTo>
                  <a:lnTo>
                    <a:pt x="1112977" y="0"/>
                  </a:lnTo>
                  <a:close/>
                </a:path>
              </a:pathLst>
            </a:custGeom>
            <a:solidFill>
              <a:srgbClr val="CFD1D0"/>
            </a:solidFill>
          </p:spPr>
          <p:txBody>
            <a:bodyPr wrap="square" lIns="0" tIns="0" rIns="0" bIns="0" rtlCol="0"/>
            <a:lstStyle/>
            <a:p>
              <a:endParaRPr/>
            </a:p>
          </p:txBody>
        </p:sp>
        <p:sp>
          <p:nvSpPr>
            <p:cNvPr id="18" name="object 18"/>
            <p:cNvSpPr/>
            <p:nvPr/>
          </p:nvSpPr>
          <p:spPr>
            <a:xfrm>
              <a:off x="774843" y="6600914"/>
              <a:ext cx="1113155" cy="222250"/>
            </a:xfrm>
            <a:custGeom>
              <a:avLst/>
              <a:gdLst/>
              <a:ahLst/>
              <a:cxnLst/>
              <a:rect l="l" t="t" r="r" b="b"/>
              <a:pathLst>
                <a:path w="1113155" h="222250">
                  <a:moveTo>
                    <a:pt x="0" y="221653"/>
                  </a:moveTo>
                  <a:lnTo>
                    <a:pt x="1112977" y="221653"/>
                  </a:lnTo>
                  <a:lnTo>
                    <a:pt x="1112977" y="0"/>
                  </a:lnTo>
                  <a:lnTo>
                    <a:pt x="0" y="0"/>
                  </a:lnTo>
                  <a:lnTo>
                    <a:pt x="0" y="221653"/>
                  </a:lnTo>
                  <a:close/>
                </a:path>
              </a:pathLst>
            </a:custGeom>
            <a:ln w="9232">
              <a:solidFill>
                <a:srgbClr val="FFFFFF"/>
              </a:solidFill>
            </a:ln>
          </p:spPr>
          <p:txBody>
            <a:bodyPr wrap="square" lIns="0" tIns="0" rIns="0" bIns="0" rtlCol="0"/>
            <a:lstStyle/>
            <a:p>
              <a:endParaRPr/>
            </a:p>
          </p:txBody>
        </p:sp>
        <p:sp>
          <p:nvSpPr>
            <p:cNvPr id="19" name="object 19"/>
            <p:cNvSpPr/>
            <p:nvPr/>
          </p:nvSpPr>
          <p:spPr>
            <a:xfrm>
              <a:off x="826300" y="6688149"/>
              <a:ext cx="561340" cy="28575"/>
            </a:xfrm>
            <a:custGeom>
              <a:avLst/>
              <a:gdLst/>
              <a:ahLst/>
              <a:cxnLst/>
              <a:rect l="l" t="t" r="r" b="b"/>
              <a:pathLst>
                <a:path w="561340" h="28575">
                  <a:moveTo>
                    <a:pt x="0" y="28003"/>
                  </a:moveTo>
                  <a:lnTo>
                    <a:pt x="561340" y="28003"/>
                  </a:lnTo>
                  <a:lnTo>
                    <a:pt x="561340" y="0"/>
                  </a:lnTo>
                  <a:lnTo>
                    <a:pt x="0" y="0"/>
                  </a:lnTo>
                  <a:lnTo>
                    <a:pt x="0" y="28003"/>
                  </a:lnTo>
                  <a:close/>
                </a:path>
              </a:pathLst>
            </a:custGeom>
            <a:solidFill>
              <a:srgbClr val="C6CACB"/>
            </a:solidFill>
          </p:spPr>
          <p:txBody>
            <a:bodyPr wrap="square" lIns="0" tIns="0" rIns="0" bIns="0" rtlCol="0"/>
            <a:lstStyle/>
            <a:p>
              <a:endParaRPr/>
            </a:p>
          </p:txBody>
        </p:sp>
        <p:pic>
          <p:nvPicPr>
            <p:cNvPr id="20" name="object 20"/>
            <p:cNvPicPr/>
            <p:nvPr/>
          </p:nvPicPr>
          <p:blipFill>
            <a:blip r:embed="rId4" cstate="print"/>
            <a:stretch>
              <a:fillRect/>
            </a:stretch>
          </p:blipFill>
          <p:spPr>
            <a:xfrm>
              <a:off x="767956" y="6585749"/>
              <a:ext cx="1131201" cy="76352"/>
            </a:xfrm>
            <a:prstGeom prst="rect">
              <a:avLst/>
            </a:prstGeom>
          </p:spPr>
        </p:pic>
        <p:sp>
          <p:nvSpPr>
            <p:cNvPr id="21" name="object 21"/>
            <p:cNvSpPr/>
            <p:nvPr/>
          </p:nvSpPr>
          <p:spPr>
            <a:xfrm>
              <a:off x="826300" y="6742188"/>
              <a:ext cx="1010285" cy="28575"/>
            </a:xfrm>
            <a:custGeom>
              <a:avLst/>
              <a:gdLst/>
              <a:ahLst/>
              <a:cxnLst/>
              <a:rect l="l" t="t" r="r" b="b"/>
              <a:pathLst>
                <a:path w="1010285" h="28575">
                  <a:moveTo>
                    <a:pt x="1010056" y="0"/>
                  </a:moveTo>
                  <a:lnTo>
                    <a:pt x="0" y="0"/>
                  </a:lnTo>
                  <a:lnTo>
                    <a:pt x="0" y="28003"/>
                  </a:lnTo>
                  <a:lnTo>
                    <a:pt x="1010056" y="28003"/>
                  </a:lnTo>
                  <a:lnTo>
                    <a:pt x="1010056" y="0"/>
                  </a:lnTo>
                  <a:close/>
                </a:path>
              </a:pathLst>
            </a:custGeom>
            <a:solidFill>
              <a:srgbClr val="C6CACB"/>
            </a:solidFill>
          </p:spPr>
          <p:txBody>
            <a:bodyPr wrap="square" lIns="0" tIns="0" rIns="0" bIns="0" rtlCol="0"/>
            <a:lstStyle/>
            <a:p>
              <a:endParaRPr/>
            </a:p>
          </p:txBody>
        </p:sp>
        <p:sp>
          <p:nvSpPr>
            <p:cNvPr id="22" name="object 22"/>
            <p:cNvSpPr/>
            <p:nvPr/>
          </p:nvSpPr>
          <p:spPr>
            <a:xfrm>
              <a:off x="314959" y="6358902"/>
              <a:ext cx="356870" cy="75565"/>
            </a:xfrm>
            <a:custGeom>
              <a:avLst/>
              <a:gdLst/>
              <a:ahLst/>
              <a:cxnLst/>
              <a:rect l="l" t="t" r="r" b="b"/>
              <a:pathLst>
                <a:path w="356870" h="75564">
                  <a:moveTo>
                    <a:pt x="0" y="75539"/>
                  </a:moveTo>
                  <a:lnTo>
                    <a:pt x="356692" y="75539"/>
                  </a:lnTo>
                  <a:lnTo>
                    <a:pt x="356692" y="0"/>
                  </a:lnTo>
                  <a:lnTo>
                    <a:pt x="0" y="0"/>
                  </a:lnTo>
                  <a:lnTo>
                    <a:pt x="0" y="75539"/>
                  </a:lnTo>
                  <a:close/>
                </a:path>
              </a:pathLst>
            </a:custGeom>
            <a:solidFill>
              <a:srgbClr val="CFD1D0"/>
            </a:solidFill>
          </p:spPr>
          <p:txBody>
            <a:bodyPr wrap="square" lIns="0" tIns="0" rIns="0" bIns="0" rtlCol="0"/>
            <a:lstStyle/>
            <a:p>
              <a:endParaRPr/>
            </a:p>
          </p:txBody>
        </p:sp>
        <p:sp>
          <p:nvSpPr>
            <p:cNvPr id="23" name="object 23"/>
            <p:cNvSpPr/>
            <p:nvPr/>
          </p:nvSpPr>
          <p:spPr>
            <a:xfrm>
              <a:off x="314962" y="6358899"/>
              <a:ext cx="356870" cy="85725"/>
            </a:xfrm>
            <a:custGeom>
              <a:avLst/>
              <a:gdLst/>
              <a:ahLst/>
              <a:cxnLst/>
              <a:rect l="l" t="t" r="r" b="b"/>
              <a:pathLst>
                <a:path w="356870" h="85725">
                  <a:moveTo>
                    <a:pt x="0" y="85293"/>
                  </a:moveTo>
                  <a:lnTo>
                    <a:pt x="356692" y="85293"/>
                  </a:lnTo>
                  <a:lnTo>
                    <a:pt x="356692" y="0"/>
                  </a:lnTo>
                  <a:lnTo>
                    <a:pt x="0" y="0"/>
                  </a:lnTo>
                  <a:lnTo>
                    <a:pt x="0" y="85293"/>
                  </a:lnTo>
                  <a:close/>
                </a:path>
              </a:pathLst>
            </a:custGeom>
            <a:ln w="9232">
              <a:solidFill>
                <a:srgbClr val="FFFFFF"/>
              </a:solidFill>
            </a:ln>
          </p:spPr>
          <p:txBody>
            <a:bodyPr wrap="square" lIns="0" tIns="0" rIns="0" bIns="0" rtlCol="0"/>
            <a:lstStyle/>
            <a:p>
              <a:endParaRPr/>
            </a:p>
          </p:txBody>
        </p:sp>
        <p:pic>
          <p:nvPicPr>
            <p:cNvPr id="24" name="object 24"/>
            <p:cNvPicPr/>
            <p:nvPr/>
          </p:nvPicPr>
          <p:blipFill>
            <a:blip r:embed="rId5" cstate="print"/>
            <a:stretch>
              <a:fillRect/>
            </a:stretch>
          </p:blipFill>
          <p:spPr>
            <a:xfrm>
              <a:off x="183680" y="6444195"/>
              <a:ext cx="607136" cy="378371"/>
            </a:xfrm>
            <a:prstGeom prst="rect">
              <a:avLst/>
            </a:prstGeom>
          </p:spPr>
        </p:pic>
        <p:sp>
          <p:nvSpPr>
            <p:cNvPr id="25" name="object 25"/>
            <p:cNvSpPr/>
            <p:nvPr/>
          </p:nvSpPr>
          <p:spPr>
            <a:xfrm>
              <a:off x="245732" y="6563855"/>
              <a:ext cx="480695" cy="234950"/>
            </a:xfrm>
            <a:custGeom>
              <a:avLst/>
              <a:gdLst/>
              <a:ahLst/>
              <a:cxnLst/>
              <a:rect l="l" t="t" r="r" b="b"/>
              <a:pathLst>
                <a:path w="480695" h="234950">
                  <a:moveTo>
                    <a:pt x="84848" y="0"/>
                  </a:moveTo>
                  <a:lnTo>
                    <a:pt x="0" y="0"/>
                  </a:lnTo>
                  <a:lnTo>
                    <a:pt x="0" y="59347"/>
                  </a:lnTo>
                  <a:lnTo>
                    <a:pt x="84848" y="59347"/>
                  </a:lnTo>
                  <a:lnTo>
                    <a:pt x="84848" y="0"/>
                  </a:lnTo>
                  <a:close/>
                </a:path>
                <a:path w="480695" h="234950">
                  <a:moveTo>
                    <a:pt x="216649" y="175361"/>
                  </a:moveTo>
                  <a:lnTo>
                    <a:pt x="172097" y="175361"/>
                  </a:lnTo>
                  <a:lnTo>
                    <a:pt x="172097" y="234708"/>
                  </a:lnTo>
                  <a:lnTo>
                    <a:pt x="216649" y="234708"/>
                  </a:lnTo>
                  <a:lnTo>
                    <a:pt x="216649" y="175361"/>
                  </a:lnTo>
                  <a:close/>
                </a:path>
                <a:path w="480695" h="234950">
                  <a:moveTo>
                    <a:pt x="216649" y="87680"/>
                  </a:moveTo>
                  <a:lnTo>
                    <a:pt x="172097" y="87680"/>
                  </a:lnTo>
                  <a:lnTo>
                    <a:pt x="172097" y="147027"/>
                  </a:lnTo>
                  <a:lnTo>
                    <a:pt x="216649" y="147027"/>
                  </a:lnTo>
                  <a:lnTo>
                    <a:pt x="216649" y="87680"/>
                  </a:lnTo>
                  <a:close/>
                </a:path>
                <a:path w="480695" h="234950">
                  <a:moveTo>
                    <a:pt x="216649" y="0"/>
                  </a:moveTo>
                  <a:lnTo>
                    <a:pt x="131800" y="0"/>
                  </a:lnTo>
                  <a:lnTo>
                    <a:pt x="131800" y="59347"/>
                  </a:lnTo>
                  <a:lnTo>
                    <a:pt x="216649" y="59347"/>
                  </a:lnTo>
                  <a:lnTo>
                    <a:pt x="216649" y="0"/>
                  </a:lnTo>
                  <a:close/>
                </a:path>
                <a:path w="480695" h="234950">
                  <a:moveTo>
                    <a:pt x="348462" y="175361"/>
                  </a:moveTo>
                  <a:lnTo>
                    <a:pt x="263613" y="175361"/>
                  </a:lnTo>
                  <a:lnTo>
                    <a:pt x="263613" y="234708"/>
                  </a:lnTo>
                  <a:lnTo>
                    <a:pt x="348462" y="234708"/>
                  </a:lnTo>
                  <a:lnTo>
                    <a:pt x="348462" y="175361"/>
                  </a:lnTo>
                  <a:close/>
                </a:path>
                <a:path w="480695" h="234950">
                  <a:moveTo>
                    <a:pt x="348462" y="87680"/>
                  </a:moveTo>
                  <a:lnTo>
                    <a:pt x="263613" y="87680"/>
                  </a:lnTo>
                  <a:lnTo>
                    <a:pt x="263613" y="147027"/>
                  </a:lnTo>
                  <a:lnTo>
                    <a:pt x="348462" y="147027"/>
                  </a:lnTo>
                  <a:lnTo>
                    <a:pt x="348462" y="87680"/>
                  </a:lnTo>
                  <a:close/>
                </a:path>
                <a:path w="480695" h="234950">
                  <a:moveTo>
                    <a:pt x="348462" y="0"/>
                  </a:moveTo>
                  <a:lnTo>
                    <a:pt x="263613" y="0"/>
                  </a:lnTo>
                  <a:lnTo>
                    <a:pt x="263613" y="59347"/>
                  </a:lnTo>
                  <a:lnTo>
                    <a:pt x="348462" y="59347"/>
                  </a:lnTo>
                  <a:lnTo>
                    <a:pt x="348462" y="0"/>
                  </a:lnTo>
                  <a:close/>
                </a:path>
                <a:path w="480695" h="234950">
                  <a:moveTo>
                    <a:pt x="480263" y="175361"/>
                  </a:moveTo>
                  <a:lnTo>
                    <a:pt x="395414" y="175361"/>
                  </a:lnTo>
                  <a:lnTo>
                    <a:pt x="395414" y="234708"/>
                  </a:lnTo>
                  <a:lnTo>
                    <a:pt x="480263" y="234708"/>
                  </a:lnTo>
                  <a:lnTo>
                    <a:pt x="480263" y="175361"/>
                  </a:lnTo>
                  <a:close/>
                </a:path>
                <a:path w="480695" h="234950">
                  <a:moveTo>
                    <a:pt x="480263" y="87680"/>
                  </a:moveTo>
                  <a:lnTo>
                    <a:pt x="395414" y="87680"/>
                  </a:lnTo>
                  <a:lnTo>
                    <a:pt x="395414" y="147027"/>
                  </a:lnTo>
                  <a:lnTo>
                    <a:pt x="480263" y="147027"/>
                  </a:lnTo>
                  <a:lnTo>
                    <a:pt x="480263" y="87680"/>
                  </a:lnTo>
                  <a:close/>
                </a:path>
                <a:path w="480695" h="234950">
                  <a:moveTo>
                    <a:pt x="480263" y="0"/>
                  </a:moveTo>
                  <a:lnTo>
                    <a:pt x="395414" y="0"/>
                  </a:lnTo>
                  <a:lnTo>
                    <a:pt x="395414" y="59347"/>
                  </a:lnTo>
                  <a:lnTo>
                    <a:pt x="480263" y="59347"/>
                  </a:lnTo>
                  <a:lnTo>
                    <a:pt x="480263" y="0"/>
                  </a:lnTo>
                  <a:close/>
                </a:path>
              </a:pathLst>
            </a:custGeom>
            <a:solidFill>
              <a:srgbClr val="C6CACB"/>
            </a:solidFill>
          </p:spPr>
          <p:txBody>
            <a:bodyPr wrap="square" lIns="0" tIns="0" rIns="0" bIns="0" rtlCol="0"/>
            <a:lstStyle/>
            <a:p>
              <a:endParaRPr/>
            </a:p>
          </p:txBody>
        </p:sp>
        <p:pic>
          <p:nvPicPr>
            <p:cNvPr id="26" name="object 26"/>
            <p:cNvPicPr/>
            <p:nvPr/>
          </p:nvPicPr>
          <p:blipFill>
            <a:blip r:embed="rId6" cstate="print"/>
            <a:stretch>
              <a:fillRect/>
            </a:stretch>
          </p:blipFill>
          <p:spPr>
            <a:xfrm>
              <a:off x="172643" y="6434442"/>
              <a:ext cx="630567" cy="19507"/>
            </a:xfrm>
            <a:prstGeom prst="rect">
              <a:avLst/>
            </a:prstGeom>
          </p:spPr>
        </p:pic>
        <p:pic>
          <p:nvPicPr>
            <p:cNvPr id="27" name="object 27"/>
            <p:cNvPicPr/>
            <p:nvPr/>
          </p:nvPicPr>
          <p:blipFill>
            <a:blip r:embed="rId7" cstate="print"/>
            <a:stretch>
              <a:fillRect/>
            </a:stretch>
          </p:blipFill>
          <p:spPr>
            <a:xfrm>
              <a:off x="302132" y="6344475"/>
              <a:ext cx="383540" cy="14427"/>
            </a:xfrm>
            <a:prstGeom prst="rect">
              <a:avLst/>
            </a:prstGeom>
          </p:spPr>
        </p:pic>
        <p:sp>
          <p:nvSpPr>
            <p:cNvPr id="28" name="object 28"/>
            <p:cNvSpPr/>
            <p:nvPr/>
          </p:nvSpPr>
          <p:spPr>
            <a:xfrm>
              <a:off x="4848143" y="5822200"/>
              <a:ext cx="792480" cy="912494"/>
            </a:xfrm>
            <a:custGeom>
              <a:avLst/>
              <a:gdLst/>
              <a:ahLst/>
              <a:cxnLst/>
              <a:rect l="l" t="t" r="r" b="b"/>
              <a:pathLst>
                <a:path w="792479" h="912495">
                  <a:moveTo>
                    <a:pt x="632815" y="0"/>
                  </a:moveTo>
                  <a:lnTo>
                    <a:pt x="159562" y="0"/>
                  </a:lnTo>
                  <a:lnTo>
                    <a:pt x="160608" y="13011"/>
                  </a:lnTo>
                  <a:lnTo>
                    <a:pt x="161607" y="33832"/>
                  </a:lnTo>
                  <a:lnTo>
                    <a:pt x="162702" y="64503"/>
                  </a:lnTo>
                  <a:lnTo>
                    <a:pt x="163402" y="104252"/>
                  </a:lnTo>
                  <a:lnTo>
                    <a:pt x="163348" y="152610"/>
                  </a:lnTo>
                  <a:lnTo>
                    <a:pt x="161293" y="234535"/>
                  </a:lnTo>
                  <a:lnTo>
                    <a:pt x="158408" y="293481"/>
                  </a:lnTo>
                  <a:lnTo>
                    <a:pt x="152666" y="374065"/>
                  </a:lnTo>
                  <a:lnTo>
                    <a:pt x="147993" y="420674"/>
                  </a:lnTo>
                  <a:lnTo>
                    <a:pt x="139663" y="480081"/>
                  </a:lnTo>
                  <a:lnTo>
                    <a:pt x="129351" y="536908"/>
                  </a:lnTo>
                  <a:lnTo>
                    <a:pt x="117441" y="590892"/>
                  </a:lnTo>
                  <a:lnTo>
                    <a:pt x="102323" y="649054"/>
                  </a:lnTo>
                  <a:lnTo>
                    <a:pt x="85520" y="704739"/>
                  </a:lnTo>
                  <a:lnTo>
                    <a:pt x="64061" y="766925"/>
                  </a:lnTo>
                  <a:lnTo>
                    <a:pt x="52438" y="797204"/>
                  </a:lnTo>
                  <a:lnTo>
                    <a:pt x="44246" y="817651"/>
                  </a:lnTo>
                  <a:lnTo>
                    <a:pt x="30552" y="849581"/>
                  </a:lnTo>
                  <a:lnTo>
                    <a:pt x="18375" y="876007"/>
                  </a:lnTo>
                  <a:lnTo>
                    <a:pt x="8215" y="896586"/>
                  </a:lnTo>
                  <a:lnTo>
                    <a:pt x="0" y="912025"/>
                  </a:lnTo>
                  <a:lnTo>
                    <a:pt x="792467" y="912025"/>
                  </a:lnTo>
                  <a:lnTo>
                    <a:pt x="763387" y="853102"/>
                  </a:lnTo>
                  <a:lnTo>
                    <a:pt x="747406" y="815852"/>
                  </a:lnTo>
                  <a:lnTo>
                    <a:pt x="732872" y="779229"/>
                  </a:lnTo>
                  <a:lnTo>
                    <a:pt x="707335" y="706384"/>
                  </a:lnTo>
                  <a:lnTo>
                    <a:pt x="685303" y="631816"/>
                  </a:lnTo>
                  <a:lnTo>
                    <a:pt x="672925" y="582507"/>
                  </a:lnTo>
                  <a:lnTo>
                    <a:pt x="658260" y="512300"/>
                  </a:lnTo>
                  <a:lnTo>
                    <a:pt x="650741" y="467664"/>
                  </a:lnTo>
                  <a:lnTo>
                    <a:pt x="644499" y="421542"/>
                  </a:lnTo>
                  <a:lnTo>
                    <a:pt x="639711" y="374065"/>
                  </a:lnTo>
                  <a:lnTo>
                    <a:pt x="635330" y="315296"/>
                  </a:lnTo>
                  <a:lnTo>
                    <a:pt x="631009" y="234535"/>
                  </a:lnTo>
                  <a:lnTo>
                    <a:pt x="628954" y="152610"/>
                  </a:lnTo>
                  <a:lnTo>
                    <a:pt x="628930" y="104252"/>
                  </a:lnTo>
                  <a:lnTo>
                    <a:pt x="629662" y="64503"/>
                  </a:lnTo>
                  <a:lnTo>
                    <a:pt x="630770" y="33832"/>
                  </a:lnTo>
                  <a:lnTo>
                    <a:pt x="632815" y="0"/>
                  </a:lnTo>
                  <a:close/>
                </a:path>
              </a:pathLst>
            </a:custGeom>
            <a:solidFill>
              <a:srgbClr val="CFD1D0"/>
            </a:solidFill>
          </p:spPr>
          <p:txBody>
            <a:bodyPr wrap="square" lIns="0" tIns="0" rIns="0" bIns="0" rtlCol="0"/>
            <a:lstStyle/>
            <a:p>
              <a:endParaRPr/>
            </a:p>
          </p:txBody>
        </p:sp>
        <p:sp>
          <p:nvSpPr>
            <p:cNvPr id="29" name="object 29"/>
            <p:cNvSpPr/>
            <p:nvPr/>
          </p:nvSpPr>
          <p:spPr>
            <a:xfrm>
              <a:off x="4848143" y="5822200"/>
              <a:ext cx="792480" cy="912494"/>
            </a:xfrm>
            <a:custGeom>
              <a:avLst/>
              <a:gdLst/>
              <a:ahLst/>
              <a:cxnLst/>
              <a:rect l="l" t="t" r="r" b="b"/>
              <a:pathLst>
                <a:path w="792479" h="912495">
                  <a:moveTo>
                    <a:pt x="0" y="912025"/>
                  </a:moveTo>
                  <a:lnTo>
                    <a:pt x="792467" y="912025"/>
                  </a:lnTo>
                  <a:lnTo>
                    <a:pt x="791641" y="910615"/>
                  </a:lnTo>
                  <a:lnTo>
                    <a:pt x="790740" y="908939"/>
                  </a:lnTo>
                  <a:lnTo>
                    <a:pt x="789749" y="907084"/>
                  </a:lnTo>
                  <a:lnTo>
                    <a:pt x="788758" y="905332"/>
                  </a:lnTo>
                  <a:lnTo>
                    <a:pt x="787692" y="903300"/>
                  </a:lnTo>
                  <a:lnTo>
                    <a:pt x="786549" y="901090"/>
                  </a:lnTo>
                  <a:lnTo>
                    <a:pt x="784821" y="897839"/>
                  </a:lnTo>
                  <a:lnTo>
                    <a:pt x="782929" y="894143"/>
                  </a:lnTo>
                  <a:lnTo>
                    <a:pt x="780884" y="890079"/>
                  </a:lnTo>
                  <a:lnTo>
                    <a:pt x="780237" y="888758"/>
                  </a:lnTo>
                  <a:lnTo>
                    <a:pt x="779576" y="887361"/>
                  </a:lnTo>
                  <a:lnTo>
                    <a:pt x="778827" y="885939"/>
                  </a:lnTo>
                  <a:lnTo>
                    <a:pt x="776287" y="880833"/>
                  </a:lnTo>
                  <a:lnTo>
                    <a:pt x="773582" y="875106"/>
                  </a:lnTo>
                  <a:lnTo>
                    <a:pt x="770623" y="868934"/>
                  </a:lnTo>
                  <a:lnTo>
                    <a:pt x="747406" y="815852"/>
                  </a:lnTo>
                  <a:lnTo>
                    <a:pt x="732872" y="779229"/>
                  </a:lnTo>
                  <a:lnTo>
                    <a:pt x="726960" y="763104"/>
                  </a:lnTo>
                  <a:lnTo>
                    <a:pt x="724166" y="755700"/>
                  </a:lnTo>
                  <a:lnTo>
                    <a:pt x="721372" y="748030"/>
                  </a:lnTo>
                  <a:lnTo>
                    <a:pt x="718743" y="740194"/>
                  </a:lnTo>
                  <a:lnTo>
                    <a:pt x="707335" y="706384"/>
                  </a:lnTo>
                  <a:lnTo>
                    <a:pt x="685303" y="631816"/>
                  </a:lnTo>
                  <a:lnTo>
                    <a:pt x="675081" y="591362"/>
                  </a:lnTo>
                  <a:lnTo>
                    <a:pt x="658260" y="512300"/>
                  </a:lnTo>
                  <a:lnTo>
                    <a:pt x="650741" y="467664"/>
                  </a:lnTo>
                  <a:lnTo>
                    <a:pt x="644499" y="421542"/>
                  </a:lnTo>
                  <a:lnTo>
                    <a:pt x="639711" y="374065"/>
                  </a:lnTo>
                  <a:lnTo>
                    <a:pt x="635330" y="315296"/>
                  </a:lnTo>
                  <a:lnTo>
                    <a:pt x="632244" y="260832"/>
                  </a:lnTo>
                  <a:lnTo>
                    <a:pt x="632155" y="259334"/>
                  </a:lnTo>
                  <a:lnTo>
                    <a:pt x="632079" y="257835"/>
                  </a:lnTo>
                  <a:lnTo>
                    <a:pt x="631990" y="256425"/>
                  </a:lnTo>
                  <a:lnTo>
                    <a:pt x="631468" y="245368"/>
                  </a:lnTo>
                  <a:lnTo>
                    <a:pt x="631009" y="234535"/>
                  </a:lnTo>
                  <a:lnTo>
                    <a:pt x="630611" y="223919"/>
                  </a:lnTo>
                  <a:lnTo>
                    <a:pt x="630275" y="213512"/>
                  </a:lnTo>
                  <a:lnTo>
                    <a:pt x="630186" y="212013"/>
                  </a:lnTo>
                  <a:lnTo>
                    <a:pt x="630186" y="210515"/>
                  </a:lnTo>
                  <a:lnTo>
                    <a:pt x="630110" y="209105"/>
                  </a:lnTo>
                  <a:lnTo>
                    <a:pt x="628954" y="152610"/>
                  </a:lnTo>
                  <a:lnTo>
                    <a:pt x="628930" y="104252"/>
                  </a:lnTo>
                  <a:lnTo>
                    <a:pt x="629662" y="64503"/>
                  </a:lnTo>
                  <a:lnTo>
                    <a:pt x="631502" y="19213"/>
                  </a:lnTo>
                  <a:lnTo>
                    <a:pt x="632815" y="0"/>
                  </a:lnTo>
                  <a:lnTo>
                    <a:pt x="542177" y="50"/>
                  </a:lnTo>
                  <a:lnTo>
                    <a:pt x="489735" y="66"/>
                  </a:lnTo>
                  <a:lnTo>
                    <a:pt x="455484" y="50"/>
                  </a:lnTo>
                  <a:lnTo>
                    <a:pt x="419417" y="0"/>
                  </a:lnTo>
                  <a:lnTo>
                    <a:pt x="159562" y="0"/>
                  </a:lnTo>
                  <a:lnTo>
                    <a:pt x="162702" y="64503"/>
                  </a:lnTo>
                  <a:lnTo>
                    <a:pt x="163402" y="104252"/>
                  </a:lnTo>
                  <a:lnTo>
                    <a:pt x="163348" y="152610"/>
                  </a:lnTo>
                  <a:lnTo>
                    <a:pt x="162179" y="209105"/>
                  </a:lnTo>
                  <a:lnTo>
                    <a:pt x="162179" y="210604"/>
                  </a:lnTo>
                  <a:lnTo>
                    <a:pt x="162102" y="212013"/>
                  </a:lnTo>
                  <a:lnTo>
                    <a:pt x="162026" y="213512"/>
                  </a:lnTo>
                  <a:lnTo>
                    <a:pt x="161684" y="223919"/>
                  </a:lnTo>
                  <a:lnTo>
                    <a:pt x="161293" y="234535"/>
                  </a:lnTo>
                  <a:lnTo>
                    <a:pt x="160858" y="245368"/>
                  </a:lnTo>
                  <a:lnTo>
                    <a:pt x="160388" y="256425"/>
                  </a:lnTo>
                  <a:lnTo>
                    <a:pt x="160299" y="257924"/>
                  </a:lnTo>
                  <a:lnTo>
                    <a:pt x="160210" y="259334"/>
                  </a:lnTo>
                  <a:lnTo>
                    <a:pt x="160134" y="260832"/>
                  </a:lnTo>
                  <a:lnTo>
                    <a:pt x="157364" y="310399"/>
                  </a:lnTo>
                  <a:lnTo>
                    <a:pt x="154551" y="350559"/>
                  </a:lnTo>
                  <a:lnTo>
                    <a:pt x="150572" y="397536"/>
                  </a:lnTo>
                  <a:lnTo>
                    <a:pt x="139663" y="480081"/>
                  </a:lnTo>
                  <a:lnTo>
                    <a:pt x="129351" y="536908"/>
                  </a:lnTo>
                  <a:lnTo>
                    <a:pt x="117441" y="590892"/>
                  </a:lnTo>
                  <a:lnTo>
                    <a:pt x="104317" y="641769"/>
                  </a:lnTo>
                  <a:lnTo>
                    <a:pt x="85520" y="704739"/>
                  </a:lnTo>
                  <a:lnTo>
                    <a:pt x="64061" y="766925"/>
                  </a:lnTo>
                  <a:lnTo>
                    <a:pt x="53517" y="794562"/>
                  </a:lnTo>
                  <a:lnTo>
                    <a:pt x="53187" y="795451"/>
                  </a:lnTo>
                  <a:lnTo>
                    <a:pt x="52946" y="796328"/>
                  </a:lnTo>
                  <a:lnTo>
                    <a:pt x="52438" y="797204"/>
                  </a:lnTo>
                  <a:lnTo>
                    <a:pt x="49657" y="804265"/>
                  </a:lnTo>
                  <a:lnTo>
                    <a:pt x="30552" y="849581"/>
                  </a:lnTo>
                  <a:lnTo>
                    <a:pt x="8215" y="896586"/>
                  </a:lnTo>
                  <a:lnTo>
                    <a:pt x="330" y="911313"/>
                  </a:lnTo>
                  <a:lnTo>
                    <a:pt x="88" y="911669"/>
                  </a:lnTo>
                  <a:lnTo>
                    <a:pt x="0" y="912025"/>
                  </a:lnTo>
                  <a:close/>
                </a:path>
              </a:pathLst>
            </a:custGeom>
            <a:ln w="6261">
              <a:solidFill>
                <a:srgbClr val="FFFFFF"/>
              </a:solidFill>
            </a:ln>
          </p:spPr>
          <p:txBody>
            <a:bodyPr wrap="square" lIns="0" tIns="0" rIns="0" bIns="0" rtlCol="0"/>
            <a:lstStyle/>
            <a:p>
              <a:endParaRPr/>
            </a:p>
          </p:txBody>
        </p:sp>
        <p:sp>
          <p:nvSpPr>
            <p:cNvPr id="30" name="object 30"/>
            <p:cNvSpPr/>
            <p:nvPr/>
          </p:nvSpPr>
          <p:spPr>
            <a:xfrm>
              <a:off x="4848103" y="6616793"/>
              <a:ext cx="793115" cy="117475"/>
            </a:xfrm>
            <a:custGeom>
              <a:avLst/>
              <a:gdLst/>
              <a:ahLst/>
              <a:cxnLst/>
              <a:rect l="l" t="t" r="r" b="b"/>
              <a:pathLst>
                <a:path w="793114" h="117475">
                  <a:moveTo>
                    <a:pt x="738860" y="0"/>
                  </a:moveTo>
                  <a:lnTo>
                    <a:pt x="53594" y="0"/>
                  </a:lnTo>
                  <a:lnTo>
                    <a:pt x="44323" y="23088"/>
                  </a:lnTo>
                  <a:lnTo>
                    <a:pt x="30632" y="55018"/>
                  </a:lnTo>
                  <a:lnTo>
                    <a:pt x="18446" y="81445"/>
                  </a:lnTo>
                  <a:lnTo>
                    <a:pt x="8261" y="102023"/>
                  </a:lnTo>
                  <a:lnTo>
                    <a:pt x="0" y="117462"/>
                  </a:lnTo>
                  <a:lnTo>
                    <a:pt x="792543" y="117462"/>
                  </a:lnTo>
                  <a:lnTo>
                    <a:pt x="770699" y="74371"/>
                  </a:lnTo>
                  <a:lnTo>
                    <a:pt x="747451" y="21289"/>
                  </a:lnTo>
                  <a:lnTo>
                    <a:pt x="738860" y="0"/>
                  </a:lnTo>
                  <a:close/>
                </a:path>
              </a:pathLst>
            </a:custGeom>
            <a:solidFill>
              <a:srgbClr val="E9E9E8"/>
            </a:solidFill>
          </p:spPr>
          <p:txBody>
            <a:bodyPr wrap="square" lIns="0" tIns="0" rIns="0" bIns="0" rtlCol="0"/>
            <a:lstStyle/>
            <a:p>
              <a:endParaRPr/>
            </a:p>
          </p:txBody>
        </p:sp>
        <p:sp>
          <p:nvSpPr>
            <p:cNvPr id="31" name="object 31"/>
            <p:cNvSpPr/>
            <p:nvPr/>
          </p:nvSpPr>
          <p:spPr>
            <a:xfrm>
              <a:off x="4848103" y="6616793"/>
              <a:ext cx="793115" cy="117475"/>
            </a:xfrm>
            <a:custGeom>
              <a:avLst/>
              <a:gdLst/>
              <a:ahLst/>
              <a:cxnLst/>
              <a:rect l="l" t="t" r="r" b="b"/>
              <a:pathLst>
                <a:path w="793114" h="117475">
                  <a:moveTo>
                    <a:pt x="0" y="117462"/>
                  </a:moveTo>
                  <a:lnTo>
                    <a:pt x="792543" y="117462"/>
                  </a:lnTo>
                  <a:lnTo>
                    <a:pt x="789828" y="112543"/>
                  </a:lnTo>
                  <a:lnTo>
                    <a:pt x="786625" y="106533"/>
                  </a:lnTo>
                  <a:lnTo>
                    <a:pt x="763458" y="58539"/>
                  </a:lnTo>
                  <a:lnTo>
                    <a:pt x="747451" y="21289"/>
                  </a:lnTo>
                  <a:lnTo>
                    <a:pt x="738860" y="0"/>
                  </a:lnTo>
                  <a:lnTo>
                    <a:pt x="53594" y="0"/>
                  </a:lnTo>
                  <a:lnTo>
                    <a:pt x="53263" y="888"/>
                  </a:lnTo>
                  <a:lnTo>
                    <a:pt x="52946" y="1765"/>
                  </a:lnTo>
                  <a:lnTo>
                    <a:pt x="52527" y="2641"/>
                  </a:lnTo>
                  <a:lnTo>
                    <a:pt x="30632" y="55018"/>
                  </a:lnTo>
                  <a:lnTo>
                    <a:pt x="8261" y="102023"/>
                  </a:lnTo>
                  <a:lnTo>
                    <a:pt x="571" y="116408"/>
                  </a:lnTo>
                  <a:lnTo>
                    <a:pt x="406" y="116751"/>
                  </a:lnTo>
                  <a:lnTo>
                    <a:pt x="165" y="117106"/>
                  </a:lnTo>
                  <a:lnTo>
                    <a:pt x="0" y="117462"/>
                  </a:lnTo>
                  <a:close/>
                </a:path>
              </a:pathLst>
            </a:custGeom>
            <a:ln w="4686">
              <a:solidFill>
                <a:srgbClr val="FFFFFF"/>
              </a:solidFill>
            </a:ln>
          </p:spPr>
          <p:txBody>
            <a:bodyPr wrap="square" lIns="0" tIns="0" rIns="0" bIns="0" rtlCol="0"/>
            <a:lstStyle/>
            <a:p>
              <a:endParaRPr/>
            </a:p>
          </p:txBody>
        </p:sp>
        <p:sp>
          <p:nvSpPr>
            <p:cNvPr id="32" name="object 32"/>
            <p:cNvSpPr/>
            <p:nvPr/>
          </p:nvSpPr>
          <p:spPr>
            <a:xfrm>
              <a:off x="5008169" y="5822238"/>
              <a:ext cx="472440" cy="34290"/>
            </a:xfrm>
            <a:custGeom>
              <a:avLst/>
              <a:gdLst/>
              <a:ahLst/>
              <a:cxnLst/>
              <a:rect l="l" t="t" r="r" b="b"/>
              <a:pathLst>
                <a:path w="472439" h="34289">
                  <a:moveTo>
                    <a:pt x="472440" y="0"/>
                  </a:moveTo>
                  <a:lnTo>
                    <a:pt x="0" y="0"/>
                  </a:lnTo>
                  <a:lnTo>
                    <a:pt x="0" y="12700"/>
                  </a:lnTo>
                  <a:lnTo>
                    <a:pt x="1041" y="12700"/>
                  </a:lnTo>
                  <a:lnTo>
                    <a:pt x="1041" y="34290"/>
                  </a:lnTo>
                  <a:lnTo>
                    <a:pt x="471398" y="34290"/>
                  </a:lnTo>
                  <a:lnTo>
                    <a:pt x="471398" y="12700"/>
                  </a:lnTo>
                  <a:lnTo>
                    <a:pt x="472440" y="12700"/>
                  </a:lnTo>
                  <a:lnTo>
                    <a:pt x="472440" y="0"/>
                  </a:lnTo>
                  <a:close/>
                </a:path>
              </a:pathLst>
            </a:custGeom>
            <a:solidFill>
              <a:srgbClr val="E9E9E8"/>
            </a:solidFill>
          </p:spPr>
          <p:txBody>
            <a:bodyPr wrap="square" lIns="0" tIns="0" rIns="0" bIns="0" rtlCol="0"/>
            <a:lstStyle/>
            <a:p>
              <a:endParaRPr/>
            </a:p>
          </p:txBody>
        </p:sp>
        <p:sp>
          <p:nvSpPr>
            <p:cNvPr id="33" name="object 33"/>
            <p:cNvSpPr/>
            <p:nvPr/>
          </p:nvSpPr>
          <p:spPr>
            <a:xfrm>
              <a:off x="5007662" y="5822231"/>
              <a:ext cx="473709" cy="34290"/>
            </a:xfrm>
            <a:custGeom>
              <a:avLst/>
              <a:gdLst/>
              <a:ahLst/>
              <a:cxnLst/>
              <a:rect l="l" t="t" r="r" b="b"/>
              <a:pathLst>
                <a:path w="473710" h="34289">
                  <a:moveTo>
                    <a:pt x="0" y="0"/>
                  </a:moveTo>
                  <a:lnTo>
                    <a:pt x="632" y="7122"/>
                  </a:lnTo>
                  <a:lnTo>
                    <a:pt x="1057" y="13022"/>
                  </a:lnTo>
                  <a:lnTo>
                    <a:pt x="1468" y="20872"/>
                  </a:lnTo>
                  <a:lnTo>
                    <a:pt x="2057" y="33845"/>
                  </a:lnTo>
                  <a:lnTo>
                    <a:pt x="471284" y="33845"/>
                  </a:lnTo>
                  <a:lnTo>
                    <a:pt x="472023" y="19223"/>
                  </a:lnTo>
                  <a:lnTo>
                    <a:pt x="472684" y="8626"/>
                  </a:lnTo>
                  <a:lnTo>
                    <a:pt x="473159" y="2177"/>
                  </a:lnTo>
                  <a:lnTo>
                    <a:pt x="473341" y="0"/>
                  </a:lnTo>
                  <a:lnTo>
                    <a:pt x="0" y="0"/>
                  </a:lnTo>
                  <a:close/>
                </a:path>
              </a:pathLst>
            </a:custGeom>
            <a:ln w="4686">
              <a:solidFill>
                <a:srgbClr val="FFFFFF"/>
              </a:solidFill>
            </a:ln>
          </p:spPr>
          <p:txBody>
            <a:bodyPr wrap="square" lIns="0" tIns="0" rIns="0" bIns="0" rtlCol="0"/>
            <a:lstStyle/>
            <a:p>
              <a:endParaRPr/>
            </a:p>
          </p:txBody>
        </p:sp>
        <p:sp>
          <p:nvSpPr>
            <p:cNvPr id="34" name="object 34"/>
            <p:cNvSpPr/>
            <p:nvPr/>
          </p:nvSpPr>
          <p:spPr>
            <a:xfrm>
              <a:off x="5267558" y="5822200"/>
              <a:ext cx="373380" cy="912494"/>
            </a:xfrm>
            <a:custGeom>
              <a:avLst/>
              <a:gdLst/>
              <a:ahLst/>
              <a:cxnLst/>
              <a:rect l="l" t="t" r="r" b="b"/>
              <a:pathLst>
                <a:path w="373379" h="912495">
                  <a:moveTo>
                    <a:pt x="213398" y="0"/>
                  </a:moveTo>
                  <a:lnTo>
                    <a:pt x="0" y="0"/>
                  </a:lnTo>
                  <a:lnTo>
                    <a:pt x="6235" y="33832"/>
                  </a:lnTo>
                  <a:lnTo>
                    <a:pt x="15049" y="79148"/>
                  </a:lnTo>
                  <a:lnTo>
                    <a:pt x="24223" y="123483"/>
                  </a:lnTo>
                  <a:lnTo>
                    <a:pt x="33719" y="166811"/>
                  </a:lnTo>
                  <a:lnTo>
                    <a:pt x="56146" y="260832"/>
                  </a:lnTo>
                  <a:lnTo>
                    <a:pt x="72509" y="323263"/>
                  </a:lnTo>
                  <a:lnTo>
                    <a:pt x="89344" y="383054"/>
                  </a:lnTo>
                  <a:lnTo>
                    <a:pt x="106551" y="440159"/>
                  </a:lnTo>
                  <a:lnTo>
                    <a:pt x="124028" y="494530"/>
                  </a:lnTo>
                  <a:lnTo>
                    <a:pt x="141673" y="546119"/>
                  </a:lnTo>
                  <a:lnTo>
                    <a:pt x="159386" y="594878"/>
                  </a:lnTo>
                  <a:lnTo>
                    <a:pt x="177066" y="640760"/>
                  </a:lnTo>
                  <a:lnTo>
                    <a:pt x="194609" y="683717"/>
                  </a:lnTo>
                  <a:lnTo>
                    <a:pt x="211916" y="723701"/>
                  </a:lnTo>
                  <a:lnTo>
                    <a:pt x="228885" y="760666"/>
                  </a:lnTo>
                  <a:lnTo>
                    <a:pt x="264276" y="830702"/>
                  </a:lnTo>
                  <a:lnTo>
                    <a:pt x="299057" y="889522"/>
                  </a:lnTo>
                  <a:lnTo>
                    <a:pt x="314604" y="912025"/>
                  </a:lnTo>
                  <a:lnTo>
                    <a:pt x="373049" y="912025"/>
                  </a:lnTo>
                  <a:lnTo>
                    <a:pt x="356870" y="880821"/>
                  </a:lnTo>
                  <a:lnTo>
                    <a:pt x="343975" y="853100"/>
                  </a:lnTo>
                  <a:lnTo>
                    <a:pt x="327988" y="815847"/>
                  </a:lnTo>
                  <a:lnTo>
                    <a:pt x="313459" y="779233"/>
                  </a:lnTo>
                  <a:lnTo>
                    <a:pt x="287917" y="706380"/>
                  </a:lnTo>
                  <a:lnTo>
                    <a:pt x="265884" y="631819"/>
                  </a:lnTo>
                  <a:lnTo>
                    <a:pt x="253508" y="582509"/>
                  </a:lnTo>
                  <a:lnTo>
                    <a:pt x="238842" y="512306"/>
                  </a:lnTo>
                  <a:lnTo>
                    <a:pt x="231324" y="467669"/>
                  </a:lnTo>
                  <a:lnTo>
                    <a:pt x="225081" y="421544"/>
                  </a:lnTo>
                  <a:lnTo>
                    <a:pt x="220294" y="374065"/>
                  </a:lnTo>
                  <a:lnTo>
                    <a:pt x="215912" y="315301"/>
                  </a:lnTo>
                  <a:lnTo>
                    <a:pt x="211591" y="234540"/>
                  </a:lnTo>
                  <a:lnTo>
                    <a:pt x="209537" y="152610"/>
                  </a:lnTo>
                  <a:lnTo>
                    <a:pt x="209513" y="104252"/>
                  </a:lnTo>
                  <a:lnTo>
                    <a:pt x="210244" y="64503"/>
                  </a:lnTo>
                  <a:lnTo>
                    <a:pt x="211353" y="33832"/>
                  </a:lnTo>
                  <a:lnTo>
                    <a:pt x="213398" y="0"/>
                  </a:lnTo>
                  <a:close/>
                </a:path>
              </a:pathLst>
            </a:custGeom>
            <a:solidFill>
              <a:srgbClr val="18171C">
                <a:alpha val="9999"/>
              </a:srgbClr>
            </a:solidFill>
          </p:spPr>
          <p:txBody>
            <a:bodyPr wrap="square" lIns="0" tIns="0" rIns="0" bIns="0" rtlCol="0"/>
            <a:lstStyle/>
            <a:p>
              <a:endParaRPr/>
            </a:p>
          </p:txBody>
        </p:sp>
        <p:sp>
          <p:nvSpPr>
            <p:cNvPr id="35" name="object 35"/>
            <p:cNvSpPr/>
            <p:nvPr/>
          </p:nvSpPr>
          <p:spPr>
            <a:xfrm>
              <a:off x="4795456" y="6734250"/>
              <a:ext cx="897255" cy="43815"/>
            </a:xfrm>
            <a:custGeom>
              <a:avLst/>
              <a:gdLst/>
              <a:ahLst/>
              <a:cxnLst/>
              <a:rect l="l" t="t" r="r" b="b"/>
              <a:pathLst>
                <a:path w="897254" h="43815">
                  <a:moveTo>
                    <a:pt x="896721" y="0"/>
                  </a:moveTo>
                  <a:lnTo>
                    <a:pt x="0" y="0"/>
                  </a:lnTo>
                  <a:lnTo>
                    <a:pt x="0" y="43687"/>
                  </a:lnTo>
                  <a:lnTo>
                    <a:pt x="896721" y="43687"/>
                  </a:lnTo>
                  <a:lnTo>
                    <a:pt x="896721" y="0"/>
                  </a:lnTo>
                  <a:close/>
                </a:path>
              </a:pathLst>
            </a:custGeom>
            <a:solidFill>
              <a:srgbClr val="1D2226"/>
            </a:solidFill>
          </p:spPr>
          <p:txBody>
            <a:bodyPr wrap="square" lIns="0" tIns="0" rIns="0" bIns="0" rtlCol="0"/>
            <a:lstStyle/>
            <a:p>
              <a:endParaRPr/>
            </a:p>
          </p:txBody>
        </p:sp>
        <p:sp>
          <p:nvSpPr>
            <p:cNvPr id="36" name="object 36"/>
            <p:cNvSpPr/>
            <p:nvPr/>
          </p:nvSpPr>
          <p:spPr>
            <a:xfrm>
              <a:off x="3370216" y="5787130"/>
              <a:ext cx="791845" cy="848994"/>
            </a:xfrm>
            <a:custGeom>
              <a:avLst/>
              <a:gdLst/>
              <a:ahLst/>
              <a:cxnLst/>
              <a:rect l="l" t="t" r="r" b="b"/>
              <a:pathLst>
                <a:path w="791845" h="848995">
                  <a:moveTo>
                    <a:pt x="632180" y="0"/>
                  </a:moveTo>
                  <a:lnTo>
                    <a:pt x="159397" y="0"/>
                  </a:lnTo>
                  <a:lnTo>
                    <a:pt x="160453" y="12118"/>
                  </a:lnTo>
                  <a:lnTo>
                    <a:pt x="161442" y="31496"/>
                  </a:lnTo>
                  <a:lnTo>
                    <a:pt x="162537" y="60031"/>
                  </a:lnTo>
                  <a:lnTo>
                    <a:pt x="163239" y="97015"/>
                  </a:lnTo>
                  <a:lnTo>
                    <a:pt x="163189" y="142009"/>
                  </a:lnTo>
                  <a:lnTo>
                    <a:pt x="161128" y="218243"/>
                  </a:lnTo>
                  <a:lnTo>
                    <a:pt x="158249" y="273086"/>
                  </a:lnTo>
                  <a:lnTo>
                    <a:pt x="153473" y="337065"/>
                  </a:lnTo>
                  <a:lnTo>
                    <a:pt x="147840" y="391452"/>
                  </a:lnTo>
                  <a:lnTo>
                    <a:pt x="139520" y="446722"/>
                  </a:lnTo>
                  <a:lnTo>
                    <a:pt x="129219" y="499595"/>
                  </a:lnTo>
                  <a:lnTo>
                    <a:pt x="117322" y="549825"/>
                  </a:lnTo>
                  <a:lnTo>
                    <a:pt x="102218" y="603950"/>
                  </a:lnTo>
                  <a:lnTo>
                    <a:pt x="85435" y="655768"/>
                  </a:lnTo>
                  <a:lnTo>
                    <a:pt x="64000" y="713633"/>
                  </a:lnTo>
                  <a:lnTo>
                    <a:pt x="52387" y="741807"/>
                  </a:lnTo>
                  <a:lnTo>
                    <a:pt x="44196" y="760844"/>
                  </a:lnTo>
                  <a:lnTo>
                    <a:pt x="30518" y="790550"/>
                  </a:lnTo>
                  <a:lnTo>
                    <a:pt x="18354" y="815139"/>
                  </a:lnTo>
                  <a:lnTo>
                    <a:pt x="8205" y="834285"/>
                  </a:lnTo>
                  <a:lnTo>
                    <a:pt x="0" y="848652"/>
                  </a:lnTo>
                  <a:lnTo>
                    <a:pt x="791667" y="848652"/>
                  </a:lnTo>
                  <a:lnTo>
                    <a:pt x="762616" y="793823"/>
                  </a:lnTo>
                  <a:lnTo>
                    <a:pt x="746652" y="759162"/>
                  </a:lnTo>
                  <a:lnTo>
                    <a:pt x="720648" y="696061"/>
                  </a:lnTo>
                  <a:lnTo>
                    <a:pt x="706626" y="657295"/>
                  </a:lnTo>
                  <a:lnTo>
                    <a:pt x="684614" y="587914"/>
                  </a:lnTo>
                  <a:lnTo>
                    <a:pt x="672253" y="542037"/>
                  </a:lnTo>
                  <a:lnTo>
                    <a:pt x="657602" y="476709"/>
                  </a:lnTo>
                  <a:lnTo>
                    <a:pt x="650089" y="435175"/>
                  </a:lnTo>
                  <a:lnTo>
                    <a:pt x="643854" y="392254"/>
                  </a:lnTo>
                  <a:lnTo>
                    <a:pt x="639076" y="348068"/>
                  </a:lnTo>
                  <a:lnTo>
                    <a:pt x="634695" y="293389"/>
                  </a:lnTo>
                  <a:lnTo>
                    <a:pt x="630375" y="218243"/>
                  </a:lnTo>
                  <a:lnTo>
                    <a:pt x="628324" y="142009"/>
                  </a:lnTo>
                  <a:lnTo>
                    <a:pt x="628300" y="97015"/>
                  </a:lnTo>
                  <a:lnTo>
                    <a:pt x="629029" y="60031"/>
                  </a:lnTo>
                  <a:lnTo>
                    <a:pt x="630135" y="31496"/>
                  </a:lnTo>
                  <a:lnTo>
                    <a:pt x="632180" y="0"/>
                  </a:lnTo>
                  <a:close/>
                </a:path>
              </a:pathLst>
            </a:custGeom>
            <a:solidFill>
              <a:srgbClr val="CFD1D0"/>
            </a:solidFill>
          </p:spPr>
          <p:txBody>
            <a:bodyPr wrap="square" lIns="0" tIns="0" rIns="0" bIns="0" rtlCol="0"/>
            <a:lstStyle/>
            <a:p>
              <a:endParaRPr/>
            </a:p>
          </p:txBody>
        </p:sp>
        <p:sp>
          <p:nvSpPr>
            <p:cNvPr id="37" name="object 37"/>
            <p:cNvSpPr/>
            <p:nvPr/>
          </p:nvSpPr>
          <p:spPr>
            <a:xfrm>
              <a:off x="3370216" y="5787130"/>
              <a:ext cx="791845" cy="848994"/>
            </a:xfrm>
            <a:custGeom>
              <a:avLst/>
              <a:gdLst/>
              <a:ahLst/>
              <a:cxnLst/>
              <a:rect l="l" t="t" r="r" b="b"/>
              <a:pathLst>
                <a:path w="791845" h="848995">
                  <a:moveTo>
                    <a:pt x="0" y="848652"/>
                  </a:moveTo>
                  <a:lnTo>
                    <a:pt x="791667" y="848652"/>
                  </a:lnTo>
                  <a:lnTo>
                    <a:pt x="790841" y="847344"/>
                  </a:lnTo>
                  <a:lnTo>
                    <a:pt x="789940" y="845781"/>
                  </a:lnTo>
                  <a:lnTo>
                    <a:pt x="788962" y="844054"/>
                  </a:lnTo>
                  <a:lnTo>
                    <a:pt x="787971" y="842416"/>
                  </a:lnTo>
                  <a:lnTo>
                    <a:pt x="786904" y="840536"/>
                  </a:lnTo>
                  <a:lnTo>
                    <a:pt x="785761" y="838492"/>
                  </a:lnTo>
                  <a:lnTo>
                    <a:pt x="784034" y="835456"/>
                  </a:lnTo>
                  <a:lnTo>
                    <a:pt x="782154" y="832002"/>
                  </a:lnTo>
                  <a:lnTo>
                    <a:pt x="780097" y="828230"/>
                  </a:lnTo>
                  <a:lnTo>
                    <a:pt x="779437" y="827011"/>
                  </a:lnTo>
                  <a:lnTo>
                    <a:pt x="778789" y="825690"/>
                  </a:lnTo>
                  <a:lnTo>
                    <a:pt x="778052" y="824382"/>
                  </a:lnTo>
                  <a:lnTo>
                    <a:pt x="775500" y="819632"/>
                  </a:lnTo>
                  <a:lnTo>
                    <a:pt x="772807" y="814298"/>
                  </a:lnTo>
                  <a:lnTo>
                    <a:pt x="769848" y="808558"/>
                  </a:lnTo>
                  <a:lnTo>
                    <a:pt x="746652" y="759162"/>
                  </a:lnTo>
                  <a:lnTo>
                    <a:pt x="729189" y="717678"/>
                  </a:lnTo>
                  <a:lnTo>
                    <a:pt x="726236" y="710082"/>
                  </a:lnTo>
                  <a:lnTo>
                    <a:pt x="723442" y="703186"/>
                  </a:lnTo>
                  <a:lnTo>
                    <a:pt x="720648" y="696061"/>
                  </a:lnTo>
                  <a:lnTo>
                    <a:pt x="718032" y="688759"/>
                  </a:lnTo>
                  <a:lnTo>
                    <a:pt x="706626" y="657295"/>
                  </a:lnTo>
                  <a:lnTo>
                    <a:pt x="684614" y="587914"/>
                  </a:lnTo>
                  <a:lnTo>
                    <a:pt x="674408" y="550278"/>
                  </a:lnTo>
                  <a:lnTo>
                    <a:pt x="657602" y="476709"/>
                  </a:lnTo>
                  <a:lnTo>
                    <a:pt x="650089" y="435175"/>
                  </a:lnTo>
                  <a:lnTo>
                    <a:pt x="643854" y="392254"/>
                  </a:lnTo>
                  <a:lnTo>
                    <a:pt x="639076" y="348068"/>
                  </a:lnTo>
                  <a:lnTo>
                    <a:pt x="634695" y="293389"/>
                  </a:lnTo>
                  <a:lnTo>
                    <a:pt x="631609" y="242709"/>
                  </a:lnTo>
                  <a:lnTo>
                    <a:pt x="631532" y="241312"/>
                  </a:lnTo>
                  <a:lnTo>
                    <a:pt x="631444" y="239915"/>
                  </a:lnTo>
                  <a:lnTo>
                    <a:pt x="629640" y="198678"/>
                  </a:lnTo>
                  <a:lnTo>
                    <a:pt x="629551" y="197281"/>
                  </a:lnTo>
                  <a:lnTo>
                    <a:pt x="629551" y="195884"/>
                  </a:lnTo>
                  <a:lnTo>
                    <a:pt x="629475" y="194576"/>
                  </a:lnTo>
                  <a:lnTo>
                    <a:pt x="628324" y="142009"/>
                  </a:lnTo>
                  <a:lnTo>
                    <a:pt x="628300" y="97015"/>
                  </a:lnTo>
                  <a:lnTo>
                    <a:pt x="630135" y="31496"/>
                  </a:lnTo>
                  <a:lnTo>
                    <a:pt x="632180" y="0"/>
                  </a:lnTo>
                  <a:lnTo>
                    <a:pt x="541631" y="50"/>
                  </a:lnTo>
                  <a:lnTo>
                    <a:pt x="489242" y="66"/>
                  </a:lnTo>
                  <a:lnTo>
                    <a:pt x="455026" y="50"/>
                  </a:lnTo>
                  <a:lnTo>
                    <a:pt x="418998" y="0"/>
                  </a:lnTo>
                  <a:lnTo>
                    <a:pt x="159397" y="0"/>
                  </a:lnTo>
                  <a:lnTo>
                    <a:pt x="162537" y="60031"/>
                  </a:lnTo>
                  <a:lnTo>
                    <a:pt x="163239" y="97015"/>
                  </a:lnTo>
                  <a:lnTo>
                    <a:pt x="163189" y="142009"/>
                  </a:lnTo>
                  <a:lnTo>
                    <a:pt x="162026" y="194576"/>
                  </a:lnTo>
                  <a:lnTo>
                    <a:pt x="162026" y="195973"/>
                  </a:lnTo>
                  <a:lnTo>
                    <a:pt x="161937" y="197281"/>
                  </a:lnTo>
                  <a:lnTo>
                    <a:pt x="161861" y="198678"/>
                  </a:lnTo>
                  <a:lnTo>
                    <a:pt x="161519" y="208364"/>
                  </a:lnTo>
                  <a:lnTo>
                    <a:pt x="161128" y="218243"/>
                  </a:lnTo>
                  <a:lnTo>
                    <a:pt x="160693" y="228321"/>
                  </a:lnTo>
                  <a:lnTo>
                    <a:pt x="160223" y="238607"/>
                  </a:lnTo>
                  <a:lnTo>
                    <a:pt x="160134" y="240004"/>
                  </a:lnTo>
                  <a:lnTo>
                    <a:pt x="160045" y="241312"/>
                  </a:lnTo>
                  <a:lnTo>
                    <a:pt x="159969" y="242709"/>
                  </a:lnTo>
                  <a:lnTo>
                    <a:pt x="157206" y="288827"/>
                  </a:lnTo>
                  <a:lnTo>
                    <a:pt x="153473" y="337065"/>
                  </a:lnTo>
                  <a:lnTo>
                    <a:pt x="149190" y="380721"/>
                  </a:lnTo>
                  <a:lnTo>
                    <a:pt x="139520" y="446722"/>
                  </a:lnTo>
                  <a:lnTo>
                    <a:pt x="129219" y="499595"/>
                  </a:lnTo>
                  <a:lnTo>
                    <a:pt x="117322" y="549825"/>
                  </a:lnTo>
                  <a:lnTo>
                    <a:pt x="104216" y="597166"/>
                  </a:lnTo>
                  <a:lnTo>
                    <a:pt x="85435" y="655768"/>
                  </a:lnTo>
                  <a:lnTo>
                    <a:pt x="64000" y="713633"/>
                  </a:lnTo>
                  <a:lnTo>
                    <a:pt x="53124" y="740168"/>
                  </a:lnTo>
                  <a:lnTo>
                    <a:pt x="52895" y="740994"/>
                  </a:lnTo>
                  <a:lnTo>
                    <a:pt x="52387" y="741807"/>
                  </a:lnTo>
                  <a:lnTo>
                    <a:pt x="49606" y="748372"/>
                  </a:lnTo>
                  <a:lnTo>
                    <a:pt x="46901" y="754773"/>
                  </a:lnTo>
                  <a:lnTo>
                    <a:pt x="44196" y="760844"/>
                  </a:lnTo>
                  <a:lnTo>
                    <a:pt x="18354" y="815139"/>
                  </a:lnTo>
                  <a:lnTo>
                    <a:pt x="330" y="847991"/>
                  </a:lnTo>
                  <a:lnTo>
                    <a:pt x="88" y="848321"/>
                  </a:lnTo>
                  <a:lnTo>
                    <a:pt x="0" y="848652"/>
                  </a:lnTo>
                  <a:close/>
                </a:path>
              </a:pathLst>
            </a:custGeom>
            <a:ln w="6032">
              <a:solidFill>
                <a:srgbClr val="FFFFFF"/>
              </a:solidFill>
            </a:ln>
          </p:spPr>
          <p:txBody>
            <a:bodyPr wrap="square" lIns="0" tIns="0" rIns="0" bIns="0" rtlCol="0"/>
            <a:lstStyle/>
            <a:p>
              <a:endParaRPr/>
            </a:p>
          </p:txBody>
        </p:sp>
        <p:sp>
          <p:nvSpPr>
            <p:cNvPr id="38" name="object 38"/>
            <p:cNvSpPr/>
            <p:nvPr/>
          </p:nvSpPr>
          <p:spPr>
            <a:xfrm>
              <a:off x="3370176" y="6526514"/>
              <a:ext cx="791845" cy="109855"/>
            </a:xfrm>
            <a:custGeom>
              <a:avLst/>
              <a:gdLst/>
              <a:ahLst/>
              <a:cxnLst/>
              <a:rect l="l" t="t" r="r" b="b"/>
              <a:pathLst>
                <a:path w="791845" h="109854">
                  <a:moveTo>
                    <a:pt x="738124" y="0"/>
                  </a:moveTo>
                  <a:lnTo>
                    <a:pt x="53543" y="0"/>
                  </a:lnTo>
                  <a:lnTo>
                    <a:pt x="44272" y="21488"/>
                  </a:lnTo>
                  <a:lnTo>
                    <a:pt x="30594" y="51194"/>
                  </a:lnTo>
                  <a:lnTo>
                    <a:pt x="18426" y="75784"/>
                  </a:lnTo>
                  <a:lnTo>
                    <a:pt x="8255" y="94929"/>
                  </a:lnTo>
                  <a:lnTo>
                    <a:pt x="0" y="109296"/>
                  </a:lnTo>
                  <a:lnTo>
                    <a:pt x="791743" y="109296"/>
                  </a:lnTo>
                  <a:lnTo>
                    <a:pt x="769937" y="69202"/>
                  </a:lnTo>
                  <a:lnTo>
                    <a:pt x="746704" y="19806"/>
                  </a:lnTo>
                  <a:lnTo>
                    <a:pt x="738124" y="0"/>
                  </a:lnTo>
                  <a:close/>
                </a:path>
              </a:pathLst>
            </a:custGeom>
            <a:solidFill>
              <a:srgbClr val="E9E9E8"/>
            </a:solidFill>
          </p:spPr>
          <p:txBody>
            <a:bodyPr wrap="square" lIns="0" tIns="0" rIns="0" bIns="0" rtlCol="0"/>
            <a:lstStyle/>
            <a:p>
              <a:endParaRPr/>
            </a:p>
          </p:txBody>
        </p:sp>
        <p:sp>
          <p:nvSpPr>
            <p:cNvPr id="39" name="object 39"/>
            <p:cNvSpPr/>
            <p:nvPr/>
          </p:nvSpPr>
          <p:spPr>
            <a:xfrm>
              <a:off x="3370176" y="6526514"/>
              <a:ext cx="791845" cy="109855"/>
            </a:xfrm>
            <a:custGeom>
              <a:avLst/>
              <a:gdLst/>
              <a:ahLst/>
              <a:cxnLst/>
              <a:rect l="l" t="t" r="r" b="b"/>
              <a:pathLst>
                <a:path w="791845" h="109854">
                  <a:moveTo>
                    <a:pt x="0" y="109296"/>
                  </a:moveTo>
                  <a:lnTo>
                    <a:pt x="791743" y="109296"/>
                  </a:lnTo>
                  <a:lnTo>
                    <a:pt x="789028" y="104720"/>
                  </a:lnTo>
                  <a:lnTo>
                    <a:pt x="785826" y="99128"/>
                  </a:lnTo>
                  <a:lnTo>
                    <a:pt x="762693" y="54467"/>
                  </a:lnTo>
                  <a:lnTo>
                    <a:pt x="746704" y="19806"/>
                  </a:lnTo>
                  <a:lnTo>
                    <a:pt x="738124" y="0"/>
                  </a:lnTo>
                  <a:lnTo>
                    <a:pt x="53543" y="0"/>
                  </a:lnTo>
                  <a:lnTo>
                    <a:pt x="53213" y="812"/>
                  </a:lnTo>
                  <a:lnTo>
                    <a:pt x="52895" y="1638"/>
                  </a:lnTo>
                  <a:lnTo>
                    <a:pt x="52476" y="2451"/>
                  </a:lnTo>
                  <a:lnTo>
                    <a:pt x="49695" y="9016"/>
                  </a:lnTo>
                  <a:lnTo>
                    <a:pt x="46990" y="15417"/>
                  </a:lnTo>
                  <a:lnTo>
                    <a:pt x="44272" y="21488"/>
                  </a:lnTo>
                  <a:lnTo>
                    <a:pt x="30594" y="51194"/>
                  </a:lnTo>
                  <a:lnTo>
                    <a:pt x="18426" y="75784"/>
                  </a:lnTo>
                  <a:lnTo>
                    <a:pt x="8255" y="94929"/>
                  </a:lnTo>
                  <a:lnTo>
                    <a:pt x="571" y="108305"/>
                  </a:lnTo>
                  <a:lnTo>
                    <a:pt x="406" y="108635"/>
                  </a:lnTo>
                  <a:lnTo>
                    <a:pt x="165" y="108965"/>
                  </a:lnTo>
                  <a:lnTo>
                    <a:pt x="0" y="109296"/>
                  </a:lnTo>
                  <a:close/>
                </a:path>
              </a:pathLst>
            </a:custGeom>
            <a:ln w="4508">
              <a:solidFill>
                <a:srgbClr val="FFFFFF"/>
              </a:solidFill>
            </a:ln>
          </p:spPr>
          <p:txBody>
            <a:bodyPr wrap="square" lIns="0" tIns="0" rIns="0" bIns="0" rtlCol="0"/>
            <a:lstStyle/>
            <a:p>
              <a:endParaRPr/>
            </a:p>
          </p:txBody>
        </p:sp>
        <p:sp>
          <p:nvSpPr>
            <p:cNvPr id="40" name="object 40"/>
            <p:cNvSpPr/>
            <p:nvPr/>
          </p:nvSpPr>
          <p:spPr>
            <a:xfrm>
              <a:off x="3530117" y="5787161"/>
              <a:ext cx="472440" cy="31750"/>
            </a:xfrm>
            <a:custGeom>
              <a:avLst/>
              <a:gdLst/>
              <a:ahLst/>
              <a:cxnLst/>
              <a:rect l="l" t="t" r="r" b="b"/>
              <a:pathLst>
                <a:path w="472439" h="31750">
                  <a:moveTo>
                    <a:pt x="471906" y="0"/>
                  </a:moveTo>
                  <a:lnTo>
                    <a:pt x="0" y="0"/>
                  </a:lnTo>
                  <a:lnTo>
                    <a:pt x="0" y="12700"/>
                  </a:lnTo>
                  <a:lnTo>
                    <a:pt x="1028" y="12700"/>
                  </a:lnTo>
                  <a:lnTo>
                    <a:pt x="1028" y="31750"/>
                  </a:lnTo>
                  <a:lnTo>
                    <a:pt x="470865" y="31750"/>
                  </a:lnTo>
                  <a:lnTo>
                    <a:pt x="470865" y="12700"/>
                  </a:lnTo>
                  <a:lnTo>
                    <a:pt x="471906" y="12700"/>
                  </a:lnTo>
                  <a:lnTo>
                    <a:pt x="471906" y="0"/>
                  </a:lnTo>
                  <a:close/>
                </a:path>
              </a:pathLst>
            </a:custGeom>
            <a:solidFill>
              <a:srgbClr val="E9E9E8"/>
            </a:solidFill>
          </p:spPr>
          <p:txBody>
            <a:bodyPr wrap="square" lIns="0" tIns="0" rIns="0" bIns="0" rtlCol="0"/>
            <a:lstStyle/>
            <a:p>
              <a:endParaRPr/>
            </a:p>
          </p:txBody>
        </p:sp>
        <p:sp>
          <p:nvSpPr>
            <p:cNvPr id="41" name="object 41"/>
            <p:cNvSpPr/>
            <p:nvPr/>
          </p:nvSpPr>
          <p:spPr>
            <a:xfrm>
              <a:off x="3529575" y="5787161"/>
              <a:ext cx="473075" cy="31750"/>
            </a:xfrm>
            <a:custGeom>
              <a:avLst/>
              <a:gdLst/>
              <a:ahLst/>
              <a:cxnLst/>
              <a:rect l="l" t="t" r="r" b="b"/>
              <a:pathLst>
                <a:path w="473075" h="31750">
                  <a:moveTo>
                    <a:pt x="0" y="0"/>
                  </a:moveTo>
                  <a:lnTo>
                    <a:pt x="632" y="6628"/>
                  </a:lnTo>
                  <a:lnTo>
                    <a:pt x="1055" y="12117"/>
                  </a:lnTo>
                  <a:lnTo>
                    <a:pt x="1462" y="19418"/>
                  </a:lnTo>
                  <a:lnTo>
                    <a:pt x="2044" y="31483"/>
                  </a:lnTo>
                  <a:lnTo>
                    <a:pt x="470814" y="31483"/>
                  </a:lnTo>
                  <a:lnTo>
                    <a:pt x="471553" y="17884"/>
                  </a:lnTo>
                  <a:lnTo>
                    <a:pt x="472214" y="8026"/>
                  </a:lnTo>
                  <a:lnTo>
                    <a:pt x="472689" y="2026"/>
                  </a:lnTo>
                  <a:lnTo>
                    <a:pt x="472871" y="0"/>
                  </a:lnTo>
                  <a:lnTo>
                    <a:pt x="0" y="0"/>
                  </a:lnTo>
                  <a:close/>
                </a:path>
              </a:pathLst>
            </a:custGeom>
            <a:ln w="4508">
              <a:solidFill>
                <a:srgbClr val="FFFFFF"/>
              </a:solidFill>
            </a:ln>
          </p:spPr>
          <p:txBody>
            <a:bodyPr wrap="square" lIns="0" tIns="0" rIns="0" bIns="0" rtlCol="0"/>
            <a:lstStyle/>
            <a:p>
              <a:endParaRPr/>
            </a:p>
          </p:txBody>
        </p:sp>
        <p:sp>
          <p:nvSpPr>
            <p:cNvPr id="42" name="object 42"/>
            <p:cNvSpPr/>
            <p:nvPr/>
          </p:nvSpPr>
          <p:spPr>
            <a:xfrm>
              <a:off x="3789212" y="5787133"/>
              <a:ext cx="372745" cy="848994"/>
            </a:xfrm>
            <a:custGeom>
              <a:avLst/>
              <a:gdLst/>
              <a:ahLst/>
              <a:cxnLst/>
              <a:rect l="l" t="t" r="r" b="b"/>
              <a:pathLst>
                <a:path w="372745" h="848995">
                  <a:moveTo>
                    <a:pt x="213194" y="0"/>
                  </a:moveTo>
                  <a:lnTo>
                    <a:pt x="0" y="0"/>
                  </a:lnTo>
                  <a:lnTo>
                    <a:pt x="6235" y="31483"/>
                  </a:lnTo>
                  <a:lnTo>
                    <a:pt x="15034" y="73654"/>
                  </a:lnTo>
                  <a:lnTo>
                    <a:pt x="24199" y="114904"/>
                  </a:lnTo>
                  <a:lnTo>
                    <a:pt x="33689" y="155214"/>
                  </a:lnTo>
                  <a:lnTo>
                    <a:pt x="56083" y="242709"/>
                  </a:lnTo>
                  <a:lnTo>
                    <a:pt x="72431" y="300801"/>
                  </a:lnTo>
                  <a:lnTo>
                    <a:pt x="89250" y="356436"/>
                  </a:lnTo>
                  <a:lnTo>
                    <a:pt x="106441" y="409572"/>
                  </a:lnTo>
                  <a:lnTo>
                    <a:pt x="123900" y="460164"/>
                  </a:lnTo>
                  <a:lnTo>
                    <a:pt x="141528" y="508168"/>
                  </a:lnTo>
                  <a:lnTo>
                    <a:pt x="159223" y="553539"/>
                  </a:lnTo>
                  <a:lnTo>
                    <a:pt x="176884" y="596233"/>
                  </a:lnTo>
                  <a:lnTo>
                    <a:pt x="194409" y="636206"/>
                  </a:lnTo>
                  <a:lnTo>
                    <a:pt x="211698" y="673413"/>
                  </a:lnTo>
                  <a:lnTo>
                    <a:pt x="228649" y="707811"/>
                  </a:lnTo>
                  <a:lnTo>
                    <a:pt x="264010" y="772976"/>
                  </a:lnTo>
                  <a:lnTo>
                    <a:pt x="298758" y="827711"/>
                  </a:lnTo>
                  <a:lnTo>
                    <a:pt x="314286" y="848652"/>
                  </a:lnTo>
                  <a:lnTo>
                    <a:pt x="372668" y="848652"/>
                  </a:lnTo>
                  <a:lnTo>
                    <a:pt x="356514" y="819619"/>
                  </a:lnTo>
                  <a:lnTo>
                    <a:pt x="343627" y="793821"/>
                  </a:lnTo>
                  <a:lnTo>
                    <a:pt x="327651" y="759157"/>
                  </a:lnTo>
                  <a:lnTo>
                    <a:pt x="301663" y="696061"/>
                  </a:lnTo>
                  <a:lnTo>
                    <a:pt x="287628" y="657295"/>
                  </a:lnTo>
                  <a:lnTo>
                    <a:pt x="265621" y="587908"/>
                  </a:lnTo>
                  <a:lnTo>
                    <a:pt x="253259" y="542026"/>
                  </a:lnTo>
                  <a:lnTo>
                    <a:pt x="238603" y="476702"/>
                  </a:lnTo>
                  <a:lnTo>
                    <a:pt x="231093" y="435168"/>
                  </a:lnTo>
                  <a:lnTo>
                    <a:pt x="224858" y="392248"/>
                  </a:lnTo>
                  <a:lnTo>
                    <a:pt x="220078" y="348068"/>
                  </a:lnTo>
                  <a:lnTo>
                    <a:pt x="215696" y="293389"/>
                  </a:lnTo>
                  <a:lnTo>
                    <a:pt x="211386" y="218238"/>
                  </a:lnTo>
                  <a:lnTo>
                    <a:pt x="209328" y="142002"/>
                  </a:lnTo>
                  <a:lnTo>
                    <a:pt x="209307" y="97007"/>
                  </a:lnTo>
                  <a:lnTo>
                    <a:pt x="210035" y="60020"/>
                  </a:lnTo>
                  <a:lnTo>
                    <a:pt x="211137" y="31483"/>
                  </a:lnTo>
                  <a:lnTo>
                    <a:pt x="213194" y="0"/>
                  </a:lnTo>
                  <a:close/>
                </a:path>
              </a:pathLst>
            </a:custGeom>
            <a:solidFill>
              <a:srgbClr val="18171C">
                <a:alpha val="9999"/>
              </a:srgbClr>
            </a:solidFill>
          </p:spPr>
          <p:txBody>
            <a:bodyPr wrap="square" lIns="0" tIns="0" rIns="0" bIns="0" rtlCol="0"/>
            <a:lstStyle/>
            <a:p>
              <a:endParaRPr/>
            </a:p>
          </p:txBody>
        </p:sp>
        <p:sp>
          <p:nvSpPr>
            <p:cNvPr id="43" name="object 43"/>
            <p:cNvSpPr/>
            <p:nvPr/>
          </p:nvSpPr>
          <p:spPr>
            <a:xfrm>
              <a:off x="3530180" y="5981700"/>
              <a:ext cx="471805" cy="48260"/>
            </a:xfrm>
            <a:custGeom>
              <a:avLst/>
              <a:gdLst/>
              <a:ahLst/>
              <a:cxnLst/>
              <a:rect l="l" t="t" r="r" b="b"/>
              <a:pathLst>
                <a:path w="471804" h="48260">
                  <a:moveTo>
                    <a:pt x="471627" y="48145"/>
                  </a:moveTo>
                  <a:lnTo>
                    <a:pt x="471398" y="44043"/>
                  </a:lnTo>
                  <a:lnTo>
                    <a:pt x="445046" y="44043"/>
                  </a:lnTo>
                  <a:lnTo>
                    <a:pt x="445046" y="4114"/>
                  </a:lnTo>
                  <a:lnTo>
                    <a:pt x="469671" y="4114"/>
                  </a:lnTo>
                  <a:lnTo>
                    <a:pt x="469519" y="12"/>
                  </a:lnTo>
                  <a:lnTo>
                    <a:pt x="445046" y="12"/>
                  </a:lnTo>
                  <a:lnTo>
                    <a:pt x="440944" y="0"/>
                  </a:lnTo>
                  <a:lnTo>
                    <a:pt x="440944" y="4114"/>
                  </a:lnTo>
                  <a:lnTo>
                    <a:pt x="440944" y="44043"/>
                  </a:lnTo>
                  <a:lnTo>
                    <a:pt x="399021" y="44043"/>
                  </a:lnTo>
                  <a:lnTo>
                    <a:pt x="399021" y="4114"/>
                  </a:lnTo>
                  <a:lnTo>
                    <a:pt x="440944" y="4114"/>
                  </a:lnTo>
                  <a:lnTo>
                    <a:pt x="440944" y="12"/>
                  </a:lnTo>
                  <a:lnTo>
                    <a:pt x="399021" y="12"/>
                  </a:lnTo>
                  <a:lnTo>
                    <a:pt x="394919" y="0"/>
                  </a:lnTo>
                  <a:lnTo>
                    <a:pt x="394919" y="4114"/>
                  </a:lnTo>
                  <a:lnTo>
                    <a:pt x="394919" y="44043"/>
                  </a:lnTo>
                  <a:lnTo>
                    <a:pt x="352983" y="44043"/>
                  </a:lnTo>
                  <a:lnTo>
                    <a:pt x="352983" y="4114"/>
                  </a:lnTo>
                  <a:lnTo>
                    <a:pt x="394919" y="4114"/>
                  </a:lnTo>
                  <a:lnTo>
                    <a:pt x="394919" y="12"/>
                  </a:lnTo>
                  <a:lnTo>
                    <a:pt x="352983" y="12"/>
                  </a:lnTo>
                  <a:lnTo>
                    <a:pt x="348881" y="0"/>
                  </a:lnTo>
                  <a:lnTo>
                    <a:pt x="348881" y="4114"/>
                  </a:lnTo>
                  <a:lnTo>
                    <a:pt x="348881" y="44043"/>
                  </a:lnTo>
                  <a:lnTo>
                    <a:pt x="306959" y="44043"/>
                  </a:lnTo>
                  <a:lnTo>
                    <a:pt x="306959" y="4114"/>
                  </a:lnTo>
                  <a:lnTo>
                    <a:pt x="348881" y="4114"/>
                  </a:lnTo>
                  <a:lnTo>
                    <a:pt x="348881" y="12"/>
                  </a:lnTo>
                  <a:lnTo>
                    <a:pt x="306959" y="12"/>
                  </a:lnTo>
                  <a:lnTo>
                    <a:pt x="302856" y="0"/>
                  </a:lnTo>
                  <a:lnTo>
                    <a:pt x="302856" y="4114"/>
                  </a:lnTo>
                  <a:lnTo>
                    <a:pt x="302856" y="44043"/>
                  </a:lnTo>
                  <a:lnTo>
                    <a:pt x="260934" y="44043"/>
                  </a:lnTo>
                  <a:lnTo>
                    <a:pt x="260934" y="4114"/>
                  </a:lnTo>
                  <a:lnTo>
                    <a:pt x="302856" y="4114"/>
                  </a:lnTo>
                  <a:lnTo>
                    <a:pt x="302856" y="12"/>
                  </a:lnTo>
                  <a:lnTo>
                    <a:pt x="260934" y="12"/>
                  </a:lnTo>
                  <a:lnTo>
                    <a:pt x="256832" y="0"/>
                  </a:lnTo>
                  <a:lnTo>
                    <a:pt x="256832" y="4114"/>
                  </a:lnTo>
                  <a:lnTo>
                    <a:pt x="256832" y="44043"/>
                  </a:lnTo>
                  <a:lnTo>
                    <a:pt x="214909" y="44043"/>
                  </a:lnTo>
                  <a:lnTo>
                    <a:pt x="214909" y="4114"/>
                  </a:lnTo>
                  <a:lnTo>
                    <a:pt x="256832" y="4114"/>
                  </a:lnTo>
                  <a:lnTo>
                    <a:pt x="256832" y="12"/>
                  </a:lnTo>
                  <a:lnTo>
                    <a:pt x="214909" y="12"/>
                  </a:lnTo>
                  <a:lnTo>
                    <a:pt x="210807" y="0"/>
                  </a:lnTo>
                  <a:lnTo>
                    <a:pt x="210807" y="4114"/>
                  </a:lnTo>
                  <a:lnTo>
                    <a:pt x="210807" y="44043"/>
                  </a:lnTo>
                  <a:lnTo>
                    <a:pt x="168871" y="44043"/>
                  </a:lnTo>
                  <a:lnTo>
                    <a:pt x="168871" y="4114"/>
                  </a:lnTo>
                  <a:lnTo>
                    <a:pt x="210807" y="4114"/>
                  </a:lnTo>
                  <a:lnTo>
                    <a:pt x="210807" y="12"/>
                  </a:lnTo>
                  <a:lnTo>
                    <a:pt x="168871" y="12"/>
                  </a:lnTo>
                  <a:lnTo>
                    <a:pt x="164769" y="0"/>
                  </a:lnTo>
                  <a:lnTo>
                    <a:pt x="164769" y="4114"/>
                  </a:lnTo>
                  <a:lnTo>
                    <a:pt x="164769" y="44043"/>
                  </a:lnTo>
                  <a:lnTo>
                    <a:pt x="122834" y="44043"/>
                  </a:lnTo>
                  <a:lnTo>
                    <a:pt x="122834" y="4114"/>
                  </a:lnTo>
                  <a:lnTo>
                    <a:pt x="164769" y="4114"/>
                  </a:lnTo>
                  <a:lnTo>
                    <a:pt x="164769" y="12"/>
                  </a:lnTo>
                  <a:lnTo>
                    <a:pt x="122834" y="12"/>
                  </a:lnTo>
                  <a:lnTo>
                    <a:pt x="118732" y="0"/>
                  </a:lnTo>
                  <a:lnTo>
                    <a:pt x="118732" y="4114"/>
                  </a:lnTo>
                  <a:lnTo>
                    <a:pt x="118732" y="44043"/>
                  </a:lnTo>
                  <a:lnTo>
                    <a:pt x="76822" y="44043"/>
                  </a:lnTo>
                  <a:lnTo>
                    <a:pt x="76822" y="4114"/>
                  </a:lnTo>
                  <a:lnTo>
                    <a:pt x="118732" y="4114"/>
                  </a:lnTo>
                  <a:lnTo>
                    <a:pt x="118732" y="12"/>
                  </a:lnTo>
                  <a:lnTo>
                    <a:pt x="76822" y="12"/>
                  </a:lnTo>
                  <a:lnTo>
                    <a:pt x="72720" y="0"/>
                  </a:lnTo>
                  <a:lnTo>
                    <a:pt x="72720" y="4114"/>
                  </a:lnTo>
                  <a:lnTo>
                    <a:pt x="72720" y="44043"/>
                  </a:lnTo>
                  <a:lnTo>
                    <a:pt x="30784" y="44043"/>
                  </a:lnTo>
                  <a:lnTo>
                    <a:pt x="30784" y="4114"/>
                  </a:lnTo>
                  <a:lnTo>
                    <a:pt x="72720" y="4114"/>
                  </a:lnTo>
                  <a:lnTo>
                    <a:pt x="72720" y="12"/>
                  </a:lnTo>
                  <a:lnTo>
                    <a:pt x="30784" y="12"/>
                  </a:lnTo>
                  <a:lnTo>
                    <a:pt x="26682" y="0"/>
                  </a:lnTo>
                  <a:lnTo>
                    <a:pt x="2057" y="12"/>
                  </a:lnTo>
                  <a:lnTo>
                    <a:pt x="1892" y="4114"/>
                  </a:lnTo>
                  <a:lnTo>
                    <a:pt x="26682" y="4114"/>
                  </a:lnTo>
                  <a:lnTo>
                    <a:pt x="26682" y="44043"/>
                  </a:lnTo>
                  <a:lnTo>
                    <a:pt x="254" y="44043"/>
                  </a:lnTo>
                  <a:lnTo>
                    <a:pt x="0" y="48145"/>
                  </a:lnTo>
                  <a:lnTo>
                    <a:pt x="26682" y="48145"/>
                  </a:lnTo>
                  <a:lnTo>
                    <a:pt x="30784" y="48171"/>
                  </a:lnTo>
                  <a:lnTo>
                    <a:pt x="72720" y="48145"/>
                  </a:lnTo>
                  <a:lnTo>
                    <a:pt x="76822" y="48171"/>
                  </a:lnTo>
                  <a:lnTo>
                    <a:pt x="118732" y="48145"/>
                  </a:lnTo>
                  <a:lnTo>
                    <a:pt x="122834" y="48171"/>
                  </a:lnTo>
                  <a:lnTo>
                    <a:pt x="164769" y="48145"/>
                  </a:lnTo>
                  <a:lnTo>
                    <a:pt x="168871" y="48171"/>
                  </a:lnTo>
                  <a:lnTo>
                    <a:pt x="210807" y="48145"/>
                  </a:lnTo>
                  <a:lnTo>
                    <a:pt x="214909" y="48171"/>
                  </a:lnTo>
                  <a:lnTo>
                    <a:pt x="256832" y="48145"/>
                  </a:lnTo>
                  <a:lnTo>
                    <a:pt x="260934" y="48171"/>
                  </a:lnTo>
                  <a:lnTo>
                    <a:pt x="302856" y="48145"/>
                  </a:lnTo>
                  <a:lnTo>
                    <a:pt x="306959" y="48171"/>
                  </a:lnTo>
                  <a:lnTo>
                    <a:pt x="348881" y="48145"/>
                  </a:lnTo>
                  <a:lnTo>
                    <a:pt x="352983" y="48171"/>
                  </a:lnTo>
                  <a:lnTo>
                    <a:pt x="394919" y="48145"/>
                  </a:lnTo>
                  <a:lnTo>
                    <a:pt x="399021" y="48171"/>
                  </a:lnTo>
                  <a:lnTo>
                    <a:pt x="440944" y="48145"/>
                  </a:lnTo>
                  <a:lnTo>
                    <a:pt x="445046" y="48171"/>
                  </a:lnTo>
                  <a:lnTo>
                    <a:pt x="471627" y="48145"/>
                  </a:lnTo>
                  <a:close/>
                </a:path>
              </a:pathLst>
            </a:custGeom>
            <a:solidFill>
              <a:srgbClr val="484C4F"/>
            </a:solidFill>
          </p:spPr>
          <p:txBody>
            <a:bodyPr wrap="square" lIns="0" tIns="0" rIns="0" bIns="0" rtlCol="0"/>
            <a:lstStyle/>
            <a:p>
              <a:endParaRPr/>
            </a:p>
          </p:txBody>
        </p:sp>
        <p:sp>
          <p:nvSpPr>
            <p:cNvPr id="44" name="object 44"/>
            <p:cNvSpPr/>
            <p:nvPr/>
          </p:nvSpPr>
          <p:spPr>
            <a:xfrm>
              <a:off x="3317582" y="6635813"/>
              <a:ext cx="895985" cy="41275"/>
            </a:xfrm>
            <a:custGeom>
              <a:avLst/>
              <a:gdLst/>
              <a:ahLst/>
              <a:cxnLst/>
              <a:rect l="l" t="t" r="r" b="b"/>
              <a:pathLst>
                <a:path w="895985" h="41275">
                  <a:moveTo>
                    <a:pt x="895819" y="0"/>
                  </a:moveTo>
                  <a:lnTo>
                    <a:pt x="0" y="0"/>
                  </a:lnTo>
                  <a:lnTo>
                    <a:pt x="0" y="40652"/>
                  </a:lnTo>
                  <a:lnTo>
                    <a:pt x="895819" y="40652"/>
                  </a:lnTo>
                  <a:lnTo>
                    <a:pt x="895819" y="0"/>
                  </a:lnTo>
                  <a:close/>
                </a:path>
              </a:pathLst>
            </a:custGeom>
            <a:solidFill>
              <a:srgbClr val="1D2226"/>
            </a:solidFill>
          </p:spPr>
          <p:txBody>
            <a:bodyPr wrap="square" lIns="0" tIns="0" rIns="0" bIns="0" rtlCol="0"/>
            <a:lstStyle/>
            <a:p>
              <a:endParaRPr/>
            </a:p>
          </p:txBody>
        </p:sp>
        <p:sp>
          <p:nvSpPr>
            <p:cNvPr id="45" name="object 45"/>
            <p:cNvSpPr/>
            <p:nvPr/>
          </p:nvSpPr>
          <p:spPr>
            <a:xfrm>
              <a:off x="2623643" y="5414631"/>
              <a:ext cx="1177925" cy="1262380"/>
            </a:xfrm>
            <a:custGeom>
              <a:avLst/>
              <a:gdLst/>
              <a:ahLst/>
              <a:cxnLst/>
              <a:rect l="l" t="t" r="r" b="b"/>
              <a:pathLst>
                <a:path w="1177925" h="1262379">
                  <a:moveTo>
                    <a:pt x="940257" y="0"/>
                  </a:moveTo>
                  <a:lnTo>
                    <a:pt x="237083" y="0"/>
                  </a:lnTo>
                  <a:lnTo>
                    <a:pt x="238644" y="18016"/>
                  </a:lnTo>
                  <a:lnTo>
                    <a:pt x="240118" y="46824"/>
                  </a:lnTo>
                  <a:lnTo>
                    <a:pt x="241450" y="79756"/>
                  </a:lnTo>
                  <a:lnTo>
                    <a:pt x="242475" y="120812"/>
                  </a:lnTo>
                  <a:lnTo>
                    <a:pt x="242919" y="169659"/>
                  </a:lnTo>
                  <a:lnTo>
                    <a:pt x="242508" y="225965"/>
                  </a:lnTo>
                  <a:lnTo>
                    <a:pt x="240233" y="309899"/>
                  </a:lnTo>
                  <a:lnTo>
                    <a:pt x="237934" y="360984"/>
                  </a:lnTo>
                  <a:lnTo>
                    <a:pt x="235369" y="406158"/>
                  </a:lnTo>
                  <a:lnTo>
                    <a:pt x="229642" y="485159"/>
                  </a:lnTo>
                  <a:lnTo>
                    <a:pt x="225370" y="533996"/>
                  </a:lnTo>
                  <a:lnTo>
                    <a:pt x="219887" y="582206"/>
                  </a:lnTo>
                  <a:lnTo>
                    <a:pt x="211996" y="637389"/>
                  </a:lnTo>
                  <a:lnTo>
                    <a:pt x="202710" y="691043"/>
                  </a:lnTo>
                  <a:lnTo>
                    <a:pt x="192198" y="743059"/>
                  </a:lnTo>
                  <a:lnTo>
                    <a:pt x="180630" y="793328"/>
                  </a:lnTo>
                  <a:lnTo>
                    <a:pt x="168175" y="841740"/>
                  </a:lnTo>
                  <a:lnTo>
                    <a:pt x="152037" y="898271"/>
                  </a:lnTo>
                  <a:lnTo>
                    <a:pt x="127065" y="975330"/>
                  </a:lnTo>
                  <a:lnTo>
                    <a:pt x="111113" y="1019910"/>
                  </a:lnTo>
                  <a:lnTo>
                    <a:pt x="95183" y="1061401"/>
                  </a:lnTo>
                  <a:lnTo>
                    <a:pt x="79019" y="1100874"/>
                  </a:lnTo>
                  <a:lnTo>
                    <a:pt x="78663" y="1102093"/>
                  </a:lnTo>
                  <a:lnTo>
                    <a:pt x="77927" y="1103312"/>
                  </a:lnTo>
                  <a:lnTo>
                    <a:pt x="65735" y="1131595"/>
                  </a:lnTo>
                  <a:lnTo>
                    <a:pt x="45392" y="1175784"/>
                  </a:lnTo>
                  <a:lnTo>
                    <a:pt x="27301" y="1212362"/>
                  </a:lnTo>
                  <a:lnTo>
                    <a:pt x="12207" y="1240846"/>
                  </a:lnTo>
                  <a:lnTo>
                    <a:pt x="127" y="1261732"/>
                  </a:lnTo>
                  <a:lnTo>
                    <a:pt x="0" y="1262214"/>
                  </a:lnTo>
                  <a:lnTo>
                    <a:pt x="1177467" y="1262214"/>
                  </a:lnTo>
                  <a:lnTo>
                    <a:pt x="1157211" y="1226121"/>
                  </a:lnTo>
                  <a:lnTo>
                    <a:pt x="1145032" y="1202575"/>
                  </a:lnTo>
                  <a:lnTo>
                    <a:pt x="1122733" y="1156149"/>
                  </a:lnTo>
                  <a:lnTo>
                    <a:pt x="1093313" y="1089182"/>
                  </a:lnTo>
                  <a:lnTo>
                    <a:pt x="1070916" y="1032496"/>
                  </a:lnTo>
                  <a:lnTo>
                    <a:pt x="1050980" y="977610"/>
                  </a:lnTo>
                  <a:lnTo>
                    <a:pt x="1034316" y="927541"/>
                  </a:lnTo>
                  <a:lnTo>
                    <a:pt x="1018247" y="874410"/>
                  </a:lnTo>
                  <a:lnTo>
                    <a:pt x="999860" y="806173"/>
                  </a:lnTo>
                  <a:lnTo>
                    <a:pt x="990866" y="768540"/>
                  </a:lnTo>
                  <a:lnTo>
                    <a:pt x="980504" y="721100"/>
                  </a:lnTo>
                  <a:lnTo>
                    <a:pt x="971151" y="672201"/>
                  </a:lnTo>
                  <a:lnTo>
                    <a:pt x="962942" y="621938"/>
                  </a:lnTo>
                  <a:lnTo>
                    <a:pt x="956015" y="570403"/>
                  </a:lnTo>
                  <a:lnTo>
                    <a:pt x="950506" y="517690"/>
                  </a:lnTo>
                  <a:lnTo>
                    <a:pt x="947009" y="476308"/>
                  </a:lnTo>
                  <a:lnTo>
                    <a:pt x="943998" y="436360"/>
                  </a:lnTo>
                  <a:lnTo>
                    <a:pt x="941467" y="397901"/>
                  </a:lnTo>
                  <a:lnTo>
                    <a:pt x="937580" y="324592"/>
                  </a:lnTo>
                  <a:lnTo>
                    <a:pt x="934711" y="225965"/>
                  </a:lnTo>
                  <a:lnTo>
                    <a:pt x="934328" y="169659"/>
                  </a:lnTo>
                  <a:lnTo>
                    <a:pt x="934808" y="120812"/>
                  </a:lnTo>
                  <a:lnTo>
                    <a:pt x="935864" y="79756"/>
                  </a:lnTo>
                  <a:lnTo>
                    <a:pt x="937209" y="46824"/>
                  </a:lnTo>
                  <a:lnTo>
                    <a:pt x="939280" y="11934"/>
                  </a:lnTo>
                  <a:lnTo>
                    <a:pt x="940257" y="0"/>
                  </a:lnTo>
                  <a:close/>
                </a:path>
              </a:pathLst>
            </a:custGeom>
            <a:solidFill>
              <a:srgbClr val="CFD1D0"/>
            </a:solidFill>
          </p:spPr>
          <p:txBody>
            <a:bodyPr wrap="square" lIns="0" tIns="0" rIns="0" bIns="0" rtlCol="0"/>
            <a:lstStyle/>
            <a:p>
              <a:endParaRPr/>
            </a:p>
          </p:txBody>
        </p:sp>
        <p:sp>
          <p:nvSpPr>
            <p:cNvPr id="46" name="object 46"/>
            <p:cNvSpPr/>
            <p:nvPr/>
          </p:nvSpPr>
          <p:spPr>
            <a:xfrm>
              <a:off x="2623643" y="5414631"/>
              <a:ext cx="1177925" cy="1262380"/>
            </a:xfrm>
            <a:custGeom>
              <a:avLst/>
              <a:gdLst/>
              <a:ahLst/>
              <a:cxnLst/>
              <a:rect l="l" t="t" r="r" b="b"/>
              <a:pathLst>
                <a:path w="1177925" h="1262379">
                  <a:moveTo>
                    <a:pt x="0" y="1262214"/>
                  </a:moveTo>
                  <a:lnTo>
                    <a:pt x="1177467" y="1262214"/>
                  </a:lnTo>
                  <a:lnTo>
                    <a:pt x="1176235" y="1260259"/>
                  </a:lnTo>
                  <a:lnTo>
                    <a:pt x="1174902" y="1257947"/>
                  </a:lnTo>
                  <a:lnTo>
                    <a:pt x="1173429" y="1255382"/>
                  </a:lnTo>
                  <a:lnTo>
                    <a:pt x="1171968" y="1252943"/>
                  </a:lnTo>
                  <a:lnTo>
                    <a:pt x="1170393" y="1250137"/>
                  </a:lnTo>
                  <a:lnTo>
                    <a:pt x="1168679" y="1247101"/>
                  </a:lnTo>
                  <a:lnTo>
                    <a:pt x="1166114" y="1242580"/>
                  </a:lnTo>
                  <a:lnTo>
                    <a:pt x="1163320" y="1237462"/>
                  </a:lnTo>
                  <a:lnTo>
                    <a:pt x="1160272" y="1231849"/>
                  </a:lnTo>
                  <a:lnTo>
                    <a:pt x="1159294" y="1230020"/>
                  </a:lnTo>
                  <a:lnTo>
                    <a:pt x="1158316" y="1228064"/>
                  </a:lnTo>
                  <a:lnTo>
                    <a:pt x="1157211" y="1226121"/>
                  </a:lnTo>
                  <a:lnTo>
                    <a:pt x="1134269" y="1180666"/>
                  </a:lnTo>
                  <a:lnTo>
                    <a:pt x="1110516" y="1129114"/>
                  </a:lnTo>
                  <a:lnTo>
                    <a:pt x="1093313" y="1089182"/>
                  </a:lnTo>
                  <a:lnTo>
                    <a:pt x="1080147" y="1056106"/>
                  </a:lnTo>
                  <a:lnTo>
                    <a:pt x="1077038" y="1048360"/>
                  </a:lnTo>
                  <a:lnTo>
                    <a:pt x="1050980" y="977610"/>
                  </a:lnTo>
                  <a:lnTo>
                    <a:pt x="1034316" y="927541"/>
                  </a:lnTo>
                  <a:lnTo>
                    <a:pt x="1018247" y="874410"/>
                  </a:lnTo>
                  <a:lnTo>
                    <a:pt x="1003071" y="818426"/>
                  </a:lnTo>
                  <a:lnTo>
                    <a:pt x="993805" y="781207"/>
                  </a:lnTo>
                  <a:lnTo>
                    <a:pt x="980504" y="721100"/>
                  </a:lnTo>
                  <a:lnTo>
                    <a:pt x="971151" y="672201"/>
                  </a:lnTo>
                  <a:lnTo>
                    <a:pt x="962942" y="621938"/>
                  </a:lnTo>
                  <a:lnTo>
                    <a:pt x="956015" y="570403"/>
                  </a:lnTo>
                  <a:lnTo>
                    <a:pt x="950506" y="517690"/>
                  </a:lnTo>
                  <a:lnTo>
                    <a:pt x="947009" y="476308"/>
                  </a:lnTo>
                  <a:lnTo>
                    <a:pt x="943998" y="436360"/>
                  </a:lnTo>
                  <a:lnTo>
                    <a:pt x="941467" y="397901"/>
                  </a:lnTo>
                  <a:lnTo>
                    <a:pt x="939291" y="358901"/>
                  </a:lnTo>
                  <a:lnTo>
                    <a:pt x="939165" y="356831"/>
                  </a:lnTo>
                  <a:lnTo>
                    <a:pt x="936987" y="309899"/>
                  </a:lnTo>
                  <a:lnTo>
                    <a:pt x="936485" y="295490"/>
                  </a:lnTo>
                  <a:lnTo>
                    <a:pt x="936358" y="293420"/>
                  </a:lnTo>
                  <a:lnTo>
                    <a:pt x="936358" y="291337"/>
                  </a:lnTo>
                  <a:lnTo>
                    <a:pt x="936244" y="289394"/>
                  </a:lnTo>
                  <a:lnTo>
                    <a:pt x="934711" y="225965"/>
                  </a:lnTo>
                  <a:lnTo>
                    <a:pt x="934328" y="169659"/>
                  </a:lnTo>
                  <a:lnTo>
                    <a:pt x="934808" y="120812"/>
                  </a:lnTo>
                  <a:lnTo>
                    <a:pt x="935864" y="79756"/>
                  </a:lnTo>
                  <a:lnTo>
                    <a:pt x="938301" y="26596"/>
                  </a:lnTo>
                  <a:lnTo>
                    <a:pt x="940257" y="0"/>
                  </a:lnTo>
                  <a:lnTo>
                    <a:pt x="805586" y="64"/>
                  </a:lnTo>
                  <a:lnTo>
                    <a:pt x="727668" y="85"/>
                  </a:lnTo>
                  <a:lnTo>
                    <a:pt x="676777" y="64"/>
                  </a:lnTo>
                  <a:lnTo>
                    <a:pt x="623189" y="0"/>
                  </a:lnTo>
                  <a:lnTo>
                    <a:pt x="237083" y="0"/>
                  </a:lnTo>
                  <a:lnTo>
                    <a:pt x="240118" y="46824"/>
                  </a:lnTo>
                  <a:lnTo>
                    <a:pt x="242475" y="120812"/>
                  </a:lnTo>
                  <a:lnTo>
                    <a:pt x="242919" y="169659"/>
                  </a:lnTo>
                  <a:lnTo>
                    <a:pt x="242508" y="225965"/>
                  </a:lnTo>
                  <a:lnTo>
                    <a:pt x="240969" y="289394"/>
                  </a:lnTo>
                  <a:lnTo>
                    <a:pt x="240969" y="291464"/>
                  </a:lnTo>
                  <a:lnTo>
                    <a:pt x="240855" y="293420"/>
                  </a:lnTo>
                  <a:lnTo>
                    <a:pt x="240741" y="295490"/>
                  </a:lnTo>
                  <a:lnTo>
                    <a:pt x="240233" y="309899"/>
                  </a:lnTo>
                  <a:lnTo>
                    <a:pt x="239649" y="324592"/>
                  </a:lnTo>
                  <a:lnTo>
                    <a:pt x="237934" y="360984"/>
                  </a:lnTo>
                  <a:lnTo>
                    <a:pt x="236741" y="383294"/>
                  </a:lnTo>
                  <a:lnTo>
                    <a:pt x="233816" y="429575"/>
                  </a:lnTo>
                  <a:lnTo>
                    <a:pt x="230919" y="469223"/>
                  </a:lnTo>
                  <a:lnTo>
                    <a:pt x="226834" y="517690"/>
                  </a:lnTo>
                  <a:lnTo>
                    <a:pt x="221894" y="566242"/>
                  </a:lnTo>
                  <a:lnTo>
                    <a:pt x="211996" y="637389"/>
                  </a:lnTo>
                  <a:lnTo>
                    <a:pt x="202710" y="691043"/>
                  </a:lnTo>
                  <a:lnTo>
                    <a:pt x="192198" y="743059"/>
                  </a:lnTo>
                  <a:lnTo>
                    <a:pt x="180630" y="793328"/>
                  </a:lnTo>
                  <a:lnTo>
                    <a:pt x="168175" y="841740"/>
                  </a:lnTo>
                  <a:lnTo>
                    <a:pt x="155003" y="888187"/>
                  </a:lnTo>
                  <a:lnTo>
                    <a:pt x="142798" y="927811"/>
                  </a:lnTo>
                  <a:lnTo>
                    <a:pt x="127065" y="975330"/>
                  </a:lnTo>
                  <a:lnTo>
                    <a:pt x="111113" y="1019910"/>
                  </a:lnTo>
                  <a:lnTo>
                    <a:pt x="95183" y="1061401"/>
                  </a:lnTo>
                  <a:lnTo>
                    <a:pt x="79514" y="1099654"/>
                  </a:lnTo>
                  <a:lnTo>
                    <a:pt x="79019" y="1100874"/>
                  </a:lnTo>
                  <a:lnTo>
                    <a:pt x="78663" y="1102093"/>
                  </a:lnTo>
                  <a:lnTo>
                    <a:pt x="77927" y="1103312"/>
                  </a:lnTo>
                  <a:lnTo>
                    <a:pt x="74839" y="1110578"/>
                  </a:lnTo>
                  <a:lnTo>
                    <a:pt x="45392" y="1175784"/>
                  </a:lnTo>
                  <a:lnTo>
                    <a:pt x="27301" y="1212362"/>
                  </a:lnTo>
                  <a:lnTo>
                    <a:pt x="850" y="1260754"/>
                  </a:lnTo>
                  <a:lnTo>
                    <a:pt x="482" y="1261236"/>
                  </a:lnTo>
                  <a:lnTo>
                    <a:pt x="127" y="1261732"/>
                  </a:lnTo>
                  <a:lnTo>
                    <a:pt x="0" y="1262214"/>
                  </a:lnTo>
                  <a:close/>
                </a:path>
              </a:pathLst>
            </a:custGeom>
            <a:ln w="8966">
              <a:solidFill>
                <a:srgbClr val="FFFFFF"/>
              </a:solidFill>
            </a:ln>
          </p:spPr>
          <p:txBody>
            <a:bodyPr wrap="square" lIns="0" tIns="0" rIns="0" bIns="0" rtlCol="0"/>
            <a:lstStyle/>
            <a:p>
              <a:endParaRPr/>
            </a:p>
          </p:txBody>
        </p:sp>
        <p:sp>
          <p:nvSpPr>
            <p:cNvPr id="47" name="object 47"/>
            <p:cNvSpPr/>
            <p:nvPr/>
          </p:nvSpPr>
          <p:spPr>
            <a:xfrm>
              <a:off x="2623582" y="6514326"/>
              <a:ext cx="1177925" cy="162560"/>
            </a:xfrm>
            <a:custGeom>
              <a:avLst/>
              <a:gdLst/>
              <a:ahLst/>
              <a:cxnLst/>
              <a:rect l="l" t="t" r="r" b="b"/>
              <a:pathLst>
                <a:path w="1177925" h="162559">
                  <a:moveTo>
                    <a:pt x="1097826" y="0"/>
                  </a:moveTo>
                  <a:lnTo>
                    <a:pt x="79641" y="0"/>
                  </a:lnTo>
                  <a:lnTo>
                    <a:pt x="65862" y="31940"/>
                  </a:lnTo>
                  <a:lnTo>
                    <a:pt x="45515" y="76129"/>
                  </a:lnTo>
                  <a:lnTo>
                    <a:pt x="27408" y="112707"/>
                  </a:lnTo>
                  <a:lnTo>
                    <a:pt x="12275" y="141191"/>
                  </a:lnTo>
                  <a:lnTo>
                    <a:pt x="0" y="162560"/>
                  </a:lnTo>
                  <a:lnTo>
                    <a:pt x="1177582" y="162560"/>
                  </a:lnTo>
                  <a:lnTo>
                    <a:pt x="1148319" y="109203"/>
                  </a:lnTo>
                  <a:lnTo>
                    <a:pt x="1122810" y="56494"/>
                  </a:lnTo>
                  <a:lnTo>
                    <a:pt x="1110584" y="29459"/>
                  </a:lnTo>
                  <a:lnTo>
                    <a:pt x="1097826" y="0"/>
                  </a:lnTo>
                  <a:close/>
                </a:path>
              </a:pathLst>
            </a:custGeom>
            <a:solidFill>
              <a:srgbClr val="E9E9E8"/>
            </a:solidFill>
          </p:spPr>
          <p:txBody>
            <a:bodyPr wrap="square" lIns="0" tIns="0" rIns="0" bIns="0" rtlCol="0"/>
            <a:lstStyle/>
            <a:p>
              <a:endParaRPr/>
            </a:p>
          </p:txBody>
        </p:sp>
        <p:sp>
          <p:nvSpPr>
            <p:cNvPr id="48" name="object 48"/>
            <p:cNvSpPr/>
            <p:nvPr/>
          </p:nvSpPr>
          <p:spPr>
            <a:xfrm>
              <a:off x="2623582" y="6514326"/>
              <a:ext cx="1177925" cy="162560"/>
            </a:xfrm>
            <a:custGeom>
              <a:avLst/>
              <a:gdLst/>
              <a:ahLst/>
              <a:cxnLst/>
              <a:rect l="l" t="t" r="r" b="b"/>
              <a:pathLst>
                <a:path w="1177925" h="162559">
                  <a:moveTo>
                    <a:pt x="0" y="162560"/>
                  </a:moveTo>
                  <a:lnTo>
                    <a:pt x="1177582" y="162560"/>
                  </a:lnTo>
                  <a:lnTo>
                    <a:pt x="1173545" y="155752"/>
                  </a:lnTo>
                  <a:lnTo>
                    <a:pt x="1168788" y="147437"/>
                  </a:lnTo>
                  <a:lnTo>
                    <a:pt x="1148319" y="109203"/>
                  </a:lnTo>
                  <a:lnTo>
                    <a:pt x="1122810" y="56494"/>
                  </a:lnTo>
                  <a:lnTo>
                    <a:pt x="1097826" y="0"/>
                  </a:lnTo>
                  <a:lnTo>
                    <a:pt x="79641" y="0"/>
                  </a:lnTo>
                  <a:lnTo>
                    <a:pt x="79146" y="1219"/>
                  </a:lnTo>
                  <a:lnTo>
                    <a:pt x="78663" y="2438"/>
                  </a:lnTo>
                  <a:lnTo>
                    <a:pt x="78041" y="3657"/>
                  </a:lnTo>
                  <a:lnTo>
                    <a:pt x="45515" y="76129"/>
                  </a:lnTo>
                  <a:lnTo>
                    <a:pt x="27408" y="112707"/>
                  </a:lnTo>
                  <a:lnTo>
                    <a:pt x="850" y="161099"/>
                  </a:lnTo>
                  <a:lnTo>
                    <a:pt x="609" y="161582"/>
                  </a:lnTo>
                  <a:lnTo>
                    <a:pt x="241" y="162077"/>
                  </a:lnTo>
                  <a:lnTo>
                    <a:pt x="0" y="162560"/>
                  </a:lnTo>
                  <a:close/>
                </a:path>
              </a:pathLst>
            </a:custGeom>
            <a:ln w="6718">
              <a:solidFill>
                <a:srgbClr val="FFFFFF"/>
              </a:solidFill>
            </a:ln>
          </p:spPr>
          <p:txBody>
            <a:bodyPr wrap="square" lIns="0" tIns="0" rIns="0" bIns="0" rtlCol="0"/>
            <a:lstStyle/>
            <a:p>
              <a:endParaRPr/>
            </a:p>
          </p:txBody>
        </p:sp>
        <p:sp>
          <p:nvSpPr>
            <p:cNvPr id="49" name="object 49"/>
            <p:cNvSpPr/>
            <p:nvPr/>
          </p:nvSpPr>
          <p:spPr>
            <a:xfrm>
              <a:off x="2860659" y="5414667"/>
              <a:ext cx="703580" cy="46990"/>
            </a:xfrm>
            <a:custGeom>
              <a:avLst/>
              <a:gdLst/>
              <a:ahLst/>
              <a:cxnLst/>
              <a:rect l="l" t="t" r="r" b="b"/>
              <a:pathLst>
                <a:path w="703579" h="46989">
                  <a:moveTo>
                    <a:pt x="703313" y="0"/>
                  </a:moveTo>
                  <a:lnTo>
                    <a:pt x="0" y="0"/>
                  </a:lnTo>
                  <a:lnTo>
                    <a:pt x="1571" y="18018"/>
                  </a:lnTo>
                  <a:lnTo>
                    <a:pt x="3048" y="46837"/>
                  </a:lnTo>
                  <a:lnTo>
                    <a:pt x="700252" y="46837"/>
                  </a:lnTo>
                  <a:lnTo>
                    <a:pt x="702330" y="11936"/>
                  </a:lnTo>
                  <a:lnTo>
                    <a:pt x="703313" y="0"/>
                  </a:lnTo>
                  <a:close/>
                </a:path>
              </a:pathLst>
            </a:custGeom>
            <a:solidFill>
              <a:srgbClr val="E9E9E8"/>
            </a:solidFill>
          </p:spPr>
          <p:txBody>
            <a:bodyPr wrap="square" lIns="0" tIns="0" rIns="0" bIns="0" rtlCol="0"/>
            <a:lstStyle/>
            <a:p>
              <a:endParaRPr/>
            </a:p>
          </p:txBody>
        </p:sp>
        <p:sp>
          <p:nvSpPr>
            <p:cNvPr id="50" name="object 50"/>
            <p:cNvSpPr/>
            <p:nvPr/>
          </p:nvSpPr>
          <p:spPr>
            <a:xfrm>
              <a:off x="2860659" y="5414667"/>
              <a:ext cx="703580" cy="46990"/>
            </a:xfrm>
            <a:custGeom>
              <a:avLst/>
              <a:gdLst/>
              <a:ahLst/>
              <a:cxnLst/>
              <a:rect l="l" t="t" r="r" b="b"/>
              <a:pathLst>
                <a:path w="703579" h="46989">
                  <a:moveTo>
                    <a:pt x="0" y="0"/>
                  </a:moveTo>
                  <a:lnTo>
                    <a:pt x="940" y="9854"/>
                  </a:lnTo>
                  <a:lnTo>
                    <a:pt x="1571" y="18018"/>
                  </a:lnTo>
                  <a:lnTo>
                    <a:pt x="2178" y="28882"/>
                  </a:lnTo>
                  <a:lnTo>
                    <a:pt x="3048" y="46837"/>
                  </a:lnTo>
                  <a:lnTo>
                    <a:pt x="700252" y="46837"/>
                  </a:lnTo>
                  <a:lnTo>
                    <a:pt x="701346" y="26601"/>
                  </a:lnTo>
                  <a:lnTo>
                    <a:pt x="702330" y="11936"/>
                  </a:lnTo>
                  <a:lnTo>
                    <a:pt x="703040" y="3012"/>
                  </a:lnTo>
                  <a:lnTo>
                    <a:pt x="703313" y="0"/>
                  </a:lnTo>
                  <a:lnTo>
                    <a:pt x="0" y="0"/>
                  </a:lnTo>
                  <a:close/>
                </a:path>
              </a:pathLst>
            </a:custGeom>
            <a:ln w="6718">
              <a:solidFill>
                <a:srgbClr val="FFFFFF"/>
              </a:solidFill>
            </a:ln>
          </p:spPr>
          <p:txBody>
            <a:bodyPr wrap="square" lIns="0" tIns="0" rIns="0" bIns="0" rtlCol="0"/>
            <a:lstStyle/>
            <a:p>
              <a:endParaRPr/>
            </a:p>
          </p:txBody>
        </p:sp>
        <p:sp>
          <p:nvSpPr>
            <p:cNvPr id="51" name="object 51"/>
            <p:cNvSpPr/>
            <p:nvPr/>
          </p:nvSpPr>
          <p:spPr>
            <a:xfrm>
              <a:off x="3246824" y="5414627"/>
              <a:ext cx="554355" cy="1262380"/>
            </a:xfrm>
            <a:custGeom>
              <a:avLst/>
              <a:gdLst/>
              <a:ahLst/>
              <a:cxnLst/>
              <a:rect l="l" t="t" r="r" b="b"/>
              <a:pathLst>
                <a:path w="554354" h="1262379">
                  <a:moveTo>
                    <a:pt x="317080" y="0"/>
                  </a:moveTo>
                  <a:lnTo>
                    <a:pt x="0" y="0"/>
                  </a:lnTo>
                  <a:lnTo>
                    <a:pt x="9271" y="46837"/>
                  </a:lnTo>
                  <a:lnTo>
                    <a:pt x="19699" y="97114"/>
                  </a:lnTo>
                  <a:lnTo>
                    <a:pt x="30480" y="146526"/>
                  </a:lnTo>
                  <a:lnTo>
                    <a:pt x="41583" y="195055"/>
                  </a:lnTo>
                  <a:lnTo>
                    <a:pt x="52976" y="242684"/>
                  </a:lnTo>
                  <a:lnTo>
                    <a:pt x="67805" y="302196"/>
                  </a:lnTo>
                  <a:lnTo>
                    <a:pt x="83413" y="360984"/>
                  </a:lnTo>
                  <a:lnTo>
                    <a:pt x="100047" y="420774"/>
                  </a:lnTo>
                  <a:lnTo>
                    <a:pt x="117035" y="478848"/>
                  </a:lnTo>
                  <a:lnTo>
                    <a:pt x="134328" y="535184"/>
                  </a:lnTo>
                  <a:lnTo>
                    <a:pt x="151878" y="589760"/>
                  </a:lnTo>
                  <a:lnTo>
                    <a:pt x="169635" y="642556"/>
                  </a:lnTo>
                  <a:lnTo>
                    <a:pt x="187550" y="693550"/>
                  </a:lnTo>
                  <a:lnTo>
                    <a:pt x="205575" y="742721"/>
                  </a:lnTo>
                  <a:lnTo>
                    <a:pt x="223661" y="790046"/>
                  </a:lnTo>
                  <a:lnTo>
                    <a:pt x="241758" y="835505"/>
                  </a:lnTo>
                  <a:lnTo>
                    <a:pt x="259817" y="879076"/>
                  </a:lnTo>
                  <a:lnTo>
                    <a:pt x="277790" y="920737"/>
                  </a:lnTo>
                  <a:lnTo>
                    <a:pt x="295627" y="960468"/>
                  </a:lnTo>
                  <a:lnTo>
                    <a:pt x="313280" y="998247"/>
                  </a:lnTo>
                  <a:lnTo>
                    <a:pt x="330699" y="1034052"/>
                  </a:lnTo>
                  <a:lnTo>
                    <a:pt x="364642" y="1099654"/>
                  </a:lnTo>
                  <a:lnTo>
                    <a:pt x="392678" y="1149668"/>
                  </a:lnTo>
                  <a:lnTo>
                    <a:pt x="419341" y="1193517"/>
                  </a:lnTo>
                  <a:lnTo>
                    <a:pt x="444355" y="1231074"/>
                  </a:lnTo>
                  <a:lnTo>
                    <a:pt x="467448" y="1262214"/>
                  </a:lnTo>
                  <a:lnTo>
                    <a:pt x="554278" y="1262214"/>
                  </a:lnTo>
                  <a:lnTo>
                    <a:pt x="534035" y="1226121"/>
                  </a:lnTo>
                  <a:lnTo>
                    <a:pt x="521843" y="1202575"/>
                  </a:lnTo>
                  <a:lnTo>
                    <a:pt x="499549" y="1156149"/>
                  </a:lnTo>
                  <a:lnTo>
                    <a:pt x="470131" y="1089182"/>
                  </a:lnTo>
                  <a:lnTo>
                    <a:pt x="447734" y="1032502"/>
                  </a:lnTo>
                  <a:lnTo>
                    <a:pt x="427802" y="977612"/>
                  </a:lnTo>
                  <a:lnTo>
                    <a:pt x="411133" y="927546"/>
                  </a:lnTo>
                  <a:lnTo>
                    <a:pt x="395060" y="874415"/>
                  </a:lnTo>
                  <a:lnTo>
                    <a:pt x="376677" y="806173"/>
                  </a:lnTo>
                  <a:lnTo>
                    <a:pt x="367690" y="768553"/>
                  </a:lnTo>
                  <a:lnTo>
                    <a:pt x="357323" y="721106"/>
                  </a:lnTo>
                  <a:lnTo>
                    <a:pt x="347968" y="672204"/>
                  </a:lnTo>
                  <a:lnTo>
                    <a:pt x="339760" y="621939"/>
                  </a:lnTo>
                  <a:lnTo>
                    <a:pt x="332831" y="570403"/>
                  </a:lnTo>
                  <a:lnTo>
                    <a:pt x="327317" y="517690"/>
                  </a:lnTo>
                  <a:lnTo>
                    <a:pt x="323822" y="476313"/>
                  </a:lnTo>
                  <a:lnTo>
                    <a:pt x="320816" y="436365"/>
                  </a:lnTo>
                  <a:lnTo>
                    <a:pt x="318289" y="397903"/>
                  </a:lnTo>
                  <a:lnTo>
                    <a:pt x="314393" y="324597"/>
                  </a:lnTo>
                  <a:lnTo>
                    <a:pt x="311530" y="225970"/>
                  </a:lnTo>
                  <a:lnTo>
                    <a:pt x="311153" y="169666"/>
                  </a:lnTo>
                  <a:lnTo>
                    <a:pt x="311636" y="120818"/>
                  </a:lnTo>
                  <a:lnTo>
                    <a:pt x="312692" y="79764"/>
                  </a:lnTo>
                  <a:lnTo>
                    <a:pt x="314032" y="46837"/>
                  </a:lnTo>
                  <a:lnTo>
                    <a:pt x="316104" y="11936"/>
                  </a:lnTo>
                  <a:lnTo>
                    <a:pt x="317080" y="0"/>
                  </a:lnTo>
                  <a:close/>
                </a:path>
              </a:pathLst>
            </a:custGeom>
            <a:solidFill>
              <a:srgbClr val="18171C">
                <a:alpha val="9999"/>
              </a:srgbClr>
            </a:solidFill>
          </p:spPr>
          <p:txBody>
            <a:bodyPr wrap="square" lIns="0" tIns="0" rIns="0" bIns="0" rtlCol="0"/>
            <a:lstStyle/>
            <a:p>
              <a:endParaRPr/>
            </a:p>
          </p:txBody>
        </p:sp>
        <p:sp>
          <p:nvSpPr>
            <p:cNvPr id="52" name="object 52"/>
            <p:cNvSpPr/>
            <p:nvPr/>
          </p:nvSpPr>
          <p:spPr>
            <a:xfrm>
              <a:off x="2545359" y="6676885"/>
              <a:ext cx="1332865" cy="60960"/>
            </a:xfrm>
            <a:custGeom>
              <a:avLst/>
              <a:gdLst/>
              <a:ahLst/>
              <a:cxnLst/>
              <a:rect l="l" t="t" r="r" b="b"/>
              <a:pathLst>
                <a:path w="1332864" h="60959">
                  <a:moveTo>
                    <a:pt x="1332382" y="0"/>
                  </a:moveTo>
                  <a:lnTo>
                    <a:pt x="0" y="0"/>
                  </a:lnTo>
                  <a:lnTo>
                    <a:pt x="0" y="60464"/>
                  </a:lnTo>
                  <a:lnTo>
                    <a:pt x="1332382" y="60464"/>
                  </a:lnTo>
                  <a:lnTo>
                    <a:pt x="1332382" y="0"/>
                  </a:lnTo>
                  <a:close/>
                </a:path>
              </a:pathLst>
            </a:custGeom>
            <a:solidFill>
              <a:srgbClr val="1D2226"/>
            </a:solidFill>
          </p:spPr>
          <p:txBody>
            <a:bodyPr wrap="square" lIns="0" tIns="0" rIns="0" bIns="0" rtlCol="0"/>
            <a:lstStyle/>
            <a:p>
              <a:endParaRPr/>
            </a:p>
          </p:txBody>
        </p:sp>
        <p:sp>
          <p:nvSpPr>
            <p:cNvPr id="53" name="object 53"/>
            <p:cNvSpPr/>
            <p:nvPr/>
          </p:nvSpPr>
          <p:spPr>
            <a:xfrm>
              <a:off x="1465919" y="5414631"/>
              <a:ext cx="1177925" cy="1262380"/>
            </a:xfrm>
            <a:custGeom>
              <a:avLst/>
              <a:gdLst/>
              <a:ahLst/>
              <a:cxnLst/>
              <a:rect l="l" t="t" r="r" b="b"/>
              <a:pathLst>
                <a:path w="1177925" h="1262379">
                  <a:moveTo>
                    <a:pt x="940257" y="0"/>
                  </a:moveTo>
                  <a:lnTo>
                    <a:pt x="237083" y="0"/>
                  </a:lnTo>
                  <a:lnTo>
                    <a:pt x="238644" y="18016"/>
                  </a:lnTo>
                  <a:lnTo>
                    <a:pt x="240118" y="46824"/>
                  </a:lnTo>
                  <a:lnTo>
                    <a:pt x="241452" y="79756"/>
                  </a:lnTo>
                  <a:lnTo>
                    <a:pt x="242479" y="120812"/>
                  </a:lnTo>
                  <a:lnTo>
                    <a:pt x="242925" y="169659"/>
                  </a:lnTo>
                  <a:lnTo>
                    <a:pt x="242513" y="225965"/>
                  </a:lnTo>
                  <a:lnTo>
                    <a:pt x="240233" y="309899"/>
                  </a:lnTo>
                  <a:lnTo>
                    <a:pt x="237934" y="360984"/>
                  </a:lnTo>
                  <a:lnTo>
                    <a:pt x="235369" y="406158"/>
                  </a:lnTo>
                  <a:lnTo>
                    <a:pt x="229642" y="485159"/>
                  </a:lnTo>
                  <a:lnTo>
                    <a:pt x="225370" y="533996"/>
                  </a:lnTo>
                  <a:lnTo>
                    <a:pt x="219887" y="582206"/>
                  </a:lnTo>
                  <a:lnTo>
                    <a:pt x="211996" y="637389"/>
                  </a:lnTo>
                  <a:lnTo>
                    <a:pt x="202710" y="691043"/>
                  </a:lnTo>
                  <a:lnTo>
                    <a:pt x="192198" y="743059"/>
                  </a:lnTo>
                  <a:lnTo>
                    <a:pt x="180630" y="793328"/>
                  </a:lnTo>
                  <a:lnTo>
                    <a:pt x="168175" y="841740"/>
                  </a:lnTo>
                  <a:lnTo>
                    <a:pt x="152037" y="898271"/>
                  </a:lnTo>
                  <a:lnTo>
                    <a:pt x="127065" y="975330"/>
                  </a:lnTo>
                  <a:lnTo>
                    <a:pt x="111113" y="1019910"/>
                  </a:lnTo>
                  <a:lnTo>
                    <a:pt x="95183" y="1061401"/>
                  </a:lnTo>
                  <a:lnTo>
                    <a:pt x="79019" y="1100874"/>
                  </a:lnTo>
                  <a:lnTo>
                    <a:pt x="78663" y="1102093"/>
                  </a:lnTo>
                  <a:lnTo>
                    <a:pt x="77927" y="1103312"/>
                  </a:lnTo>
                  <a:lnTo>
                    <a:pt x="65735" y="1131595"/>
                  </a:lnTo>
                  <a:lnTo>
                    <a:pt x="45392" y="1175784"/>
                  </a:lnTo>
                  <a:lnTo>
                    <a:pt x="27301" y="1212362"/>
                  </a:lnTo>
                  <a:lnTo>
                    <a:pt x="12207" y="1240846"/>
                  </a:lnTo>
                  <a:lnTo>
                    <a:pt x="127" y="1261732"/>
                  </a:lnTo>
                  <a:lnTo>
                    <a:pt x="0" y="1262214"/>
                  </a:lnTo>
                  <a:lnTo>
                    <a:pt x="1177467" y="1262214"/>
                  </a:lnTo>
                  <a:lnTo>
                    <a:pt x="1157211" y="1226121"/>
                  </a:lnTo>
                  <a:lnTo>
                    <a:pt x="1145032" y="1202575"/>
                  </a:lnTo>
                  <a:lnTo>
                    <a:pt x="1122733" y="1156149"/>
                  </a:lnTo>
                  <a:lnTo>
                    <a:pt x="1093313" y="1089182"/>
                  </a:lnTo>
                  <a:lnTo>
                    <a:pt x="1070916" y="1032496"/>
                  </a:lnTo>
                  <a:lnTo>
                    <a:pt x="1050980" y="977610"/>
                  </a:lnTo>
                  <a:lnTo>
                    <a:pt x="1034316" y="927541"/>
                  </a:lnTo>
                  <a:lnTo>
                    <a:pt x="1018247" y="874410"/>
                  </a:lnTo>
                  <a:lnTo>
                    <a:pt x="999860" y="806173"/>
                  </a:lnTo>
                  <a:lnTo>
                    <a:pt x="990866" y="768540"/>
                  </a:lnTo>
                  <a:lnTo>
                    <a:pt x="980504" y="721100"/>
                  </a:lnTo>
                  <a:lnTo>
                    <a:pt x="971151" y="672201"/>
                  </a:lnTo>
                  <a:lnTo>
                    <a:pt x="962942" y="621938"/>
                  </a:lnTo>
                  <a:lnTo>
                    <a:pt x="956015" y="570403"/>
                  </a:lnTo>
                  <a:lnTo>
                    <a:pt x="950506" y="517690"/>
                  </a:lnTo>
                  <a:lnTo>
                    <a:pt x="947009" y="476308"/>
                  </a:lnTo>
                  <a:lnTo>
                    <a:pt x="943998" y="436360"/>
                  </a:lnTo>
                  <a:lnTo>
                    <a:pt x="941467" y="397901"/>
                  </a:lnTo>
                  <a:lnTo>
                    <a:pt x="937582" y="324592"/>
                  </a:lnTo>
                  <a:lnTo>
                    <a:pt x="934713" y="225965"/>
                  </a:lnTo>
                  <a:lnTo>
                    <a:pt x="934332" y="169659"/>
                  </a:lnTo>
                  <a:lnTo>
                    <a:pt x="934813" y="120812"/>
                  </a:lnTo>
                  <a:lnTo>
                    <a:pt x="935868" y="79756"/>
                  </a:lnTo>
                  <a:lnTo>
                    <a:pt x="937209" y="46824"/>
                  </a:lnTo>
                  <a:lnTo>
                    <a:pt x="939280" y="11934"/>
                  </a:lnTo>
                  <a:lnTo>
                    <a:pt x="940257" y="0"/>
                  </a:lnTo>
                  <a:close/>
                </a:path>
              </a:pathLst>
            </a:custGeom>
            <a:solidFill>
              <a:srgbClr val="CFD1D0"/>
            </a:solidFill>
          </p:spPr>
          <p:txBody>
            <a:bodyPr wrap="square" lIns="0" tIns="0" rIns="0" bIns="0" rtlCol="0"/>
            <a:lstStyle/>
            <a:p>
              <a:endParaRPr/>
            </a:p>
          </p:txBody>
        </p:sp>
        <p:sp>
          <p:nvSpPr>
            <p:cNvPr id="54" name="object 54"/>
            <p:cNvSpPr/>
            <p:nvPr/>
          </p:nvSpPr>
          <p:spPr>
            <a:xfrm>
              <a:off x="1465919" y="5414631"/>
              <a:ext cx="1177925" cy="1262380"/>
            </a:xfrm>
            <a:custGeom>
              <a:avLst/>
              <a:gdLst/>
              <a:ahLst/>
              <a:cxnLst/>
              <a:rect l="l" t="t" r="r" b="b"/>
              <a:pathLst>
                <a:path w="1177925" h="1262379">
                  <a:moveTo>
                    <a:pt x="0" y="1262214"/>
                  </a:moveTo>
                  <a:lnTo>
                    <a:pt x="1177467" y="1262214"/>
                  </a:lnTo>
                  <a:lnTo>
                    <a:pt x="1176235" y="1260259"/>
                  </a:lnTo>
                  <a:lnTo>
                    <a:pt x="1174902" y="1257947"/>
                  </a:lnTo>
                  <a:lnTo>
                    <a:pt x="1173429" y="1255382"/>
                  </a:lnTo>
                  <a:lnTo>
                    <a:pt x="1171968" y="1252943"/>
                  </a:lnTo>
                  <a:lnTo>
                    <a:pt x="1170393" y="1250137"/>
                  </a:lnTo>
                  <a:lnTo>
                    <a:pt x="1168679" y="1247101"/>
                  </a:lnTo>
                  <a:lnTo>
                    <a:pt x="1166114" y="1242580"/>
                  </a:lnTo>
                  <a:lnTo>
                    <a:pt x="1163320" y="1237462"/>
                  </a:lnTo>
                  <a:lnTo>
                    <a:pt x="1160272" y="1231849"/>
                  </a:lnTo>
                  <a:lnTo>
                    <a:pt x="1159294" y="1230020"/>
                  </a:lnTo>
                  <a:lnTo>
                    <a:pt x="1158316" y="1228064"/>
                  </a:lnTo>
                  <a:lnTo>
                    <a:pt x="1157211" y="1226121"/>
                  </a:lnTo>
                  <a:lnTo>
                    <a:pt x="1134269" y="1180666"/>
                  </a:lnTo>
                  <a:lnTo>
                    <a:pt x="1110516" y="1129114"/>
                  </a:lnTo>
                  <a:lnTo>
                    <a:pt x="1093313" y="1089182"/>
                  </a:lnTo>
                  <a:lnTo>
                    <a:pt x="1080147" y="1056106"/>
                  </a:lnTo>
                  <a:lnTo>
                    <a:pt x="1077038" y="1048360"/>
                  </a:lnTo>
                  <a:lnTo>
                    <a:pt x="1050980" y="977610"/>
                  </a:lnTo>
                  <a:lnTo>
                    <a:pt x="1034316" y="927541"/>
                  </a:lnTo>
                  <a:lnTo>
                    <a:pt x="1018247" y="874410"/>
                  </a:lnTo>
                  <a:lnTo>
                    <a:pt x="1003071" y="818426"/>
                  </a:lnTo>
                  <a:lnTo>
                    <a:pt x="993805" y="781207"/>
                  </a:lnTo>
                  <a:lnTo>
                    <a:pt x="980504" y="721100"/>
                  </a:lnTo>
                  <a:lnTo>
                    <a:pt x="971151" y="672201"/>
                  </a:lnTo>
                  <a:lnTo>
                    <a:pt x="962942" y="621938"/>
                  </a:lnTo>
                  <a:lnTo>
                    <a:pt x="956015" y="570403"/>
                  </a:lnTo>
                  <a:lnTo>
                    <a:pt x="950506" y="517690"/>
                  </a:lnTo>
                  <a:lnTo>
                    <a:pt x="947009" y="476308"/>
                  </a:lnTo>
                  <a:lnTo>
                    <a:pt x="943998" y="436360"/>
                  </a:lnTo>
                  <a:lnTo>
                    <a:pt x="941467" y="397901"/>
                  </a:lnTo>
                  <a:lnTo>
                    <a:pt x="939291" y="358901"/>
                  </a:lnTo>
                  <a:lnTo>
                    <a:pt x="939165" y="356831"/>
                  </a:lnTo>
                  <a:lnTo>
                    <a:pt x="936987" y="309899"/>
                  </a:lnTo>
                  <a:lnTo>
                    <a:pt x="936485" y="295490"/>
                  </a:lnTo>
                  <a:lnTo>
                    <a:pt x="936358" y="293420"/>
                  </a:lnTo>
                  <a:lnTo>
                    <a:pt x="936358" y="291337"/>
                  </a:lnTo>
                  <a:lnTo>
                    <a:pt x="936244" y="289394"/>
                  </a:lnTo>
                  <a:lnTo>
                    <a:pt x="934713" y="225965"/>
                  </a:lnTo>
                  <a:lnTo>
                    <a:pt x="934332" y="169659"/>
                  </a:lnTo>
                  <a:lnTo>
                    <a:pt x="934813" y="120812"/>
                  </a:lnTo>
                  <a:lnTo>
                    <a:pt x="935868" y="79756"/>
                  </a:lnTo>
                  <a:lnTo>
                    <a:pt x="938301" y="26596"/>
                  </a:lnTo>
                  <a:lnTo>
                    <a:pt x="940257" y="0"/>
                  </a:lnTo>
                  <a:lnTo>
                    <a:pt x="805586" y="64"/>
                  </a:lnTo>
                  <a:lnTo>
                    <a:pt x="727668" y="85"/>
                  </a:lnTo>
                  <a:lnTo>
                    <a:pt x="676777" y="64"/>
                  </a:lnTo>
                  <a:lnTo>
                    <a:pt x="623189" y="0"/>
                  </a:lnTo>
                  <a:lnTo>
                    <a:pt x="237083" y="0"/>
                  </a:lnTo>
                  <a:lnTo>
                    <a:pt x="240118" y="46824"/>
                  </a:lnTo>
                  <a:lnTo>
                    <a:pt x="242479" y="120812"/>
                  </a:lnTo>
                  <a:lnTo>
                    <a:pt x="242925" y="169659"/>
                  </a:lnTo>
                  <a:lnTo>
                    <a:pt x="242513" y="225965"/>
                  </a:lnTo>
                  <a:lnTo>
                    <a:pt x="240969" y="289394"/>
                  </a:lnTo>
                  <a:lnTo>
                    <a:pt x="240969" y="291464"/>
                  </a:lnTo>
                  <a:lnTo>
                    <a:pt x="240855" y="293420"/>
                  </a:lnTo>
                  <a:lnTo>
                    <a:pt x="240741" y="295490"/>
                  </a:lnTo>
                  <a:lnTo>
                    <a:pt x="240233" y="309899"/>
                  </a:lnTo>
                  <a:lnTo>
                    <a:pt x="239649" y="324592"/>
                  </a:lnTo>
                  <a:lnTo>
                    <a:pt x="237934" y="360984"/>
                  </a:lnTo>
                  <a:lnTo>
                    <a:pt x="236741" y="383294"/>
                  </a:lnTo>
                  <a:lnTo>
                    <a:pt x="233816" y="429575"/>
                  </a:lnTo>
                  <a:lnTo>
                    <a:pt x="230919" y="469223"/>
                  </a:lnTo>
                  <a:lnTo>
                    <a:pt x="226834" y="517690"/>
                  </a:lnTo>
                  <a:lnTo>
                    <a:pt x="221894" y="566242"/>
                  </a:lnTo>
                  <a:lnTo>
                    <a:pt x="211996" y="637389"/>
                  </a:lnTo>
                  <a:lnTo>
                    <a:pt x="202710" y="691043"/>
                  </a:lnTo>
                  <a:lnTo>
                    <a:pt x="192198" y="743059"/>
                  </a:lnTo>
                  <a:lnTo>
                    <a:pt x="180630" y="793328"/>
                  </a:lnTo>
                  <a:lnTo>
                    <a:pt x="168175" y="841740"/>
                  </a:lnTo>
                  <a:lnTo>
                    <a:pt x="155003" y="888187"/>
                  </a:lnTo>
                  <a:lnTo>
                    <a:pt x="142798" y="927811"/>
                  </a:lnTo>
                  <a:lnTo>
                    <a:pt x="127065" y="975330"/>
                  </a:lnTo>
                  <a:lnTo>
                    <a:pt x="111113" y="1019910"/>
                  </a:lnTo>
                  <a:lnTo>
                    <a:pt x="95183" y="1061401"/>
                  </a:lnTo>
                  <a:lnTo>
                    <a:pt x="79514" y="1099654"/>
                  </a:lnTo>
                  <a:lnTo>
                    <a:pt x="79019" y="1100874"/>
                  </a:lnTo>
                  <a:lnTo>
                    <a:pt x="78663" y="1102093"/>
                  </a:lnTo>
                  <a:lnTo>
                    <a:pt x="77927" y="1103312"/>
                  </a:lnTo>
                  <a:lnTo>
                    <a:pt x="74839" y="1110578"/>
                  </a:lnTo>
                  <a:lnTo>
                    <a:pt x="45392" y="1175784"/>
                  </a:lnTo>
                  <a:lnTo>
                    <a:pt x="27301" y="1212362"/>
                  </a:lnTo>
                  <a:lnTo>
                    <a:pt x="850" y="1260754"/>
                  </a:lnTo>
                  <a:lnTo>
                    <a:pt x="482" y="1261236"/>
                  </a:lnTo>
                  <a:lnTo>
                    <a:pt x="127" y="1261732"/>
                  </a:lnTo>
                  <a:lnTo>
                    <a:pt x="0" y="1262214"/>
                  </a:lnTo>
                  <a:close/>
                </a:path>
              </a:pathLst>
            </a:custGeom>
            <a:ln w="8966">
              <a:solidFill>
                <a:srgbClr val="FFFFFF"/>
              </a:solidFill>
            </a:ln>
          </p:spPr>
          <p:txBody>
            <a:bodyPr wrap="square" lIns="0" tIns="0" rIns="0" bIns="0" rtlCol="0"/>
            <a:lstStyle/>
            <a:p>
              <a:endParaRPr/>
            </a:p>
          </p:txBody>
        </p:sp>
        <p:sp>
          <p:nvSpPr>
            <p:cNvPr id="55" name="object 55"/>
            <p:cNvSpPr/>
            <p:nvPr/>
          </p:nvSpPr>
          <p:spPr>
            <a:xfrm>
              <a:off x="1465858" y="6514326"/>
              <a:ext cx="1177925" cy="162560"/>
            </a:xfrm>
            <a:custGeom>
              <a:avLst/>
              <a:gdLst/>
              <a:ahLst/>
              <a:cxnLst/>
              <a:rect l="l" t="t" r="r" b="b"/>
              <a:pathLst>
                <a:path w="1177925" h="162559">
                  <a:moveTo>
                    <a:pt x="1097826" y="0"/>
                  </a:moveTo>
                  <a:lnTo>
                    <a:pt x="79641" y="0"/>
                  </a:lnTo>
                  <a:lnTo>
                    <a:pt x="65862" y="31940"/>
                  </a:lnTo>
                  <a:lnTo>
                    <a:pt x="45515" y="76129"/>
                  </a:lnTo>
                  <a:lnTo>
                    <a:pt x="27408" y="112707"/>
                  </a:lnTo>
                  <a:lnTo>
                    <a:pt x="12275" y="141191"/>
                  </a:lnTo>
                  <a:lnTo>
                    <a:pt x="0" y="162560"/>
                  </a:lnTo>
                  <a:lnTo>
                    <a:pt x="1177582" y="162560"/>
                  </a:lnTo>
                  <a:lnTo>
                    <a:pt x="1148319" y="109203"/>
                  </a:lnTo>
                  <a:lnTo>
                    <a:pt x="1122810" y="56494"/>
                  </a:lnTo>
                  <a:lnTo>
                    <a:pt x="1110584" y="29459"/>
                  </a:lnTo>
                  <a:lnTo>
                    <a:pt x="1097826" y="0"/>
                  </a:lnTo>
                  <a:close/>
                </a:path>
              </a:pathLst>
            </a:custGeom>
            <a:solidFill>
              <a:srgbClr val="E9E9E8"/>
            </a:solidFill>
          </p:spPr>
          <p:txBody>
            <a:bodyPr wrap="square" lIns="0" tIns="0" rIns="0" bIns="0" rtlCol="0"/>
            <a:lstStyle/>
            <a:p>
              <a:endParaRPr/>
            </a:p>
          </p:txBody>
        </p:sp>
        <p:sp>
          <p:nvSpPr>
            <p:cNvPr id="56" name="object 56"/>
            <p:cNvSpPr/>
            <p:nvPr/>
          </p:nvSpPr>
          <p:spPr>
            <a:xfrm>
              <a:off x="1465858" y="6514326"/>
              <a:ext cx="1177925" cy="162560"/>
            </a:xfrm>
            <a:custGeom>
              <a:avLst/>
              <a:gdLst/>
              <a:ahLst/>
              <a:cxnLst/>
              <a:rect l="l" t="t" r="r" b="b"/>
              <a:pathLst>
                <a:path w="1177925" h="162559">
                  <a:moveTo>
                    <a:pt x="0" y="162560"/>
                  </a:moveTo>
                  <a:lnTo>
                    <a:pt x="1177582" y="162560"/>
                  </a:lnTo>
                  <a:lnTo>
                    <a:pt x="1173545" y="155752"/>
                  </a:lnTo>
                  <a:lnTo>
                    <a:pt x="1168788" y="147437"/>
                  </a:lnTo>
                  <a:lnTo>
                    <a:pt x="1148319" y="109203"/>
                  </a:lnTo>
                  <a:lnTo>
                    <a:pt x="1122810" y="56494"/>
                  </a:lnTo>
                  <a:lnTo>
                    <a:pt x="1097826" y="0"/>
                  </a:lnTo>
                  <a:lnTo>
                    <a:pt x="79641" y="0"/>
                  </a:lnTo>
                  <a:lnTo>
                    <a:pt x="79146" y="1219"/>
                  </a:lnTo>
                  <a:lnTo>
                    <a:pt x="78663" y="2438"/>
                  </a:lnTo>
                  <a:lnTo>
                    <a:pt x="78041" y="3657"/>
                  </a:lnTo>
                  <a:lnTo>
                    <a:pt x="45515" y="76129"/>
                  </a:lnTo>
                  <a:lnTo>
                    <a:pt x="27408" y="112707"/>
                  </a:lnTo>
                  <a:lnTo>
                    <a:pt x="850" y="161099"/>
                  </a:lnTo>
                  <a:lnTo>
                    <a:pt x="609" y="161582"/>
                  </a:lnTo>
                  <a:lnTo>
                    <a:pt x="241" y="162077"/>
                  </a:lnTo>
                  <a:lnTo>
                    <a:pt x="0" y="162560"/>
                  </a:lnTo>
                  <a:close/>
                </a:path>
              </a:pathLst>
            </a:custGeom>
            <a:ln w="6718">
              <a:solidFill>
                <a:srgbClr val="FFFFFF"/>
              </a:solidFill>
            </a:ln>
          </p:spPr>
          <p:txBody>
            <a:bodyPr wrap="square" lIns="0" tIns="0" rIns="0" bIns="0" rtlCol="0"/>
            <a:lstStyle/>
            <a:p>
              <a:endParaRPr/>
            </a:p>
          </p:txBody>
        </p:sp>
        <p:sp>
          <p:nvSpPr>
            <p:cNvPr id="57" name="object 57"/>
            <p:cNvSpPr/>
            <p:nvPr/>
          </p:nvSpPr>
          <p:spPr>
            <a:xfrm>
              <a:off x="1702936" y="5414667"/>
              <a:ext cx="703580" cy="46990"/>
            </a:xfrm>
            <a:custGeom>
              <a:avLst/>
              <a:gdLst/>
              <a:ahLst/>
              <a:cxnLst/>
              <a:rect l="l" t="t" r="r" b="b"/>
              <a:pathLst>
                <a:path w="703580" h="46989">
                  <a:moveTo>
                    <a:pt x="703313" y="0"/>
                  </a:moveTo>
                  <a:lnTo>
                    <a:pt x="0" y="0"/>
                  </a:lnTo>
                  <a:lnTo>
                    <a:pt x="1571" y="18018"/>
                  </a:lnTo>
                  <a:lnTo>
                    <a:pt x="3048" y="46837"/>
                  </a:lnTo>
                  <a:lnTo>
                    <a:pt x="700252" y="46837"/>
                  </a:lnTo>
                  <a:lnTo>
                    <a:pt x="702330" y="11936"/>
                  </a:lnTo>
                  <a:lnTo>
                    <a:pt x="703313" y="0"/>
                  </a:lnTo>
                  <a:close/>
                </a:path>
              </a:pathLst>
            </a:custGeom>
            <a:solidFill>
              <a:srgbClr val="E9E9E8"/>
            </a:solidFill>
          </p:spPr>
          <p:txBody>
            <a:bodyPr wrap="square" lIns="0" tIns="0" rIns="0" bIns="0" rtlCol="0"/>
            <a:lstStyle/>
            <a:p>
              <a:endParaRPr/>
            </a:p>
          </p:txBody>
        </p:sp>
        <p:sp>
          <p:nvSpPr>
            <p:cNvPr id="58" name="object 58"/>
            <p:cNvSpPr/>
            <p:nvPr/>
          </p:nvSpPr>
          <p:spPr>
            <a:xfrm>
              <a:off x="1702936" y="5414667"/>
              <a:ext cx="703580" cy="46990"/>
            </a:xfrm>
            <a:custGeom>
              <a:avLst/>
              <a:gdLst/>
              <a:ahLst/>
              <a:cxnLst/>
              <a:rect l="l" t="t" r="r" b="b"/>
              <a:pathLst>
                <a:path w="703580" h="46989">
                  <a:moveTo>
                    <a:pt x="0" y="0"/>
                  </a:moveTo>
                  <a:lnTo>
                    <a:pt x="940" y="9854"/>
                  </a:lnTo>
                  <a:lnTo>
                    <a:pt x="1571" y="18018"/>
                  </a:lnTo>
                  <a:lnTo>
                    <a:pt x="2178" y="28882"/>
                  </a:lnTo>
                  <a:lnTo>
                    <a:pt x="3048" y="46837"/>
                  </a:lnTo>
                  <a:lnTo>
                    <a:pt x="700252" y="46837"/>
                  </a:lnTo>
                  <a:lnTo>
                    <a:pt x="701346" y="26601"/>
                  </a:lnTo>
                  <a:lnTo>
                    <a:pt x="702330" y="11936"/>
                  </a:lnTo>
                  <a:lnTo>
                    <a:pt x="703040" y="3012"/>
                  </a:lnTo>
                  <a:lnTo>
                    <a:pt x="703313" y="0"/>
                  </a:lnTo>
                  <a:lnTo>
                    <a:pt x="0" y="0"/>
                  </a:lnTo>
                  <a:close/>
                </a:path>
              </a:pathLst>
            </a:custGeom>
            <a:ln w="6718">
              <a:solidFill>
                <a:srgbClr val="FFFFFF"/>
              </a:solidFill>
            </a:ln>
          </p:spPr>
          <p:txBody>
            <a:bodyPr wrap="square" lIns="0" tIns="0" rIns="0" bIns="0" rtlCol="0"/>
            <a:lstStyle/>
            <a:p>
              <a:endParaRPr/>
            </a:p>
          </p:txBody>
        </p:sp>
        <p:sp>
          <p:nvSpPr>
            <p:cNvPr id="59" name="object 59"/>
            <p:cNvSpPr/>
            <p:nvPr/>
          </p:nvSpPr>
          <p:spPr>
            <a:xfrm>
              <a:off x="2089101" y="5414627"/>
              <a:ext cx="554355" cy="1262380"/>
            </a:xfrm>
            <a:custGeom>
              <a:avLst/>
              <a:gdLst/>
              <a:ahLst/>
              <a:cxnLst/>
              <a:rect l="l" t="t" r="r" b="b"/>
              <a:pathLst>
                <a:path w="554355" h="1262379">
                  <a:moveTo>
                    <a:pt x="317080" y="0"/>
                  </a:moveTo>
                  <a:lnTo>
                    <a:pt x="0" y="0"/>
                  </a:lnTo>
                  <a:lnTo>
                    <a:pt x="9271" y="46837"/>
                  </a:lnTo>
                  <a:lnTo>
                    <a:pt x="19699" y="97114"/>
                  </a:lnTo>
                  <a:lnTo>
                    <a:pt x="30480" y="146526"/>
                  </a:lnTo>
                  <a:lnTo>
                    <a:pt x="41583" y="195055"/>
                  </a:lnTo>
                  <a:lnTo>
                    <a:pt x="52976" y="242684"/>
                  </a:lnTo>
                  <a:lnTo>
                    <a:pt x="67805" y="302196"/>
                  </a:lnTo>
                  <a:lnTo>
                    <a:pt x="83413" y="360984"/>
                  </a:lnTo>
                  <a:lnTo>
                    <a:pt x="100047" y="420774"/>
                  </a:lnTo>
                  <a:lnTo>
                    <a:pt x="117035" y="478848"/>
                  </a:lnTo>
                  <a:lnTo>
                    <a:pt x="134328" y="535184"/>
                  </a:lnTo>
                  <a:lnTo>
                    <a:pt x="151878" y="589760"/>
                  </a:lnTo>
                  <a:lnTo>
                    <a:pt x="169635" y="642556"/>
                  </a:lnTo>
                  <a:lnTo>
                    <a:pt x="187550" y="693550"/>
                  </a:lnTo>
                  <a:lnTo>
                    <a:pt x="205575" y="742721"/>
                  </a:lnTo>
                  <a:lnTo>
                    <a:pt x="223661" y="790046"/>
                  </a:lnTo>
                  <a:lnTo>
                    <a:pt x="241758" y="835505"/>
                  </a:lnTo>
                  <a:lnTo>
                    <a:pt x="259817" y="879076"/>
                  </a:lnTo>
                  <a:lnTo>
                    <a:pt x="277790" y="920737"/>
                  </a:lnTo>
                  <a:lnTo>
                    <a:pt x="295627" y="960468"/>
                  </a:lnTo>
                  <a:lnTo>
                    <a:pt x="313280" y="998247"/>
                  </a:lnTo>
                  <a:lnTo>
                    <a:pt x="330699" y="1034052"/>
                  </a:lnTo>
                  <a:lnTo>
                    <a:pt x="364642" y="1099654"/>
                  </a:lnTo>
                  <a:lnTo>
                    <a:pt x="392678" y="1149668"/>
                  </a:lnTo>
                  <a:lnTo>
                    <a:pt x="419341" y="1193517"/>
                  </a:lnTo>
                  <a:lnTo>
                    <a:pt x="444355" y="1231074"/>
                  </a:lnTo>
                  <a:lnTo>
                    <a:pt x="467448" y="1262214"/>
                  </a:lnTo>
                  <a:lnTo>
                    <a:pt x="554278" y="1262214"/>
                  </a:lnTo>
                  <a:lnTo>
                    <a:pt x="534035" y="1226121"/>
                  </a:lnTo>
                  <a:lnTo>
                    <a:pt x="521843" y="1202575"/>
                  </a:lnTo>
                  <a:lnTo>
                    <a:pt x="499554" y="1156149"/>
                  </a:lnTo>
                  <a:lnTo>
                    <a:pt x="470131" y="1089182"/>
                  </a:lnTo>
                  <a:lnTo>
                    <a:pt x="447734" y="1032502"/>
                  </a:lnTo>
                  <a:lnTo>
                    <a:pt x="427802" y="977612"/>
                  </a:lnTo>
                  <a:lnTo>
                    <a:pt x="411133" y="927546"/>
                  </a:lnTo>
                  <a:lnTo>
                    <a:pt x="395060" y="874415"/>
                  </a:lnTo>
                  <a:lnTo>
                    <a:pt x="376677" y="806173"/>
                  </a:lnTo>
                  <a:lnTo>
                    <a:pt x="367690" y="768553"/>
                  </a:lnTo>
                  <a:lnTo>
                    <a:pt x="357323" y="721106"/>
                  </a:lnTo>
                  <a:lnTo>
                    <a:pt x="347969" y="672204"/>
                  </a:lnTo>
                  <a:lnTo>
                    <a:pt x="339762" y="621939"/>
                  </a:lnTo>
                  <a:lnTo>
                    <a:pt x="332837" y="570403"/>
                  </a:lnTo>
                  <a:lnTo>
                    <a:pt x="327329" y="517690"/>
                  </a:lnTo>
                  <a:lnTo>
                    <a:pt x="323827" y="476313"/>
                  </a:lnTo>
                  <a:lnTo>
                    <a:pt x="320817" y="436365"/>
                  </a:lnTo>
                  <a:lnTo>
                    <a:pt x="318289" y="397903"/>
                  </a:lnTo>
                  <a:lnTo>
                    <a:pt x="314393" y="324597"/>
                  </a:lnTo>
                  <a:lnTo>
                    <a:pt x="311530" y="225970"/>
                  </a:lnTo>
                  <a:lnTo>
                    <a:pt x="311153" y="169666"/>
                  </a:lnTo>
                  <a:lnTo>
                    <a:pt x="311636" y="120818"/>
                  </a:lnTo>
                  <a:lnTo>
                    <a:pt x="312692" y="79764"/>
                  </a:lnTo>
                  <a:lnTo>
                    <a:pt x="314032" y="46837"/>
                  </a:lnTo>
                  <a:lnTo>
                    <a:pt x="316104" y="11936"/>
                  </a:lnTo>
                  <a:lnTo>
                    <a:pt x="317080" y="0"/>
                  </a:lnTo>
                  <a:close/>
                </a:path>
              </a:pathLst>
            </a:custGeom>
            <a:solidFill>
              <a:srgbClr val="18171C">
                <a:alpha val="9999"/>
              </a:srgbClr>
            </a:solidFill>
          </p:spPr>
          <p:txBody>
            <a:bodyPr wrap="square" lIns="0" tIns="0" rIns="0" bIns="0" rtlCol="0"/>
            <a:lstStyle/>
            <a:p>
              <a:endParaRPr/>
            </a:p>
          </p:txBody>
        </p:sp>
        <p:sp>
          <p:nvSpPr>
            <p:cNvPr id="60" name="object 60"/>
            <p:cNvSpPr/>
            <p:nvPr/>
          </p:nvSpPr>
          <p:spPr>
            <a:xfrm>
              <a:off x="1387640" y="6676885"/>
              <a:ext cx="1332865" cy="60960"/>
            </a:xfrm>
            <a:custGeom>
              <a:avLst/>
              <a:gdLst/>
              <a:ahLst/>
              <a:cxnLst/>
              <a:rect l="l" t="t" r="r" b="b"/>
              <a:pathLst>
                <a:path w="1332864" h="60959">
                  <a:moveTo>
                    <a:pt x="1332382" y="0"/>
                  </a:moveTo>
                  <a:lnTo>
                    <a:pt x="0" y="0"/>
                  </a:lnTo>
                  <a:lnTo>
                    <a:pt x="0" y="60464"/>
                  </a:lnTo>
                  <a:lnTo>
                    <a:pt x="1332382" y="60464"/>
                  </a:lnTo>
                  <a:lnTo>
                    <a:pt x="1332382" y="0"/>
                  </a:lnTo>
                  <a:close/>
                </a:path>
              </a:pathLst>
            </a:custGeom>
            <a:solidFill>
              <a:srgbClr val="1D2226"/>
            </a:solidFill>
          </p:spPr>
          <p:txBody>
            <a:bodyPr wrap="square" lIns="0" tIns="0" rIns="0" bIns="0" rtlCol="0"/>
            <a:lstStyle/>
            <a:p>
              <a:endParaRPr/>
            </a:p>
          </p:txBody>
        </p:sp>
        <p:pic>
          <p:nvPicPr>
            <p:cNvPr id="61" name="object 61"/>
            <p:cNvPicPr/>
            <p:nvPr/>
          </p:nvPicPr>
          <p:blipFill>
            <a:blip r:embed="rId8" cstate="print"/>
            <a:stretch>
              <a:fillRect/>
            </a:stretch>
          </p:blipFill>
          <p:spPr>
            <a:xfrm>
              <a:off x="1708658" y="3380168"/>
              <a:ext cx="3997477" cy="2102192"/>
            </a:xfrm>
            <a:prstGeom prst="rect">
              <a:avLst/>
            </a:prstGeom>
          </p:spPr>
        </p:pic>
        <p:sp>
          <p:nvSpPr>
            <p:cNvPr id="62" name="object 62"/>
            <p:cNvSpPr/>
            <p:nvPr/>
          </p:nvSpPr>
          <p:spPr>
            <a:xfrm>
              <a:off x="4039722" y="5901895"/>
              <a:ext cx="93345" cy="593090"/>
            </a:xfrm>
            <a:custGeom>
              <a:avLst/>
              <a:gdLst/>
              <a:ahLst/>
              <a:cxnLst/>
              <a:rect l="l" t="t" r="r" b="b"/>
              <a:pathLst>
                <a:path w="93345" h="593089">
                  <a:moveTo>
                    <a:pt x="74485" y="0"/>
                  </a:moveTo>
                  <a:lnTo>
                    <a:pt x="18783" y="0"/>
                  </a:lnTo>
                  <a:lnTo>
                    <a:pt x="18910" y="1282"/>
                  </a:lnTo>
                  <a:lnTo>
                    <a:pt x="19202" y="7492"/>
                  </a:lnTo>
                  <a:lnTo>
                    <a:pt x="17970" y="41008"/>
                  </a:lnTo>
                  <a:lnTo>
                    <a:pt x="17887" y="96411"/>
                  </a:lnTo>
                  <a:lnTo>
                    <a:pt x="17522" y="498457"/>
                  </a:lnTo>
                  <a:lnTo>
                    <a:pt x="17411" y="538683"/>
                  </a:lnTo>
                  <a:lnTo>
                    <a:pt x="7924" y="575817"/>
                  </a:lnTo>
                  <a:lnTo>
                    <a:pt x="6172" y="579958"/>
                  </a:lnTo>
                  <a:lnTo>
                    <a:pt x="5854" y="580745"/>
                  </a:lnTo>
                  <a:lnTo>
                    <a:pt x="2959" y="587260"/>
                  </a:lnTo>
                  <a:lnTo>
                    <a:pt x="934" y="590994"/>
                  </a:lnTo>
                  <a:lnTo>
                    <a:pt x="0" y="592556"/>
                  </a:lnTo>
                  <a:lnTo>
                    <a:pt x="93281" y="592556"/>
                  </a:lnTo>
                  <a:lnTo>
                    <a:pt x="84607" y="573722"/>
                  </a:lnTo>
                  <a:lnTo>
                    <a:pt x="82804" y="568947"/>
                  </a:lnTo>
                  <a:lnTo>
                    <a:pt x="77674" y="498457"/>
                  </a:lnTo>
                  <a:lnTo>
                    <a:pt x="77292" y="441368"/>
                  </a:lnTo>
                  <a:lnTo>
                    <a:pt x="76931" y="372429"/>
                  </a:lnTo>
                  <a:lnTo>
                    <a:pt x="75732" y="96411"/>
                  </a:lnTo>
                  <a:lnTo>
                    <a:pt x="75480" y="55320"/>
                  </a:lnTo>
                  <a:lnTo>
                    <a:pt x="75298" y="41008"/>
                  </a:lnTo>
                  <a:lnTo>
                    <a:pt x="74904" y="36563"/>
                  </a:lnTo>
                  <a:lnTo>
                    <a:pt x="74612" y="32410"/>
                  </a:lnTo>
                  <a:lnTo>
                    <a:pt x="74307" y="26479"/>
                  </a:lnTo>
                  <a:lnTo>
                    <a:pt x="74168" y="22910"/>
                  </a:lnTo>
                  <a:lnTo>
                    <a:pt x="73875" y="14096"/>
                  </a:lnTo>
                  <a:lnTo>
                    <a:pt x="74066" y="7492"/>
                  </a:lnTo>
                  <a:lnTo>
                    <a:pt x="74371" y="1282"/>
                  </a:lnTo>
                  <a:lnTo>
                    <a:pt x="74485" y="0"/>
                  </a:lnTo>
                  <a:close/>
                </a:path>
              </a:pathLst>
            </a:custGeom>
            <a:solidFill>
              <a:srgbClr val="DFE1E1"/>
            </a:solidFill>
          </p:spPr>
          <p:txBody>
            <a:bodyPr wrap="square" lIns="0" tIns="0" rIns="0" bIns="0" rtlCol="0"/>
            <a:lstStyle/>
            <a:p>
              <a:endParaRPr/>
            </a:p>
          </p:txBody>
        </p:sp>
        <p:sp>
          <p:nvSpPr>
            <p:cNvPr id="63" name="object 63"/>
            <p:cNvSpPr/>
            <p:nvPr/>
          </p:nvSpPr>
          <p:spPr>
            <a:xfrm>
              <a:off x="4039717" y="6481579"/>
              <a:ext cx="93345" cy="13335"/>
            </a:xfrm>
            <a:custGeom>
              <a:avLst/>
              <a:gdLst/>
              <a:ahLst/>
              <a:cxnLst/>
              <a:rect l="l" t="t" r="r" b="b"/>
              <a:pathLst>
                <a:path w="93345" h="13335">
                  <a:moveTo>
                    <a:pt x="86969" y="0"/>
                  </a:moveTo>
                  <a:lnTo>
                    <a:pt x="6311" y="0"/>
                  </a:lnTo>
                  <a:lnTo>
                    <a:pt x="2971" y="7581"/>
                  </a:lnTo>
                  <a:lnTo>
                    <a:pt x="0" y="12877"/>
                  </a:lnTo>
                  <a:lnTo>
                    <a:pt x="93294" y="12877"/>
                  </a:lnTo>
                  <a:lnTo>
                    <a:pt x="89636" y="5981"/>
                  </a:lnTo>
                  <a:lnTo>
                    <a:pt x="86969" y="0"/>
                  </a:lnTo>
                  <a:close/>
                </a:path>
              </a:pathLst>
            </a:custGeom>
            <a:solidFill>
              <a:srgbClr val="AFB4B6"/>
            </a:solidFill>
          </p:spPr>
          <p:txBody>
            <a:bodyPr wrap="square" lIns="0" tIns="0" rIns="0" bIns="0" rtlCol="0"/>
            <a:lstStyle/>
            <a:p>
              <a:endParaRPr/>
            </a:p>
          </p:txBody>
        </p:sp>
        <p:sp>
          <p:nvSpPr>
            <p:cNvPr id="64" name="object 64"/>
            <p:cNvSpPr/>
            <p:nvPr/>
          </p:nvSpPr>
          <p:spPr>
            <a:xfrm>
              <a:off x="4058499" y="5901894"/>
              <a:ext cx="55880" cy="3810"/>
            </a:xfrm>
            <a:custGeom>
              <a:avLst/>
              <a:gdLst/>
              <a:ahLst/>
              <a:cxnLst/>
              <a:rect l="l" t="t" r="r" b="b"/>
              <a:pathLst>
                <a:path w="55879" h="3810">
                  <a:moveTo>
                    <a:pt x="55714" y="0"/>
                  </a:moveTo>
                  <a:lnTo>
                    <a:pt x="0" y="0"/>
                  </a:lnTo>
                  <a:lnTo>
                    <a:pt x="127" y="1282"/>
                  </a:lnTo>
                  <a:lnTo>
                    <a:pt x="241" y="3708"/>
                  </a:lnTo>
                  <a:lnTo>
                    <a:pt x="55473" y="3708"/>
                  </a:lnTo>
                  <a:lnTo>
                    <a:pt x="55587" y="1282"/>
                  </a:lnTo>
                  <a:lnTo>
                    <a:pt x="55714" y="0"/>
                  </a:lnTo>
                  <a:close/>
                </a:path>
              </a:pathLst>
            </a:custGeom>
            <a:solidFill>
              <a:srgbClr val="9BA0A3"/>
            </a:solidFill>
          </p:spPr>
          <p:txBody>
            <a:bodyPr wrap="square" lIns="0" tIns="0" rIns="0" bIns="0" rtlCol="0"/>
            <a:lstStyle/>
            <a:p>
              <a:endParaRPr/>
            </a:p>
          </p:txBody>
        </p:sp>
        <p:sp>
          <p:nvSpPr>
            <p:cNvPr id="65" name="object 65"/>
            <p:cNvSpPr/>
            <p:nvPr/>
          </p:nvSpPr>
          <p:spPr>
            <a:xfrm>
              <a:off x="4089096" y="5901890"/>
              <a:ext cx="44450" cy="593090"/>
            </a:xfrm>
            <a:custGeom>
              <a:avLst/>
              <a:gdLst/>
              <a:ahLst/>
              <a:cxnLst/>
              <a:rect l="l" t="t" r="r" b="b"/>
              <a:pathLst>
                <a:path w="44450" h="593089">
                  <a:moveTo>
                    <a:pt x="25118" y="0"/>
                  </a:moveTo>
                  <a:lnTo>
                    <a:pt x="6842" y="12"/>
                  </a:lnTo>
                  <a:lnTo>
                    <a:pt x="0" y="12"/>
                  </a:lnTo>
                  <a:lnTo>
                    <a:pt x="2080" y="10401"/>
                  </a:lnTo>
                  <a:lnTo>
                    <a:pt x="3566" y="16827"/>
                  </a:lnTo>
                  <a:lnTo>
                    <a:pt x="6195" y="27089"/>
                  </a:lnTo>
                  <a:lnTo>
                    <a:pt x="6601" y="28600"/>
                  </a:lnTo>
                  <a:lnTo>
                    <a:pt x="8530" y="46916"/>
                  </a:lnTo>
                  <a:lnTo>
                    <a:pt x="12540" y="138185"/>
                  </a:lnTo>
                  <a:lnTo>
                    <a:pt x="14598" y="202247"/>
                  </a:lnTo>
                  <a:lnTo>
                    <a:pt x="16675" y="272666"/>
                  </a:lnTo>
                  <a:lnTo>
                    <a:pt x="18759" y="344996"/>
                  </a:lnTo>
                  <a:lnTo>
                    <a:pt x="20840" y="414790"/>
                  </a:lnTo>
                  <a:lnTo>
                    <a:pt x="22905" y="477602"/>
                  </a:lnTo>
                  <a:lnTo>
                    <a:pt x="24943" y="528987"/>
                  </a:lnTo>
                  <a:lnTo>
                    <a:pt x="28889" y="579691"/>
                  </a:lnTo>
                  <a:lnTo>
                    <a:pt x="37030" y="592556"/>
                  </a:lnTo>
                  <a:lnTo>
                    <a:pt x="43914" y="592556"/>
                  </a:lnTo>
                  <a:lnTo>
                    <a:pt x="42390" y="589864"/>
                  </a:lnTo>
                  <a:lnTo>
                    <a:pt x="41335" y="587832"/>
                  </a:lnTo>
                  <a:lnTo>
                    <a:pt x="40256" y="585660"/>
                  </a:lnTo>
                  <a:lnTo>
                    <a:pt x="38973" y="582917"/>
                  </a:lnTo>
                  <a:lnTo>
                    <a:pt x="37119" y="578586"/>
                  </a:lnTo>
                  <a:lnTo>
                    <a:pt x="36205" y="576237"/>
                  </a:lnTo>
                  <a:lnTo>
                    <a:pt x="35862" y="575424"/>
                  </a:lnTo>
                  <a:lnTo>
                    <a:pt x="28700" y="537798"/>
                  </a:lnTo>
                  <a:lnTo>
                    <a:pt x="28300" y="498469"/>
                  </a:lnTo>
                  <a:lnTo>
                    <a:pt x="27920" y="441378"/>
                  </a:lnTo>
                  <a:lnTo>
                    <a:pt x="27561" y="372438"/>
                  </a:lnTo>
                  <a:lnTo>
                    <a:pt x="26364" y="96413"/>
                  </a:lnTo>
                  <a:lnTo>
                    <a:pt x="26132" y="56900"/>
                  </a:lnTo>
                  <a:lnTo>
                    <a:pt x="25930" y="41008"/>
                  </a:lnTo>
                  <a:lnTo>
                    <a:pt x="25524" y="36563"/>
                  </a:lnTo>
                  <a:lnTo>
                    <a:pt x="25245" y="32423"/>
                  </a:lnTo>
                  <a:lnTo>
                    <a:pt x="24864" y="24917"/>
                  </a:lnTo>
                  <a:lnTo>
                    <a:pt x="24598" y="16827"/>
                  </a:lnTo>
                  <a:lnTo>
                    <a:pt x="24698" y="7505"/>
                  </a:lnTo>
                  <a:lnTo>
                    <a:pt x="24991" y="1282"/>
                  </a:lnTo>
                  <a:lnTo>
                    <a:pt x="25116" y="12"/>
                  </a:lnTo>
                  <a:lnTo>
                    <a:pt x="6842" y="12"/>
                  </a:lnTo>
                  <a:lnTo>
                    <a:pt x="25118" y="0"/>
                  </a:lnTo>
                  <a:close/>
                </a:path>
              </a:pathLst>
            </a:custGeom>
            <a:solidFill>
              <a:srgbClr val="18171C">
                <a:alpha val="9999"/>
              </a:srgbClr>
            </a:solidFill>
          </p:spPr>
          <p:txBody>
            <a:bodyPr wrap="square" lIns="0" tIns="0" rIns="0" bIns="0" rtlCol="0"/>
            <a:lstStyle/>
            <a:p>
              <a:endParaRPr/>
            </a:p>
          </p:txBody>
        </p:sp>
        <p:sp>
          <p:nvSpPr>
            <p:cNvPr id="66" name="object 66"/>
            <p:cNvSpPr/>
            <p:nvPr/>
          </p:nvSpPr>
          <p:spPr>
            <a:xfrm>
              <a:off x="4058564" y="5924816"/>
              <a:ext cx="55880" cy="5715"/>
            </a:xfrm>
            <a:custGeom>
              <a:avLst/>
              <a:gdLst/>
              <a:ahLst/>
              <a:cxnLst/>
              <a:rect l="l" t="t" r="r" b="b"/>
              <a:pathLst>
                <a:path w="55879" h="5714">
                  <a:moveTo>
                    <a:pt x="55575" y="5676"/>
                  </a:moveTo>
                  <a:lnTo>
                    <a:pt x="55549" y="5194"/>
                  </a:lnTo>
                  <a:lnTo>
                    <a:pt x="52451" y="5194"/>
                  </a:lnTo>
                  <a:lnTo>
                    <a:pt x="52451" y="495"/>
                  </a:lnTo>
                  <a:lnTo>
                    <a:pt x="55346" y="495"/>
                  </a:lnTo>
                  <a:lnTo>
                    <a:pt x="55333" y="12"/>
                  </a:lnTo>
                  <a:lnTo>
                    <a:pt x="52451" y="12"/>
                  </a:lnTo>
                  <a:lnTo>
                    <a:pt x="51968" y="0"/>
                  </a:lnTo>
                  <a:lnTo>
                    <a:pt x="51968" y="495"/>
                  </a:lnTo>
                  <a:lnTo>
                    <a:pt x="51968" y="5194"/>
                  </a:lnTo>
                  <a:lnTo>
                    <a:pt x="47028" y="5194"/>
                  </a:lnTo>
                  <a:lnTo>
                    <a:pt x="47028" y="495"/>
                  </a:lnTo>
                  <a:lnTo>
                    <a:pt x="51968" y="495"/>
                  </a:lnTo>
                  <a:lnTo>
                    <a:pt x="51968" y="12"/>
                  </a:lnTo>
                  <a:lnTo>
                    <a:pt x="47028" y="12"/>
                  </a:lnTo>
                  <a:lnTo>
                    <a:pt x="46532" y="0"/>
                  </a:lnTo>
                  <a:lnTo>
                    <a:pt x="46532" y="495"/>
                  </a:lnTo>
                  <a:lnTo>
                    <a:pt x="46532" y="5194"/>
                  </a:lnTo>
                  <a:lnTo>
                    <a:pt x="41592" y="5194"/>
                  </a:lnTo>
                  <a:lnTo>
                    <a:pt x="41592" y="495"/>
                  </a:lnTo>
                  <a:lnTo>
                    <a:pt x="46532" y="495"/>
                  </a:lnTo>
                  <a:lnTo>
                    <a:pt x="46532" y="12"/>
                  </a:lnTo>
                  <a:lnTo>
                    <a:pt x="41592" y="12"/>
                  </a:lnTo>
                  <a:lnTo>
                    <a:pt x="41097" y="0"/>
                  </a:lnTo>
                  <a:lnTo>
                    <a:pt x="41097" y="495"/>
                  </a:lnTo>
                  <a:lnTo>
                    <a:pt x="41097" y="5194"/>
                  </a:lnTo>
                  <a:lnTo>
                    <a:pt x="36169" y="5194"/>
                  </a:lnTo>
                  <a:lnTo>
                    <a:pt x="36169" y="495"/>
                  </a:lnTo>
                  <a:lnTo>
                    <a:pt x="41097" y="495"/>
                  </a:lnTo>
                  <a:lnTo>
                    <a:pt x="41097" y="12"/>
                  </a:lnTo>
                  <a:lnTo>
                    <a:pt x="36169" y="12"/>
                  </a:lnTo>
                  <a:lnTo>
                    <a:pt x="35687" y="0"/>
                  </a:lnTo>
                  <a:lnTo>
                    <a:pt x="35687" y="495"/>
                  </a:lnTo>
                  <a:lnTo>
                    <a:pt x="35687" y="5194"/>
                  </a:lnTo>
                  <a:lnTo>
                    <a:pt x="30746" y="5194"/>
                  </a:lnTo>
                  <a:lnTo>
                    <a:pt x="30746" y="495"/>
                  </a:lnTo>
                  <a:lnTo>
                    <a:pt x="35687" y="495"/>
                  </a:lnTo>
                  <a:lnTo>
                    <a:pt x="35687" y="12"/>
                  </a:lnTo>
                  <a:lnTo>
                    <a:pt x="30746" y="12"/>
                  </a:lnTo>
                  <a:lnTo>
                    <a:pt x="30264" y="0"/>
                  </a:lnTo>
                  <a:lnTo>
                    <a:pt x="30264" y="495"/>
                  </a:lnTo>
                  <a:lnTo>
                    <a:pt x="30264" y="5194"/>
                  </a:lnTo>
                  <a:lnTo>
                    <a:pt x="25323" y="5194"/>
                  </a:lnTo>
                  <a:lnTo>
                    <a:pt x="25323" y="495"/>
                  </a:lnTo>
                  <a:lnTo>
                    <a:pt x="30264" y="495"/>
                  </a:lnTo>
                  <a:lnTo>
                    <a:pt x="30264" y="12"/>
                  </a:lnTo>
                  <a:lnTo>
                    <a:pt x="25323" y="12"/>
                  </a:lnTo>
                  <a:lnTo>
                    <a:pt x="24828" y="0"/>
                  </a:lnTo>
                  <a:lnTo>
                    <a:pt x="24828" y="495"/>
                  </a:lnTo>
                  <a:lnTo>
                    <a:pt x="24828" y="5194"/>
                  </a:lnTo>
                  <a:lnTo>
                    <a:pt x="19900" y="5194"/>
                  </a:lnTo>
                  <a:lnTo>
                    <a:pt x="19900" y="495"/>
                  </a:lnTo>
                  <a:lnTo>
                    <a:pt x="24828" y="495"/>
                  </a:lnTo>
                  <a:lnTo>
                    <a:pt x="24828" y="12"/>
                  </a:lnTo>
                  <a:lnTo>
                    <a:pt x="19900" y="12"/>
                  </a:lnTo>
                  <a:lnTo>
                    <a:pt x="19418" y="0"/>
                  </a:lnTo>
                  <a:lnTo>
                    <a:pt x="19418" y="495"/>
                  </a:lnTo>
                  <a:lnTo>
                    <a:pt x="19418" y="5194"/>
                  </a:lnTo>
                  <a:lnTo>
                    <a:pt x="14478" y="5194"/>
                  </a:lnTo>
                  <a:lnTo>
                    <a:pt x="14478" y="495"/>
                  </a:lnTo>
                  <a:lnTo>
                    <a:pt x="19418" y="495"/>
                  </a:lnTo>
                  <a:lnTo>
                    <a:pt x="19418" y="12"/>
                  </a:lnTo>
                  <a:lnTo>
                    <a:pt x="14478" y="12"/>
                  </a:lnTo>
                  <a:lnTo>
                    <a:pt x="13995" y="0"/>
                  </a:lnTo>
                  <a:lnTo>
                    <a:pt x="13995" y="495"/>
                  </a:lnTo>
                  <a:lnTo>
                    <a:pt x="13995" y="5194"/>
                  </a:lnTo>
                  <a:lnTo>
                    <a:pt x="9055" y="5194"/>
                  </a:lnTo>
                  <a:lnTo>
                    <a:pt x="9055" y="495"/>
                  </a:lnTo>
                  <a:lnTo>
                    <a:pt x="13995" y="495"/>
                  </a:lnTo>
                  <a:lnTo>
                    <a:pt x="13995" y="12"/>
                  </a:lnTo>
                  <a:lnTo>
                    <a:pt x="9055" y="12"/>
                  </a:lnTo>
                  <a:lnTo>
                    <a:pt x="8572" y="0"/>
                  </a:lnTo>
                  <a:lnTo>
                    <a:pt x="8572" y="495"/>
                  </a:lnTo>
                  <a:lnTo>
                    <a:pt x="8572" y="5194"/>
                  </a:lnTo>
                  <a:lnTo>
                    <a:pt x="3632" y="5194"/>
                  </a:lnTo>
                  <a:lnTo>
                    <a:pt x="3632" y="495"/>
                  </a:lnTo>
                  <a:lnTo>
                    <a:pt x="8572" y="495"/>
                  </a:lnTo>
                  <a:lnTo>
                    <a:pt x="8572" y="12"/>
                  </a:lnTo>
                  <a:lnTo>
                    <a:pt x="3632" y="12"/>
                  </a:lnTo>
                  <a:lnTo>
                    <a:pt x="3149" y="0"/>
                  </a:lnTo>
                  <a:lnTo>
                    <a:pt x="254" y="12"/>
                  </a:lnTo>
                  <a:lnTo>
                    <a:pt x="228" y="495"/>
                  </a:lnTo>
                  <a:lnTo>
                    <a:pt x="3149" y="495"/>
                  </a:lnTo>
                  <a:lnTo>
                    <a:pt x="3149" y="5194"/>
                  </a:lnTo>
                  <a:lnTo>
                    <a:pt x="25" y="5194"/>
                  </a:lnTo>
                  <a:lnTo>
                    <a:pt x="0" y="5676"/>
                  </a:lnTo>
                  <a:lnTo>
                    <a:pt x="52451" y="5676"/>
                  </a:lnTo>
                  <a:lnTo>
                    <a:pt x="55575" y="5676"/>
                  </a:lnTo>
                  <a:close/>
                </a:path>
              </a:pathLst>
            </a:custGeom>
            <a:solidFill>
              <a:srgbClr val="757B7F"/>
            </a:solidFill>
          </p:spPr>
          <p:txBody>
            <a:bodyPr wrap="square" lIns="0" tIns="0" rIns="0" bIns="0" rtlCol="0"/>
            <a:lstStyle/>
            <a:p>
              <a:endParaRPr/>
            </a:p>
          </p:txBody>
        </p:sp>
        <p:sp>
          <p:nvSpPr>
            <p:cNvPr id="67" name="object 67"/>
            <p:cNvSpPr/>
            <p:nvPr/>
          </p:nvSpPr>
          <p:spPr>
            <a:xfrm>
              <a:off x="4033520" y="6494449"/>
              <a:ext cx="106045" cy="5080"/>
            </a:xfrm>
            <a:custGeom>
              <a:avLst/>
              <a:gdLst/>
              <a:ahLst/>
              <a:cxnLst/>
              <a:rect l="l" t="t" r="r" b="b"/>
              <a:pathLst>
                <a:path w="106045" h="5079">
                  <a:moveTo>
                    <a:pt x="105562" y="0"/>
                  </a:moveTo>
                  <a:lnTo>
                    <a:pt x="0" y="0"/>
                  </a:lnTo>
                  <a:lnTo>
                    <a:pt x="0" y="4787"/>
                  </a:lnTo>
                  <a:lnTo>
                    <a:pt x="105562" y="4787"/>
                  </a:lnTo>
                  <a:lnTo>
                    <a:pt x="105562" y="0"/>
                  </a:lnTo>
                  <a:close/>
                </a:path>
              </a:pathLst>
            </a:custGeom>
            <a:solidFill>
              <a:srgbClr val="505457"/>
            </a:solidFill>
          </p:spPr>
          <p:txBody>
            <a:bodyPr wrap="square" lIns="0" tIns="0" rIns="0" bIns="0" rtlCol="0"/>
            <a:lstStyle/>
            <a:p>
              <a:endParaRPr/>
            </a:p>
          </p:txBody>
        </p:sp>
        <p:sp>
          <p:nvSpPr>
            <p:cNvPr id="68" name="object 68"/>
            <p:cNvSpPr/>
            <p:nvPr/>
          </p:nvSpPr>
          <p:spPr>
            <a:xfrm>
              <a:off x="4931792" y="5792465"/>
              <a:ext cx="93345" cy="1019175"/>
            </a:xfrm>
            <a:custGeom>
              <a:avLst/>
              <a:gdLst/>
              <a:ahLst/>
              <a:cxnLst/>
              <a:rect l="l" t="t" r="r" b="b"/>
              <a:pathLst>
                <a:path w="93345" h="1019175">
                  <a:moveTo>
                    <a:pt x="74498" y="0"/>
                  </a:moveTo>
                  <a:lnTo>
                    <a:pt x="18783" y="0"/>
                  </a:lnTo>
                  <a:lnTo>
                    <a:pt x="18910" y="1282"/>
                  </a:lnTo>
                  <a:lnTo>
                    <a:pt x="19202" y="7505"/>
                  </a:lnTo>
                  <a:lnTo>
                    <a:pt x="17970" y="41008"/>
                  </a:lnTo>
                  <a:lnTo>
                    <a:pt x="17879" y="161604"/>
                  </a:lnTo>
                  <a:lnTo>
                    <a:pt x="17522" y="896080"/>
                  </a:lnTo>
                  <a:lnTo>
                    <a:pt x="17411" y="964984"/>
                  </a:lnTo>
                  <a:lnTo>
                    <a:pt x="7924" y="1002118"/>
                  </a:lnTo>
                  <a:lnTo>
                    <a:pt x="6172" y="1006259"/>
                  </a:lnTo>
                  <a:lnTo>
                    <a:pt x="5854" y="1007046"/>
                  </a:lnTo>
                  <a:lnTo>
                    <a:pt x="2959" y="1013561"/>
                  </a:lnTo>
                  <a:lnTo>
                    <a:pt x="934" y="1017295"/>
                  </a:lnTo>
                  <a:lnTo>
                    <a:pt x="0" y="1018857"/>
                  </a:lnTo>
                  <a:lnTo>
                    <a:pt x="93281" y="1018857"/>
                  </a:lnTo>
                  <a:lnTo>
                    <a:pt x="84607" y="1000023"/>
                  </a:lnTo>
                  <a:lnTo>
                    <a:pt x="82804" y="995248"/>
                  </a:lnTo>
                  <a:lnTo>
                    <a:pt x="78031" y="946158"/>
                  </a:lnTo>
                  <a:lnTo>
                    <a:pt x="77587" y="859599"/>
                  </a:lnTo>
                  <a:lnTo>
                    <a:pt x="77375" y="801181"/>
                  </a:lnTo>
                  <a:lnTo>
                    <a:pt x="76970" y="663522"/>
                  </a:lnTo>
                  <a:lnTo>
                    <a:pt x="75787" y="161604"/>
                  </a:lnTo>
                  <a:lnTo>
                    <a:pt x="75651" y="112559"/>
                  </a:lnTo>
                  <a:lnTo>
                    <a:pt x="75524" y="74851"/>
                  </a:lnTo>
                  <a:lnTo>
                    <a:pt x="75406" y="50370"/>
                  </a:lnTo>
                  <a:lnTo>
                    <a:pt x="75298" y="41008"/>
                  </a:lnTo>
                  <a:lnTo>
                    <a:pt x="74904" y="36575"/>
                  </a:lnTo>
                  <a:lnTo>
                    <a:pt x="74612" y="32423"/>
                  </a:lnTo>
                  <a:lnTo>
                    <a:pt x="74307" y="26479"/>
                  </a:lnTo>
                  <a:lnTo>
                    <a:pt x="74168" y="22936"/>
                  </a:lnTo>
                  <a:lnTo>
                    <a:pt x="73875" y="14096"/>
                  </a:lnTo>
                  <a:lnTo>
                    <a:pt x="74066" y="7505"/>
                  </a:lnTo>
                  <a:lnTo>
                    <a:pt x="74371" y="1282"/>
                  </a:lnTo>
                  <a:lnTo>
                    <a:pt x="74498" y="0"/>
                  </a:lnTo>
                  <a:close/>
                </a:path>
              </a:pathLst>
            </a:custGeom>
            <a:solidFill>
              <a:srgbClr val="DFE1E1"/>
            </a:solidFill>
          </p:spPr>
          <p:txBody>
            <a:bodyPr wrap="square" lIns="0" tIns="0" rIns="0" bIns="0" rtlCol="0"/>
            <a:lstStyle/>
            <a:p>
              <a:endParaRPr/>
            </a:p>
          </p:txBody>
        </p:sp>
        <p:sp>
          <p:nvSpPr>
            <p:cNvPr id="69" name="object 69"/>
            <p:cNvSpPr/>
            <p:nvPr/>
          </p:nvSpPr>
          <p:spPr>
            <a:xfrm>
              <a:off x="4931787" y="6798447"/>
              <a:ext cx="93345" cy="13335"/>
            </a:xfrm>
            <a:custGeom>
              <a:avLst/>
              <a:gdLst/>
              <a:ahLst/>
              <a:cxnLst/>
              <a:rect l="l" t="t" r="r" b="b"/>
              <a:pathLst>
                <a:path w="93345" h="13334">
                  <a:moveTo>
                    <a:pt x="86969" y="0"/>
                  </a:moveTo>
                  <a:lnTo>
                    <a:pt x="6311" y="0"/>
                  </a:lnTo>
                  <a:lnTo>
                    <a:pt x="2971" y="7581"/>
                  </a:lnTo>
                  <a:lnTo>
                    <a:pt x="0" y="12877"/>
                  </a:lnTo>
                  <a:lnTo>
                    <a:pt x="93294" y="12877"/>
                  </a:lnTo>
                  <a:lnTo>
                    <a:pt x="89636" y="5981"/>
                  </a:lnTo>
                  <a:lnTo>
                    <a:pt x="86969" y="0"/>
                  </a:lnTo>
                  <a:close/>
                </a:path>
              </a:pathLst>
            </a:custGeom>
            <a:solidFill>
              <a:srgbClr val="AFB4B6"/>
            </a:solidFill>
          </p:spPr>
          <p:txBody>
            <a:bodyPr wrap="square" lIns="0" tIns="0" rIns="0" bIns="0" rtlCol="0"/>
            <a:lstStyle/>
            <a:p>
              <a:endParaRPr/>
            </a:p>
          </p:txBody>
        </p:sp>
        <p:sp>
          <p:nvSpPr>
            <p:cNvPr id="70" name="object 70"/>
            <p:cNvSpPr/>
            <p:nvPr/>
          </p:nvSpPr>
          <p:spPr>
            <a:xfrm>
              <a:off x="4950570" y="5792467"/>
              <a:ext cx="55880" cy="3810"/>
            </a:xfrm>
            <a:custGeom>
              <a:avLst/>
              <a:gdLst/>
              <a:ahLst/>
              <a:cxnLst/>
              <a:rect l="l" t="t" r="r" b="b"/>
              <a:pathLst>
                <a:path w="55879" h="3810">
                  <a:moveTo>
                    <a:pt x="55714" y="0"/>
                  </a:moveTo>
                  <a:lnTo>
                    <a:pt x="0" y="0"/>
                  </a:lnTo>
                  <a:lnTo>
                    <a:pt x="127" y="1282"/>
                  </a:lnTo>
                  <a:lnTo>
                    <a:pt x="241" y="3708"/>
                  </a:lnTo>
                  <a:lnTo>
                    <a:pt x="55473" y="3708"/>
                  </a:lnTo>
                  <a:lnTo>
                    <a:pt x="55587" y="1282"/>
                  </a:lnTo>
                  <a:lnTo>
                    <a:pt x="55714" y="0"/>
                  </a:lnTo>
                  <a:close/>
                </a:path>
              </a:pathLst>
            </a:custGeom>
            <a:solidFill>
              <a:srgbClr val="9BA0A3"/>
            </a:solidFill>
          </p:spPr>
          <p:txBody>
            <a:bodyPr wrap="square" lIns="0" tIns="0" rIns="0" bIns="0" rtlCol="0"/>
            <a:lstStyle/>
            <a:p>
              <a:endParaRPr/>
            </a:p>
          </p:txBody>
        </p:sp>
        <p:sp>
          <p:nvSpPr>
            <p:cNvPr id="71" name="object 71"/>
            <p:cNvSpPr/>
            <p:nvPr/>
          </p:nvSpPr>
          <p:spPr>
            <a:xfrm>
              <a:off x="4981164" y="5792463"/>
              <a:ext cx="44450" cy="1019175"/>
            </a:xfrm>
            <a:custGeom>
              <a:avLst/>
              <a:gdLst/>
              <a:ahLst/>
              <a:cxnLst/>
              <a:rect l="l" t="t" r="r" b="b"/>
              <a:pathLst>
                <a:path w="44450" h="1019175">
                  <a:moveTo>
                    <a:pt x="25118" y="0"/>
                  </a:moveTo>
                  <a:lnTo>
                    <a:pt x="6842" y="12"/>
                  </a:lnTo>
                  <a:lnTo>
                    <a:pt x="0" y="12"/>
                  </a:lnTo>
                  <a:lnTo>
                    <a:pt x="2080" y="10401"/>
                  </a:lnTo>
                  <a:lnTo>
                    <a:pt x="3566" y="16827"/>
                  </a:lnTo>
                  <a:lnTo>
                    <a:pt x="6195" y="27089"/>
                  </a:lnTo>
                  <a:lnTo>
                    <a:pt x="6601" y="28600"/>
                  </a:lnTo>
                  <a:lnTo>
                    <a:pt x="7711" y="39965"/>
                  </a:lnTo>
                  <a:lnTo>
                    <a:pt x="9987" y="101791"/>
                  </a:lnTo>
                  <a:lnTo>
                    <a:pt x="11150" y="149035"/>
                  </a:lnTo>
                  <a:lnTo>
                    <a:pt x="12325" y="205022"/>
                  </a:lnTo>
                  <a:lnTo>
                    <a:pt x="13511" y="268142"/>
                  </a:lnTo>
                  <a:lnTo>
                    <a:pt x="14706" y="336788"/>
                  </a:lnTo>
                  <a:lnTo>
                    <a:pt x="15907" y="409350"/>
                  </a:lnTo>
                  <a:lnTo>
                    <a:pt x="19524" y="634452"/>
                  </a:lnTo>
                  <a:lnTo>
                    <a:pt x="20727" y="706595"/>
                  </a:lnTo>
                  <a:lnTo>
                    <a:pt x="21925" y="774612"/>
                  </a:lnTo>
                  <a:lnTo>
                    <a:pt x="23116" y="836894"/>
                  </a:lnTo>
                  <a:lnTo>
                    <a:pt x="24297" y="891832"/>
                  </a:lnTo>
                  <a:lnTo>
                    <a:pt x="25465" y="937819"/>
                  </a:lnTo>
                  <a:lnTo>
                    <a:pt x="27758" y="996501"/>
                  </a:lnTo>
                  <a:lnTo>
                    <a:pt x="37030" y="1018857"/>
                  </a:lnTo>
                  <a:lnTo>
                    <a:pt x="43914" y="1018857"/>
                  </a:lnTo>
                  <a:lnTo>
                    <a:pt x="42783" y="1016901"/>
                  </a:lnTo>
                  <a:lnTo>
                    <a:pt x="41335" y="1014133"/>
                  </a:lnTo>
                  <a:lnTo>
                    <a:pt x="30083" y="983691"/>
                  </a:lnTo>
                  <a:lnTo>
                    <a:pt x="29740" y="982421"/>
                  </a:lnTo>
                  <a:lnTo>
                    <a:pt x="28431" y="908562"/>
                  </a:lnTo>
                  <a:lnTo>
                    <a:pt x="28214" y="859605"/>
                  </a:lnTo>
                  <a:lnTo>
                    <a:pt x="27925" y="774612"/>
                  </a:lnTo>
                  <a:lnTo>
                    <a:pt x="27600" y="663525"/>
                  </a:lnTo>
                  <a:lnTo>
                    <a:pt x="26385" y="149035"/>
                  </a:lnTo>
                  <a:lnTo>
                    <a:pt x="26157" y="74851"/>
                  </a:lnTo>
                  <a:lnTo>
                    <a:pt x="26039" y="50370"/>
                  </a:lnTo>
                  <a:lnTo>
                    <a:pt x="25930" y="41008"/>
                  </a:lnTo>
                  <a:lnTo>
                    <a:pt x="25537" y="36563"/>
                  </a:lnTo>
                  <a:lnTo>
                    <a:pt x="25245" y="32423"/>
                  </a:lnTo>
                  <a:lnTo>
                    <a:pt x="24864" y="24917"/>
                  </a:lnTo>
                  <a:lnTo>
                    <a:pt x="24598" y="16827"/>
                  </a:lnTo>
                  <a:lnTo>
                    <a:pt x="24698" y="7505"/>
                  </a:lnTo>
                  <a:lnTo>
                    <a:pt x="24991" y="1282"/>
                  </a:lnTo>
                  <a:lnTo>
                    <a:pt x="25116" y="12"/>
                  </a:lnTo>
                  <a:lnTo>
                    <a:pt x="6842" y="12"/>
                  </a:lnTo>
                  <a:lnTo>
                    <a:pt x="25118" y="0"/>
                  </a:lnTo>
                  <a:close/>
                </a:path>
              </a:pathLst>
            </a:custGeom>
            <a:solidFill>
              <a:srgbClr val="18171C">
                <a:alpha val="9999"/>
              </a:srgbClr>
            </a:solidFill>
          </p:spPr>
          <p:txBody>
            <a:bodyPr wrap="square" lIns="0" tIns="0" rIns="0" bIns="0" rtlCol="0"/>
            <a:lstStyle/>
            <a:p>
              <a:endParaRPr/>
            </a:p>
          </p:txBody>
        </p:sp>
        <p:sp>
          <p:nvSpPr>
            <p:cNvPr id="72" name="object 72"/>
            <p:cNvSpPr/>
            <p:nvPr/>
          </p:nvSpPr>
          <p:spPr>
            <a:xfrm>
              <a:off x="4950638" y="5815380"/>
              <a:ext cx="55880" cy="5715"/>
            </a:xfrm>
            <a:custGeom>
              <a:avLst/>
              <a:gdLst/>
              <a:ahLst/>
              <a:cxnLst/>
              <a:rect l="l" t="t" r="r" b="b"/>
              <a:pathLst>
                <a:path w="55879" h="5714">
                  <a:moveTo>
                    <a:pt x="55575" y="5689"/>
                  </a:moveTo>
                  <a:lnTo>
                    <a:pt x="55537" y="5207"/>
                  </a:lnTo>
                  <a:lnTo>
                    <a:pt x="52438" y="5207"/>
                  </a:lnTo>
                  <a:lnTo>
                    <a:pt x="52438" y="495"/>
                  </a:lnTo>
                  <a:lnTo>
                    <a:pt x="55333" y="495"/>
                  </a:lnTo>
                  <a:lnTo>
                    <a:pt x="55321" y="12"/>
                  </a:lnTo>
                  <a:lnTo>
                    <a:pt x="52438" y="12"/>
                  </a:lnTo>
                  <a:lnTo>
                    <a:pt x="51955" y="0"/>
                  </a:lnTo>
                  <a:lnTo>
                    <a:pt x="51955" y="495"/>
                  </a:lnTo>
                  <a:lnTo>
                    <a:pt x="51955" y="5207"/>
                  </a:lnTo>
                  <a:lnTo>
                    <a:pt x="47015" y="5207"/>
                  </a:lnTo>
                  <a:lnTo>
                    <a:pt x="47015" y="495"/>
                  </a:lnTo>
                  <a:lnTo>
                    <a:pt x="51955" y="495"/>
                  </a:lnTo>
                  <a:lnTo>
                    <a:pt x="51955" y="12"/>
                  </a:lnTo>
                  <a:lnTo>
                    <a:pt x="47015" y="12"/>
                  </a:lnTo>
                  <a:lnTo>
                    <a:pt x="46532" y="0"/>
                  </a:lnTo>
                  <a:lnTo>
                    <a:pt x="46532" y="495"/>
                  </a:lnTo>
                  <a:lnTo>
                    <a:pt x="46532" y="5207"/>
                  </a:lnTo>
                  <a:lnTo>
                    <a:pt x="41592" y="5207"/>
                  </a:lnTo>
                  <a:lnTo>
                    <a:pt x="41592" y="495"/>
                  </a:lnTo>
                  <a:lnTo>
                    <a:pt x="46532" y="495"/>
                  </a:lnTo>
                  <a:lnTo>
                    <a:pt x="46532" y="12"/>
                  </a:lnTo>
                  <a:lnTo>
                    <a:pt x="41592" y="12"/>
                  </a:lnTo>
                  <a:lnTo>
                    <a:pt x="41109" y="0"/>
                  </a:lnTo>
                  <a:lnTo>
                    <a:pt x="41109" y="495"/>
                  </a:lnTo>
                  <a:lnTo>
                    <a:pt x="41109" y="5207"/>
                  </a:lnTo>
                  <a:lnTo>
                    <a:pt x="36169" y="5207"/>
                  </a:lnTo>
                  <a:lnTo>
                    <a:pt x="36169" y="495"/>
                  </a:lnTo>
                  <a:lnTo>
                    <a:pt x="41109" y="495"/>
                  </a:lnTo>
                  <a:lnTo>
                    <a:pt x="41109" y="12"/>
                  </a:lnTo>
                  <a:lnTo>
                    <a:pt x="36169" y="12"/>
                  </a:lnTo>
                  <a:lnTo>
                    <a:pt x="35674" y="0"/>
                  </a:lnTo>
                  <a:lnTo>
                    <a:pt x="35674" y="495"/>
                  </a:lnTo>
                  <a:lnTo>
                    <a:pt x="35674" y="5207"/>
                  </a:lnTo>
                  <a:lnTo>
                    <a:pt x="30746" y="5207"/>
                  </a:lnTo>
                  <a:lnTo>
                    <a:pt x="30746" y="495"/>
                  </a:lnTo>
                  <a:lnTo>
                    <a:pt x="35674" y="495"/>
                  </a:lnTo>
                  <a:lnTo>
                    <a:pt x="35674" y="12"/>
                  </a:lnTo>
                  <a:lnTo>
                    <a:pt x="30746" y="12"/>
                  </a:lnTo>
                  <a:lnTo>
                    <a:pt x="30264" y="0"/>
                  </a:lnTo>
                  <a:lnTo>
                    <a:pt x="30264" y="495"/>
                  </a:lnTo>
                  <a:lnTo>
                    <a:pt x="30264" y="5207"/>
                  </a:lnTo>
                  <a:lnTo>
                    <a:pt x="25323" y="5207"/>
                  </a:lnTo>
                  <a:lnTo>
                    <a:pt x="25323" y="495"/>
                  </a:lnTo>
                  <a:lnTo>
                    <a:pt x="30264" y="495"/>
                  </a:lnTo>
                  <a:lnTo>
                    <a:pt x="30264" y="12"/>
                  </a:lnTo>
                  <a:lnTo>
                    <a:pt x="25323" y="12"/>
                  </a:lnTo>
                  <a:lnTo>
                    <a:pt x="24841" y="0"/>
                  </a:lnTo>
                  <a:lnTo>
                    <a:pt x="24841" y="495"/>
                  </a:lnTo>
                  <a:lnTo>
                    <a:pt x="24841" y="5207"/>
                  </a:lnTo>
                  <a:lnTo>
                    <a:pt x="19900" y="5207"/>
                  </a:lnTo>
                  <a:lnTo>
                    <a:pt x="19900" y="495"/>
                  </a:lnTo>
                  <a:lnTo>
                    <a:pt x="24841" y="495"/>
                  </a:lnTo>
                  <a:lnTo>
                    <a:pt x="24841" y="12"/>
                  </a:lnTo>
                  <a:lnTo>
                    <a:pt x="19900" y="12"/>
                  </a:lnTo>
                  <a:lnTo>
                    <a:pt x="19405" y="0"/>
                  </a:lnTo>
                  <a:lnTo>
                    <a:pt x="19405" y="495"/>
                  </a:lnTo>
                  <a:lnTo>
                    <a:pt x="19405" y="5207"/>
                  </a:lnTo>
                  <a:lnTo>
                    <a:pt x="14478" y="5207"/>
                  </a:lnTo>
                  <a:lnTo>
                    <a:pt x="14478" y="495"/>
                  </a:lnTo>
                  <a:lnTo>
                    <a:pt x="19405" y="495"/>
                  </a:lnTo>
                  <a:lnTo>
                    <a:pt x="19405" y="12"/>
                  </a:lnTo>
                  <a:lnTo>
                    <a:pt x="14478" y="12"/>
                  </a:lnTo>
                  <a:lnTo>
                    <a:pt x="13995" y="0"/>
                  </a:lnTo>
                  <a:lnTo>
                    <a:pt x="13995" y="495"/>
                  </a:lnTo>
                  <a:lnTo>
                    <a:pt x="13995" y="5207"/>
                  </a:lnTo>
                  <a:lnTo>
                    <a:pt x="9055" y="5207"/>
                  </a:lnTo>
                  <a:lnTo>
                    <a:pt x="9055" y="495"/>
                  </a:lnTo>
                  <a:lnTo>
                    <a:pt x="13995" y="495"/>
                  </a:lnTo>
                  <a:lnTo>
                    <a:pt x="13995" y="12"/>
                  </a:lnTo>
                  <a:lnTo>
                    <a:pt x="9055" y="12"/>
                  </a:lnTo>
                  <a:lnTo>
                    <a:pt x="8572" y="0"/>
                  </a:lnTo>
                  <a:lnTo>
                    <a:pt x="8572" y="495"/>
                  </a:lnTo>
                  <a:lnTo>
                    <a:pt x="8572" y="5207"/>
                  </a:lnTo>
                  <a:lnTo>
                    <a:pt x="3632" y="5207"/>
                  </a:lnTo>
                  <a:lnTo>
                    <a:pt x="3632" y="495"/>
                  </a:lnTo>
                  <a:lnTo>
                    <a:pt x="8572" y="495"/>
                  </a:lnTo>
                  <a:lnTo>
                    <a:pt x="8572" y="12"/>
                  </a:lnTo>
                  <a:lnTo>
                    <a:pt x="3632" y="12"/>
                  </a:lnTo>
                  <a:lnTo>
                    <a:pt x="3149" y="0"/>
                  </a:lnTo>
                  <a:lnTo>
                    <a:pt x="241" y="12"/>
                  </a:lnTo>
                  <a:lnTo>
                    <a:pt x="215" y="495"/>
                  </a:lnTo>
                  <a:lnTo>
                    <a:pt x="3149" y="495"/>
                  </a:lnTo>
                  <a:lnTo>
                    <a:pt x="3149" y="5207"/>
                  </a:lnTo>
                  <a:lnTo>
                    <a:pt x="25" y="5207"/>
                  </a:lnTo>
                  <a:lnTo>
                    <a:pt x="0" y="5689"/>
                  </a:lnTo>
                  <a:lnTo>
                    <a:pt x="55575" y="5689"/>
                  </a:lnTo>
                  <a:close/>
                </a:path>
              </a:pathLst>
            </a:custGeom>
            <a:solidFill>
              <a:srgbClr val="757B7F"/>
            </a:solidFill>
          </p:spPr>
          <p:txBody>
            <a:bodyPr wrap="square" lIns="0" tIns="0" rIns="0" bIns="0" rtlCol="0"/>
            <a:lstStyle/>
            <a:p>
              <a:endParaRPr/>
            </a:p>
          </p:txBody>
        </p:sp>
        <p:sp>
          <p:nvSpPr>
            <p:cNvPr id="73" name="object 73"/>
            <p:cNvSpPr/>
            <p:nvPr/>
          </p:nvSpPr>
          <p:spPr>
            <a:xfrm>
              <a:off x="4925580" y="6811327"/>
              <a:ext cx="106045" cy="5080"/>
            </a:xfrm>
            <a:custGeom>
              <a:avLst/>
              <a:gdLst/>
              <a:ahLst/>
              <a:cxnLst/>
              <a:rect l="l" t="t" r="r" b="b"/>
              <a:pathLst>
                <a:path w="106045" h="5079">
                  <a:moveTo>
                    <a:pt x="105562" y="0"/>
                  </a:moveTo>
                  <a:lnTo>
                    <a:pt x="0" y="0"/>
                  </a:lnTo>
                  <a:lnTo>
                    <a:pt x="0" y="4787"/>
                  </a:lnTo>
                  <a:lnTo>
                    <a:pt x="105562" y="4787"/>
                  </a:lnTo>
                  <a:lnTo>
                    <a:pt x="105562" y="0"/>
                  </a:lnTo>
                  <a:close/>
                </a:path>
              </a:pathLst>
            </a:custGeom>
            <a:solidFill>
              <a:srgbClr val="505457"/>
            </a:solidFill>
          </p:spPr>
          <p:txBody>
            <a:bodyPr wrap="square" lIns="0" tIns="0" rIns="0" bIns="0" rtlCol="0"/>
            <a:lstStyle/>
            <a:p>
              <a:endParaRPr/>
            </a:p>
          </p:txBody>
        </p:sp>
        <p:sp>
          <p:nvSpPr>
            <p:cNvPr id="74" name="object 74"/>
            <p:cNvSpPr/>
            <p:nvPr/>
          </p:nvSpPr>
          <p:spPr>
            <a:xfrm>
              <a:off x="1530184" y="5708059"/>
              <a:ext cx="97155" cy="1060450"/>
            </a:xfrm>
            <a:custGeom>
              <a:avLst/>
              <a:gdLst/>
              <a:ahLst/>
              <a:cxnLst/>
              <a:rect l="l" t="t" r="r" b="b"/>
              <a:pathLst>
                <a:path w="97155" h="1060450">
                  <a:moveTo>
                    <a:pt x="77520" y="0"/>
                  </a:moveTo>
                  <a:lnTo>
                    <a:pt x="19545" y="0"/>
                  </a:lnTo>
                  <a:lnTo>
                    <a:pt x="19685" y="1333"/>
                  </a:lnTo>
                  <a:lnTo>
                    <a:pt x="19989" y="7810"/>
                  </a:lnTo>
                  <a:lnTo>
                    <a:pt x="20167" y="14668"/>
                  </a:lnTo>
                  <a:lnTo>
                    <a:pt x="19735" y="27546"/>
                  </a:lnTo>
                  <a:lnTo>
                    <a:pt x="19342" y="34721"/>
                  </a:lnTo>
                  <a:lnTo>
                    <a:pt x="19126" y="37388"/>
                  </a:lnTo>
                  <a:lnTo>
                    <a:pt x="19011" y="39090"/>
                  </a:lnTo>
                  <a:lnTo>
                    <a:pt x="18707" y="42684"/>
                  </a:lnTo>
                  <a:lnTo>
                    <a:pt x="18614" y="156558"/>
                  </a:lnTo>
                  <a:lnTo>
                    <a:pt x="18256" y="906208"/>
                  </a:lnTo>
                  <a:lnTo>
                    <a:pt x="18135" y="1004265"/>
                  </a:lnTo>
                  <a:lnTo>
                    <a:pt x="8255" y="1042911"/>
                  </a:lnTo>
                  <a:lnTo>
                    <a:pt x="6426" y="1047229"/>
                  </a:lnTo>
                  <a:lnTo>
                    <a:pt x="5422" y="1049566"/>
                  </a:lnTo>
                  <a:lnTo>
                    <a:pt x="3086" y="1054823"/>
                  </a:lnTo>
                  <a:lnTo>
                    <a:pt x="1092" y="1058519"/>
                  </a:lnTo>
                  <a:lnTo>
                    <a:pt x="0" y="1060335"/>
                  </a:lnTo>
                  <a:lnTo>
                    <a:pt x="97078" y="1060335"/>
                  </a:lnTo>
                  <a:lnTo>
                    <a:pt x="89065" y="1043343"/>
                  </a:lnTo>
                  <a:lnTo>
                    <a:pt x="88379" y="1041615"/>
                  </a:lnTo>
                  <a:lnTo>
                    <a:pt x="86182" y="1035773"/>
                  </a:lnTo>
                  <a:lnTo>
                    <a:pt x="84315" y="1030046"/>
                  </a:lnTo>
                  <a:lnTo>
                    <a:pt x="82687" y="1023694"/>
                  </a:lnTo>
                  <a:lnTo>
                    <a:pt x="82334" y="1022413"/>
                  </a:lnTo>
                  <a:lnTo>
                    <a:pt x="81018" y="952561"/>
                  </a:lnTo>
                  <a:lnTo>
                    <a:pt x="80801" y="906208"/>
                  </a:lnTo>
                  <a:lnTo>
                    <a:pt x="80591" y="850644"/>
                  </a:lnTo>
                  <a:lnTo>
                    <a:pt x="80188" y="718579"/>
                  </a:lnTo>
                  <a:lnTo>
                    <a:pt x="78851" y="156558"/>
                  </a:lnTo>
                  <a:lnTo>
                    <a:pt x="78718" y="110114"/>
                  </a:lnTo>
                  <a:lnTo>
                    <a:pt x="78594" y="74539"/>
                  </a:lnTo>
                  <a:lnTo>
                    <a:pt x="78478" y="51504"/>
                  </a:lnTo>
                  <a:lnTo>
                    <a:pt x="78371" y="42684"/>
                  </a:lnTo>
                  <a:lnTo>
                    <a:pt x="77905" y="37388"/>
                  </a:lnTo>
                  <a:lnTo>
                    <a:pt x="77647" y="33731"/>
                  </a:lnTo>
                  <a:lnTo>
                    <a:pt x="77330" y="27546"/>
                  </a:lnTo>
                  <a:lnTo>
                    <a:pt x="77190" y="23850"/>
                  </a:lnTo>
                  <a:lnTo>
                    <a:pt x="76898" y="14668"/>
                  </a:lnTo>
                  <a:lnTo>
                    <a:pt x="77076" y="7810"/>
                  </a:lnTo>
                  <a:lnTo>
                    <a:pt x="77393" y="1333"/>
                  </a:lnTo>
                  <a:lnTo>
                    <a:pt x="77520" y="0"/>
                  </a:lnTo>
                  <a:close/>
                </a:path>
              </a:pathLst>
            </a:custGeom>
            <a:solidFill>
              <a:srgbClr val="DFE1E1"/>
            </a:solidFill>
          </p:spPr>
          <p:txBody>
            <a:bodyPr wrap="square" lIns="0" tIns="0" rIns="0" bIns="0" rtlCol="0"/>
            <a:lstStyle/>
            <a:p>
              <a:endParaRPr/>
            </a:p>
          </p:txBody>
        </p:sp>
        <p:sp>
          <p:nvSpPr>
            <p:cNvPr id="75" name="object 75"/>
            <p:cNvSpPr/>
            <p:nvPr/>
          </p:nvSpPr>
          <p:spPr>
            <a:xfrm>
              <a:off x="1530181" y="6755001"/>
              <a:ext cx="97155" cy="13970"/>
            </a:xfrm>
            <a:custGeom>
              <a:avLst/>
              <a:gdLst/>
              <a:ahLst/>
              <a:cxnLst/>
              <a:rect l="l" t="t" r="r" b="b"/>
              <a:pathLst>
                <a:path w="97155" h="13970">
                  <a:moveTo>
                    <a:pt x="90512" y="0"/>
                  </a:moveTo>
                  <a:lnTo>
                    <a:pt x="6565" y="0"/>
                  </a:lnTo>
                  <a:lnTo>
                    <a:pt x="3098" y="7886"/>
                  </a:lnTo>
                  <a:lnTo>
                    <a:pt x="0" y="13398"/>
                  </a:lnTo>
                  <a:lnTo>
                    <a:pt x="97091" y="13398"/>
                  </a:lnTo>
                  <a:lnTo>
                    <a:pt x="93281" y="6223"/>
                  </a:lnTo>
                  <a:lnTo>
                    <a:pt x="90512" y="0"/>
                  </a:lnTo>
                  <a:close/>
                </a:path>
              </a:pathLst>
            </a:custGeom>
            <a:solidFill>
              <a:srgbClr val="AFB4B6"/>
            </a:solidFill>
          </p:spPr>
          <p:txBody>
            <a:bodyPr wrap="square" lIns="0" tIns="0" rIns="0" bIns="0" rtlCol="0"/>
            <a:lstStyle/>
            <a:p>
              <a:endParaRPr/>
            </a:p>
          </p:txBody>
        </p:sp>
        <p:sp>
          <p:nvSpPr>
            <p:cNvPr id="76" name="object 76"/>
            <p:cNvSpPr/>
            <p:nvPr/>
          </p:nvSpPr>
          <p:spPr>
            <a:xfrm>
              <a:off x="1549727" y="5708060"/>
              <a:ext cx="58419" cy="4445"/>
            </a:xfrm>
            <a:custGeom>
              <a:avLst/>
              <a:gdLst/>
              <a:ahLst/>
              <a:cxnLst/>
              <a:rect l="l" t="t" r="r" b="b"/>
              <a:pathLst>
                <a:path w="58419" h="4445">
                  <a:moveTo>
                    <a:pt x="57988" y="0"/>
                  </a:moveTo>
                  <a:lnTo>
                    <a:pt x="0" y="0"/>
                  </a:lnTo>
                  <a:lnTo>
                    <a:pt x="139" y="1346"/>
                  </a:lnTo>
                  <a:lnTo>
                    <a:pt x="254" y="3860"/>
                  </a:lnTo>
                  <a:lnTo>
                    <a:pt x="57734" y="3860"/>
                  </a:lnTo>
                  <a:lnTo>
                    <a:pt x="57861" y="1346"/>
                  </a:lnTo>
                  <a:lnTo>
                    <a:pt x="57988" y="0"/>
                  </a:lnTo>
                  <a:close/>
                </a:path>
              </a:pathLst>
            </a:custGeom>
            <a:solidFill>
              <a:srgbClr val="9BA0A3"/>
            </a:solidFill>
          </p:spPr>
          <p:txBody>
            <a:bodyPr wrap="square" lIns="0" tIns="0" rIns="0" bIns="0" rtlCol="0"/>
            <a:lstStyle/>
            <a:p>
              <a:endParaRPr/>
            </a:p>
          </p:txBody>
        </p:sp>
        <p:sp>
          <p:nvSpPr>
            <p:cNvPr id="77" name="object 77"/>
            <p:cNvSpPr/>
            <p:nvPr/>
          </p:nvSpPr>
          <p:spPr>
            <a:xfrm>
              <a:off x="1581566" y="5708057"/>
              <a:ext cx="45720" cy="1060450"/>
            </a:xfrm>
            <a:custGeom>
              <a:avLst/>
              <a:gdLst/>
              <a:ahLst/>
              <a:cxnLst/>
              <a:rect l="l" t="t" r="r" b="b"/>
              <a:pathLst>
                <a:path w="45719" h="1060450">
                  <a:moveTo>
                    <a:pt x="26149" y="0"/>
                  </a:moveTo>
                  <a:lnTo>
                    <a:pt x="0" y="0"/>
                  </a:lnTo>
                  <a:lnTo>
                    <a:pt x="495" y="2590"/>
                  </a:lnTo>
                  <a:lnTo>
                    <a:pt x="774" y="3860"/>
                  </a:lnTo>
                  <a:lnTo>
                    <a:pt x="2171" y="10833"/>
                  </a:lnTo>
                  <a:lnTo>
                    <a:pt x="3708" y="17513"/>
                  </a:lnTo>
                  <a:lnTo>
                    <a:pt x="6159" y="27114"/>
                  </a:lnTo>
                  <a:lnTo>
                    <a:pt x="6883" y="29756"/>
                  </a:lnTo>
                  <a:lnTo>
                    <a:pt x="7977" y="40646"/>
                  </a:lnTo>
                  <a:lnTo>
                    <a:pt x="10221" y="99449"/>
                  </a:lnTo>
                  <a:lnTo>
                    <a:pt x="11367" y="144490"/>
                  </a:lnTo>
                  <a:lnTo>
                    <a:pt x="12526" y="198045"/>
                  </a:lnTo>
                  <a:lnTo>
                    <a:pt x="13696" y="258677"/>
                  </a:lnTo>
                  <a:lnTo>
                    <a:pt x="14875" y="324953"/>
                  </a:lnTo>
                  <a:lnTo>
                    <a:pt x="16060" y="395435"/>
                  </a:lnTo>
                  <a:lnTo>
                    <a:pt x="19636" y="617772"/>
                  </a:lnTo>
                  <a:lnTo>
                    <a:pt x="20828" y="690731"/>
                  </a:lnTo>
                  <a:lnTo>
                    <a:pt x="22017" y="760720"/>
                  </a:lnTo>
                  <a:lnTo>
                    <a:pt x="23199" y="826304"/>
                  </a:lnTo>
                  <a:lnTo>
                    <a:pt x="24374" y="886048"/>
                  </a:lnTo>
                  <a:lnTo>
                    <a:pt x="25540" y="938518"/>
                  </a:lnTo>
                  <a:lnTo>
                    <a:pt x="26693" y="982276"/>
                  </a:lnTo>
                  <a:lnTo>
                    <a:pt x="28955" y="1037921"/>
                  </a:lnTo>
                  <a:lnTo>
                    <a:pt x="38544" y="1060335"/>
                  </a:lnTo>
                  <a:lnTo>
                    <a:pt x="45694" y="1060335"/>
                  </a:lnTo>
                  <a:lnTo>
                    <a:pt x="44767" y="1058722"/>
                  </a:lnTo>
                  <a:lnTo>
                    <a:pt x="43713" y="1056779"/>
                  </a:lnTo>
                  <a:lnTo>
                    <a:pt x="41884" y="1053160"/>
                  </a:lnTo>
                  <a:lnTo>
                    <a:pt x="40563" y="1050302"/>
                  </a:lnTo>
                  <a:lnTo>
                    <a:pt x="38150" y="1044613"/>
                  </a:lnTo>
                  <a:lnTo>
                    <a:pt x="37680" y="1043355"/>
                  </a:lnTo>
                  <a:lnTo>
                    <a:pt x="36995" y="1041628"/>
                  </a:lnTo>
                  <a:lnTo>
                    <a:pt x="34798" y="1035773"/>
                  </a:lnTo>
                  <a:lnTo>
                    <a:pt x="32931" y="1030046"/>
                  </a:lnTo>
                  <a:lnTo>
                    <a:pt x="31318" y="1023759"/>
                  </a:lnTo>
                  <a:lnTo>
                    <a:pt x="30949" y="1022413"/>
                  </a:lnTo>
                  <a:lnTo>
                    <a:pt x="29633" y="952569"/>
                  </a:lnTo>
                  <a:lnTo>
                    <a:pt x="29341" y="886048"/>
                  </a:lnTo>
                  <a:lnTo>
                    <a:pt x="29132" y="826304"/>
                  </a:lnTo>
                  <a:lnTo>
                    <a:pt x="28804" y="718582"/>
                  </a:lnTo>
                  <a:lnTo>
                    <a:pt x="27432" y="144490"/>
                  </a:lnTo>
                  <a:lnTo>
                    <a:pt x="27209" y="74539"/>
                  </a:lnTo>
                  <a:lnTo>
                    <a:pt x="27094" y="51504"/>
                  </a:lnTo>
                  <a:lnTo>
                    <a:pt x="26987" y="42684"/>
                  </a:lnTo>
                  <a:lnTo>
                    <a:pt x="26581" y="38061"/>
                  </a:lnTo>
                  <a:lnTo>
                    <a:pt x="26276" y="33743"/>
                  </a:lnTo>
                  <a:lnTo>
                    <a:pt x="25882" y="25933"/>
                  </a:lnTo>
                  <a:lnTo>
                    <a:pt x="25607" y="17513"/>
                  </a:lnTo>
                  <a:lnTo>
                    <a:pt x="25692" y="7810"/>
                  </a:lnTo>
                  <a:lnTo>
                    <a:pt x="26009" y="1346"/>
                  </a:lnTo>
                  <a:lnTo>
                    <a:pt x="26149" y="0"/>
                  </a:lnTo>
                  <a:close/>
                </a:path>
              </a:pathLst>
            </a:custGeom>
            <a:solidFill>
              <a:srgbClr val="18171C">
                <a:alpha val="9999"/>
              </a:srgbClr>
            </a:solidFill>
          </p:spPr>
          <p:txBody>
            <a:bodyPr wrap="square" lIns="0" tIns="0" rIns="0" bIns="0" rtlCol="0"/>
            <a:lstStyle/>
            <a:p>
              <a:endParaRPr/>
            </a:p>
          </p:txBody>
        </p:sp>
        <p:sp>
          <p:nvSpPr>
            <p:cNvPr id="78" name="object 78"/>
            <p:cNvSpPr/>
            <p:nvPr/>
          </p:nvSpPr>
          <p:spPr>
            <a:xfrm>
              <a:off x="1549793" y="5731916"/>
              <a:ext cx="58419" cy="6350"/>
            </a:xfrm>
            <a:custGeom>
              <a:avLst/>
              <a:gdLst/>
              <a:ahLst/>
              <a:cxnLst/>
              <a:rect l="l" t="t" r="r" b="b"/>
              <a:pathLst>
                <a:path w="58419" h="6350">
                  <a:moveTo>
                    <a:pt x="57835" y="5905"/>
                  </a:moveTo>
                  <a:lnTo>
                    <a:pt x="57810" y="5410"/>
                  </a:lnTo>
                  <a:lnTo>
                    <a:pt x="54584" y="5410"/>
                  </a:lnTo>
                  <a:lnTo>
                    <a:pt x="54584" y="508"/>
                  </a:lnTo>
                  <a:lnTo>
                    <a:pt x="57594" y="508"/>
                  </a:lnTo>
                  <a:lnTo>
                    <a:pt x="57581" y="12"/>
                  </a:lnTo>
                  <a:lnTo>
                    <a:pt x="54584" y="12"/>
                  </a:lnTo>
                  <a:lnTo>
                    <a:pt x="54076" y="0"/>
                  </a:lnTo>
                  <a:lnTo>
                    <a:pt x="54076" y="508"/>
                  </a:lnTo>
                  <a:lnTo>
                    <a:pt x="54076" y="5410"/>
                  </a:lnTo>
                  <a:lnTo>
                    <a:pt x="48945" y="5410"/>
                  </a:lnTo>
                  <a:lnTo>
                    <a:pt x="48945" y="508"/>
                  </a:lnTo>
                  <a:lnTo>
                    <a:pt x="54076" y="508"/>
                  </a:lnTo>
                  <a:lnTo>
                    <a:pt x="54076" y="12"/>
                  </a:lnTo>
                  <a:lnTo>
                    <a:pt x="48945" y="12"/>
                  </a:lnTo>
                  <a:lnTo>
                    <a:pt x="48450" y="0"/>
                  </a:lnTo>
                  <a:lnTo>
                    <a:pt x="48450" y="508"/>
                  </a:lnTo>
                  <a:lnTo>
                    <a:pt x="48450" y="5410"/>
                  </a:lnTo>
                  <a:lnTo>
                    <a:pt x="43294" y="5410"/>
                  </a:lnTo>
                  <a:lnTo>
                    <a:pt x="43294" y="508"/>
                  </a:lnTo>
                  <a:lnTo>
                    <a:pt x="48450" y="508"/>
                  </a:lnTo>
                  <a:lnTo>
                    <a:pt x="48450" y="12"/>
                  </a:lnTo>
                  <a:lnTo>
                    <a:pt x="43294" y="12"/>
                  </a:lnTo>
                  <a:lnTo>
                    <a:pt x="42799" y="0"/>
                  </a:lnTo>
                  <a:lnTo>
                    <a:pt x="42799" y="508"/>
                  </a:lnTo>
                  <a:lnTo>
                    <a:pt x="42799" y="5410"/>
                  </a:lnTo>
                  <a:lnTo>
                    <a:pt x="37655" y="5410"/>
                  </a:lnTo>
                  <a:lnTo>
                    <a:pt x="37655" y="508"/>
                  </a:lnTo>
                  <a:lnTo>
                    <a:pt x="42799" y="508"/>
                  </a:lnTo>
                  <a:lnTo>
                    <a:pt x="42799" y="12"/>
                  </a:lnTo>
                  <a:lnTo>
                    <a:pt x="37655" y="12"/>
                  </a:lnTo>
                  <a:lnTo>
                    <a:pt x="37160" y="0"/>
                  </a:lnTo>
                  <a:lnTo>
                    <a:pt x="37160" y="508"/>
                  </a:lnTo>
                  <a:lnTo>
                    <a:pt x="37160" y="5410"/>
                  </a:lnTo>
                  <a:lnTo>
                    <a:pt x="32004" y="5410"/>
                  </a:lnTo>
                  <a:lnTo>
                    <a:pt x="32004" y="508"/>
                  </a:lnTo>
                  <a:lnTo>
                    <a:pt x="37160" y="508"/>
                  </a:lnTo>
                  <a:lnTo>
                    <a:pt x="37160" y="12"/>
                  </a:lnTo>
                  <a:lnTo>
                    <a:pt x="32004" y="12"/>
                  </a:lnTo>
                  <a:lnTo>
                    <a:pt x="31508" y="0"/>
                  </a:lnTo>
                  <a:lnTo>
                    <a:pt x="31508" y="508"/>
                  </a:lnTo>
                  <a:lnTo>
                    <a:pt x="31508" y="5410"/>
                  </a:lnTo>
                  <a:lnTo>
                    <a:pt x="26365" y="5410"/>
                  </a:lnTo>
                  <a:lnTo>
                    <a:pt x="26365" y="508"/>
                  </a:lnTo>
                  <a:lnTo>
                    <a:pt x="31508" y="508"/>
                  </a:lnTo>
                  <a:lnTo>
                    <a:pt x="31508" y="12"/>
                  </a:lnTo>
                  <a:lnTo>
                    <a:pt x="26365" y="12"/>
                  </a:lnTo>
                  <a:lnTo>
                    <a:pt x="25869" y="0"/>
                  </a:lnTo>
                  <a:lnTo>
                    <a:pt x="25869" y="508"/>
                  </a:lnTo>
                  <a:lnTo>
                    <a:pt x="25869" y="5410"/>
                  </a:lnTo>
                  <a:lnTo>
                    <a:pt x="20713" y="5410"/>
                  </a:lnTo>
                  <a:lnTo>
                    <a:pt x="20713" y="508"/>
                  </a:lnTo>
                  <a:lnTo>
                    <a:pt x="25869" y="508"/>
                  </a:lnTo>
                  <a:lnTo>
                    <a:pt x="25869" y="12"/>
                  </a:lnTo>
                  <a:lnTo>
                    <a:pt x="20713" y="12"/>
                  </a:lnTo>
                  <a:lnTo>
                    <a:pt x="20218" y="0"/>
                  </a:lnTo>
                  <a:lnTo>
                    <a:pt x="20218" y="508"/>
                  </a:lnTo>
                  <a:lnTo>
                    <a:pt x="20218" y="5410"/>
                  </a:lnTo>
                  <a:lnTo>
                    <a:pt x="15074" y="5410"/>
                  </a:lnTo>
                  <a:lnTo>
                    <a:pt x="15074" y="508"/>
                  </a:lnTo>
                  <a:lnTo>
                    <a:pt x="20218" y="508"/>
                  </a:lnTo>
                  <a:lnTo>
                    <a:pt x="20218" y="12"/>
                  </a:lnTo>
                  <a:lnTo>
                    <a:pt x="15074" y="12"/>
                  </a:lnTo>
                  <a:lnTo>
                    <a:pt x="14579" y="0"/>
                  </a:lnTo>
                  <a:lnTo>
                    <a:pt x="14579" y="508"/>
                  </a:lnTo>
                  <a:lnTo>
                    <a:pt x="14579" y="5410"/>
                  </a:lnTo>
                  <a:lnTo>
                    <a:pt x="9423" y="5410"/>
                  </a:lnTo>
                  <a:lnTo>
                    <a:pt x="9423" y="508"/>
                  </a:lnTo>
                  <a:lnTo>
                    <a:pt x="14579" y="508"/>
                  </a:lnTo>
                  <a:lnTo>
                    <a:pt x="14579" y="12"/>
                  </a:lnTo>
                  <a:lnTo>
                    <a:pt x="9423" y="12"/>
                  </a:lnTo>
                  <a:lnTo>
                    <a:pt x="8928" y="0"/>
                  </a:lnTo>
                  <a:lnTo>
                    <a:pt x="8928" y="508"/>
                  </a:lnTo>
                  <a:lnTo>
                    <a:pt x="8928" y="5410"/>
                  </a:lnTo>
                  <a:lnTo>
                    <a:pt x="3784" y="5410"/>
                  </a:lnTo>
                  <a:lnTo>
                    <a:pt x="3784" y="508"/>
                  </a:lnTo>
                  <a:lnTo>
                    <a:pt x="8928" y="508"/>
                  </a:lnTo>
                  <a:lnTo>
                    <a:pt x="8928" y="12"/>
                  </a:lnTo>
                  <a:lnTo>
                    <a:pt x="3784" y="12"/>
                  </a:lnTo>
                  <a:lnTo>
                    <a:pt x="3276" y="0"/>
                  </a:lnTo>
                  <a:lnTo>
                    <a:pt x="254" y="12"/>
                  </a:lnTo>
                  <a:lnTo>
                    <a:pt x="228" y="508"/>
                  </a:lnTo>
                  <a:lnTo>
                    <a:pt x="3276" y="508"/>
                  </a:lnTo>
                  <a:lnTo>
                    <a:pt x="3276" y="5410"/>
                  </a:lnTo>
                  <a:lnTo>
                    <a:pt x="25" y="5410"/>
                  </a:lnTo>
                  <a:lnTo>
                    <a:pt x="0" y="5905"/>
                  </a:lnTo>
                  <a:lnTo>
                    <a:pt x="3276" y="5905"/>
                  </a:lnTo>
                  <a:lnTo>
                    <a:pt x="3784" y="5918"/>
                  </a:lnTo>
                  <a:lnTo>
                    <a:pt x="8928" y="5905"/>
                  </a:lnTo>
                  <a:lnTo>
                    <a:pt x="9423" y="5918"/>
                  </a:lnTo>
                  <a:lnTo>
                    <a:pt x="14579" y="5905"/>
                  </a:lnTo>
                  <a:lnTo>
                    <a:pt x="15074" y="5918"/>
                  </a:lnTo>
                  <a:lnTo>
                    <a:pt x="20218" y="5905"/>
                  </a:lnTo>
                  <a:lnTo>
                    <a:pt x="20713" y="5918"/>
                  </a:lnTo>
                  <a:lnTo>
                    <a:pt x="25869" y="5905"/>
                  </a:lnTo>
                  <a:lnTo>
                    <a:pt x="26365" y="5918"/>
                  </a:lnTo>
                  <a:lnTo>
                    <a:pt x="31508" y="5905"/>
                  </a:lnTo>
                  <a:lnTo>
                    <a:pt x="32004" y="5918"/>
                  </a:lnTo>
                  <a:lnTo>
                    <a:pt x="37160" y="5905"/>
                  </a:lnTo>
                  <a:lnTo>
                    <a:pt x="37655" y="5918"/>
                  </a:lnTo>
                  <a:lnTo>
                    <a:pt x="42799" y="5905"/>
                  </a:lnTo>
                  <a:lnTo>
                    <a:pt x="43294" y="5918"/>
                  </a:lnTo>
                  <a:lnTo>
                    <a:pt x="48450" y="5905"/>
                  </a:lnTo>
                  <a:lnTo>
                    <a:pt x="48945" y="5918"/>
                  </a:lnTo>
                  <a:lnTo>
                    <a:pt x="54076" y="5905"/>
                  </a:lnTo>
                  <a:lnTo>
                    <a:pt x="54584" y="5918"/>
                  </a:lnTo>
                  <a:lnTo>
                    <a:pt x="57835" y="5905"/>
                  </a:lnTo>
                  <a:close/>
                </a:path>
              </a:pathLst>
            </a:custGeom>
            <a:solidFill>
              <a:srgbClr val="757B7F"/>
            </a:solidFill>
          </p:spPr>
          <p:txBody>
            <a:bodyPr wrap="square" lIns="0" tIns="0" rIns="0" bIns="0" rtlCol="0"/>
            <a:lstStyle/>
            <a:p>
              <a:endParaRPr/>
            </a:p>
          </p:txBody>
        </p:sp>
        <p:sp>
          <p:nvSpPr>
            <p:cNvPr id="79" name="object 79"/>
            <p:cNvSpPr/>
            <p:nvPr/>
          </p:nvSpPr>
          <p:spPr>
            <a:xfrm>
              <a:off x="1523720" y="6768401"/>
              <a:ext cx="109855" cy="5080"/>
            </a:xfrm>
            <a:custGeom>
              <a:avLst/>
              <a:gdLst/>
              <a:ahLst/>
              <a:cxnLst/>
              <a:rect l="l" t="t" r="r" b="b"/>
              <a:pathLst>
                <a:path w="109855" h="5079">
                  <a:moveTo>
                    <a:pt x="109854" y="0"/>
                  </a:moveTo>
                  <a:lnTo>
                    <a:pt x="0" y="0"/>
                  </a:lnTo>
                  <a:lnTo>
                    <a:pt x="0" y="4991"/>
                  </a:lnTo>
                  <a:lnTo>
                    <a:pt x="109854" y="4991"/>
                  </a:lnTo>
                  <a:lnTo>
                    <a:pt x="109854" y="0"/>
                  </a:lnTo>
                  <a:close/>
                </a:path>
              </a:pathLst>
            </a:custGeom>
            <a:solidFill>
              <a:srgbClr val="505457"/>
            </a:solidFill>
          </p:spPr>
          <p:txBody>
            <a:bodyPr wrap="square" lIns="0" tIns="0" rIns="0" bIns="0" rtlCol="0"/>
            <a:lstStyle/>
            <a:p>
              <a:endParaRPr/>
            </a:p>
          </p:txBody>
        </p:sp>
        <p:sp>
          <p:nvSpPr>
            <p:cNvPr id="80" name="object 80"/>
            <p:cNvSpPr/>
            <p:nvPr/>
          </p:nvSpPr>
          <p:spPr>
            <a:xfrm>
              <a:off x="4313680" y="6269460"/>
              <a:ext cx="615315" cy="569595"/>
            </a:xfrm>
            <a:custGeom>
              <a:avLst/>
              <a:gdLst/>
              <a:ahLst/>
              <a:cxnLst/>
              <a:rect l="l" t="t" r="r" b="b"/>
              <a:pathLst>
                <a:path w="615314" h="569595">
                  <a:moveTo>
                    <a:pt x="318808" y="127"/>
                  </a:moveTo>
                  <a:lnTo>
                    <a:pt x="273138" y="1959"/>
                  </a:lnTo>
                  <a:lnTo>
                    <a:pt x="218160" y="13500"/>
                  </a:lnTo>
                  <a:lnTo>
                    <a:pt x="173062" y="31686"/>
                  </a:lnTo>
                  <a:lnTo>
                    <a:pt x="139573" y="51079"/>
                  </a:lnTo>
                  <a:lnTo>
                    <a:pt x="100152" y="82448"/>
                  </a:lnTo>
                  <a:lnTo>
                    <a:pt x="71043" y="113753"/>
                  </a:lnTo>
                  <a:lnTo>
                    <a:pt x="48717" y="144995"/>
                  </a:lnTo>
                  <a:lnTo>
                    <a:pt x="22517" y="196684"/>
                  </a:lnTo>
                  <a:lnTo>
                    <a:pt x="9105" y="238836"/>
                  </a:lnTo>
                  <a:lnTo>
                    <a:pt x="965" y="289661"/>
                  </a:lnTo>
                  <a:lnTo>
                    <a:pt x="0" y="309384"/>
                  </a:lnTo>
                  <a:lnTo>
                    <a:pt x="0" y="315468"/>
                  </a:lnTo>
                  <a:lnTo>
                    <a:pt x="0" y="569125"/>
                  </a:lnTo>
                  <a:lnTo>
                    <a:pt x="615124" y="569125"/>
                  </a:lnTo>
                  <a:lnTo>
                    <a:pt x="615124" y="309384"/>
                  </a:lnTo>
                  <a:lnTo>
                    <a:pt x="610158" y="258356"/>
                  </a:lnTo>
                  <a:lnTo>
                    <a:pt x="592607" y="196684"/>
                  </a:lnTo>
                  <a:lnTo>
                    <a:pt x="575627" y="160616"/>
                  </a:lnTo>
                  <a:lnTo>
                    <a:pt x="547230" y="117729"/>
                  </a:lnTo>
                  <a:lnTo>
                    <a:pt x="519112" y="86360"/>
                  </a:lnTo>
                  <a:lnTo>
                    <a:pt x="486968" y="59232"/>
                  </a:lnTo>
                  <a:lnTo>
                    <a:pt x="434378" y="27990"/>
                  </a:lnTo>
                  <a:lnTo>
                    <a:pt x="396963" y="13500"/>
                  </a:lnTo>
                  <a:lnTo>
                    <a:pt x="359037" y="4438"/>
                  </a:lnTo>
                  <a:lnTo>
                    <a:pt x="339788" y="1574"/>
                  </a:lnTo>
                  <a:lnTo>
                    <a:pt x="318808" y="127"/>
                  </a:lnTo>
                  <a:close/>
                </a:path>
              </a:pathLst>
            </a:custGeom>
            <a:solidFill>
              <a:srgbClr val="DFE1E1"/>
            </a:solidFill>
          </p:spPr>
          <p:txBody>
            <a:bodyPr wrap="square" lIns="0" tIns="0" rIns="0" bIns="0" rtlCol="0"/>
            <a:lstStyle/>
            <a:p>
              <a:endParaRPr/>
            </a:p>
          </p:txBody>
        </p:sp>
        <p:sp>
          <p:nvSpPr>
            <p:cNvPr id="81" name="object 81"/>
            <p:cNvSpPr/>
            <p:nvPr/>
          </p:nvSpPr>
          <p:spPr>
            <a:xfrm>
              <a:off x="4582019" y="6269452"/>
              <a:ext cx="347980" cy="569595"/>
            </a:xfrm>
            <a:custGeom>
              <a:avLst/>
              <a:gdLst/>
              <a:ahLst/>
              <a:cxnLst/>
              <a:rect l="l" t="t" r="r" b="b"/>
              <a:pathLst>
                <a:path w="347979" h="569595">
                  <a:moveTo>
                    <a:pt x="34264" y="0"/>
                  </a:moveTo>
                  <a:lnTo>
                    <a:pt x="15290" y="927"/>
                  </a:lnTo>
                  <a:lnTo>
                    <a:pt x="7620" y="1663"/>
                  </a:lnTo>
                  <a:lnTo>
                    <a:pt x="0" y="2717"/>
                  </a:lnTo>
                  <a:lnTo>
                    <a:pt x="11640" y="4440"/>
                  </a:lnTo>
                  <a:lnTo>
                    <a:pt x="23133" y="6630"/>
                  </a:lnTo>
                  <a:lnTo>
                    <a:pt x="64831" y="18764"/>
                  </a:lnTo>
                  <a:lnTo>
                    <a:pt x="109245" y="39319"/>
                  </a:lnTo>
                  <a:lnTo>
                    <a:pt x="144475" y="62941"/>
                  </a:lnTo>
                  <a:lnTo>
                    <a:pt x="183121" y="98082"/>
                  </a:lnTo>
                  <a:lnTo>
                    <a:pt x="211378" y="133349"/>
                  </a:lnTo>
                  <a:lnTo>
                    <a:pt x="238163" y="180200"/>
                  </a:lnTo>
                  <a:lnTo>
                    <a:pt x="255384" y="226656"/>
                  </a:lnTo>
                  <a:lnTo>
                    <a:pt x="265137" y="273977"/>
                  </a:lnTo>
                  <a:lnTo>
                    <a:pt x="267716" y="309384"/>
                  </a:lnTo>
                  <a:lnTo>
                    <a:pt x="267716" y="569137"/>
                  </a:lnTo>
                  <a:lnTo>
                    <a:pt x="347395" y="569137"/>
                  </a:lnTo>
                  <a:lnTo>
                    <a:pt x="347395" y="309384"/>
                  </a:lnTo>
                  <a:lnTo>
                    <a:pt x="346430" y="289661"/>
                  </a:lnTo>
                  <a:lnTo>
                    <a:pt x="338302" y="238836"/>
                  </a:lnTo>
                  <a:lnTo>
                    <a:pt x="317842" y="180200"/>
                  </a:lnTo>
                  <a:lnTo>
                    <a:pt x="298754" y="144995"/>
                  </a:lnTo>
                  <a:lnTo>
                    <a:pt x="266420" y="102057"/>
                  </a:lnTo>
                  <a:lnTo>
                    <a:pt x="234035" y="70751"/>
                  </a:lnTo>
                  <a:lnTo>
                    <a:pt x="188925" y="39319"/>
                  </a:lnTo>
                  <a:lnTo>
                    <a:pt x="152015" y="21645"/>
                  </a:lnTo>
                  <a:lnTo>
                    <a:pt x="108689" y="7942"/>
                  </a:lnTo>
                  <a:lnTo>
                    <a:pt x="51104" y="139"/>
                  </a:lnTo>
                  <a:lnTo>
                    <a:pt x="34264" y="0"/>
                  </a:lnTo>
                  <a:close/>
                </a:path>
              </a:pathLst>
            </a:custGeom>
            <a:solidFill>
              <a:srgbClr val="18171C">
                <a:alpha val="5000"/>
              </a:srgbClr>
            </a:solidFill>
          </p:spPr>
          <p:txBody>
            <a:bodyPr wrap="square" lIns="0" tIns="0" rIns="0" bIns="0" rtlCol="0"/>
            <a:lstStyle/>
            <a:p>
              <a:endParaRPr/>
            </a:p>
          </p:txBody>
        </p:sp>
        <p:sp>
          <p:nvSpPr>
            <p:cNvPr id="82" name="object 82"/>
            <p:cNvSpPr/>
            <p:nvPr/>
          </p:nvSpPr>
          <p:spPr>
            <a:xfrm>
              <a:off x="4314164" y="6281851"/>
              <a:ext cx="614680" cy="285115"/>
            </a:xfrm>
            <a:custGeom>
              <a:avLst/>
              <a:gdLst/>
              <a:ahLst/>
              <a:cxnLst/>
              <a:rect l="l" t="t" r="r" b="b"/>
              <a:pathLst>
                <a:path w="614679" h="285115">
                  <a:moveTo>
                    <a:pt x="404126" y="3708"/>
                  </a:moveTo>
                  <a:lnTo>
                    <a:pt x="392582" y="0"/>
                  </a:lnTo>
                  <a:lnTo>
                    <a:pt x="221526" y="0"/>
                  </a:lnTo>
                  <a:lnTo>
                    <a:pt x="209969" y="3708"/>
                  </a:lnTo>
                  <a:lnTo>
                    <a:pt x="404126" y="3708"/>
                  </a:lnTo>
                  <a:close/>
                </a:path>
                <a:path w="614679" h="285115">
                  <a:moveTo>
                    <a:pt x="441553" y="19329"/>
                  </a:moveTo>
                  <a:lnTo>
                    <a:pt x="433870" y="15621"/>
                  </a:lnTo>
                  <a:lnTo>
                    <a:pt x="180225" y="15621"/>
                  </a:lnTo>
                  <a:lnTo>
                    <a:pt x="172542" y="19329"/>
                  </a:lnTo>
                  <a:lnTo>
                    <a:pt x="441553" y="19329"/>
                  </a:lnTo>
                  <a:close/>
                </a:path>
                <a:path w="614679" h="285115">
                  <a:moveTo>
                    <a:pt x="469112" y="34937"/>
                  </a:moveTo>
                  <a:lnTo>
                    <a:pt x="463105" y="31229"/>
                  </a:lnTo>
                  <a:lnTo>
                    <a:pt x="150990" y="31229"/>
                  </a:lnTo>
                  <a:lnTo>
                    <a:pt x="144995" y="34937"/>
                  </a:lnTo>
                  <a:lnTo>
                    <a:pt x="469112" y="34937"/>
                  </a:lnTo>
                  <a:close/>
                </a:path>
                <a:path w="614679" h="285115">
                  <a:moveTo>
                    <a:pt x="491363" y="50558"/>
                  </a:moveTo>
                  <a:lnTo>
                    <a:pt x="486460" y="46850"/>
                  </a:lnTo>
                  <a:lnTo>
                    <a:pt x="127635" y="46850"/>
                  </a:lnTo>
                  <a:lnTo>
                    <a:pt x="122732" y="50558"/>
                  </a:lnTo>
                  <a:lnTo>
                    <a:pt x="491363" y="50558"/>
                  </a:lnTo>
                  <a:close/>
                </a:path>
                <a:path w="614679" h="285115">
                  <a:moveTo>
                    <a:pt x="510197" y="66243"/>
                  </a:moveTo>
                  <a:lnTo>
                    <a:pt x="505942" y="62471"/>
                  </a:lnTo>
                  <a:lnTo>
                    <a:pt x="108140" y="62471"/>
                  </a:lnTo>
                  <a:lnTo>
                    <a:pt x="103886" y="66243"/>
                  </a:lnTo>
                  <a:lnTo>
                    <a:pt x="510197" y="66243"/>
                  </a:lnTo>
                  <a:close/>
                </a:path>
                <a:path w="614679" h="285115">
                  <a:moveTo>
                    <a:pt x="526262" y="81864"/>
                  </a:moveTo>
                  <a:lnTo>
                    <a:pt x="522592" y="78092"/>
                  </a:lnTo>
                  <a:lnTo>
                    <a:pt x="91503" y="78092"/>
                  </a:lnTo>
                  <a:lnTo>
                    <a:pt x="87820" y="81864"/>
                  </a:lnTo>
                  <a:lnTo>
                    <a:pt x="526262" y="81864"/>
                  </a:lnTo>
                  <a:close/>
                </a:path>
                <a:path w="614679" h="285115">
                  <a:moveTo>
                    <a:pt x="540346" y="97485"/>
                  </a:moveTo>
                  <a:lnTo>
                    <a:pt x="537108" y="93713"/>
                  </a:lnTo>
                  <a:lnTo>
                    <a:pt x="76987" y="93713"/>
                  </a:lnTo>
                  <a:lnTo>
                    <a:pt x="73761" y="97485"/>
                  </a:lnTo>
                  <a:lnTo>
                    <a:pt x="540346" y="97485"/>
                  </a:lnTo>
                  <a:close/>
                </a:path>
                <a:path w="614679" h="285115">
                  <a:moveTo>
                    <a:pt x="552589" y="113093"/>
                  </a:moveTo>
                  <a:lnTo>
                    <a:pt x="549821" y="109385"/>
                  </a:lnTo>
                  <a:lnTo>
                    <a:pt x="64325" y="109385"/>
                  </a:lnTo>
                  <a:lnTo>
                    <a:pt x="61556" y="113093"/>
                  </a:lnTo>
                  <a:lnTo>
                    <a:pt x="552589" y="113093"/>
                  </a:lnTo>
                  <a:close/>
                </a:path>
                <a:path w="614679" h="285115">
                  <a:moveTo>
                    <a:pt x="563384" y="128714"/>
                  </a:moveTo>
                  <a:lnTo>
                    <a:pt x="560933" y="125006"/>
                  </a:lnTo>
                  <a:lnTo>
                    <a:pt x="53174" y="125006"/>
                  </a:lnTo>
                  <a:lnTo>
                    <a:pt x="50723" y="128714"/>
                  </a:lnTo>
                  <a:lnTo>
                    <a:pt x="563384" y="128714"/>
                  </a:lnTo>
                  <a:close/>
                </a:path>
                <a:path w="614679" h="285115">
                  <a:moveTo>
                    <a:pt x="572935" y="144335"/>
                  </a:moveTo>
                  <a:lnTo>
                    <a:pt x="570725" y="140627"/>
                  </a:lnTo>
                  <a:lnTo>
                    <a:pt x="43370" y="140627"/>
                  </a:lnTo>
                  <a:lnTo>
                    <a:pt x="41236" y="144335"/>
                  </a:lnTo>
                  <a:lnTo>
                    <a:pt x="572935" y="144335"/>
                  </a:lnTo>
                  <a:close/>
                </a:path>
                <a:path w="614679" h="285115">
                  <a:moveTo>
                    <a:pt x="581253" y="160020"/>
                  </a:moveTo>
                  <a:lnTo>
                    <a:pt x="579310" y="156248"/>
                  </a:lnTo>
                  <a:lnTo>
                    <a:pt x="34785" y="156248"/>
                  </a:lnTo>
                  <a:lnTo>
                    <a:pt x="32918" y="160020"/>
                  </a:lnTo>
                  <a:lnTo>
                    <a:pt x="581253" y="160020"/>
                  </a:lnTo>
                  <a:close/>
                </a:path>
                <a:path w="614679" h="285115">
                  <a:moveTo>
                    <a:pt x="588467" y="175641"/>
                  </a:moveTo>
                  <a:lnTo>
                    <a:pt x="586790" y="171869"/>
                  </a:lnTo>
                  <a:lnTo>
                    <a:pt x="27292" y="171869"/>
                  </a:lnTo>
                  <a:lnTo>
                    <a:pt x="25615" y="175641"/>
                  </a:lnTo>
                  <a:lnTo>
                    <a:pt x="588467" y="175641"/>
                  </a:lnTo>
                  <a:close/>
                </a:path>
                <a:path w="614679" h="285115">
                  <a:moveTo>
                    <a:pt x="594728" y="191262"/>
                  </a:moveTo>
                  <a:lnTo>
                    <a:pt x="593318" y="187490"/>
                  </a:lnTo>
                  <a:lnTo>
                    <a:pt x="20853" y="187490"/>
                  </a:lnTo>
                  <a:lnTo>
                    <a:pt x="19431" y="191262"/>
                  </a:lnTo>
                  <a:lnTo>
                    <a:pt x="594728" y="191262"/>
                  </a:lnTo>
                  <a:close/>
                </a:path>
                <a:path w="614679" h="285115">
                  <a:moveTo>
                    <a:pt x="600024" y="206870"/>
                  </a:moveTo>
                  <a:lnTo>
                    <a:pt x="598855" y="203161"/>
                  </a:lnTo>
                  <a:lnTo>
                    <a:pt x="15303" y="203161"/>
                  </a:lnTo>
                  <a:lnTo>
                    <a:pt x="14071" y="206870"/>
                  </a:lnTo>
                  <a:lnTo>
                    <a:pt x="600024" y="206870"/>
                  </a:lnTo>
                  <a:close/>
                </a:path>
                <a:path w="614679" h="285115">
                  <a:moveTo>
                    <a:pt x="604469" y="222491"/>
                  </a:moveTo>
                  <a:lnTo>
                    <a:pt x="603504" y="218782"/>
                  </a:lnTo>
                  <a:lnTo>
                    <a:pt x="10579" y="218782"/>
                  </a:lnTo>
                  <a:lnTo>
                    <a:pt x="9613" y="222491"/>
                  </a:lnTo>
                  <a:lnTo>
                    <a:pt x="604469" y="222491"/>
                  </a:lnTo>
                  <a:close/>
                </a:path>
                <a:path w="614679" h="285115">
                  <a:moveTo>
                    <a:pt x="608025" y="238112"/>
                  </a:moveTo>
                  <a:lnTo>
                    <a:pt x="607263" y="234403"/>
                  </a:lnTo>
                  <a:lnTo>
                    <a:pt x="6845" y="234403"/>
                  </a:lnTo>
                  <a:lnTo>
                    <a:pt x="6070" y="238112"/>
                  </a:lnTo>
                  <a:lnTo>
                    <a:pt x="608025" y="238112"/>
                  </a:lnTo>
                  <a:close/>
                </a:path>
                <a:path w="614679" h="285115">
                  <a:moveTo>
                    <a:pt x="610857" y="253733"/>
                  </a:moveTo>
                  <a:lnTo>
                    <a:pt x="610285" y="250024"/>
                  </a:lnTo>
                  <a:lnTo>
                    <a:pt x="3873" y="250024"/>
                  </a:lnTo>
                  <a:lnTo>
                    <a:pt x="3225" y="253733"/>
                  </a:lnTo>
                  <a:lnTo>
                    <a:pt x="610857" y="253733"/>
                  </a:lnTo>
                  <a:close/>
                </a:path>
                <a:path w="614679" h="285115">
                  <a:moveTo>
                    <a:pt x="612863" y="269417"/>
                  </a:moveTo>
                  <a:lnTo>
                    <a:pt x="612419" y="265645"/>
                  </a:lnTo>
                  <a:lnTo>
                    <a:pt x="1676" y="265645"/>
                  </a:lnTo>
                  <a:lnTo>
                    <a:pt x="1231" y="269417"/>
                  </a:lnTo>
                  <a:lnTo>
                    <a:pt x="612863" y="269417"/>
                  </a:lnTo>
                  <a:close/>
                </a:path>
                <a:path w="614679" h="285115">
                  <a:moveTo>
                    <a:pt x="614083" y="285026"/>
                  </a:moveTo>
                  <a:lnTo>
                    <a:pt x="613829" y="281254"/>
                  </a:lnTo>
                  <a:lnTo>
                    <a:pt x="254" y="281254"/>
                  </a:lnTo>
                  <a:lnTo>
                    <a:pt x="0" y="285026"/>
                  </a:lnTo>
                  <a:lnTo>
                    <a:pt x="614083" y="285026"/>
                  </a:lnTo>
                  <a:close/>
                </a:path>
              </a:pathLst>
            </a:custGeom>
            <a:solidFill>
              <a:srgbClr val="C6CACB"/>
            </a:solidFill>
          </p:spPr>
          <p:txBody>
            <a:bodyPr wrap="square" lIns="0" tIns="0" rIns="0" bIns="0" rtlCol="0"/>
            <a:lstStyle/>
            <a:p>
              <a:endParaRPr/>
            </a:p>
          </p:txBody>
        </p:sp>
        <p:sp>
          <p:nvSpPr>
            <p:cNvPr id="83" name="object 83"/>
            <p:cNvSpPr/>
            <p:nvPr/>
          </p:nvSpPr>
          <p:spPr>
            <a:xfrm>
              <a:off x="4054779" y="6405765"/>
              <a:ext cx="7620" cy="252729"/>
            </a:xfrm>
            <a:custGeom>
              <a:avLst/>
              <a:gdLst/>
              <a:ahLst/>
              <a:cxnLst/>
              <a:rect l="l" t="t" r="r" b="b"/>
              <a:pathLst>
                <a:path w="7620" h="252729">
                  <a:moveTo>
                    <a:pt x="7569" y="0"/>
                  </a:moveTo>
                  <a:lnTo>
                    <a:pt x="6057" y="0"/>
                  </a:lnTo>
                  <a:lnTo>
                    <a:pt x="6057" y="1117"/>
                  </a:lnTo>
                  <a:lnTo>
                    <a:pt x="6057" y="4927"/>
                  </a:lnTo>
                  <a:lnTo>
                    <a:pt x="6057" y="246634"/>
                  </a:lnTo>
                  <a:lnTo>
                    <a:pt x="1511" y="246634"/>
                  </a:lnTo>
                  <a:lnTo>
                    <a:pt x="1511" y="242824"/>
                  </a:lnTo>
                  <a:lnTo>
                    <a:pt x="6057" y="242824"/>
                  </a:lnTo>
                  <a:lnTo>
                    <a:pt x="6057" y="241706"/>
                  </a:lnTo>
                  <a:lnTo>
                    <a:pt x="1511" y="241706"/>
                  </a:lnTo>
                  <a:lnTo>
                    <a:pt x="1511" y="237896"/>
                  </a:lnTo>
                  <a:lnTo>
                    <a:pt x="6057" y="237896"/>
                  </a:lnTo>
                  <a:lnTo>
                    <a:pt x="6057" y="236778"/>
                  </a:lnTo>
                  <a:lnTo>
                    <a:pt x="1511" y="236778"/>
                  </a:lnTo>
                  <a:lnTo>
                    <a:pt x="1511" y="232956"/>
                  </a:lnTo>
                  <a:lnTo>
                    <a:pt x="6057" y="232956"/>
                  </a:lnTo>
                  <a:lnTo>
                    <a:pt x="6057" y="231851"/>
                  </a:lnTo>
                  <a:lnTo>
                    <a:pt x="1511" y="231851"/>
                  </a:lnTo>
                  <a:lnTo>
                    <a:pt x="1511" y="228028"/>
                  </a:lnTo>
                  <a:lnTo>
                    <a:pt x="6057" y="228028"/>
                  </a:lnTo>
                  <a:lnTo>
                    <a:pt x="6057" y="226910"/>
                  </a:lnTo>
                  <a:lnTo>
                    <a:pt x="1511" y="226910"/>
                  </a:lnTo>
                  <a:lnTo>
                    <a:pt x="1511" y="223088"/>
                  </a:lnTo>
                  <a:lnTo>
                    <a:pt x="6057" y="223088"/>
                  </a:lnTo>
                  <a:lnTo>
                    <a:pt x="6057" y="221970"/>
                  </a:lnTo>
                  <a:lnTo>
                    <a:pt x="1511" y="221970"/>
                  </a:lnTo>
                  <a:lnTo>
                    <a:pt x="1511" y="218160"/>
                  </a:lnTo>
                  <a:lnTo>
                    <a:pt x="6057" y="218160"/>
                  </a:lnTo>
                  <a:lnTo>
                    <a:pt x="6057" y="217043"/>
                  </a:lnTo>
                  <a:lnTo>
                    <a:pt x="1511" y="217043"/>
                  </a:lnTo>
                  <a:lnTo>
                    <a:pt x="1511" y="213220"/>
                  </a:lnTo>
                  <a:lnTo>
                    <a:pt x="6057" y="213220"/>
                  </a:lnTo>
                  <a:lnTo>
                    <a:pt x="6057" y="212115"/>
                  </a:lnTo>
                  <a:lnTo>
                    <a:pt x="1511" y="212115"/>
                  </a:lnTo>
                  <a:lnTo>
                    <a:pt x="1511" y="208292"/>
                  </a:lnTo>
                  <a:lnTo>
                    <a:pt x="6057" y="208292"/>
                  </a:lnTo>
                  <a:lnTo>
                    <a:pt x="6057" y="207175"/>
                  </a:lnTo>
                  <a:lnTo>
                    <a:pt x="1511" y="207175"/>
                  </a:lnTo>
                  <a:lnTo>
                    <a:pt x="1511" y="203365"/>
                  </a:lnTo>
                  <a:lnTo>
                    <a:pt x="6057" y="203365"/>
                  </a:lnTo>
                  <a:lnTo>
                    <a:pt x="6057" y="202247"/>
                  </a:lnTo>
                  <a:lnTo>
                    <a:pt x="1511" y="202247"/>
                  </a:lnTo>
                  <a:lnTo>
                    <a:pt x="1511" y="198424"/>
                  </a:lnTo>
                  <a:lnTo>
                    <a:pt x="6057" y="198424"/>
                  </a:lnTo>
                  <a:lnTo>
                    <a:pt x="6057" y="197307"/>
                  </a:lnTo>
                  <a:lnTo>
                    <a:pt x="1511" y="197307"/>
                  </a:lnTo>
                  <a:lnTo>
                    <a:pt x="1511" y="193497"/>
                  </a:lnTo>
                  <a:lnTo>
                    <a:pt x="6057" y="193497"/>
                  </a:lnTo>
                  <a:lnTo>
                    <a:pt x="6057" y="192392"/>
                  </a:lnTo>
                  <a:lnTo>
                    <a:pt x="1511" y="192392"/>
                  </a:lnTo>
                  <a:lnTo>
                    <a:pt x="1511" y="188569"/>
                  </a:lnTo>
                  <a:lnTo>
                    <a:pt x="6057" y="188569"/>
                  </a:lnTo>
                  <a:lnTo>
                    <a:pt x="6057" y="187452"/>
                  </a:lnTo>
                  <a:lnTo>
                    <a:pt x="1511" y="187452"/>
                  </a:lnTo>
                  <a:lnTo>
                    <a:pt x="1511" y="183629"/>
                  </a:lnTo>
                  <a:lnTo>
                    <a:pt x="6057" y="183629"/>
                  </a:lnTo>
                  <a:lnTo>
                    <a:pt x="6057" y="182511"/>
                  </a:lnTo>
                  <a:lnTo>
                    <a:pt x="1511" y="182511"/>
                  </a:lnTo>
                  <a:lnTo>
                    <a:pt x="1511" y="178689"/>
                  </a:lnTo>
                  <a:lnTo>
                    <a:pt x="6057" y="178689"/>
                  </a:lnTo>
                  <a:lnTo>
                    <a:pt x="6057" y="177571"/>
                  </a:lnTo>
                  <a:lnTo>
                    <a:pt x="1511" y="177571"/>
                  </a:lnTo>
                  <a:lnTo>
                    <a:pt x="1511" y="173774"/>
                  </a:lnTo>
                  <a:lnTo>
                    <a:pt x="6057" y="173774"/>
                  </a:lnTo>
                  <a:lnTo>
                    <a:pt x="6057" y="172656"/>
                  </a:lnTo>
                  <a:lnTo>
                    <a:pt x="1511" y="172656"/>
                  </a:lnTo>
                  <a:lnTo>
                    <a:pt x="1511" y="168833"/>
                  </a:lnTo>
                  <a:lnTo>
                    <a:pt x="6057" y="168833"/>
                  </a:lnTo>
                  <a:lnTo>
                    <a:pt x="6057" y="167716"/>
                  </a:lnTo>
                  <a:lnTo>
                    <a:pt x="1511" y="167716"/>
                  </a:lnTo>
                  <a:lnTo>
                    <a:pt x="1511" y="163893"/>
                  </a:lnTo>
                  <a:lnTo>
                    <a:pt x="6057" y="163893"/>
                  </a:lnTo>
                  <a:lnTo>
                    <a:pt x="6057" y="162775"/>
                  </a:lnTo>
                  <a:lnTo>
                    <a:pt x="1511" y="162775"/>
                  </a:lnTo>
                  <a:lnTo>
                    <a:pt x="1511" y="158965"/>
                  </a:lnTo>
                  <a:lnTo>
                    <a:pt x="6057" y="158965"/>
                  </a:lnTo>
                  <a:lnTo>
                    <a:pt x="6057" y="157848"/>
                  </a:lnTo>
                  <a:lnTo>
                    <a:pt x="1511" y="157848"/>
                  </a:lnTo>
                  <a:lnTo>
                    <a:pt x="1511" y="154038"/>
                  </a:lnTo>
                  <a:lnTo>
                    <a:pt x="6057" y="154038"/>
                  </a:lnTo>
                  <a:lnTo>
                    <a:pt x="6057" y="152933"/>
                  </a:lnTo>
                  <a:lnTo>
                    <a:pt x="1511" y="152933"/>
                  </a:lnTo>
                  <a:lnTo>
                    <a:pt x="1511" y="149098"/>
                  </a:lnTo>
                  <a:lnTo>
                    <a:pt x="6057" y="149098"/>
                  </a:lnTo>
                  <a:lnTo>
                    <a:pt x="6057" y="147980"/>
                  </a:lnTo>
                  <a:lnTo>
                    <a:pt x="1511" y="147980"/>
                  </a:lnTo>
                  <a:lnTo>
                    <a:pt x="1511" y="144170"/>
                  </a:lnTo>
                  <a:lnTo>
                    <a:pt x="6057" y="144170"/>
                  </a:lnTo>
                  <a:lnTo>
                    <a:pt x="6057" y="143052"/>
                  </a:lnTo>
                  <a:lnTo>
                    <a:pt x="1511" y="143052"/>
                  </a:lnTo>
                  <a:lnTo>
                    <a:pt x="1511" y="139242"/>
                  </a:lnTo>
                  <a:lnTo>
                    <a:pt x="6057" y="139242"/>
                  </a:lnTo>
                  <a:lnTo>
                    <a:pt x="6057" y="138125"/>
                  </a:lnTo>
                  <a:lnTo>
                    <a:pt x="1511" y="138125"/>
                  </a:lnTo>
                  <a:lnTo>
                    <a:pt x="1511" y="134302"/>
                  </a:lnTo>
                  <a:lnTo>
                    <a:pt x="6057" y="134302"/>
                  </a:lnTo>
                  <a:lnTo>
                    <a:pt x="6057" y="133197"/>
                  </a:lnTo>
                  <a:lnTo>
                    <a:pt x="1511" y="133197"/>
                  </a:lnTo>
                  <a:lnTo>
                    <a:pt x="1511" y="129362"/>
                  </a:lnTo>
                  <a:lnTo>
                    <a:pt x="6057" y="129362"/>
                  </a:lnTo>
                  <a:lnTo>
                    <a:pt x="6057" y="128244"/>
                  </a:lnTo>
                  <a:lnTo>
                    <a:pt x="1511" y="128244"/>
                  </a:lnTo>
                  <a:lnTo>
                    <a:pt x="1511" y="124447"/>
                  </a:lnTo>
                  <a:lnTo>
                    <a:pt x="6057" y="124447"/>
                  </a:lnTo>
                  <a:lnTo>
                    <a:pt x="6057" y="123329"/>
                  </a:lnTo>
                  <a:lnTo>
                    <a:pt x="1511" y="123329"/>
                  </a:lnTo>
                  <a:lnTo>
                    <a:pt x="1511" y="119507"/>
                  </a:lnTo>
                  <a:lnTo>
                    <a:pt x="6057" y="119507"/>
                  </a:lnTo>
                  <a:lnTo>
                    <a:pt x="6057" y="118389"/>
                  </a:lnTo>
                  <a:lnTo>
                    <a:pt x="1511" y="118389"/>
                  </a:lnTo>
                  <a:lnTo>
                    <a:pt x="1511" y="114566"/>
                  </a:lnTo>
                  <a:lnTo>
                    <a:pt x="6057" y="114566"/>
                  </a:lnTo>
                  <a:lnTo>
                    <a:pt x="6057" y="113449"/>
                  </a:lnTo>
                  <a:lnTo>
                    <a:pt x="1511" y="113449"/>
                  </a:lnTo>
                  <a:lnTo>
                    <a:pt x="1511" y="109639"/>
                  </a:lnTo>
                  <a:lnTo>
                    <a:pt x="6057" y="109639"/>
                  </a:lnTo>
                  <a:lnTo>
                    <a:pt x="6057" y="108521"/>
                  </a:lnTo>
                  <a:lnTo>
                    <a:pt x="1511" y="108521"/>
                  </a:lnTo>
                  <a:lnTo>
                    <a:pt x="1511" y="104711"/>
                  </a:lnTo>
                  <a:lnTo>
                    <a:pt x="6057" y="104711"/>
                  </a:lnTo>
                  <a:lnTo>
                    <a:pt x="6057" y="103593"/>
                  </a:lnTo>
                  <a:lnTo>
                    <a:pt x="1511" y="103593"/>
                  </a:lnTo>
                  <a:lnTo>
                    <a:pt x="1511" y="99771"/>
                  </a:lnTo>
                  <a:lnTo>
                    <a:pt x="6057" y="99771"/>
                  </a:lnTo>
                  <a:lnTo>
                    <a:pt x="6057" y="98653"/>
                  </a:lnTo>
                  <a:lnTo>
                    <a:pt x="1511" y="98653"/>
                  </a:lnTo>
                  <a:lnTo>
                    <a:pt x="1511" y="94843"/>
                  </a:lnTo>
                  <a:lnTo>
                    <a:pt x="6057" y="94843"/>
                  </a:lnTo>
                  <a:lnTo>
                    <a:pt x="6057" y="93738"/>
                  </a:lnTo>
                  <a:lnTo>
                    <a:pt x="1511" y="93738"/>
                  </a:lnTo>
                  <a:lnTo>
                    <a:pt x="1511" y="89916"/>
                  </a:lnTo>
                  <a:lnTo>
                    <a:pt x="6057" y="89916"/>
                  </a:lnTo>
                  <a:lnTo>
                    <a:pt x="6057" y="88798"/>
                  </a:lnTo>
                  <a:lnTo>
                    <a:pt x="1511" y="88798"/>
                  </a:lnTo>
                  <a:lnTo>
                    <a:pt x="1511" y="84975"/>
                  </a:lnTo>
                  <a:lnTo>
                    <a:pt x="6057" y="84975"/>
                  </a:lnTo>
                  <a:lnTo>
                    <a:pt x="6057" y="83858"/>
                  </a:lnTo>
                  <a:lnTo>
                    <a:pt x="1511" y="83858"/>
                  </a:lnTo>
                  <a:lnTo>
                    <a:pt x="1511" y="80048"/>
                  </a:lnTo>
                  <a:lnTo>
                    <a:pt x="6057" y="80048"/>
                  </a:lnTo>
                  <a:lnTo>
                    <a:pt x="6057" y="78930"/>
                  </a:lnTo>
                  <a:lnTo>
                    <a:pt x="1511" y="78930"/>
                  </a:lnTo>
                  <a:lnTo>
                    <a:pt x="1511" y="75107"/>
                  </a:lnTo>
                  <a:lnTo>
                    <a:pt x="6057" y="75107"/>
                  </a:lnTo>
                  <a:lnTo>
                    <a:pt x="6057" y="74002"/>
                  </a:lnTo>
                  <a:lnTo>
                    <a:pt x="1511" y="74002"/>
                  </a:lnTo>
                  <a:lnTo>
                    <a:pt x="1511" y="70180"/>
                  </a:lnTo>
                  <a:lnTo>
                    <a:pt x="6057" y="70180"/>
                  </a:lnTo>
                  <a:lnTo>
                    <a:pt x="6057" y="69062"/>
                  </a:lnTo>
                  <a:lnTo>
                    <a:pt x="1511" y="69062"/>
                  </a:lnTo>
                  <a:lnTo>
                    <a:pt x="1511" y="65239"/>
                  </a:lnTo>
                  <a:lnTo>
                    <a:pt x="6057" y="65239"/>
                  </a:lnTo>
                  <a:lnTo>
                    <a:pt x="6057" y="64122"/>
                  </a:lnTo>
                  <a:lnTo>
                    <a:pt x="1511" y="64122"/>
                  </a:lnTo>
                  <a:lnTo>
                    <a:pt x="1511" y="60312"/>
                  </a:lnTo>
                  <a:lnTo>
                    <a:pt x="6057" y="60312"/>
                  </a:lnTo>
                  <a:lnTo>
                    <a:pt x="6057" y="59194"/>
                  </a:lnTo>
                  <a:lnTo>
                    <a:pt x="1511" y="59194"/>
                  </a:lnTo>
                  <a:lnTo>
                    <a:pt x="1511" y="55384"/>
                  </a:lnTo>
                  <a:lnTo>
                    <a:pt x="6057" y="55384"/>
                  </a:lnTo>
                  <a:lnTo>
                    <a:pt x="6057" y="54279"/>
                  </a:lnTo>
                  <a:lnTo>
                    <a:pt x="1511" y="54279"/>
                  </a:lnTo>
                  <a:lnTo>
                    <a:pt x="1511" y="50444"/>
                  </a:lnTo>
                  <a:lnTo>
                    <a:pt x="6057" y="50444"/>
                  </a:lnTo>
                  <a:lnTo>
                    <a:pt x="6057" y="49326"/>
                  </a:lnTo>
                  <a:lnTo>
                    <a:pt x="1511" y="49326"/>
                  </a:lnTo>
                  <a:lnTo>
                    <a:pt x="1511" y="45516"/>
                  </a:lnTo>
                  <a:lnTo>
                    <a:pt x="6057" y="45516"/>
                  </a:lnTo>
                  <a:lnTo>
                    <a:pt x="6057" y="44399"/>
                  </a:lnTo>
                  <a:lnTo>
                    <a:pt x="1511" y="44399"/>
                  </a:lnTo>
                  <a:lnTo>
                    <a:pt x="1511" y="40576"/>
                  </a:lnTo>
                  <a:lnTo>
                    <a:pt x="6057" y="40576"/>
                  </a:lnTo>
                  <a:lnTo>
                    <a:pt x="6057" y="39458"/>
                  </a:lnTo>
                  <a:lnTo>
                    <a:pt x="1511" y="39458"/>
                  </a:lnTo>
                  <a:lnTo>
                    <a:pt x="1511" y="35648"/>
                  </a:lnTo>
                  <a:lnTo>
                    <a:pt x="6057" y="35648"/>
                  </a:lnTo>
                  <a:lnTo>
                    <a:pt x="6057" y="34544"/>
                  </a:lnTo>
                  <a:lnTo>
                    <a:pt x="1511" y="34544"/>
                  </a:lnTo>
                  <a:lnTo>
                    <a:pt x="1511" y="30721"/>
                  </a:lnTo>
                  <a:lnTo>
                    <a:pt x="6057" y="30721"/>
                  </a:lnTo>
                  <a:lnTo>
                    <a:pt x="6057" y="29603"/>
                  </a:lnTo>
                  <a:lnTo>
                    <a:pt x="1511" y="29603"/>
                  </a:lnTo>
                  <a:lnTo>
                    <a:pt x="1511" y="25781"/>
                  </a:lnTo>
                  <a:lnTo>
                    <a:pt x="6057" y="25781"/>
                  </a:lnTo>
                  <a:lnTo>
                    <a:pt x="6057" y="24663"/>
                  </a:lnTo>
                  <a:lnTo>
                    <a:pt x="1511" y="24663"/>
                  </a:lnTo>
                  <a:lnTo>
                    <a:pt x="1511" y="20840"/>
                  </a:lnTo>
                  <a:lnTo>
                    <a:pt x="6057" y="20840"/>
                  </a:lnTo>
                  <a:lnTo>
                    <a:pt x="6057" y="19735"/>
                  </a:lnTo>
                  <a:lnTo>
                    <a:pt x="1511" y="19735"/>
                  </a:lnTo>
                  <a:lnTo>
                    <a:pt x="1511" y="15925"/>
                  </a:lnTo>
                  <a:lnTo>
                    <a:pt x="6057" y="15925"/>
                  </a:lnTo>
                  <a:lnTo>
                    <a:pt x="6057" y="14820"/>
                  </a:lnTo>
                  <a:lnTo>
                    <a:pt x="1511" y="14820"/>
                  </a:lnTo>
                  <a:lnTo>
                    <a:pt x="1511" y="10985"/>
                  </a:lnTo>
                  <a:lnTo>
                    <a:pt x="6057" y="10985"/>
                  </a:lnTo>
                  <a:lnTo>
                    <a:pt x="6057" y="9867"/>
                  </a:lnTo>
                  <a:lnTo>
                    <a:pt x="1511" y="9867"/>
                  </a:lnTo>
                  <a:lnTo>
                    <a:pt x="1511" y="6045"/>
                  </a:lnTo>
                  <a:lnTo>
                    <a:pt x="6057" y="6045"/>
                  </a:lnTo>
                  <a:lnTo>
                    <a:pt x="6057" y="4927"/>
                  </a:lnTo>
                  <a:lnTo>
                    <a:pt x="1511" y="4927"/>
                  </a:lnTo>
                  <a:lnTo>
                    <a:pt x="1511" y="1117"/>
                  </a:lnTo>
                  <a:lnTo>
                    <a:pt x="6057" y="1117"/>
                  </a:lnTo>
                  <a:lnTo>
                    <a:pt x="6057" y="0"/>
                  </a:lnTo>
                  <a:lnTo>
                    <a:pt x="0" y="0"/>
                  </a:lnTo>
                  <a:lnTo>
                    <a:pt x="0" y="1117"/>
                  </a:lnTo>
                  <a:lnTo>
                    <a:pt x="0" y="252691"/>
                  </a:lnTo>
                  <a:lnTo>
                    <a:pt x="1511" y="252691"/>
                  </a:lnTo>
                  <a:lnTo>
                    <a:pt x="1511" y="247751"/>
                  </a:lnTo>
                  <a:lnTo>
                    <a:pt x="6057" y="247751"/>
                  </a:lnTo>
                  <a:lnTo>
                    <a:pt x="6057" y="252691"/>
                  </a:lnTo>
                  <a:lnTo>
                    <a:pt x="7569" y="252691"/>
                  </a:lnTo>
                  <a:lnTo>
                    <a:pt x="7569" y="12"/>
                  </a:lnTo>
                  <a:close/>
                </a:path>
              </a:pathLst>
            </a:custGeom>
            <a:solidFill>
              <a:srgbClr val="757B7F"/>
            </a:solidFill>
          </p:spPr>
          <p:txBody>
            <a:bodyPr wrap="square" lIns="0" tIns="0" rIns="0" bIns="0" rtlCol="0"/>
            <a:lstStyle/>
            <a:p>
              <a:endParaRPr/>
            </a:p>
          </p:txBody>
        </p:sp>
        <p:sp>
          <p:nvSpPr>
            <p:cNvPr id="84" name="object 84"/>
            <p:cNvSpPr/>
            <p:nvPr/>
          </p:nvSpPr>
          <p:spPr>
            <a:xfrm>
              <a:off x="3990480" y="6405778"/>
              <a:ext cx="68580" cy="252729"/>
            </a:xfrm>
            <a:custGeom>
              <a:avLst/>
              <a:gdLst/>
              <a:ahLst/>
              <a:cxnLst/>
              <a:rect l="l" t="t" r="r" b="b"/>
              <a:pathLst>
                <a:path w="68579" h="252729">
                  <a:moveTo>
                    <a:pt x="10591" y="0"/>
                  </a:moveTo>
                  <a:lnTo>
                    <a:pt x="0" y="0"/>
                  </a:lnTo>
                  <a:lnTo>
                    <a:pt x="0" y="252679"/>
                  </a:lnTo>
                  <a:lnTo>
                    <a:pt x="10591" y="252679"/>
                  </a:lnTo>
                  <a:lnTo>
                    <a:pt x="10591" y="0"/>
                  </a:lnTo>
                  <a:close/>
                </a:path>
                <a:path w="68579" h="252729">
                  <a:moveTo>
                    <a:pt x="68072" y="0"/>
                  </a:moveTo>
                  <a:lnTo>
                    <a:pt x="57480" y="0"/>
                  </a:lnTo>
                  <a:lnTo>
                    <a:pt x="57480" y="252679"/>
                  </a:lnTo>
                  <a:lnTo>
                    <a:pt x="68072" y="252679"/>
                  </a:lnTo>
                  <a:lnTo>
                    <a:pt x="68072" y="0"/>
                  </a:lnTo>
                  <a:close/>
                </a:path>
              </a:pathLst>
            </a:custGeom>
            <a:solidFill>
              <a:srgbClr val="505457"/>
            </a:solidFill>
          </p:spPr>
          <p:txBody>
            <a:bodyPr wrap="square" lIns="0" tIns="0" rIns="0" bIns="0" rtlCol="0"/>
            <a:lstStyle/>
            <a:p>
              <a:endParaRPr/>
            </a:p>
          </p:txBody>
        </p:sp>
        <p:sp>
          <p:nvSpPr>
            <p:cNvPr id="85" name="object 85"/>
            <p:cNvSpPr/>
            <p:nvPr/>
          </p:nvSpPr>
          <p:spPr>
            <a:xfrm>
              <a:off x="3913164" y="6396689"/>
              <a:ext cx="145415" cy="10160"/>
            </a:xfrm>
            <a:custGeom>
              <a:avLst/>
              <a:gdLst/>
              <a:ahLst/>
              <a:cxnLst/>
              <a:rect l="l" t="t" r="r" b="b"/>
              <a:pathLst>
                <a:path w="145414" h="10160">
                  <a:moveTo>
                    <a:pt x="145402" y="0"/>
                  </a:moveTo>
                  <a:lnTo>
                    <a:pt x="0" y="0"/>
                  </a:lnTo>
                  <a:lnTo>
                    <a:pt x="901" y="2082"/>
                  </a:lnTo>
                  <a:lnTo>
                    <a:pt x="18973" y="2082"/>
                  </a:lnTo>
                  <a:lnTo>
                    <a:pt x="18973" y="9855"/>
                  </a:lnTo>
                  <a:lnTo>
                    <a:pt x="21145" y="9855"/>
                  </a:lnTo>
                  <a:lnTo>
                    <a:pt x="21145" y="2082"/>
                  </a:lnTo>
                  <a:lnTo>
                    <a:pt x="43789" y="2082"/>
                  </a:lnTo>
                  <a:lnTo>
                    <a:pt x="43789" y="9855"/>
                  </a:lnTo>
                  <a:lnTo>
                    <a:pt x="46012" y="9855"/>
                  </a:lnTo>
                  <a:lnTo>
                    <a:pt x="46012" y="2082"/>
                  </a:lnTo>
                  <a:lnTo>
                    <a:pt x="68656" y="2082"/>
                  </a:lnTo>
                  <a:lnTo>
                    <a:pt x="68656" y="9855"/>
                  </a:lnTo>
                  <a:lnTo>
                    <a:pt x="70840" y="9855"/>
                  </a:lnTo>
                  <a:lnTo>
                    <a:pt x="70840" y="2082"/>
                  </a:lnTo>
                  <a:lnTo>
                    <a:pt x="93484" y="2082"/>
                  </a:lnTo>
                  <a:lnTo>
                    <a:pt x="93484" y="9855"/>
                  </a:lnTo>
                  <a:lnTo>
                    <a:pt x="95707" y="9855"/>
                  </a:lnTo>
                  <a:lnTo>
                    <a:pt x="95707" y="2082"/>
                  </a:lnTo>
                  <a:lnTo>
                    <a:pt x="118351" y="2082"/>
                  </a:lnTo>
                  <a:lnTo>
                    <a:pt x="118351" y="9855"/>
                  </a:lnTo>
                  <a:lnTo>
                    <a:pt x="120523" y="9855"/>
                  </a:lnTo>
                  <a:lnTo>
                    <a:pt x="120523" y="2082"/>
                  </a:lnTo>
                  <a:lnTo>
                    <a:pt x="143179" y="2082"/>
                  </a:lnTo>
                  <a:lnTo>
                    <a:pt x="143179" y="9855"/>
                  </a:lnTo>
                  <a:lnTo>
                    <a:pt x="145402" y="9855"/>
                  </a:lnTo>
                  <a:lnTo>
                    <a:pt x="145402" y="0"/>
                  </a:lnTo>
                  <a:close/>
                </a:path>
              </a:pathLst>
            </a:custGeom>
            <a:solidFill>
              <a:srgbClr val="757B7F"/>
            </a:solidFill>
          </p:spPr>
          <p:txBody>
            <a:bodyPr wrap="square" lIns="0" tIns="0" rIns="0" bIns="0" rtlCol="0"/>
            <a:lstStyle/>
            <a:p>
              <a:endParaRPr/>
            </a:p>
          </p:txBody>
        </p:sp>
        <p:sp>
          <p:nvSpPr>
            <p:cNvPr id="86" name="object 86"/>
            <p:cNvSpPr/>
            <p:nvPr/>
          </p:nvSpPr>
          <p:spPr>
            <a:xfrm>
              <a:off x="3499132" y="6268272"/>
              <a:ext cx="433070" cy="390525"/>
            </a:xfrm>
            <a:custGeom>
              <a:avLst/>
              <a:gdLst/>
              <a:ahLst/>
              <a:cxnLst/>
              <a:rect l="l" t="t" r="r" b="b"/>
              <a:pathLst>
                <a:path w="433070" h="390525">
                  <a:moveTo>
                    <a:pt x="224231" y="0"/>
                  </a:moveTo>
                  <a:lnTo>
                    <a:pt x="208432" y="0"/>
                  </a:lnTo>
                  <a:lnTo>
                    <a:pt x="192094" y="1252"/>
                  </a:lnTo>
                  <a:lnTo>
                    <a:pt x="150710" y="10020"/>
                  </a:lnTo>
                  <a:lnTo>
                    <a:pt x="111493" y="26860"/>
                  </a:lnTo>
                  <a:lnTo>
                    <a:pt x="70434" y="56451"/>
                  </a:lnTo>
                  <a:lnTo>
                    <a:pt x="36029" y="96647"/>
                  </a:lnTo>
                  <a:lnTo>
                    <a:pt x="15836" y="134772"/>
                  </a:lnTo>
                  <a:lnTo>
                    <a:pt x="3492" y="177063"/>
                  </a:lnTo>
                  <a:lnTo>
                    <a:pt x="0" y="212051"/>
                  </a:lnTo>
                  <a:lnTo>
                    <a:pt x="0" y="216230"/>
                  </a:lnTo>
                  <a:lnTo>
                    <a:pt x="0" y="390169"/>
                  </a:lnTo>
                  <a:lnTo>
                    <a:pt x="432600" y="390169"/>
                  </a:lnTo>
                  <a:lnTo>
                    <a:pt x="432473" y="207924"/>
                  </a:lnTo>
                  <a:lnTo>
                    <a:pt x="426199" y="163677"/>
                  </a:lnTo>
                  <a:lnTo>
                    <a:pt x="411822" y="123469"/>
                  </a:lnTo>
                  <a:lnTo>
                    <a:pt x="382651" y="77914"/>
                  </a:lnTo>
                  <a:lnTo>
                    <a:pt x="352869" y="48412"/>
                  </a:lnTo>
                  <a:lnTo>
                    <a:pt x="321157" y="26860"/>
                  </a:lnTo>
                  <a:lnTo>
                    <a:pt x="276453" y="8394"/>
                  </a:lnTo>
                  <a:lnTo>
                    <a:pt x="238975" y="990"/>
                  </a:lnTo>
                  <a:lnTo>
                    <a:pt x="224231" y="0"/>
                  </a:lnTo>
                  <a:close/>
                </a:path>
              </a:pathLst>
            </a:custGeom>
            <a:solidFill>
              <a:srgbClr val="DFE1E1"/>
            </a:solidFill>
          </p:spPr>
          <p:txBody>
            <a:bodyPr wrap="square" lIns="0" tIns="0" rIns="0" bIns="0" rtlCol="0"/>
            <a:lstStyle/>
            <a:p>
              <a:endParaRPr/>
            </a:p>
          </p:txBody>
        </p:sp>
        <p:sp>
          <p:nvSpPr>
            <p:cNvPr id="87" name="object 87"/>
            <p:cNvSpPr/>
            <p:nvPr/>
          </p:nvSpPr>
          <p:spPr>
            <a:xfrm>
              <a:off x="3687851" y="6268271"/>
              <a:ext cx="244475" cy="390525"/>
            </a:xfrm>
            <a:custGeom>
              <a:avLst/>
              <a:gdLst/>
              <a:ahLst/>
              <a:cxnLst/>
              <a:rect l="l" t="t" r="r" b="b"/>
              <a:pathLst>
                <a:path w="244475" h="390525">
                  <a:moveTo>
                    <a:pt x="35941" y="0"/>
                  </a:moveTo>
                  <a:lnTo>
                    <a:pt x="20142" y="0"/>
                  </a:lnTo>
                  <a:lnTo>
                    <a:pt x="5346" y="1041"/>
                  </a:lnTo>
                  <a:lnTo>
                    <a:pt x="0" y="1765"/>
                  </a:lnTo>
                  <a:lnTo>
                    <a:pt x="8186" y="2945"/>
                  </a:lnTo>
                  <a:lnTo>
                    <a:pt x="16270" y="4446"/>
                  </a:lnTo>
                  <a:lnTo>
                    <a:pt x="54406" y="16014"/>
                  </a:lnTo>
                  <a:lnTo>
                    <a:pt x="90119" y="34937"/>
                  </a:lnTo>
                  <a:lnTo>
                    <a:pt x="128790" y="67157"/>
                  </a:lnTo>
                  <a:lnTo>
                    <a:pt x="155790" y="102057"/>
                  </a:lnTo>
                  <a:lnTo>
                    <a:pt x="176301" y="144945"/>
                  </a:lnTo>
                  <a:lnTo>
                    <a:pt x="186461" y="187769"/>
                  </a:lnTo>
                  <a:lnTo>
                    <a:pt x="188277" y="390182"/>
                  </a:lnTo>
                  <a:lnTo>
                    <a:pt x="244322" y="390182"/>
                  </a:lnTo>
                  <a:lnTo>
                    <a:pt x="244322" y="212051"/>
                  </a:lnTo>
                  <a:lnTo>
                    <a:pt x="242519" y="187769"/>
                  </a:lnTo>
                  <a:lnTo>
                    <a:pt x="232346" y="144945"/>
                  </a:lnTo>
                  <a:lnTo>
                    <a:pt x="211823" y="102057"/>
                  </a:lnTo>
                  <a:lnTo>
                    <a:pt x="176796" y="59118"/>
                  </a:lnTo>
                  <a:lnTo>
                    <a:pt x="132867" y="26860"/>
                  </a:lnTo>
                  <a:lnTo>
                    <a:pt x="88176" y="8394"/>
                  </a:lnTo>
                  <a:lnTo>
                    <a:pt x="52266" y="1252"/>
                  </a:lnTo>
                  <a:lnTo>
                    <a:pt x="35941" y="0"/>
                  </a:lnTo>
                  <a:close/>
                </a:path>
              </a:pathLst>
            </a:custGeom>
            <a:solidFill>
              <a:srgbClr val="18171C">
                <a:alpha val="5000"/>
              </a:srgbClr>
            </a:solidFill>
          </p:spPr>
          <p:txBody>
            <a:bodyPr wrap="square" lIns="0" tIns="0" rIns="0" bIns="0" rtlCol="0"/>
            <a:lstStyle/>
            <a:p>
              <a:endParaRPr/>
            </a:p>
          </p:txBody>
        </p:sp>
        <p:sp>
          <p:nvSpPr>
            <p:cNvPr id="88" name="object 88"/>
            <p:cNvSpPr/>
            <p:nvPr/>
          </p:nvSpPr>
          <p:spPr>
            <a:xfrm>
              <a:off x="3916975" y="6405765"/>
              <a:ext cx="141605" cy="20955"/>
            </a:xfrm>
            <a:custGeom>
              <a:avLst/>
              <a:gdLst/>
              <a:ahLst/>
              <a:cxnLst/>
              <a:rect l="l" t="t" r="r" b="b"/>
              <a:pathLst>
                <a:path w="141604" h="20954">
                  <a:moveTo>
                    <a:pt x="141579" y="0"/>
                  </a:moveTo>
                  <a:lnTo>
                    <a:pt x="0" y="0"/>
                  </a:lnTo>
                  <a:lnTo>
                    <a:pt x="6083" y="17830"/>
                  </a:lnTo>
                  <a:lnTo>
                    <a:pt x="6807" y="20472"/>
                  </a:lnTo>
                  <a:lnTo>
                    <a:pt x="141579" y="20472"/>
                  </a:lnTo>
                  <a:lnTo>
                    <a:pt x="141579" y="0"/>
                  </a:lnTo>
                  <a:close/>
                </a:path>
              </a:pathLst>
            </a:custGeom>
            <a:solidFill>
              <a:srgbClr val="9BA0A3"/>
            </a:solidFill>
          </p:spPr>
          <p:txBody>
            <a:bodyPr wrap="square" lIns="0" tIns="0" rIns="0" bIns="0" rtlCol="0"/>
            <a:lstStyle/>
            <a:p>
              <a:endParaRPr/>
            </a:p>
          </p:txBody>
        </p:sp>
        <p:sp>
          <p:nvSpPr>
            <p:cNvPr id="89" name="object 89"/>
            <p:cNvSpPr/>
            <p:nvPr/>
          </p:nvSpPr>
          <p:spPr>
            <a:xfrm>
              <a:off x="3499472" y="6276682"/>
              <a:ext cx="432434" cy="195580"/>
            </a:xfrm>
            <a:custGeom>
              <a:avLst/>
              <a:gdLst/>
              <a:ahLst/>
              <a:cxnLst/>
              <a:rect l="l" t="t" r="r" b="b"/>
              <a:pathLst>
                <a:path w="432435" h="195579">
                  <a:moveTo>
                    <a:pt x="284213" y="2540"/>
                  </a:moveTo>
                  <a:lnTo>
                    <a:pt x="276085" y="0"/>
                  </a:lnTo>
                  <a:lnTo>
                    <a:pt x="155790" y="0"/>
                  </a:lnTo>
                  <a:lnTo>
                    <a:pt x="147662" y="2540"/>
                  </a:lnTo>
                  <a:lnTo>
                    <a:pt x="284213" y="2540"/>
                  </a:lnTo>
                  <a:close/>
                </a:path>
                <a:path w="432435" h="195579">
                  <a:moveTo>
                    <a:pt x="310540" y="13246"/>
                  </a:moveTo>
                  <a:lnTo>
                    <a:pt x="305130" y="10706"/>
                  </a:lnTo>
                  <a:lnTo>
                    <a:pt x="126746" y="10706"/>
                  </a:lnTo>
                  <a:lnTo>
                    <a:pt x="121348" y="13246"/>
                  </a:lnTo>
                  <a:lnTo>
                    <a:pt x="310540" y="13246"/>
                  </a:lnTo>
                  <a:close/>
                </a:path>
                <a:path w="432435" h="195579">
                  <a:moveTo>
                    <a:pt x="329907" y="23952"/>
                  </a:moveTo>
                  <a:lnTo>
                    <a:pt x="325691" y="21412"/>
                  </a:lnTo>
                  <a:lnTo>
                    <a:pt x="106184" y="21412"/>
                  </a:lnTo>
                  <a:lnTo>
                    <a:pt x="101968" y="23952"/>
                  </a:lnTo>
                  <a:lnTo>
                    <a:pt x="329907" y="23952"/>
                  </a:lnTo>
                  <a:close/>
                </a:path>
                <a:path w="432435" h="195579">
                  <a:moveTo>
                    <a:pt x="345567" y="34671"/>
                  </a:moveTo>
                  <a:lnTo>
                    <a:pt x="342112" y="32131"/>
                  </a:lnTo>
                  <a:lnTo>
                    <a:pt x="89763" y="32131"/>
                  </a:lnTo>
                  <a:lnTo>
                    <a:pt x="86309" y="34671"/>
                  </a:lnTo>
                  <a:lnTo>
                    <a:pt x="345567" y="34671"/>
                  </a:lnTo>
                  <a:close/>
                </a:path>
                <a:path w="432435" h="195579">
                  <a:moveTo>
                    <a:pt x="358825" y="45427"/>
                  </a:moveTo>
                  <a:lnTo>
                    <a:pt x="355815" y="42837"/>
                  </a:lnTo>
                  <a:lnTo>
                    <a:pt x="76060" y="42837"/>
                  </a:lnTo>
                  <a:lnTo>
                    <a:pt x="73063" y="45427"/>
                  </a:lnTo>
                  <a:lnTo>
                    <a:pt x="358825" y="45427"/>
                  </a:lnTo>
                  <a:close/>
                </a:path>
                <a:path w="432435" h="195579">
                  <a:moveTo>
                    <a:pt x="370116" y="56134"/>
                  </a:moveTo>
                  <a:lnTo>
                    <a:pt x="367538" y="53543"/>
                  </a:lnTo>
                  <a:lnTo>
                    <a:pt x="64350" y="53543"/>
                  </a:lnTo>
                  <a:lnTo>
                    <a:pt x="61760" y="56134"/>
                  </a:lnTo>
                  <a:lnTo>
                    <a:pt x="370116" y="56134"/>
                  </a:lnTo>
                  <a:close/>
                </a:path>
                <a:path w="432435" h="195579">
                  <a:moveTo>
                    <a:pt x="380009" y="66840"/>
                  </a:moveTo>
                  <a:lnTo>
                    <a:pt x="377736" y="64249"/>
                  </a:lnTo>
                  <a:lnTo>
                    <a:pt x="54127" y="64249"/>
                  </a:lnTo>
                  <a:lnTo>
                    <a:pt x="51866" y="66840"/>
                  </a:lnTo>
                  <a:lnTo>
                    <a:pt x="380009" y="66840"/>
                  </a:lnTo>
                  <a:close/>
                </a:path>
                <a:path w="432435" h="195579">
                  <a:moveTo>
                    <a:pt x="388632" y="77546"/>
                  </a:moveTo>
                  <a:lnTo>
                    <a:pt x="386676" y="75006"/>
                  </a:lnTo>
                  <a:lnTo>
                    <a:pt x="45250" y="75006"/>
                  </a:lnTo>
                  <a:lnTo>
                    <a:pt x="43294" y="77546"/>
                  </a:lnTo>
                  <a:lnTo>
                    <a:pt x="388632" y="77546"/>
                  </a:lnTo>
                  <a:close/>
                </a:path>
                <a:path w="432435" h="195579">
                  <a:moveTo>
                    <a:pt x="396214" y="88265"/>
                  </a:moveTo>
                  <a:lnTo>
                    <a:pt x="394487" y="85725"/>
                  </a:lnTo>
                  <a:lnTo>
                    <a:pt x="37401" y="85725"/>
                  </a:lnTo>
                  <a:lnTo>
                    <a:pt x="35674" y="88265"/>
                  </a:lnTo>
                  <a:lnTo>
                    <a:pt x="396214" y="88265"/>
                  </a:lnTo>
                  <a:close/>
                </a:path>
                <a:path w="432435" h="195579">
                  <a:moveTo>
                    <a:pt x="402920" y="98971"/>
                  </a:moveTo>
                  <a:lnTo>
                    <a:pt x="401383" y="96431"/>
                  </a:lnTo>
                  <a:lnTo>
                    <a:pt x="30492" y="96431"/>
                  </a:lnTo>
                  <a:lnTo>
                    <a:pt x="28994" y="98971"/>
                  </a:lnTo>
                  <a:lnTo>
                    <a:pt x="402920" y="98971"/>
                  </a:lnTo>
                  <a:close/>
                </a:path>
                <a:path w="432435" h="195579">
                  <a:moveTo>
                    <a:pt x="408774" y="109728"/>
                  </a:moveTo>
                  <a:lnTo>
                    <a:pt x="407416" y="107137"/>
                  </a:lnTo>
                  <a:lnTo>
                    <a:pt x="24460" y="107137"/>
                  </a:lnTo>
                  <a:lnTo>
                    <a:pt x="23139" y="109728"/>
                  </a:lnTo>
                  <a:lnTo>
                    <a:pt x="408774" y="109728"/>
                  </a:lnTo>
                  <a:close/>
                </a:path>
                <a:path w="432435" h="195579">
                  <a:moveTo>
                    <a:pt x="413867" y="120434"/>
                  </a:moveTo>
                  <a:lnTo>
                    <a:pt x="412686" y="117843"/>
                  </a:lnTo>
                  <a:lnTo>
                    <a:pt x="19202" y="117843"/>
                  </a:lnTo>
                  <a:lnTo>
                    <a:pt x="18021" y="120434"/>
                  </a:lnTo>
                  <a:lnTo>
                    <a:pt x="413867" y="120434"/>
                  </a:lnTo>
                  <a:close/>
                </a:path>
                <a:path w="432435" h="195579">
                  <a:moveTo>
                    <a:pt x="418274" y="131140"/>
                  </a:moveTo>
                  <a:lnTo>
                    <a:pt x="417283" y="128549"/>
                  </a:lnTo>
                  <a:lnTo>
                    <a:pt x="14668" y="128549"/>
                  </a:lnTo>
                  <a:lnTo>
                    <a:pt x="13665" y="131140"/>
                  </a:lnTo>
                  <a:lnTo>
                    <a:pt x="418274" y="131140"/>
                  </a:lnTo>
                  <a:close/>
                </a:path>
                <a:path w="432435" h="195579">
                  <a:moveTo>
                    <a:pt x="421982" y="141859"/>
                  </a:moveTo>
                  <a:lnTo>
                    <a:pt x="421170" y="139319"/>
                  </a:lnTo>
                  <a:lnTo>
                    <a:pt x="10756" y="139319"/>
                  </a:lnTo>
                  <a:lnTo>
                    <a:pt x="9893" y="141859"/>
                  </a:lnTo>
                  <a:lnTo>
                    <a:pt x="421982" y="141859"/>
                  </a:lnTo>
                  <a:close/>
                </a:path>
                <a:path w="432435" h="195579">
                  <a:moveTo>
                    <a:pt x="425132" y="152565"/>
                  </a:moveTo>
                  <a:lnTo>
                    <a:pt x="424446" y="150025"/>
                  </a:lnTo>
                  <a:lnTo>
                    <a:pt x="7442" y="150025"/>
                  </a:lnTo>
                  <a:lnTo>
                    <a:pt x="6769" y="152565"/>
                  </a:lnTo>
                  <a:lnTo>
                    <a:pt x="425132" y="152565"/>
                  </a:lnTo>
                  <a:close/>
                </a:path>
                <a:path w="432435" h="195579">
                  <a:moveTo>
                    <a:pt x="427609" y="163271"/>
                  </a:moveTo>
                  <a:lnTo>
                    <a:pt x="427075" y="160731"/>
                  </a:lnTo>
                  <a:lnTo>
                    <a:pt x="4800" y="160731"/>
                  </a:lnTo>
                  <a:lnTo>
                    <a:pt x="4267" y="163271"/>
                  </a:lnTo>
                  <a:lnTo>
                    <a:pt x="427609" y="163271"/>
                  </a:lnTo>
                  <a:close/>
                </a:path>
                <a:path w="432435" h="195579">
                  <a:moveTo>
                    <a:pt x="429615" y="173977"/>
                  </a:moveTo>
                  <a:lnTo>
                    <a:pt x="429209" y="171437"/>
                  </a:lnTo>
                  <a:lnTo>
                    <a:pt x="2730" y="171437"/>
                  </a:lnTo>
                  <a:lnTo>
                    <a:pt x="2273" y="173977"/>
                  </a:lnTo>
                  <a:lnTo>
                    <a:pt x="429615" y="173977"/>
                  </a:lnTo>
                  <a:close/>
                </a:path>
                <a:path w="432435" h="195579">
                  <a:moveTo>
                    <a:pt x="431012" y="184734"/>
                  </a:moveTo>
                  <a:lnTo>
                    <a:pt x="430707" y="182143"/>
                  </a:lnTo>
                  <a:lnTo>
                    <a:pt x="1181" y="182143"/>
                  </a:lnTo>
                  <a:lnTo>
                    <a:pt x="863" y="184734"/>
                  </a:lnTo>
                  <a:lnTo>
                    <a:pt x="431012" y="184734"/>
                  </a:lnTo>
                  <a:close/>
                </a:path>
                <a:path w="432435" h="195579">
                  <a:moveTo>
                    <a:pt x="431876" y="195453"/>
                  </a:moveTo>
                  <a:lnTo>
                    <a:pt x="431698" y="192862"/>
                  </a:lnTo>
                  <a:lnTo>
                    <a:pt x="177" y="192862"/>
                  </a:lnTo>
                  <a:lnTo>
                    <a:pt x="0" y="195453"/>
                  </a:lnTo>
                  <a:lnTo>
                    <a:pt x="431876" y="195453"/>
                  </a:lnTo>
                  <a:close/>
                </a:path>
              </a:pathLst>
            </a:custGeom>
            <a:solidFill>
              <a:srgbClr val="C6CACB"/>
            </a:solidFill>
          </p:spPr>
          <p:txBody>
            <a:bodyPr wrap="square" lIns="0" tIns="0" rIns="0" bIns="0" rtlCol="0"/>
            <a:lstStyle/>
            <a:p>
              <a:endParaRPr/>
            </a:p>
          </p:txBody>
        </p:sp>
        <p:sp>
          <p:nvSpPr>
            <p:cNvPr id="90" name="object 90"/>
            <p:cNvSpPr/>
            <p:nvPr/>
          </p:nvSpPr>
          <p:spPr>
            <a:xfrm>
              <a:off x="3499111" y="6463307"/>
              <a:ext cx="560070" cy="10160"/>
            </a:xfrm>
            <a:custGeom>
              <a:avLst/>
              <a:gdLst/>
              <a:ahLst/>
              <a:cxnLst/>
              <a:rect l="l" t="t" r="r" b="b"/>
              <a:pathLst>
                <a:path w="560070" h="10160">
                  <a:moveTo>
                    <a:pt x="559447" y="0"/>
                  </a:moveTo>
                  <a:lnTo>
                    <a:pt x="2260" y="0"/>
                  </a:lnTo>
                  <a:lnTo>
                    <a:pt x="0" y="0"/>
                  </a:lnTo>
                  <a:lnTo>
                    <a:pt x="0" y="9842"/>
                  </a:lnTo>
                  <a:lnTo>
                    <a:pt x="2260" y="9842"/>
                  </a:lnTo>
                  <a:lnTo>
                    <a:pt x="2260" y="2082"/>
                  </a:lnTo>
                  <a:lnTo>
                    <a:pt x="25323" y="2082"/>
                  </a:lnTo>
                  <a:lnTo>
                    <a:pt x="25323" y="9842"/>
                  </a:lnTo>
                  <a:lnTo>
                    <a:pt x="27584" y="9842"/>
                  </a:lnTo>
                  <a:lnTo>
                    <a:pt x="27584" y="2082"/>
                  </a:lnTo>
                  <a:lnTo>
                    <a:pt x="50660" y="2082"/>
                  </a:lnTo>
                  <a:lnTo>
                    <a:pt x="50660" y="9842"/>
                  </a:lnTo>
                  <a:lnTo>
                    <a:pt x="52920" y="9842"/>
                  </a:lnTo>
                  <a:lnTo>
                    <a:pt x="52920" y="2082"/>
                  </a:lnTo>
                  <a:lnTo>
                    <a:pt x="75984" y="2082"/>
                  </a:lnTo>
                  <a:lnTo>
                    <a:pt x="75984" y="9842"/>
                  </a:lnTo>
                  <a:lnTo>
                    <a:pt x="78244" y="9842"/>
                  </a:lnTo>
                  <a:lnTo>
                    <a:pt x="78244" y="2082"/>
                  </a:lnTo>
                  <a:lnTo>
                    <a:pt x="101320" y="2082"/>
                  </a:lnTo>
                  <a:lnTo>
                    <a:pt x="101320" y="9842"/>
                  </a:lnTo>
                  <a:lnTo>
                    <a:pt x="103568" y="9842"/>
                  </a:lnTo>
                  <a:lnTo>
                    <a:pt x="103568" y="2082"/>
                  </a:lnTo>
                  <a:lnTo>
                    <a:pt x="126644" y="2082"/>
                  </a:lnTo>
                  <a:lnTo>
                    <a:pt x="126644" y="9842"/>
                  </a:lnTo>
                  <a:lnTo>
                    <a:pt x="128892" y="9842"/>
                  </a:lnTo>
                  <a:lnTo>
                    <a:pt x="128892" y="2082"/>
                  </a:lnTo>
                  <a:lnTo>
                    <a:pt x="151968" y="2082"/>
                  </a:lnTo>
                  <a:lnTo>
                    <a:pt x="151968" y="9842"/>
                  </a:lnTo>
                  <a:lnTo>
                    <a:pt x="154216" y="9842"/>
                  </a:lnTo>
                  <a:lnTo>
                    <a:pt x="154216" y="2082"/>
                  </a:lnTo>
                  <a:lnTo>
                    <a:pt x="177291" y="2082"/>
                  </a:lnTo>
                  <a:lnTo>
                    <a:pt x="177291" y="9842"/>
                  </a:lnTo>
                  <a:lnTo>
                    <a:pt x="179552" y="9842"/>
                  </a:lnTo>
                  <a:lnTo>
                    <a:pt x="179552" y="2082"/>
                  </a:lnTo>
                  <a:lnTo>
                    <a:pt x="202615" y="2082"/>
                  </a:lnTo>
                  <a:lnTo>
                    <a:pt x="202615" y="9842"/>
                  </a:lnTo>
                  <a:lnTo>
                    <a:pt x="204876" y="9842"/>
                  </a:lnTo>
                  <a:lnTo>
                    <a:pt x="204876" y="2082"/>
                  </a:lnTo>
                  <a:lnTo>
                    <a:pt x="227939" y="2082"/>
                  </a:lnTo>
                  <a:lnTo>
                    <a:pt x="227939" y="9842"/>
                  </a:lnTo>
                  <a:lnTo>
                    <a:pt x="230200" y="9842"/>
                  </a:lnTo>
                  <a:lnTo>
                    <a:pt x="230200" y="2082"/>
                  </a:lnTo>
                  <a:lnTo>
                    <a:pt x="253276" y="2082"/>
                  </a:lnTo>
                  <a:lnTo>
                    <a:pt x="253276" y="9842"/>
                  </a:lnTo>
                  <a:lnTo>
                    <a:pt x="255523" y="9842"/>
                  </a:lnTo>
                  <a:lnTo>
                    <a:pt x="255523" y="2082"/>
                  </a:lnTo>
                  <a:lnTo>
                    <a:pt x="278599" y="2082"/>
                  </a:lnTo>
                  <a:lnTo>
                    <a:pt x="278599" y="9842"/>
                  </a:lnTo>
                  <a:lnTo>
                    <a:pt x="280847" y="9842"/>
                  </a:lnTo>
                  <a:lnTo>
                    <a:pt x="280847" y="2082"/>
                  </a:lnTo>
                  <a:lnTo>
                    <a:pt x="303923" y="2082"/>
                  </a:lnTo>
                  <a:lnTo>
                    <a:pt x="303923" y="9842"/>
                  </a:lnTo>
                  <a:lnTo>
                    <a:pt x="306184" y="9842"/>
                  </a:lnTo>
                  <a:lnTo>
                    <a:pt x="306184" y="2082"/>
                  </a:lnTo>
                  <a:lnTo>
                    <a:pt x="329247" y="2082"/>
                  </a:lnTo>
                  <a:lnTo>
                    <a:pt x="329247" y="9842"/>
                  </a:lnTo>
                  <a:lnTo>
                    <a:pt x="331508" y="9842"/>
                  </a:lnTo>
                  <a:lnTo>
                    <a:pt x="331508" y="2082"/>
                  </a:lnTo>
                  <a:lnTo>
                    <a:pt x="354571" y="2082"/>
                  </a:lnTo>
                  <a:lnTo>
                    <a:pt x="354571" y="9842"/>
                  </a:lnTo>
                  <a:lnTo>
                    <a:pt x="356844" y="9842"/>
                  </a:lnTo>
                  <a:lnTo>
                    <a:pt x="356844" y="2082"/>
                  </a:lnTo>
                  <a:lnTo>
                    <a:pt x="379907" y="2082"/>
                  </a:lnTo>
                  <a:lnTo>
                    <a:pt x="379907" y="9842"/>
                  </a:lnTo>
                  <a:lnTo>
                    <a:pt x="382168" y="9842"/>
                  </a:lnTo>
                  <a:lnTo>
                    <a:pt x="382168" y="2082"/>
                  </a:lnTo>
                  <a:lnTo>
                    <a:pt x="405231" y="2082"/>
                  </a:lnTo>
                  <a:lnTo>
                    <a:pt x="405231" y="9842"/>
                  </a:lnTo>
                  <a:lnTo>
                    <a:pt x="407479" y="9842"/>
                  </a:lnTo>
                  <a:lnTo>
                    <a:pt x="407479" y="2082"/>
                  </a:lnTo>
                  <a:lnTo>
                    <a:pt x="430568" y="2082"/>
                  </a:lnTo>
                  <a:lnTo>
                    <a:pt x="430568" y="9842"/>
                  </a:lnTo>
                  <a:lnTo>
                    <a:pt x="432816" y="9842"/>
                  </a:lnTo>
                  <a:lnTo>
                    <a:pt x="432816" y="2082"/>
                  </a:lnTo>
                  <a:lnTo>
                    <a:pt x="455891" y="2082"/>
                  </a:lnTo>
                  <a:lnTo>
                    <a:pt x="455891" y="9842"/>
                  </a:lnTo>
                  <a:lnTo>
                    <a:pt x="458139" y="9842"/>
                  </a:lnTo>
                  <a:lnTo>
                    <a:pt x="458139" y="2082"/>
                  </a:lnTo>
                  <a:lnTo>
                    <a:pt x="481203" y="2082"/>
                  </a:lnTo>
                  <a:lnTo>
                    <a:pt x="481203" y="9842"/>
                  </a:lnTo>
                  <a:lnTo>
                    <a:pt x="483476" y="9842"/>
                  </a:lnTo>
                  <a:lnTo>
                    <a:pt x="483476" y="2082"/>
                  </a:lnTo>
                  <a:lnTo>
                    <a:pt x="506539" y="2082"/>
                  </a:lnTo>
                  <a:lnTo>
                    <a:pt x="506539" y="9842"/>
                  </a:lnTo>
                  <a:lnTo>
                    <a:pt x="508800" y="9842"/>
                  </a:lnTo>
                  <a:lnTo>
                    <a:pt x="508800" y="2082"/>
                  </a:lnTo>
                  <a:lnTo>
                    <a:pt x="531863" y="2082"/>
                  </a:lnTo>
                  <a:lnTo>
                    <a:pt x="531863" y="9842"/>
                  </a:lnTo>
                  <a:lnTo>
                    <a:pt x="534123" y="9842"/>
                  </a:lnTo>
                  <a:lnTo>
                    <a:pt x="534123" y="2082"/>
                  </a:lnTo>
                  <a:lnTo>
                    <a:pt x="557199" y="2082"/>
                  </a:lnTo>
                  <a:lnTo>
                    <a:pt x="557199" y="9842"/>
                  </a:lnTo>
                  <a:lnTo>
                    <a:pt x="559447" y="9842"/>
                  </a:lnTo>
                  <a:lnTo>
                    <a:pt x="559447" y="0"/>
                  </a:lnTo>
                  <a:close/>
                </a:path>
              </a:pathLst>
            </a:custGeom>
            <a:solidFill>
              <a:srgbClr val="757B7F"/>
            </a:solidFill>
          </p:spPr>
          <p:txBody>
            <a:bodyPr wrap="square" lIns="0" tIns="0" rIns="0" bIns="0" rtlCol="0"/>
            <a:lstStyle/>
            <a:p>
              <a:endParaRPr/>
            </a:p>
          </p:txBody>
        </p:sp>
        <p:sp>
          <p:nvSpPr>
            <p:cNvPr id="91" name="object 91"/>
            <p:cNvSpPr/>
            <p:nvPr/>
          </p:nvSpPr>
          <p:spPr>
            <a:xfrm>
              <a:off x="3499116" y="6471970"/>
              <a:ext cx="559435" cy="20955"/>
            </a:xfrm>
            <a:custGeom>
              <a:avLst/>
              <a:gdLst/>
              <a:ahLst/>
              <a:cxnLst/>
              <a:rect l="l" t="t" r="r" b="b"/>
              <a:pathLst>
                <a:path w="559435" h="20954">
                  <a:moveTo>
                    <a:pt x="559422" y="0"/>
                  </a:moveTo>
                  <a:lnTo>
                    <a:pt x="0" y="0"/>
                  </a:lnTo>
                  <a:lnTo>
                    <a:pt x="0" y="20485"/>
                  </a:lnTo>
                  <a:lnTo>
                    <a:pt x="559422" y="20485"/>
                  </a:lnTo>
                  <a:lnTo>
                    <a:pt x="559422" y="0"/>
                  </a:lnTo>
                  <a:close/>
                </a:path>
              </a:pathLst>
            </a:custGeom>
            <a:solidFill>
              <a:srgbClr val="9BA0A3"/>
            </a:solidFill>
          </p:spPr>
          <p:txBody>
            <a:bodyPr wrap="square" lIns="0" tIns="0" rIns="0" bIns="0" rtlCol="0"/>
            <a:lstStyle/>
            <a:p>
              <a:endParaRPr/>
            </a:p>
          </p:txBody>
        </p:sp>
        <p:sp>
          <p:nvSpPr>
            <p:cNvPr id="92" name="object 92"/>
            <p:cNvSpPr/>
            <p:nvPr/>
          </p:nvSpPr>
          <p:spPr>
            <a:xfrm>
              <a:off x="3543649" y="6394975"/>
              <a:ext cx="118110" cy="263525"/>
            </a:xfrm>
            <a:custGeom>
              <a:avLst/>
              <a:gdLst/>
              <a:ahLst/>
              <a:cxnLst/>
              <a:rect l="l" t="t" r="r" b="b"/>
              <a:pathLst>
                <a:path w="118110" h="263525">
                  <a:moveTo>
                    <a:pt x="63576" y="0"/>
                  </a:moveTo>
                  <a:lnTo>
                    <a:pt x="59042" y="0"/>
                  </a:lnTo>
                  <a:lnTo>
                    <a:pt x="47127" y="1195"/>
                  </a:lnTo>
                  <a:lnTo>
                    <a:pt x="10067" y="26018"/>
                  </a:lnTo>
                  <a:lnTo>
                    <a:pt x="0" y="59042"/>
                  </a:lnTo>
                  <a:lnTo>
                    <a:pt x="0" y="263486"/>
                  </a:lnTo>
                  <a:lnTo>
                    <a:pt x="118084" y="263486"/>
                  </a:lnTo>
                  <a:lnTo>
                    <a:pt x="118084" y="59042"/>
                  </a:lnTo>
                  <a:lnTo>
                    <a:pt x="105002" y="21983"/>
                  </a:lnTo>
                  <a:lnTo>
                    <a:pt x="72250" y="1498"/>
                  </a:lnTo>
                  <a:lnTo>
                    <a:pt x="63576" y="0"/>
                  </a:lnTo>
                  <a:close/>
                </a:path>
              </a:pathLst>
            </a:custGeom>
            <a:solidFill>
              <a:srgbClr val="C6CACB"/>
            </a:solidFill>
          </p:spPr>
          <p:txBody>
            <a:bodyPr wrap="square" lIns="0" tIns="0" rIns="0" bIns="0" rtlCol="0"/>
            <a:lstStyle/>
            <a:p>
              <a:endParaRPr/>
            </a:p>
          </p:txBody>
        </p:sp>
        <p:sp>
          <p:nvSpPr>
            <p:cNvPr id="93" name="object 93"/>
            <p:cNvSpPr/>
            <p:nvPr/>
          </p:nvSpPr>
          <p:spPr>
            <a:xfrm>
              <a:off x="3589437" y="6394977"/>
              <a:ext cx="72390" cy="263525"/>
            </a:xfrm>
            <a:custGeom>
              <a:avLst/>
              <a:gdLst/>
              <a:ahLst/>
              <a:cxnLst/>
              <a:rect l="l" t="t" r="r" b="b"/>
              <a:pathLst>
                <a:path w="72389" h="263525">
                  <a:moveTo>
                    <a:pt x="13246" y="0"/>
                  </a:moveTo>
                  <a:lnTo>
                    <a:pt x="8712" y="0"/>
                  </a:lnTo>
                  <a:lnTo>
                    <a:pt x="4267" y="495"/>
                  </a:lnTo>
                  <a:lnTo>
                    <a:pt x="0" y="1498"/>
                  </a:lnTo>
                  <a:lnTo>
                    <a:pt x="18225" y="9062"/>
                  </a:lnTo>
                  <a:lnTo>
                    <a:pt x="32751" y="21978"/>
                  </a:lnTo>
                  <a:lnTo>
                    <a:pt x="42360" y="39040"/>
                  </a:lnTo>
                  <a:lnTo>
                    <a:pt x="45834" y="59042"/>
                  </a:lnTo>
                  <a:lnTo>
                    <a:pt x="45834" y="263474"/>
                  </a:lnTo>
                  <a:lnTo>
                    <a:pt x="72288" y="263474"/>
                  </a:lnTo>
                  <a:lnTo>
                    <a:pt x="72288" y="59042"/>
                  </a:lnTo>
                  <a:lnTo>
                    <a:pt x="67645" y="36052"/>
                  </a:lnTo>
                  <a:lnTo>
                    <a:pt x="54987" y="17286"/>
                  </a:lnTo>
                  <a:lnTo>
                    <a:pt x="36219" y="4637"/>
                  </a:lnTo>
                  <a:lnTo>
                    <a:pt x="13246" y="0"/>
                  </a:lnTo>
                  <a:close/>
                </a:path>
              </a:pathLst>
            </a:custGeom>
            <a:solidFill>
              <a:srgbClr val="18171C">
                <a:alpha val="9999"/>
              </a:srgbClr>
            </a:solidFill>
          </p:spPr>
          <p:txBody>
            <a:bodyPr wrap="square" lIns="0" tIns="0" rIns="0" bIns="0" rtlCol="0"/>
            <a:lstStyle/>
            <a:p>
              <a:endParaRPr/>
            </a:p>
          </p:txBody>
        </p:sp>
        <p:sp>
          <p:nvSpPr>
            <p:cNvPr id="94" name="object 94"/>
            <p:cNvSpPr/>
            <p:nvPr/>
          </p:nvSpPr>
          <p:spPr>
            <a:xfrm>
              <a:off x="3458455" y="6394975"/>
              <a:ext cx="118110" cy="263525"/>
            </a:xfrm>
            <a:custGeom>
              <a:avLst/>
              <a:gdLst/>
              <a:ahLst/>
              <a:cxnLst/>
              <a:rect l="l" t="t" r="r" b="b"/>
              <a:pathLst>
                <a:path w="118110" h="263525">
                  <a:moveTo>
                    <a:pt x="63576" y="0"/>
                  </a:moveTo>
                  <a:lnTo>
                    <a:pt x="59042" y="0"/>
                  </a:lnTo>
                  <a:lnTo>
                    <a:pt x="47127" y="1195"/>
                  </a:lnTo>
                  <a:lnTo>
                    <a:pt x="10067" y="26018"/>
                  </a:lnTo>
                  <a:lnTo>
                    <a:pt x="0" y="59042"/>
                  </a:lnTo>
                  <a:lnTo>
                    <a:pt x="0" y="263486"/>
                  </a:lnTo>
                  <a:lnTo>
                    <a:pt x="118084" y="263486"/>
                  </a:lnTo>
                  <a:lnTo>
                    <a:pt x="118084" y="59042"/>
                  </a:lnTo>
                  <a:lnTo>
                    <a:pt x="105002" y="21983"/>
                  </a:lnTo>
                  <a:lnTo>
                    <a:pt x="72250" y="1498"/>
                  </a:lnTo>
                  <a:lnTo>
                    <a:pt x="63576" y="0"/>
                  </a:lnTo>
                  <a:close/>
                </a:path>
              </a:pathLst>
            </a:custGeom>
            <a:solidFill>
              <a:srgbClr val="C6CACB"/>
            </a:solidFill>
          </p:spPr>
          <p:txBody>
            <a:bodyPr wrap="square" lIns="0" tIns="0" rIns="0" bIns="0" rtlCol="0"/>
            <a:lstStyle/>
            <a:p>
              <a:endParaRPr/>
            </a:p>
          </p:txBody>
        </p:sp>
        <p:sp>
          <p:nvSpPr>
            <p:cNvPr id="95" name="object 95"/>
            <p:cNvSpPr/>
            <p:nvPr/>
          </p:nvSpPr>
          <p:spPr>
            <a:xfrm>
              <a:off x="3504243" y="6394977"/>
              <a:ext cx="72390" cy="263525"/>
            </a:xfrm>
            <a:custGeom>
              <a:avLst/>
              <a:gdLst/>
              <a:ahLst/>
              <a:cxnLst/>
              <a:rect l="l" t="t" r="r" b="b"/>
              <a:pathLst>
                <a:path w="72389" h="263525">
                  <a:moveTo>
                    <a:pt x="13246" y="0"/>
                  </a:moveTo>
                  <a:lnTo>
                    <a:pt x="8712" y="0"/>
                  </a:lnTo>
                  <a:lnTo>
                    <a:pt x="4267" y="495"/>
                  </a:lnTo>
                  <a:lnTo>
                    <a:pt x="0" y="1498"/>
                  </a:lnTo>
                  <a:lnTo>
                    <a:pt x="18225" y="9062"/>
                  </a:lnTo>
                  <a:lnTo>
                    <a:pt x="32751" y="21978"/>
                  </a:lnTo>
                  <a:lnTo>
                    <a:pt x="42360" y="39040"/>
                  </a:lnTo>
                  <a:lnTo>
                    <a:pt x="45834" y="59042"/>
                  </a:lnTo>
                  <a:lnTo>
                    <a:pt x="45834" y="263474"/>
                  </a:lnTo>
                  <a:lnTo>
                    <a:pt x="72288" y="263474"/>
                  </a:lnTo>
                  <a:lnTo>
                    <a:pt x="72288" y="59042"/>
                  </a:lnTo>
                  <a:lnTo>
                    <a:pt x="67645" y="36052"/>
                  </a:lnTo>
                  <a:lnTo>
                    <a:pt x="54987" y="17286"/>
                  </a:lnTo>
                  <a:lnTo>
                    <a:pt x="36219" y="4637"/>
                  </a:lnTo>
                  <a:lnTo>
                    <a:pt x="13246" y="0"/>
                  </a:lnTo>
                  <a:close/>
                </a:path>
              </a:pathLst>
            </a:custGeom>
            <a:solidFill>
              <a:srgbClr val="18171C">
                <a:alpha val="9999"/>
              </a:srgbClr>
            </a:solidFill>
          </p:spPr>
          <p:txBody>
            <a:bodyPr wrap="square" lIns="0" tIns="0" rIns="0" bIns="0" rtlCol="0"/>
            <a:lstStyle/>
            <a:p>
              <a:endParaRPr/>
            </a:p>
          </p:txBody>
        </p:sp>
        <p:sp>
          <p:nvSpPr>
            <p:cNvPr id="96" name="object 96"/>
            <p:cNvSpPr/>
            <p:nvPr/>
          </p:nvSpPr>
          <p:spPr>
            <a:xfrm>
              <a:off x="3120555" y="6547751"/>
              <a:ext cx="8255" cy="255904"/>
            </a:xfrm>
            <a:custGeom>
              <a:avLst/>
              <a:gdLst/>
              <a:ahLst/>
              <a:cxnLst/>
              <a:rect l="l" t="t" r="r" b="b"/>
              <a:pathLst>
                <a:path w="8255" h="255904">
                  <a:moveTo>
                    <a:pt x="1524" y="0"/>
                  </a:moveTo>
                  <a:lnTo>
                    <a:pt x="0" y="0"/>
                  </a:lnTo>
                  <a:lnTo>
                    <a:pt x="0" y="255308"/>
                  </a:lnTo>
                  <a:lnTo>
                    <a:pt x="1524" y="255308"/>
                  </a:lnTo>
                  <a:lnTo>
                    <a:pt x="1524" y="0"/>
                  </a:lnTo>
                  <a:close/>
                </a:path>
                <a:path w="8255" h="255904">
                  <a:moveTo>
                    <a:pt x="7632" y="0"/>
                  </a:moveTo>
                  <a:lnTo>
                    <a:pt x="6108" y="0"/>
                  </a:lnTo>
                  <a:lnTo>
                    <a:pt x="6108" y="255308"/>
                  </a:lnTo>
                  <a:lnTo>
                    <a:pt x="7632" y="255308"/>
                  </a:lnTo>
                  <a:lnTo>
                    <a:pt x="7632" y="0"/>
                  </a:lnTo>
                  <a:close/>
                </a:path>
              </a:pathLst>
            </a:custGeom>
            <a:solidFill>
              <a:srgbClr val="757B7F"/>
            </a:solidFill>
          </p:spPr>
          <p:txBody>
            <a:bodyPr wrap="square" lIns="0" tIns="0" rIns="0" bIns="0" rtlCol="0"/>
            <a:lstStyle/>
            <a:p>
              <a:endParaRPr/>
            </a:p>
          </p:txBody>
        </p:sp>
        <p:sp>
          <p:nvSpPr>
            <p:cNvPr id="97" name="object 97"/>
            <p:cNvSpPr/>
            <p:nvPr/>
          </p:nvSpPr>
          <p:spPr>
            <a:xfrm>
              <a:off x="3124371" y="6547764"/>
              <a:ext cx="0" cy="250825"/>
            </a:xfrm>
            <a:custGeom>
              <a:avLst/>
              <a:gdLst/>
              <a:ahLst/>
              <a:cxnLst/>
              <a:rect l="l" t="t" r="r" b="b"/>
              <a:pathLst>
                <a:path h="250825">
                  <a:moveTo>
                    <a:pt x="0" y="0"/>
                  </a:moveTo>
                  <a:lnTo>
                    <a:pt x="0" y="250316"/>
                  </a:lnTo>
                </a:path>
              </a:pathLst>
            </a:custGeom>
            <a:ln w="7632">
              <a:solidFill>
                <a:srgbClr val="757B7F"/>
              </a:solidFill>
              <a:prstDash val="dot"/>
            </a:ln>
          </p:spPr>
          <p:txBody>
            <a:bodyPr wrap="square" lIns="0" tIns="0" rIns="0" bIns="0" rtlCol="0"/>
            <a:lstStyle/>
            <a:p>
              <a:endParaRPr/>
            </a:p>
          </p:txBody>
        </p:sp>
        <p:sp>
          <p:nvSpPr>
            <p:cNvPr id="98" name="object 98"/>
            <p:cNvSpPr/>
            <p:nvPr/>
          </p:nvSpPr>
          <p:spPr>
            <a:xfrm>
              <a:off x="3055594" y="6547751"/>
              <a:ext cx="69215" cy="255904"/>
            </a:xfrm>
            <a:custGeom>
              <a:avLst/>
              <a:gdLst/>
              <a:ahLst/>
              <a:cxnLst/>
              <a:rect l="l" t="t" r="r" b="b"/>
              <a:pathLst>
                <a:path w="69214" h="255904">
                  <a:moveTo>
                    <a:pt x="10706" y="0"/>
                  </a:moveTo>
                  <a:lnTo>
                    <a:pt x="0" y="0"/>
                  </a:lnTo>
                  <a:lnTo>
                    <a:pt x="0" y="255308"/>
                  </a:lnTo>
                  <a:lnTo>
                    <a:pt x="10706" y="255308"/>
                  </a:lnTo>
                  <a:lnTo>
                    <a:pt x="10706" y="0"/>
                  </a:lnTo>
                  <a:close/>
                </a:path>
                <a:path w="69214" h="255904">
                  <a:moveTo>
                    <a:pt x="68770" y="0"/>
                  </a:moveTo>
                  <a:lnTo>
                    <a:pt x="58077" y="0"/>
                  </a:lnTo>
                  <a:lnTo>
                    <a:pt x="58077" y="255308"/>
                  </a:lnTo>
                  <a:lnTo>
                    <a:pt x="68770" y="255308"/>
                  </a:lnTo>
                  <a:lnTo>
                    <a:pt x="68770" y="0"/>
                  </a:lnTo>
                  <a:close/>
                </a:path>
              </a:pathLst>
            </a:custGeom>
            <a:solidFill>
              <a:srgbClr val="505457"/>
            </a:solidFill>
          </p:spPr>
          <p:txBody>
            <a:bodyPr wrap="square" lIns="0" tIns="0" rIns="0" bIns="0" rtlCol="0"/>
            <a:lstStyle/>
            <a:p>
              <a:endParaRPr/>
            </a:p>
          </p:txBody>
        </p:sp>
        <p:sp>
          <p:nvSpPr>
            <p:cNvPr id="99" name="object 99"/>
            <p:cNvSpPr/>
            <p:nvPr/>
          </p:nvSpPr>
          <p:spPr>
            <a:xfrm>
              <a:off x="2977481" y="6543563"/>
              <a:ext cx="147320" cy="0"/>
            </a:xfrm>
            <a:custGeom>
              <a:avLst/>
              <a:gdLst/>
              <a:ahLst/>
              <a:cxnLst/>
              <a:rect l="l" t="t" r="r" b="b"/>
              <a:pathLst>
                <a:path w="147319">
                  <a:moveTo>
                    <a:pt x="0" y="0"/>
                  </a:moveTo>
                  <a:lnTo>
                    <a:pt x="146900" y="0"/>
                  </a:lnTo>
                </a:path>
              </a:pathLst>
            </a:custGeom>
            <a:ln w="9944">
              <a:solidFill>
                <a:srgbClr val="757B7F"/>
              </a:solidFill>
            </a:ln>
          </p:spPr>
          <p:txBody>
            <a:bodyPr wrap="square" lIns="0" tIns="0" rIns="0" bIns="0" rtlCol="0"/>
            <a:lstStyle/>
            <a:p>
              <a:endParaRPr/>
            </a:p>
          </p:txBody>
        </p:sp>
        <p:sp>
          <p:nvSpPr>
            <p:cNvPr id="100" name="object 100"/>
            <p:cNvSpPr/>
            <p:nvPr/>
          </p:nvSpPr>
          <p:spPr>
            <a:xfrm>
              <a:off x="2559170" y="6408847"/>
              <a:ext cx="437515" cy="394335"/>
            </a:xfrm>
            <a:custGeom>
              <a:avLst/>
              <a:gdLst/>
              <a:ahLst/>
              <a:cxnLst/>
              <a:rect l="l" t="t" r="r" b="b"/>
              <a:pathLst>
                <a:path w="437514" h="394334">
                  <a:moveTo>
                    <a:pt x="226542" y="0"/>
                  </a:moveTo>
                  <a:lnTo>
                    <a:pt x="210578" y="0"/>
                  </a:lnTo>
                  <a:lnTo>
                    <a:pt x="194083" y="1264"/>
                  </a:lnTo>
                  <a:lnTo>
                    <a:pt x="152273" y="10121"/>
                  </a:lnTo>
                  <a:lnTo>
                    <a:pt x="112648" y="27139"/>
                  </a:lnTo>
                  <a:lnTo>
                    <a:pt x="71158" y="57035"/>
                  </a:lnTo>
                  <a:lnTo>
                    <a:pt x="36398" y="97650"/>
                  </a:lnTo>
                  <a:lnTo>
                    <a:pt x="16002" y="136169"/>
                  </a:lnTo>
                  <a:lnTo>
                    <a:pt x="3530" y="178892"/>
                  </a:lnTo>
                  <a:lnTo>
                    <a:pt x="0" y="214248"/>
                  </a:lnTo>
                  <a:lnTo>
                    <a:pt x="0" y="218465"/>
                  </a:lnTo>
                  <a:lnTo>
                    <a:pt x="0" y="394207"/>
                  </a:lnTo>
                  <a:lnTo>
                    <a:pt x="437083" y="394207"/>
                  </a:lnTo>
                  <a:lnTo>
                    <a:pt x="437083" y="214248"/>
                  </a:lnTo>
                  <a:lnTo>
                    <a:pt x="430606" y="165366"/>
                  </a:lnTo>
                  <a:lnTo>
                    <a:pt x="416077" y="124752"/>
                  </a:lnTo>
                  <a:lnTo>
                    <a:pt x="391045" y="84264"/>
                  </a:lnTo>
                  <a:lnTo>
                    <a:pt x="356527" y="48920"/>
                  </a:lnTo>
                  <a:lnTo>
                    <a:pt x="324472" y="27139"/>
                  </a:lnTo>
                  <a:lnTo>
                    <a:pt x="279311" y="8470"/>
                  </a:lnTo>
                  <a:lnTo>
                    <a:pt x="241439" y="1003"/>
                  </a:lnTo>
                  <a:lnTo>
                    <a:pt x="226542" y="0"/>
                  </a:lnTo>
                  <a:close/>
                </a:path>
              </a:pathLst>
            </a:custGeom>
            <a:solidFill>
              <a:srgbClr val="DFE1E1"/>
            </a:solidFill>
          </p:spPr>
          <p:txBody>
            <a:bodyPr wrap="square" lIns="0" tIns="0" rIns="0" bIns="0" rtlCol="0"/>
            <a:lstStyle/>
            <a:p>
              <a:endParaRPr/>
            </a:p>
          </p:txBody>
        </p:sp>
        <p:sp>
          <p:nvSpPr>
            <p:cNvPr id="101" name="object 101"/>
            <p:cNvSpPr/>
            <p:nvPr/>
          </p:nvSpPr>
          <p:spPr>
            <a:xfrm>
              <a:off x="2749840" y="6408840"/>
              <a:ext cx="247015" cy="394335"/>
            </a:xfrm>
            <a:custGeom>
              <a:avLst/>
              <a:gdLst/>
              <a:ahLst/>
              <a:cxnLst/>
              <a:rect l="l" t="t" r="r" b="b"/>
              <a:pathLst>
                <a:path w="247014" h="394334">
                  <a:moveTo>
                    <a:pt x="36322" y="0"/>
                  </a:moveTo>
                  <a:lnTo>
                    <a:pt x="20358" y="0"/>
                  </a:lnTo>
                  <a:lnTo>
                    <a:pt x="5410" y="1054"/>
                  </a:lnTo>
                  <a:lnTo>
                    <a:pt x="0" y="1790"/>
                  </a:lnTo>
                  <a:lnTo>
                    <a:pt x="8272" y="2984"/>
                  </a:lnTo>
                  <a:lnTo>
                    <a:pt x="16440" y="4503"/>
                  </a:lnTo>
                  <a:lnTo>
                    <a:pt x="54978" y="16179"/>
                  </a:lnTo>
                  <a:lnTo>
                    <a:pt x="91059" y="35305"/>
                  </a:lnTo>
                  <a:lnTo>
                    <a:pt x="130111" y="67856"/>
                  </a:lnTo>
                  <a:lnTo>
                    <a:pt x="157403" y="103111"/>
                  </a:lnTo>
                  <a:lnTo>
                    <a:pt x="178117" y="146443"/>
                  </a:lnTo>
                  <a:lnTo>
                    <a:pt x="188391" y="189725"/>
                  </a:lnTo>
                  <a:lnTo>
                    <a:pt x="190220" y="394207"/>
                  </a:lnTo>
                  <a:lnTo>
                    <a:pt x="246849" y="394207"/>
                  </a:lnTo>
                  <a:lnTo>
                    <a:pt x="246849" y="214248"/>
                  </a:lnTo>
                  <a:lnTo>
                    <a:pt x="245021" y="189725"/>
                  </a:lnTo>
                  <a:lnTo>
                    <a:pt x="234746" y="146443"/>
                  </a:lnTo>
                  <a:lnTo>
                    <a:pt x="214020" y="103111"/>
                  </a:lnTo>
                  <a:lnTo>
                    <a:pt x="186740" y="67856"/>
                  </a:lnTo>
                  <a:lnTo>
                    <a:pt x="151765" y="38049"/>
                  </a:lnTo>
                  <a:lnTo>
                    <a:pt x="118427" y="19303"/>
                  </a:lnTo>
                  <a:lnTo>
                    <a:pt x="77231" y="5404"/>
                  </a:lnTo>
                  <a:lnTo>
                    <a:pt x="52805" y="1264"/>
                  </a:lnTo>
                  <a:lnTo>
                    <a:pt x="36322" y="0"/>
                  </a:lnTo>
                  <a:close/>
                </a:path>
              </a:pathLst>
            </a:custGeom>
            <a:solidFill>
              <a:srgbClr val="18171C">
                <a:alpha val="5000"/>
              </a:srgbClr>
            </a:solidFill>
          </p:spPr>
          <p:txBody>
            <a:bodyPr wrap="square" lIns="0" tIns="0" rIns="0" bIns="0" rtlCol="0"/>
            <a:lstStyle/>
            <a:p>
              <a:endParaRPr/>
            </a:p>
          </p:txBody>
        </p:sp>
        <p:sp>
          <p:nvSpPr>
            <p:cNvPr id="102" name="object 102"/>
            <p:cNvSpPr/>
            <p:nvPr/>
          </p:nvSpPr>
          <p:spPr>
            <a:xfrm>
              <a:off x="2981332" y="6547761"/>
              <a:ext cx="143510" cy="20955"/>
            </a:xfrm>
            <a:custGeom>
              <a:avLst/>
              <a:gdLst/>
              <a:ahLst/>
              <a:cxnLst/>
              <a:rect l="l" t="t" r="r" b="b"/>
              <a:pathLst>
                <a:path w="143510" h="20954">
                  <a:moveTo>
                    <a:pt x="143052" y="0"/>
                  </a:moveTo>
                  <a:lnTo>
                    <a:pt x="0" y="0"/>
                  </a:lnTo>
                  <a:lnTo>
                    <a:pt x="6146" y="18021"/>
                  </a:lnTo>
                  <a:lnTo>
                    <a:pt x="6883" y="20675"/>
                  </a:lnTo>
                  <a:lnTo>
                    <a:pt x="143052" y="20675"/>
                  </a:lnTo>
                  <a:lnTo>
                    <a:pt x="143052" y="0"/>
                  </a:lnTo>
                  <a:close/>
                </a:path>
              </a:pathLst>
            </a:custGeom>
            <a:solidFill>
              <a:srgbClr val="9BA0A3"/>
            </a:solidFill>
          </p:spPr>
          <p:txBody>
            <a:bodyPr wrap="square" lIns="0" tIns="0" rIns="0" bIns="0" rtlCol="0"/>
            <a:lstStyle/>
            <a:p>
              <a:endParaRPr/>
            </a:p>
          </p:txBody>
        </p:sp>
        <p:sp>
          <p:nvSpPr>
            <p:cNvPr id="103" name="object 103"/>
            <p:cNvSpPr/>
            <p:nvPr/>
          </p:nvSpPr>
          <p:spPr>
            <a:xfrm>
              <a:off x="2559520" y="6417348"/>
              <a:ext cx="436880" cy="197485"/>
            </a:xfrm>
            <a:custGeom>
              <a:avLst/>
              <a:gdLst/>
              <a:ahLst/>
              <a:cxnLst/>
              <a:rect l="l" t="t" r="r" b="b"/>
              <a:pathLst>
                <a:path w="436880" h="197484">
                  <a:moveTo>
                    <a:pt x="287147" y="2565"/>
                  </a:moveTo>
                  <a:lnTo>
                    <a:pt x="278942" y="0"/>
                  </a:lnTo>
                  <a:lnTo>
                    <a:pt x="157391" y="0"/>
                  </a:lnTo>
                  <a:lnTo>
                    <a:pt x="149186" y="2565"/>
                  </a:lnTo>
                  <a:lnTo>
                    <a:pt x="287147" y="2565"/>
                  </a:lnTo>
                  <a:close/>
                </a:path>
                <a:path w="436880" h="197484">
                  <a:moveTo>
                    <a:pt x="313728" y="13385"/>
                  </a:moveTo>
                  <a:lnTo>
                    <a:pt x="308279" y="10820"/>
                  </a:lnTo>
                  <a:lnTo>
                    <a:pt x="128054" y="10820"/>
                  </a:lnTo>
                  <a:lnTo>
                    <a:pt x="122593" y="13385"/>
                  </a:lnTo>
                  <a:lnTo>
                    <a:pt x="313728" y="13385"/>
                  </a:lnTo>
                  <a:close/>
                </a:path>
                <a:path w="436880" h="197484">
                  <a:moveTo>
                    <a:pt x="333324" y="24206"/>
                  </a:moveTo>
                  <a:lnTo>
                    <a:pt x="329057" y="21640"/>
                  </a:lnTo>
                  <a:lnTo>
                    <a:pt x="107276" y="21640"/>
                  </a:lnTo>
                  <a:lnTo>
                    <a:pt x="103022" y="24206"/>
                  </a:lnTo>
                  <a:lnTo>
                    <a:pt x="333324" y="24206"/>
                  </a:lnTo>
                  <a:close/>
                </a:path>
                <a:path w="436880" h="197484">
                  <a:moveTo>
                    <a:pt x="349135" y="35026"/>
                  </a:moveTo>
                  <a:lnTo>
                    <a:pt x="345655" y="32461"/>
                  </a:lnTo>
                  <a:lnTo>
                    <a:pt x="90678" y="32461"/>
                  </a:lnTo>
                  <a:lnTo>
                    <a:pt x="87198" y="35026"/>
                  </a:lnTo>
                  <a:lnTo>
                    <a:pt x="349135" y="35026"/>
                  </a:lnTo>
                  <a:close/>
                </a:path>
                <a:path w="436880" h="197484">
                  <a:moveTo>
                    <a:pt x="362521" y="45885"/>
                  </a:moveTo>
                  <a:lnTo>
                    <a:pt x="359498" y="43281"/>
                  </a:lnTo>
                  <a:lnTo>
                    <a:pt x="76835" y="43281"/>
                  </a:lnTo>
                  <a:lnTo>
                    <a:pt x="73812" y="45885"/>
                  </a:lnTo>
                  <a:lnTo>
                    <a:pt x="362521" y="45885"/>
                  </a:lnTo>
                  <a:close/>
                </a:path>
                <a:path w="436880" h="197484">
                  <a:moveTo>
                    <a:pt x="373938" y="56705"/>
                  </a:moveTo>
                  <a:lnTo>
                    <a:pt x="371322" y="54089"/>
                  </a:lnTo>
                  <a:lnTo>
                    <a:pt x="65011" y="54089"/>
                  </a:lnTo>
                  <a:lnTo>
                    <a:pt x="62395" y="56705"/>
                  </a:lnTo>
                  <a:lnTo>
                    <a:pt x="373938" y="56705"/>
                  </a:lnTo>
                  <a:close/>
                </a:path>
                <a:path w="436880" h="197484">
                  <a:moveTo>
                    <a:pt x="383933" y="67525"/>
                  </a:moveTo>
                  <a:lnTo>
                    <a:pt x="381647" y="64909"/>
                  </a:lnTo>
                  <a:lnTo>
                    <a:pt x="54698" y="64909"/>
                  </a:lnTo>
                  <a:lnTo>
                    <a:pt x="52400" y="67525"/>
                  </a:lnTo>
                  <a:lnTo>
                    <a:pt x="383933" y="67525"/>
                  </a:lnTo>
                  <a:close/>
                </a:path>
                <a:path w="436880" h="197484">
                  <a:moveTo>
                    <a:pt x="392645" y="78346"/>
                  </a:moveTo>
                  <a:lnTo>
                    <a:pt x="390677" y="75780"/>
                  </a:lnTo>
                  <a:lnTo>
                    <a:pt x="45707" y="75780"/>
                  </a:lnTo>
                  <a:lnTo>
                    <a:pt x="43738" y="78346"/>
                  </a:lnTo>
                  <a:lnTo>
                    <a:pt x="392645" y="78346"/>
                  </a:lnTo>
                  <a:close/>
                </a:path>
                <a:path w="436880" h="197484">
                  <a:moveTo>
                    <a:pt x="400304" y="89166"/>
                  </a:moveTo>
                  <a:lnTo>
                    <a:pt x="398564" y="86601"/>
                  </a:lnTo>
                  <a:lnTo>
                    <a:pt x="37769" y="86601"/>
                  </a:lnTo>
                  <a:lnTo>
                    <a:pt x="36029" y="89166"/>
                  </a:lnTo>
                  <a:lnTo>
                    <a:pt x="400304" y="89166"/>
                  </a:lnTo>
                  <a:close/>
                </a:path>
                <a:path w="436880" h="197484">
                  <a:moveTo>
                    <a:pt x="407085" y="99987"/>
                  </a:moveTo>
                  <a:lnTo>
                    <a:pt x="405536" y="97421"/>
                  </a:lnTo>
                  <a:lnTo>
                    <a:pt x="30810" y="97421"/>
                  </a:lnTo>
                  <a:lnTo>
                    <a:pt x="29298" y="99987"/>
                  </a:lnTo>
                  <a:lnTo>
                    <a:pt x="407085" y="99987"/>
                  </a:lnTo>
                  <a:close/>
                </a:path>
                <a:path w="436880" h="197484">
                  <a:moveTo>
                    <a:pt x="413004" y="110858"/>
                  </a:moveTo>
                  <a:lnTo>
                    <a:pt x="411632" y="108242"/>
                  </a:lnTo>
                  <a:lnTo>
                    <a:pt x="24714" y="108242"/>
                  </a:lnTo>
                  <a:lnTo>
                    <a:pt x="23380" y="110858"/>
                  </a:lnTo>
                  <a:lnTo>
                    <a:pt x="413004" y="110858"/>
                  </a:lnTo>
                  <a:close/>
                </a:path>
                <a:path w="436880" h="197484">
                  <a:moveTo>
                    <a:pt x="418147" y="121678"/>
                  </a:moveTo>
                  <a:lnTo>
                    <a:pt x="416953" y="119062"/>
                  </a:lnTo>
                  <a:lnTo>
                    <a:pt x="19392" y="119062"/>
                  </a:lnTo>
                  <a:lnTo>
                    <a:pt x="18199" y="121678"/>
                  </a:lnTo>
                  <a:lnTo>
                    <a:pt x="418147" y="121678"/>
                  </a:lnTo>
                  <a:close/>
                </a:path>
                <a:path w="436880" h="197484">
                  <a:moveTo>
                    <a:pt x="422579" y="132499"/>
                  </a:moveTo>
                  <a:lnTo>
                    <a:pt x="421576" y="129882"/>
                  </a:lnTo>
                  <a:lnTo>
                    <a:pt x="14795" y="129882"/>
                  </a:lnTo>
                  <a:lnTo>
                    <a:pt x="13792" y="132499"/>
                  </a:lnTo>
                  <a:lnTo>
                    <a:pt x="422579" y="132499"/>
                  </a:lnTo>
                  <a:close/>
                </a:path>
                <a:path w="436880" h="197484">
                  <a:moveTo>
                    <a:pt x="426351" y="143319"/>
                  </a:moveTo>
                  <a:lnTo>
                    <a:pt x="425526" y="140754"/>
                  </a:lnTo>
                  <a:lnTo>
                    <a:pt x="10871" y="140754"/>
                  </a:lnTo>
                  <a:lnTo>
                    <a:pt x="9994" y="143319"/>
                  </a:lnTo>
                  <a:lnTo>
                    <a:pt x="426351" y="143319"/>
                  </a:lnTo>
                  <a:close/>
                </a:path>
                <a:path w="436880" h="197484">
                  <a:moveTo>
                    <a:pt x="429514" y="154139"/>
                  </a:moveTo>
                  <a:lnTo>
                    <a:pt x="428828" y="151574"/>
                  </a:lnTo>
                  <a:lnTo>
                    <a:pt x="7518" y="151574"/>
                  </a:lnTo>
                  <a:lnTo>
                    <a:pt x="6832" y="154139"/>
                  </a:lnTo>
                  <a:lnTo>
                    <a:pt x="429514" y="154139"/>
                  </a:lnTo>
                  <a:close/>
                </a:path>
                <a:path w="436880" h="197484">
                  <a:moveTo>
                    <a:pt x="432028" y="164960"/>
                  </a:moveTo>
                  <a:lnTo>
                    <a:pt x="431469" y="162394"/>
                  </a:lnTo>
                  <a:lnTo>
                    <a:pt x="4851" y="162394"/>
                  </a:lnTo>
                  <a:lnTo>
                    <a:pt x="4305" y="164960"/>
                  </a:lnTo>
                  <a:lnTo>
                    <a:pt x="432028" y="164960"/>
                  </a:lnTo>
                  <a:close/>
                </a:path>
                <a:path w="436880" h="197484">
                  <a:moveTo>
                    <a:pt x="434047" y="175780"/>
                  </a:moveTo>
                  <a:lnTo>
                    <a:pt x="433628" y="173215"/>
                  </a:lnTo>
                  <a:lnTo>
                    <a:pt x="2743" y="173215"/>
                  </a:lnTo>
                  <a:lnTo>
                    <a:pt x="2286" y="175780"/>
                  </a:lnTo>
                  <a:lnTo>
                    <a:pt x="434047" y="175780"/>
                  </a:lnTo>
                  <a:close/>
                </a:path>
                <a:path w="436880" h="197484">
                  <a:moveTo>
                    <a:pt x="435457" y="186639"/>
                  </a:moveTo>
                  <a:lnTo>
                    <a:pt x="435140" y="184023"/>
                  </a:lnTo>
                  <a:lnTo>
                    <a:pt x="1181" y="184023"/>
                  </a:lnTo>
                  <a:lnTo>
                    <a:pt x="863" y="186639"/>
                  </a:lnTo>
                  <a:lnTo>
                    <a:pt x="435457" y="186639"/>
                  </a:lnTo>
                  <a:close/>
                </a:path>
                <a:path w="436880" h="197484">
                  <a:moveTo>
                    <a:pt x="436346" y="197459"/>
                  </a:moveTo>
                  <a:lnTo>
                    <a:pt x="436156" y="194856"/>
                  </a:lnTo>
                  <a:lnTo>
                    <a:pt x="190" y="194856"/>
                  </a:lnTo>
                  <a:lnTo>
                    <a:pt x="0" y="197459"/>
                  </a:lnTo>
                  <a:lnTo>
                    <a:pt x="436346" y="197459"/>
                  </a:lnTo>
                  <a:close/>
                </a:path>
              </a:pathLst>
            </a:custGeom>
            <a:solidFill>
              <a:srgbClr val="C6CACB"/>
            </a:solidFill>
          </p:spPr>
          <p:txBody>
            <a:bodyPr wrap="square" lIns="0" tIns="0" rIns="0" bIns="0" rtlCol="0"/>
            <a:lstStyle/>
            <a:p>
              <a:endParaRPr/>
            </a:p>
          </p:txBody>
        </p:sp>
        <p:sp>
          <p:nvSpPr>
            <p:cNvPr id="104" name="object 104"/>
            <p:cNvSpPr/>
            <p:nvPr/>
          </p:nvSpPr>
          <p:spPr>
            <a:xfrm>
              <a:off x="2559160" y="6605897"/>
              <a:ext cx="565785" cy="10160"/>
            </a:xfrm>
            <a:custGeom>
              <a:avLst/>
              <a:gdLst/>
              <a:ahLst/>
              <a:cxnLst/>
              <a:rect l="l" t="t" r="r" b="b"/>
              <a:pathLst>
                <a:path w="565785" h="10159">
                  <a:moveTo>
                    <a:pt x="565226" y="0"/>
                  </a:moveTo>
                  <a:lnTo>
                    <a:pt x="2273" y="0"/>
                  </a:lnTo>
                  <a:lnTo>
                    <a:pt x="0" y="0"/>
                  </a:lnTo>
                  <a:lnTo>
                    <a:pt x="0" y="9944"/>
                  </a:lnTo>
                  <a:lnTo>
                    <a:pt x="2273" y="9944"/>
                  </a:lnTo>
                  <a:lnTo>
                    <a:pt x="2273" y="2095"/>
                  </a:lnTo>
                  <a:lnTo>
                    <a:pt x="25577" y="2095"/>
                  </a:lnTo>
                  <a:lnTo>
                    <a:pt x="25577" y="9944"/>
                  </a:lnTo>
                  <a:lnTo>
                    <a:pt x="27863" y="9944"/>
                  </a:lnTo>
                  <a:lnTo>
                    <a:pt x="27863" y="2095"/>
                  </a:lnTo>
                  <a:lnTo>
                    <a:pt x="51168" y="2095"/>
                  </a:lnTo>
                  <a:lnTo>
                    <a:pt x="51168" y="9944"/>
                  </a:lnTo>
                  <a:lnTo>
                    <a:pt x="53454" y="9944"/>
                  </a:lnTo>
                  <a:lnTo>
                    <a:pt x="53454" y="2095"/>
                  </a:lnTo>
                  <a:lnTo>
                    <a:pt x="76758" y="2095"/>
                  </a:lnTo>
                  <a:lnTo>
                    <a:pt x="76758" y="9944"/>
                  </a:lnTo>
                  <a:lnTo>
                    <a:pt x="79044" y="9944"/>
                  </a:lnTo>
                  <a:lnTo>
                    <a:pt x="79044" y="2095"/>
                  </a:lnTo>
                  <a:lnTo>
                    <a:pt x="102349" y="2095"/>
                  </a:lnTo>
                  <a:lnTo>
                    <a:pt x="102349" y="9944"/>
                  </a:lnTo>
                  <a:lnTo>
                    <a:pt x="104622" y="9944"/>
                  </a:lnTo>
                  <a:lnTo>
                    <a:pt x="104622" y="2095"/>
                  </a:lnTo>
                  <a:lnTo>
                    <a:pt x="127939" y="2095"/>
                  </a:lnTo>
                  <a:lnTo>
                    <a:pt x="127939" y="9944"/>
                  </a:lnTo>
                  <a:lnTo>
                    <a:pt x="130213" y="9944"/>
                  </a:lnTo>
                  <a:lnTo>
                    <a:pt x="130213" y="2095"/>
                  </a:lnTo>
                  <a:lnTo>
                    <a:pt x="153517" y="2095"/>
                  </a:lnTo>
                  <a:lnTo>
                    <a:pt x="153517" y="9944"/>
                  </a:lnTo>
                  <a:lnTo>
                    <a:pt x="155803" y="9944"/>
                  </a:lnTo>
                  <a:lnTo>
                    <a:pt x="155803" y="2095"/>
                  </a:lnTo>
                  <a:lnTo>
                    <a:pt x="179120" y="2095"/>
                  </a:lnTo>
                  <a:lnTo>
                    <a:pt x="179120" y="9944"/>
                  </a:lnTo>
                  <a:lnTo>
                    <a:pt x="181394" y="9944"/>
                  </a:lnTo>
                  <a:lnTo>
                    <a:pt x="181394" y="2095"/>
                  </a:lnTo>
                  <a:lnTo>
                    <a:pt x="204698" y="2095"/>
                  </a:lnTo>
                  <a:lnTo>
                    <a:pt x="204698" y="9944"/>
                  </a:lnTo>
                  <a:lnTo>
                    <a:pt x="206984" y="9944"/>
                  </a:lnTo>
                  <a:lnTo>
                    <a:pt x="206984" y="2095"/>
                  </a:lnTo>
                  <a:lnTo>
                    <a:pt x="230289" y="2095"/>
                  </a:lnTo>
                  <a:lnTo>
                    <a:pt x="230289" y="9944"/>
                  </a:lnTo>
                  <a:lnTo>
                    <a:pt x="232562" y="9944"/>
                  </a:lnTo>
                  <a:lnTo>
                    <a:pt x="232562" y="2095"/>
                  </a:lnTo>
                  <a:lnTo>
                    <a:pt x="255879" y="2095"/>
                  </a:lnTo>
                  <a:lnTo>
                    <a:pt x="255879" y="9944"/>
                  </a:lnTo>
                  <a:lnTo>
                    <a:pt x="258165" y="9944"/>
                  </a:lnTo>
                  <a:lnTo>
                    <a:pt x="258165" y="2095"/>
                  </a:lnTo>
                  <a:lnTo>
                    <a:pt x="281470" y="2095"/>
                  </a:lnTo>
                  <a:lnTo>
                    <a:pt x="281470" y="9944"/>
                  </a:lnTo>
                  <a:lnTo>
                    <a:pt x="283743" y="9944"/>
                  </a:lnTo>
                  <a:lnTo>
                    <a:pt x="283743" y="2095"/>
                  </a:lnTo>
                  <a:lnTo>
                    <a:pt x="307060" y="2095"/>
                  </a:lnTo>
                  <a:lnTo>
                    <a:pt x="307060" y="9944"/>
                  </a:lnTo>
                  <a:lnTo>
                    <a:pt x="309333" y="9944"/>
                  </a:lnTo>
                  <a:lnTo>
                    <a:pt x="309333" y="2095"/>
                  </a:lnTo>
                  <a:lnTo>
                    <a:pt x="332638" y="2095"/>
                  </a:lnTo>
                  <a:lnTo>
                    <a:pt x="332638" y="9944"/>
                  </a:lnTo>
                  <a:lnTo>
                    <a:pt x="334924" y="9944"/>
                  </a:lnTo>
                  <a:lnTo>
                    <a:pt x="334924" y="2095"/>
                  </a:lnTo>
                  <a:lnTo>
                    <a:pt x="358228" y="2095"/>
                  </a:lnTo>
                  <a:lnTo>
                    <a:pt x="358228" y="9944"/>
                  </a:lnTo>
                  <a:lnTo>
                    <a:pt x="360514" y="9944"/>
                  </a:lnTo>
                  <a:lnTo>
                    <a:pt x="360514" y="2095"/>
                  </a:lnTo>
                  <a:lnTo>
                    <a:pt x="383819" y="2095"/>
                  </a:lnTo>
                  <a:lnTo>
                    <a:pt x="383819" y="9944"/>
                  </a:lnTo>
                  <a:lnTo>
                    <a:pt x="386105" y="9944"/>
                  </a:lnTo>
                  <a:lnTo>
                    <a:pt x="386105" y="2095"/>
                  </a:lnTo>
                  <a:lnTo>
                    <a:pt x="409409" y="2095"/>
                  </a:lnTo>
                  <a:lnTo>
                    <a:pt x="409409" y="9944"/>
                  </a:lnTo>
                  <a:lnTo>
                    <a:pt x="411683" y="9944"/>
                  </a:lnTo>
                  <a:lnTo>
                    <a:pt x="411683" y="2095"/>
                  </a:lnTo>
                  <a:lnTo>
                    <a:pt x="435000" y="2095"/>
                  </a:lnTo>
                  <a:lnTo>
                    <a:pt x="435000" y="9944"/>
                  </a:lnTo>
                  <a:lnTo>
                    <a:pt x="437273" y="9944"/>
                  </a:lnTo>
                  <a:lnTo>
                    <a:pt x="437273" y="2095"/>
                  </a:lnTo>
                  <a:lnTo>
                    <a:pt x="460590" y="2095"/>
                  </a:lnTo>
                  <a:lnTo>
                    <a:pt x="460590" y="9944"/>
                  </a:lnTo>
                  <a:lnTo>
                    <a:pt x="462876" y="9944"/>
                  </a:lnTo>
                  <a:lnTo>
                    <a:pt x="462876" y="2095"/>
                  </a:lnTo>
                  <a:lnTo>
                    <a:pt x="486181" y="2095"/>
                  </a:lnTo>
                  <a:lnTo>
                    <a:pt x="486181" y="9944"/>
                  </a:lnTo>
                  <a:lnTo>
                    <a:pt x="488454" y="9944"/>
                  </a:lnTo>
                  <a:lnTo>
                    <a:pt x="488454" y="2095"/>
                  </a:lnTo>
                  <a:lnTo>
                    <a:pt x="511759" y="2095"/>
                  </a:lnTo>
                  <a:lnTo>
                    <a:pt x="511759" y="9944"/>
                  </a:lnTo>
                  <a:lnTo>
                    <a:pt x="514045" y="9944"/>
                  </a:lnTo>
                  <a:lnTo>
                    <a:pt x="514045" y="2095"/>
                  </a:lnTo>
                  <a:lnTo>
                    <a:pt x="537349" y="2095"/>
                  </a:lnTo>
                  <a:lnTo>
                    <a:pt x="537349" y="9944"/>
                  </a:lnTo>
                  <a:lnTo>
                    <a:pt x="539623" y="9944"/>
                  </a:lnTo>
                  <a:lnTo>
                    <a:pt x="539623" y="2095"/>
                  </a:lnTo>
                  <a:lnTo>
                    <a:pt x="562940" y="2095"/>
                  </a:lnTo>
                  <a:lnTo>
                    <a:pt x="562940" y="9944"/>
                  </a:lnTo>
                  <a:lnTo>
                    <a:pt x="565226" y="9944"/>
                  </a:lnTo>
                  <a:lnTo>
                    <a:pt x="565226" y="0"/>
                  </a:lnTo>
                  <a:close/>
                </a:path>
              </a:pathLst>
            </a:custGeom>
            <a:solidFill>
              <a:srgbClr val="757B7F"/>
            </a:solidFill>
          </p:spPr>
          <p:txBody>
            <a:bodyPr wrap="square" lIns="0" tIns="0" rIns="0" bIns="0" rtlCol="0"/>
            <a:lstStyle/>
            <a:p>
              <a:endParaRPr/>
            </a:p>
          </p:txBody>
        </p:sp>
        <p:sp>
          <p:nvSpPr>
            <p:cNvPr id="105" name="object 105"/>
            <p:cNvSpPr/>
            <p:nvPr/>
          </p:nvSpPr>
          <p:spPr>
            <a:xfrm>
              <a:off x="2559164" y="6614629"/>
              <a:ext cx="565785" cy="20955"/>
            </a:xfrm>
            <a:custGeom>
              <a:avLst/>
              <a:gdLst/>
              <a:ahLst/>
              <a:cxnLst/>
              <a:rect l="l" t="t" r="r" b="b"/>
              <a:pathLst>
                <a:path w="565785" h="20954">
                  <a:moveTo>
                    <a:pt x="565213" y="0"/>
                  </a:moveTo>
                  <a:lnTo>
                    <a:pt x="0" y="0"/>
                  </a:lnTo>
                  <a:lnTo>
                    <a:pt x="0" y="20713"/>
                  </a:lnTo>
                  <a:lnTo>
                    <a:pt x="565213" y="20713"/>
                  </a:lnTo>
                  <a:lnTo>
                    <a:pt x="565213" y="0"/>
                  </a:lnTo>
                  <a:close/>
                </a:path>
              </a:pathLst>
            </a:custGeom>
            <a:solidFill>
              <a:srgbClr val="9BA0A3"/>
            </a:solidFill>
          </p:spPr>
          <p:txBody>
            <a:bodyPr wrap="square" lIns="0" tIns="0" rIns="0" bIns="0" rtlCol="0"/>
            <a:lstStyle/>
            <a:p>
              <a:endParaRPr/>
            </a:p>
          </p:txBody>
        </p:sp>
        <p:sp>
          <p:nvSpPr>
            <p:cNvPr id="106" name="object 106"/>
            <p:cNvSpPr/>
            <p:nvPr/>
          </p:nvSpPr>
          <p:spPr>
            <a:xfrm>
              <a:off x="4445127" y="6591375"/>
              <a:ext cx="8255" cy="259715"/>
            </a:xfrm>
            <a:custGeom>
              <a:avLst/>
              <a:gdLst/>
              <a:ahLst/>
              <a:cxnLst/>
              <a:rect l="l" t="t" r="r" b="b"/>
              <a:pathLst>
                <a:path w="8254" h="259715">
                  <a:moveTo>
                    <a:pt x="1549" y="0"/>
                  </a:moveTo>
                  <a:lnTo>
                    <a:pt x="0" y="0"/>
                  </a:lnTo>
                  <a:lnTo>
                    <a:pt x="0" y="259219"/>
                  </a:lnTo>
                  <a:lnTo>
                    <a:pt x="1549" y="259219"/>
                  </a:lnTo>
                  <a:lnTo>
                    <a:pt x="1549" y="0"/>
                  </a:lnTo>
                  <a:close/>
                </a:path>
                <a:path w="8254" h="259715">
                  <a:moveTo>
                    <a:pt x="7759" y="0"/>
                  </a:moveTo>
                  <a:lnTo>
                    <a:pt x="6210" y="0"/>
                  </a:lnTo>
                  <a:lnTo>
                    <a:pt x="6210" y="259219"/>
                  </a:lnTo>
                  <a:lnTo>
                    <a:pt x="7759" y="259219"/>
                  </a:lnTo>
                  <a:lnTo>
                    <a:pt x="7759" y="0"/>
                  </a:lnTo>
                  <a:close/>
                </a:path>
              </a:pathLst>
            </a:custGeom>
            <a:solidFill>
              <a:srgbClr val="757B7F"/>
            </a:solidFill>
          </p:spPr>
          <p:txBody>
            <a:bodyPr wrap="square" lIns="0" tIns="0" rIns="0" bIns="0" rtlCol="0"/>
            <a:lstStyle/>
            <a:p>
              <a:endParaRPr/>
            </a:p>
          </p:txBody>
        </p:sp>
        <p:sp>
          <p:nvSpPr>
            <p:cNvPr id="107" name="object 107"/>
            <p:cNvSpPr/>
            <p:nvPr/>
          </p:nvSpPr>
          <p:spPr>
            <a:xfrm>
              <a:off x="4449006" y="6591363"/>
              <a:ext cx="0" cy="254635"/>
            </a:xfrm>
            <a:custGeom>
              <a:avLst/>
              <a:gdLst/>
              <a:ahLst/>
              <a:cxnLst/>
              <a:rect l="l" t="t" r="r" b="b"/>
              <a:pathLst>
                <a:path h="254634">
                  <a:moveTo>
                    <a:pt x="0" y="0"/>
                  </a:moveTo>
                  <a:lnTo>
                    <a:pt x="0" y="254165"/>
                  </a:lnTo>
                </a:path>
              </a:pathLst>
            </a:custGeom>
            <a:ln w="7759">
              <a:solidFill>
                <a:srgbClr val="757B7F"/>
              </a:solidFill>
              <a:prstDash val="dot"/>
            </a:ln>
          </p:spPr>
          <p:txBody>
            <a:bodyPr wrap="square" lIns="0" tIns="0" rIns="0" bIns="0" rtlCol="0"/>
            <a:lstStyle/>
            <a:p>
              <a:endParaRPr/>
            </a:p>
          </p:txBody>
        </p:sp>
        <p:sp>
          <p:nvSpPr>
            <p:cNvPr id="108" name="object 108"/>
            <p:cNvSpPr/>
            <p:nvPr/>
          </p:nvSpPr>
          <p:spPr>
            <a:xfrm>
              <a:off x="4379163" y="6591375"/>
              <a:ext cx="69850" cy="259715"/>
            </a:xfrm>
            <a:custGeom>
              <a:avLst/>
              <a:gdLst/>
              <a:ahLst/>
              <a:cxnLst/>
              <a:rect l="l" t="t" r="r" b="b"/>
              <a:pathLst>
                <a:path w="69850" h="259715">
                  <a:moveTo>
                    <a:pt x="10858" y="0"/>
                  </a:moveTo>
                  <a:lnTo>
                    <a:pt x="0" y="0"/>
                  </a:lnTo>
                  <a:lnTo>
                    <a:pt x="0" y="259219"/>
                  </a:lnTo>
                  <a:lnTo>
                    <a:pt x="10858" y="259219"/>
                  </a:lnTo>
                  <a:lnTo>
                    <a:pt x="10858" y="0"/>
                  </a:lnTo>
                  <a:close/>
                </a:path>
                <a:path w="69850" h="259715">
                  <a:moveTo>
                    <a:pt x="69824" y="0"/>
                  </a:moveTo>
                  <a:lnTo>
                    <a:pt x="58966" y="0"/>
                  </a:lnTo>
                  <a:lnTo>
                    <a:pt x="58966" y="259219"/>
                  </a:lnTo>
                  <a:lnTo>
                    <a:pt x="69824" y="259219"/>
                  </a:lnTo>
                  <a:lnTo>
                    <a:pt x="69824" y="0"/>
                  </a:lnTo>
                  <a:close/>
                </a:path>
              </a:pathLst>
            </a:custGeom>
            <a:solidFill>
              <a:srgbClr val="505457"/>
            </a:solidFill>
          </p:spPr>
          <p:txBody>
            <a:bodyPr wrap="square" lIns="0" tIns="0" rIns="0" bIns="0" rtlCol="0"/>
            <a:lstStyle/>
            <a:p>
              <a:endParaRPr/>
            </a:p>
          </p:txBody>
        </p:sp>
        <p:sp>
          <p:nvSpPr>
            <p:cNvPr id="109" name="object 109"/>
            <p:cNvSpPr/>
            <p:nvPr/>
          </p:nvSpPr>
          <p:spPr>
            <a:xfrm>
              <a:off x="4299854" y="6587108"/>
              <a:ext cx="149225" cy="0"/>
            </a:xfrm>
            <a:custGeom>
              <a:avLst/>
              <a:gdLst/>
              <a:ahLst/>
              <a:cxnLst/>
              <a:rect l="l" t="t" r="r" b="b"/>
              <a:pathLst>
                <a:path w="149225">
                  <a:moveTo>
                    <a:pt x="0" y="0"/>
                  </a:moveTo>
                  <a:lnTo>
                    <a:pt x="149148" y="0"/>
                  </a:lnTo>
                </a:path>
              </a:pathLst>
            </a:custGeom>
            <a:ln w="10096">
              <a:solidFill>
                <a:srgbClr val="757B7F"/>
              </a:solidFill>
            </a:ln>
          </p:spPr>
          <p:txBody>
            <a:bodyPr wrap="square" lIns="0" tIns="0" rIns="0" bIns="0" rtlCol="0"/>
            <a:lstStyle/>
            <a:p>
              <a:endParaRPr/>
            </a:p>
          </p:txBody>
        </p:sp>
        <p:sp>
          <p:nvSpPr>
            <p:cNvPr id="110" name="object 110"/>
            <p:cNvSpPr/>
            <p:nvPr/>
          </p:nvSpPr>
          <p:spPr>
            <a:xfrm>
              <a:off x="3875126" y="6450310"/>
              <a:ext cx="443865" cy="400685"/>
            </a:xfrm>
            <a:custGeom>
              <a:avLst/>
              <a:gdLst/>
              <a:ahLst/>
              <a:cxnLst/>
              <a:rect l="l" t="t" r="r" b="b"/>
              <a:pathLst>
                <a:path w="443864" h="400684">
                  <a:moveTo>
                    <a:pt x="230009" y="0"/>
                  </a:moveTo>
                  <a:lnTo>
                    <a:pt x="213817" y="0"/>
                  </a:lnTo>
                  <a:lnTo>
                    <a:pt x="197066" y="1293"/>
                  </a:lnTo>
                  <a:lnTo>
                    <a:pt x="154597" y="10286"/>
                  </a:lnTo>
                  <a:lnTo>
                    <a:pt x="114388" y="27571"/>
                  </a:lnTo>
                  <a:lnTo>
                    <a:pt x="72250" y="57924"/>
                  </a:lnTo>
                  <a:lnTo>
                    <a:pt x="36957" y="99161"/>
                  </a:lnTo>
                  <a:lnTo>
                    <a:pt x="16256" y="138264"/>
                  </a:lnTo>
                  <a:lnTo>
                    <a:pt x="3581" y="181660"/>
                  </a:lnTo>
                  <a:lnTo>
                    <a:pt x="0" y="221830"/>
                  </a:lnTo>
                  <a:lnTo>
                    <a:pt x="0" y="400265"/>
                  </a:lnTo>
                  <a:lnTo>
                    <a:pt x="443788" y="400265"/>
                  </a:lnTo>
                  <a:lnTo>
                    <a:pt x="443788" y="217550"/>
                  </a:lnTo>
                  <a:lnTo>
                    <a:pt x="437222" y="167919"/>
                  </a:lnTo>
                  <a:lnTo>
                    <a:pt x="422465" y="126682"/>
                  </a:lnTo>
                  <a:lnTo>
                    <a:pt x="403148" y="93725"/>
                  </a:lnTo>
                  <a:lnTo>
                    <a:pt x="371538" y="57924"/>
                  </a:lnTo>
                  <a:lnTo>
                    <a:pt x="329450" y="27571"/>
                  </a:lnTo>
                  <a:lnTo>
                    <a:pt x="283603" y="8623"/>
                  </a:lnTo>
                  <a:lnTo>
                    <a:pt x="245135" y="1028"/>
                  </a:lnTo>
                  <a:lnTo>
                    <a:pt x="230009" y="0"/>
                  </a:lnTo>
                  <a:close/>
                </a:path>
              </a:pathLst>
            </a:custGeom>
            <a:solidFill>
              <a:srgbClr val="DFE1E1"/>
            </a:solidFill>
          </p:spPr>
          <p:txBody>
            <a:bodyPr wrap="square" lIns="0" tIns="0" rIns="0" bIns="0" rtlCol="0"/>
            <a:lstStyle/>
            <a:p>
              <a:endParaRPr/>
            </a:p>
          </p:txBody>
        </p:sp>
        <p:sp>
          <p:nvSpPr>
            <p:cNvPr id="111" name="object 111"/>
            <p:cNvSpPr/>
            <p:nvPr/>
          </p:nvSpPr>
          <p:spPr>
            <a:xfrm>
              <a:off x="4068721" y="6450319"/>
              <a:ext cx="250825" cy="400685"/>
            </a:xfrm>
            <a:custGeom>
              <a:avLst/>
              <a:gdLst/>
              <a:ahLst/>
              <a:cxnLst/>
              <a:rect l="l" t="t" r="r" b="b"/>
              <a:pathLst>
                <a:path w="250825" h="400684">
                  <a:moveTo>
                    <a:pt x="36868" y="0"/>
                  </a:moveTo>
                  <a:lnTo>
                    <a:pt x="20662" y="0"/>
                  </a:lnTo>
                  <a:lnTo>
                    <a:pt x="5499" y="1066"/>
                  </a:lnTo>
                  <a:lnTo>
                    <a:pt x="0" y="1816"/>
                  </a:lnTo>
                  <a:lnTo>
                    <a:pt x="8396" y="3029"/>
                  </a:lnTo>
                  <a:lnTo>
                    <a:pt x="16687" y="4570"/>
                  </a:lnTo>
                  <a:lnTo>
                    <a:pt x="55816" y="16433"/>
                  </a:lnTo>
                  <a:lnTo>
                    <a:pt x="92443" y="35852"/>
                  </a:lnTo>
                  <a:lnTo>
                    <a:pt x="132105" y="68897"/>
                  </a:lnTo>
                  <a:lnTo>
                    <a:pt x="159816" y="104698"/>
                  </a:lnTo>
                  <a:lnTo>
                    <a:pt x="178803" y="143154"/>
                  </a:lnTo>
                  <a:lnTo>
                    <a:pt x="189560" y="181648"/>
                  </a:lnTo>
                  <a:lnTo>
                    <a:pt x="193141" y="217538"/>
                  </a:lnTo>
                  <a:lnTo>
                    <a:pt x="193141" y="400253"/>
                  </a:lnTo>
                  <a:lnTo>
                    <a:pt x="250634" y="400253"/>
                  </a:lnTo>
                  <a:lnTo>
                    <a:pt x="250634" y="217538"/>
                  </a:lnTo>
                  <a:lnTo>
                    <a:pt x="248780" y="192633"/>
                  </a:lnTo>
                  <a:lnTo>
                    <a:pt x="238340" y="148691"/>
                  </a:lnTo>
                  <a:lnTo>
                    <a:pt x="217309" y="104698"/>
                  </a:lnTo>
                  <a:lnTo>
                    <a:pt x="181368" y="60655"/>
                  </a:lnTo>
                  <a:lnTo>
                    <a:pt x="136309" y="27559"/>
                  </a:lnTo>
                  <a:lnTo>
                    <a:pt x="90449" y="8610"/>
                  </a:lnTo>
                  <a:lnTo>
                    <a:pt x="53616" y="1288"/>
                  </a:lnTo>
                  <a:lnTo>
                    <a:pt x="36868" y="0"/>
                  </a:lnTo>
                  <a:close/>
                </a:path>
              </a:pathLst>
            </a:custGeom>
            <a:solidFill>
              <a:srgbClr val="18171C">
                <a:alpha val="5000"/>
              </a:srgbClr>
            </a:solidFill>
          </p:spPr>
          <p:txBody>
            <a:bodyPr wrap="square" lIns="0" tIns="0" rIns="0" bIns="0" rtlCol="0"/>
            <a:lstStyle/>
            <a:p>
              <a:endParaRPr/>
            </a:p>
          </p:txBody>
        </p:sp>
        <p:sp>
          <p:nvSpPr>
            <p:cNvPr id="112" name="object 112"/>
            <p:cNvSpPr/>
            <p:nvPr/>
          </p:nvSpPr>
          <p:spPr>
            <a:xfrm>
              <a:off x="4303763" y="6591369"/>
              <a:ext cx="145415" cy="21590"/>
            </a:xfrm>
            <a:custGeom>
              <a:avLst/>
              <a:gdLst/>
              <a:ahLst/>
              <a:cxnLst/>
              <a:rect l="l" t="t" r="r" b="b"/>
              <a:pathLst>
                <a:path w="145414" h="21590">
                  <a:moveTo>
                    <a:pt x="145249" y="0"/>
                  </a:moveTo>
                  <a:lnTo>
                    <a:pt x="0" y="0"/>
                  </a:lnTo>
                  <a:lnTo>
                    <a:pt x="6235" y="18300"/>
                  </a:lnTo>
                  <a:lnTo>
                    <a:pt x="6985" y="21005"/>
                  </a:lnTo>
                  <a:lnTo>
                    <a:pt x="145249" y="21005"/>
                  </a:lnTo>
                  <a:lnTo>
                    <a:pt x="145249" y="0"/>
                  </a:lnTo>
                  <a:close/>
                </a:path>
              </a:pathLst>
            </a:custGeom>
            <a:solidFill>
              <a:srgbClr val="9BA0A3"/>
            </a:solidFill>
          </p:spPr>
          <p:txBody>
            <a:bodyPr wrap="square" lIns="0" tIns="0" rIns="0" bIns="0" rtlCol="0"/>
            <a:lstStyle/>
            <a:p>
              <a:endParaRPr/>
            </a:p>
          </p:txBody>
        </p:sp>
        <p:sp>
          <p:nvSpPr>
            <p:cNvPr id="113" name="object 113"/>
            <p:cNvSpPr/>
            <p:nvPr/>
          </p:nvSpPr>
          <p:spPr>
            <a:xfrm>
              <a:off x="3877805" y="6458953"/>
              <a:ext cx="441325" cy="200660"/>
            </a:xfrm>
            <a:custGeom>
              <a:avLst/>
              <a:gdLst/>
              <a:ahLst/>
              <a:cxnLst/>
              <a:rect l="l" t="t" r="r" b="b"/>
              <a:pathLst>
                <a:path w="441325" h="200659">
                  <a:moveTo>
                    <a:pt x="289229" y="2603"/>
                  </a:moveTo>
                  <a:lnTo>
                    <a:pt x="280898" y="0"/>
                  </a:lnTo>
                  <a:lnTo>
                    <a:pt x="157480" y="0"/>
                  </a:lnTo>
                  <a:lnTo>
                    <a:pt x="149148" y="2603"/>
                  </a:lnTo>
                  <a:lnTo>
                    <a:pt x="289229" y="2603"/>
                  </a:lnTo>
                  <a:close/>
                </a:path>
                <a:path w="441325" h="200659">
                  <a:moveTo>
                    <a:pt x="316217" y="13589"/>
                  </a:moveTo>
                  <a:lnTo>
                    <a:pt x="310680" y="10985"/>
                  </a:lnTo>
                  <a:lnTo>
                    <a:pt x="127685" y="10985"/>
                  </a:lnTo>
                  <a:lnTo>
                    <a:pt x="122148" y="13589"/>
                  </a:lnTo>
                  <a:lnTo>
                    <a:pt x="316217" y="13589"/>
                  </a:lnTo>
                  <a:close/>
                </a:path>
                <a:path w="441325" h="200659">
                  <a:moveTo>
                    <a:pt x="336105" y="24574"/>
                  </a:moveTo>
                  <a:lnTo>
                    <a:pt x="331774" y="21971"/>
                  </a:lnTo>
                  <a:lnTo>
                    <a:pt x="106603" y="21971"/>
                  </a:lnTo>
                  <a:lnTo>
                    <a:pt x="102273" y="24574"/>
                  </a:lnTo>
                  <a:lnTo>
                    <a:pt x="336105" y="24574"/>
                  </a:lnTo>
                  <a:close/>
                </a:path>
                <a:path w="441325" h="200659">
                  <a:moveTo>
                    <a:pt x="352171" y="35560"/>
                  </a:moveTo>
                  <a:lnTo>
                    <a:pt x="348627" y="32956"/>
                  </a:lnTo>
                  <a:lnTo>
                    <a:pt x="89750" y="32956"/>
                  </a:lnTo>
                  <a:lnTo>
                    <a:pt x="86220" y="35560"/>
                  </a:lnTo>
                  <a:lnTo>
                    <a:pt x="352171" y="35560"/>
                  </a:lnTo>
                  <a:close/>
                </a:path>
                <a:path w="441325" h="200659">
                  <a:moveTo>
                    <a:pt x="365760" y="46596"/>
                  </a:moveTo>
                  <a:lnTo>
                    <a:pt x="362673" y="43942"/>
                  </a:lnTo>
                  <a:lnTo>
                    <a:pt x="75692" y="43942"/>
                  </a:lnTo>
                  <a:lnTo>
                    <a:pt x="72618" y="46596"/>
                  </a:lnTo>
                  <a:lnTo>
                    <a:pt x="365760" y="46596"/>
                  </a:lnTo>
                  <a:close/>
                </a:path>
                <a:path w="441325" h="200659">
                  <a:moveTo>
                    <a:pt x="377342" y="57581"/>
                  </a:moveTo>
                  <a:lnTo>
                    <a:pt x="374688" y="54927"/>
                  </a:lnTo>
                  <a:lnTo>
                    <a:pt x="63677" y="54927"/>
                  </a:lnTo>
                  <a:lnTo>
                    <a:pt x="61023" y="57581"/>
                  </a:lnTo>
                  <a:lnTo>
                    <a:pt x="377342" y="57581"/>
                  </a:lnTo>
                  <a:close/>
                </a:path>
                <a:path w="441325" h="200659">
                  <a:moveTo>
                    <a:pt x="387502" y="68567"/>
                  </a:moveTo>
                  <a:lnTo>
                    <a:pt x="385178" y="65913"/>
                  </a:lnTo>
                  <a:lnTo>
                    <a:pt x="53200" y="65913"/>
                  </a:lnTo>
                  <a:lnTo>
                    <a:pt x="50876" y="68567"/>
                  </a:lnTo>
                  <a:lnTo>
                    <a:pt x="387502" y="68567"/>
                  </a:lnTo>
                  <a:close/>
                </a:path>
                <a:path w="441325" h="200659">
                  <a:moveTo>
                    <a:pt x="396354" y="79552"/>
                  </a:moveTo>
                  <a:lnTo>
                    <a:pt x="394347" y="76949"/>
                  </a:lnTo>
                  <a:lnTo>
                    <a:pt x="44094" y="76949"/>
                  </a:lnTo>
                  <a:lnTo>
                    <a:pt x="42087" y="79552"/>
                  </a:lnTo>
                  <a:lnTo>
                    <a:pt x="396354" y="79552"/>
                  </a:lnTo>
                  <a:close/>
                </a:path>
                <a:path w="441325" h="200659">
                  <a:moveTo>
                    <a:pt x="404114" y="90538"/>
                  </a:moveTo>
                  <a:lnTo>
                    <a:pt x="402348" y="87934"/>
                  </a:lnTo>
                  <a:lnTo>
                    <a:pt x="36029" y="87934"/>
                  </a:lnTo>
                  <a:lnTo>
                    <a:pt x="34264" y="90538"/>
                  </a:lnTo>
                  <a:lnTo>
                    <a:pt x="404114" y="90538"/>
                  </a:lnTo>
                  <a:close/>
                </a:path>
                <a:path w="441325" h="200659">
                  <a:moveTo>
                    <a:pt x="411010" y="101523"/>
                  </a:moveTo>
                  <a:lnTo>
                    <a:pt x="409435" y="98920"/>
                  </a:lnTo>
                  <a:lnTo>
                    <a:pt x="28956" y="98920"/>
                  </a:lnTo>
                  <a:lnTo>
                    <a:pt x="27419" y="101523"/>
                  </a:lnTo>
                  <a:lnTo>
                    <a:pt x="411010" y="101523"/>
                  </a:lnTo>
                  <a:close/>
                </a:path>
                <a:path w="441325" h="200659">
                  <a:moveTo>
                    <a:pt x="417017" y="112560"/>
                  </a:moveTo>
                  <a:lnTo>
                    <a:pt x="415607" y="109905"/>
                  </a:lnTo>
                  <a:lnTo>
                    <a:pt x="22758" y="109905"/>
                  </a:lnTo>
                  <a:lnTo>
                    <a:pt x="21412" y="112560"/>
                  </a:lnTo>
                  <a:lnTo>
                    <a:pt x="417017" y="112560"/>
                  </a:lnTo>
                  <a:close/>
                </a:path>
                <a:path w="441325" h="200659">
                  <a:moveTo>
                    <a:pt x="422236" y="123545"/>
                  </a:moveTo>
                  <a:lnTo>
                    <a:pt x="421017" y="120891"/>
                  </a:lnTo>
                  <a:lnTo>
                    <a:pt x="17360" y="120891"/>
                  </a:lnTo>
                  <a:lnTo>
                    <a:pt x="16154" y="123545"/>
                  </a:lnTo>
                  <a:lnTo>
                    <a:pt x="422236" y="123545"/>
                  </a:lnTo>
                  <a:close/>
                </a:path>
                <a:path w="441325" h="200659">
                  <a:moveTo>
                    <a:pt x="426732" y="134531"/>
                  </a:moveTo>
                  <a:lnTo>
                    <a:pt x="425716" y="131876"/>
                  </a:lnTo>
                  <a:lnTo>
                    <a:pt x="12712" y="131876"/>
                  </a:lnTo>
                  <a:lnTo>
                    <a:pt x="11684" y="134531"/>
                  </a:lnTo>
                  <a:lnTo>
                    <a:pt x="426732" y="134531"/>
                  </a:lnTo>
                  <a:close/>
                </a:path>
                <a:path w="441325" h="200659">
                  <a:moveTo>
                    <a:pt x="430568" y="145516"/>
                  </a:moveTo>
                  <a:lnTo>
                    <a:pt x="429729" y="142913"/>
                  </a:lnTo>
                  <a:lnTo>
                    <a:pt x="8712" y="142913"/>
                  </a:lnTo>
                  <a:lnTo>
                    <a:pt x="7823" y="145516"/>
                  </a:lnTo>
                  <a:lnTo>
                    <a:pt x="430568" y="145516"/>
                  </a:lnTo>
                  <a:close/>
                </a:path>
                <a:path w="441325" h="200659">
                  <a:moveTo>
                    <a:pt x="433768" y="156502"/>
                  </a:moveTo>
                  <a:lnTo>
                    <a:pt x="433082" y="153898"/>
                  </a:lnTo>
                  <a:lnTo>
                    <a:pt x="5308" y="153898"/>
                  </a:lnTo>
                  <a:lnTo>
                    <a:pt x="4610" y="156502"/>
                  </a:lnTo>
                  <a:lnTo>
                    <a:pt x="433768" y="156502"/>
                  </a:lnTo>
                  <a:close/>
                </a:path>
                <a:path w="441325" h="200659">
                  <a:moveTo>
                    <a:pt x="436333" y="167487"/>
                  </a:moveTo>
                  <a:lnTo>
                    <a:pt x="435775" y="164884"/>
                  </a:lnTo>
                  <a:lnTo>
                    <a:pt x="2603" y="164884"/>
                  </a:lnTo>
                  <a:lnTo>
                    <a:pt x="2044" y="167487"/>
                  </a:lnTo>
                  <a:lnTo>
                    <a:pt x="436333" y="167487"/>
                  </a:lnTo>
                  <a:close/>
                </a:path>
                <a:path w="441325" h="200659">
                  <a:moveTo>
                    <a:pt x="438378" y="178473"/>
                  </a:moveTo>
                  <a:lnTo>
                    <a:pt x="437972" y="175869"/>
                  </a:lnTo>
                  <a:lnTo>
                    <a:pt x="469" y="175869"/>
                  </a:lnTo>
                  <a:lnTo>
                    <a:pt x="0" y="178473"/>
                  </a:lnTo>
                  <a:lnTo>
                    <a:pt x="438378" y="178473"/>
                  </a:lnTo>
                  <a:close/>
                </a:path>
                <a:path w="441325" h="200659">
                  <a:moveTo>
                    <a:pt x="439826" y="186855"/>
                  </a:moveTo>
                  <a:lnTo>
                    <a:pt x="28448" y="186855"/>
                  </a:lnTo>
                  <a:lnTo>
                    <a:pt x="28448" y="189509"/>
                  </a:lnTo>
                  <a:lnTo>
                    <a:pt x="439826" y="189509"/>
                  </a:lnTo>
                  <a:lnTo>
                    <a:pt x="439826" y="186855"/>
                  </a:lnTo>
                  <a:close/>
                </a:path>
                <a:path w="441325" h="200659">
                  <a:moveTo>
                    <a:pt x="440715" y="197840"/>
                  </a:moveTo>
                  <a:lnTo>
                    <a:pt x="28448" y="197840"/>
                  </a:lnTo>
                  <a:lnTo>
                    <a:pt x="28448" y="200494"/>
                  </a:lnTo>
                  <a:lnTo>
                    <a:pt x="440715" y="200494"/>
                  </a:lnTo>
                  <a:lnTo>
                    <a:pt x="440715" y="197840"/>
                  </a:lnTo>
                  <a:close/>
                </a:path>
              </a:pathLst>
            </a:custGeom>
            <a:solidFill>
              <a:srgbClr val="C6CACB"/>
            </a:solidFill>
          </p:spPr>
          <p:txBody>
            <a:bodyPr wrap="square" lIns="0" tIns="0" rIns="0" bIns="0" rtlCol="0"/>
            <a:lstStyle/>
            <a:p>
              <a:endParaRPr/>
            </a:p>
          </p:txBody>
        </p:sp>
        <p:sp>
          <p:nvSpPr>
            <p:cNvPr id="114" name="object 114"/>
            <p:cNvSpPr/>
            <p:nvPr/>
          </p:nvSpPr>
          <p:spPr>
            <a:xfrm>
              <a:off x="3906253" y="6650397"/>
              <a:ext cx="542925" cy="10160"/>
            </a:xfrm>
            <a:custGeom>
              <a:avLst/>
              <a:gdLst/>
              <a:ahLst/>
              <a:cxnLst/>
              <a:rect l="l" t="t" r="r" b="b"/>
              <a:pathLst>
                <a:path w="542925" h="10159">
                  <a:moveTo>
                    <a:pt x="0" y="10083"/>
                  </a:moveTo>
                  <a:lnTo>
                    <a:pt x="542759" y="10083"/>
                  </a:lnTo>
                  <a:lnTo>
                    <a:pt x="542759" y="0"/>
                  </a:lnTo>
                  <a:lnTo>
                    <a:pt x="0" y="0"/>
                  </a:lnTo>
                  <a:lnTo>
                    <a:pt x="0" y="10083"/>
                  </a:lnTo>
                  <a:close/>
                </a:path>
              </a:pathLst>
            </a:custGeom>
            <a:solidFill>
              <a:srgbClr val="757B7F"/>
            </a:solidFill>
          </p:spPr>
          <p:txBody>
            <a:bodyPr wrap="square" lIns="0" tIns="0" rIns="0" bIns="0" rtlCol="0"/>
            <a:lstStyle/>
            <a:p>
              <a:endParaRPr/>
            </a:p>
          </p:txBody>
        </p:sp>
        <p:sp>
          <p:nvSpPr>
            <p:cNvPr id="115" name="object 115"/>
            <p:cNvSpPr/>
            <p:nvPr/>
          </p:nvSpPr>
          <p:spPr>
            <a:xfrm>
              <a:off x="3906253" y="6659270"/>
              <a:ext cx="542925" cy="21590"/>
            </a:xfrm>
            <a:custGeom>
              <a:avLst/>
              <a:gdLst/>
              <a:ahLst/>
              <a:cxnLst/>
              <a:rect l="l" t="t" r="r" b="b"/>
              <a:pathLst>
                <a:path w="542925" h="21590">
                  <a:moveTo>
                    <a:pt x="0" y="21018"/>
                  </a:moveTo>
                  <a:lnTo>
                    <a:pt x="542721" y="21018"/>
                  </a:lnTo>
                  <a:lnTo>
                    <a:pt x="542721" y="0"/>
                  </a:lnTo>
                  <a:lnTo>
                    <a:pt x="0" y="0"/>
                  </a:lnTo>
                  <a:lnTo>
                    <a:pt x="0" y="21018"/>
                  </a:lnTo>
                  <a:close/>
                </a:path>
              </a:pathLst>
            </a:custGeom>
            <a:solidFill>
              <a:srgbClr val="9BA0A3"/>
            </a:solidFill>
          </p:spPr>
          <p:txBody>
            <a:bodyPr wrap="square" lIns="0" tIns="0" rIns="0" bIns="0" rtlCol="0"/>
            <a:lstStyle/>
            <a:p>
              <a:endParaRPr/>
            </a:p>
          </p:txBody>
        </p:sp>
        <p:sp>
          <p:nvSpPr>
            <p:cNvPr id="116" name="object 116"/>
            <p:cNvSpPr/>
            <p:nvPr/>
          </p:nvSpPr>
          <p:spPr>
            <a:xfrm>
              <a:off x="2604147" y="6536859"/>
              <a:ext cx="119380" cy="266700"/>
            </a:xfrm>
            <a:custGeom>
              <a:avLst/>
              <a:gdLst/>
              <a:ahLst/>
              <a:cxnLst/>
              <a:rect l="l" t="t" r="r" b="b"/>
              <a:pathLst>
                <a:path w="119380" h="266700">
                  <a:moveTo>
                    <a:pt x="64236" y="0"/>
                  </a:moveTo>
                  <a:lnTo>
                    <a:pt x="59651" y="0"/>
                  </a:lnTo>
                  <a:lnTo>
                    <a:pt x="47610" y="1207"/>
                  </a:lnTo>
                  <a:lnTo>
                    <a:pt x="10174" y="26288"/>
                  </a:lnTo>
                  <a:lnTo>
                    <a:pt x="0" y="59651"/>
                  </a:lnTo>
                  <a:lnTo>
                    <a:pt x="0" y="266204"/>
                  </a:lnTo>
                  <a:lnTo>
                    <a:pt x="119303" y="266204"/>
                  </a:lnTo>
                  <a:lnTo>
                    <a:pt x="119303" y="59651"/>
                  </a:lnTo>
                  <a:lnTo>
                    <a:pt x="106086" y="22213"/>
                  </a:lnTo>
                  <a:lnTo>
                    <a:pt x="72999" y="1511"/>
                  </a:lnTo>
                  <a:lnTo>
                    <a:pt x="64236" y="0"/>
                  </a:lnTo>
                  <a:close/>
                </a:path>
              </a:pathLst>
            </a:custGeom>
            <a:solidFill>
              <a:srgbClr val="C6CACB"/>
            </a:solidFill>
          </p:spPr>
          <p:txBody>
            <a:bodyPr wrap="square" lIns="0" tIns="0" rIns="0" bIns="0" rtlCol="0"/>
            <a:lstStyle/>
            <a:p>
              <a:endParaRPr/>
            </a:p>
          </p:txBody>
        </p:sp>
        <p:sp>
          <p:nvSpPr>
            <p:cNvPr id="117" name="object 117"/>
            <p:cNvSpPr/>
            <p:nvPr/>
          </p:nvSpPr>
          <p:spPr>
            <a:xfrm>
              <a:off x="2650410" y="6536865"/>
              <a:ext cx="73660" cy="266700"/>
            </a:xfrm>
            <a:custGeom>
              <a:avLst/>
              <a:gdLst/>
              <a:ahLst/>
              <a:cxnLst/>
              <a:rect l="l" t="t" r="r" b="b"/>
              <a:pathLst>
                <a:path w="73660" h="266700">
                  <a:moveTo>
                    <a:pt x="13385" y="0"/>
                  </a:moveTo>
                  <a:lnTo>
                    <a:pt x="8801" y="0"/>
                  </a:lnTo>
                  <a:lnTo>
                    <a:pt x="4318" y="508"/>
                  </a:lnTo>
                  <a:lnTo>
                    <a:pt x="0" y="1511"/>
                  </a:lnTo>
                  <a:lnTo>
                    <a:pt x="18413" y="9154"/>
                  </a:lnTo>
                  <a:lnTo>
                    <a:pt x="33093" y="22204"/>
                  </a:lnTo>
                  <a:lnTo>
                    <a:pt x="42805" y="39442"/>
                  </a:lnTo>
                  <a:lnTo>
                    <a:pt x="46316" y="59651"/>
                  </a:lnTo>
                  <a:lnTo>
                    <a:pt x="46316" y="266204"/>
                  </a:lnTo>
                  <a:lnTo>
                    <a:pt x="73037" y="266204"/>
                  </a:lnTo>
                  <a:lnTo>
                    <a:pt x="73037" y="59651"/>
                  </a:lnTo>
                  <a:lnTo>
                    <a:pt x="68348" y="36422"/>
                  </a:lnTo>
                  <a:lnTo>
                    <a:pt x="55560" y="17462"/>
                  </a:lnTo>
                  <a:lnTo>
                    <a:pt x="36599" y="4684"/>
                  </a:lnTo>
                  <a:lnTo>
                    <a:pt x="13385" y="0"/>
                  </a:lnTo>
                  <a:close/>
                </a:path>
              </a:pathLst>
            </a:custGeom>
            <a:solidFill>
              <a:srgbClr val="18171C">
                <a:alpha val="9999"/>
              </a:srgbClr>
            </a:solidFill>
          </p:spPr>
          <p:txBody>
            <a:bodyPr wrap="square" lIns="0" tIns="0" rIns="0" bIns="0" rtlCol="0"/>
            <a:lstStyle/>
            <a:p>
              <a:endParaRPr/>
            </a:p>
          </p:txBody>
        </p:sp>
        <p:sp>
          <p:nvSpPr>
            <p:cNvPr id="118" name="object 118"/>
            <p:cNvSpPr/>
            <p:nvPr/>
          </p:nvSpPr>
          <p:spPr>
            <a:xfrm>
              <a:off x="2518074" y="6536859"/>
              <a:ext cx="119380" cy="266700"/>
            </a:xfrm>
            <a:custGeom>
              <a:avLst/>
              <a:gdLst/>
              <a:ahLst/>
              <a:cxnLst/>
              <a:rect l="l" t="t" r="r" b="b"/>
              <a:pathLst>
                <a:path w="119380" h="266700">
                  <a:moveTo>
                    <a:pt x="64236" y="0"/>
                  </a:moveTo>
                  <a:lnTo>
                    <a:pt x="59651" y="0"/>
                  </a:lnTo>
                  <a:lnTo>
                    <a:pt x="47610" y="1207"/>
                  </a:lnTo>
                  <a:lnTo>
                    <a:pt x="10174" y="26288"/>
                  </a:lnTo>
                  <a:lnTo>
                    <a:pt x="0" y="59651"/>
                  </a:lnTo>
                  <a:lnTo>
                    <a:pt x="0" y="266204"/>
                  </a:lnTo>
                  <a:lnTo>
                    <a:pt x="119303" y="266204"/>
                  </a:lnTo>
                  <a:lnTo>
                    <a:pt x="119303" y="59651"/>
                  </a:lnTo>
                  <a:lnTo>
                    <a:pt x="106086" y="22213"/>
                  </a:lnTo>
                  <a:lnTo>
                    <a:pt x="72999" y="1511"/>
                  </a:lnTo>
                  <a:lnTo>
                    <a:pt x="64236" y="0"/>
                  </a:lnTo>
                  <a:close/>
                </a:path>
              </a:pathLst>
            </a:custGeom>
            <a:solidFill>
              <a:srgbClr val="C6CACB"/>
            </a:solidFill>
          </p:spPr>
          <p:txBody>
            <a:bodyPr wrap="square" lIns="0" tIns="0" rIns="0" bIns="0" rtlCol="0"/>
            <a:lstStyle/>
            <a:p>
              <a:endParaRPr/>
            </a:p>
          </p:txBody>
        </p:sp>
        <p:sp>
          <p:nvSpPr>
            <p:cNvPr id="119" name="object 119"/>
            <p:cNvSpPr/>
            <p:nvPr/>
          </p:nvSpPr>
          <p:spPr>
            <a:xfrm>
              <a:off x="2564335" y="6536865"/>
              <a:ext cx="73660" cy="266700"/>
            </a:xfrm>
            <a:custGeom>
              <a:avLst/>
              <a:gdLst/>
              <a:ahLst/>
              <a:cxnLst/>
              <a:rect l="l" t="t" r="r" b="b"/>
              <a:pathLst>
                <a:path w="73660" h="266700">
                  <a:moveTo>
                    <a:pt x="13385" y="0"/>
                  </a:moveTo>
                  <a:lnTo>
                    <a:pt x="8801" y="0"/>
                  </a:lnTo>
                  <a:lnTo>
                    <a:pt x="4318" y="508"/>
                  </a:lnTo>
                  <a:lnTo>
                    <a:pt x="0" y="1511"/>
                  </a:lnTo>
                  <a:lnTo>
                    <a:pt x="18413" y="9154"/>
                  </a:lnTo>
                  <a:lnTo>
                    <a:pt x="33093" y="22204"/>
                  </a:lnTo>
                  <a:lnTo>
                    <a:pt x="42805" y="39442"/>
                  </a:lnTo>
                  <a:lnTo>
                    <a:pt x="46316" y="59651"/>
                  </a:lnTo>
                  <a:lnTo>
                    <a:pt x="46316" y="266204"/>
                  </a:lnTo>
                  <a:lnTo>
                    <a:pt x="73037" y="266204"/>
                  </a:lnTo>
                  <a:lnTo>
                    <a:pt x="73037" y="59651"/>
                  </a:lnTo>
                  <a:lnTo>
                    <a:pt x="68348" y="36422"/>
                  </a:lnTo>
                  <a:lnTo>
                    <a:pt x="55560" y="17462"/>
                  </a:lnTo>
                  <a:lnTo>
                    <a:pt x="36599" y="4684"/>
                  </a:lnTo>
                  <a:lnTo>
                    <a:pt x="13385" y="0"/>
                  </a:lnTo>
                  <a:close/>
                </a:path>
              </a:pathLst>
            </a:custGeom>
            <a:solidFill>
              <a:srgbClr val="18171C">
                <a:alpha val="9999"/>
              </a:srgbClr>
            </a:solidFill>
          </p:spPr>
          <p:txBody>
            <a:bodyPr wrap="square" lIns="0" tIns="0" rIns="0" bIns="0" rtlCol="0"/>
            <a:lstStyle/>
            <a:p>
              <a:endParaRPr/>
            </a:p>
          </p:txBody>
        </p:sp>
        <p:sp>
          <p:nvSpPr>
            <p:cNvPr id="120" name="object 120"/>
            <p:cNvSpPr/>
            <p:nvPr/>
          </p:nvSpPr>
          <p:spPr>
            <a:xfrm>
              <a:off x="2113038" y="6559880"/>
              <a:ext cx="9525" cy="307340"/>
            </a:xfrm>
            <a:custGeom>
              <a:avLst/>
              <a:gdLst/>
              <a:ahLst/>
              <a:cxnLst/>
              <a:rect l="l" t="t" r="r" b="b"/>
              <a:pathLst>
                <a:path w="9525" h="307340">
                  <a:moveTo>
                    <a:pt x="1841" y="0"/>
                  </a:moveTo>
                  <a:lnTo>
                    <a:pt x="0" y="0"/>
                  </a:lnTo>
                  <a:lnTo>
                    <a:pt x="0" y="306781"/>
                  </a:lnTo>
                  <a:lnTo>
                    <a:pt x="1841" y="306781"/>
                  </a:lnTo>
                  <a:lnTo>
                    <a:pt x="1841" y="0"/>
                  </a:lnTo>
                  <a:close/>
                </a:path>
                <a:path w="9525" h="307340">
                  <a:moveTo>
                    <a:pt x="9182" y="0"/>
                  </a:moveTo>
                  <a:lnTo>
                    <a:pt x="7340" y="0"/>
                  </a:lnTo>
                  <a:lnTo>
                    <a:pt x="7340" y="306781"/>
                  </a:lnTo>
                  <a:lnTo>
                    <a:pt x="9182" y="306781"/>
                  </a:lnTo>
                  <a:lnTo>
                    <a:pt x="9182" y="0"/>
                  </a:lnTo>
                  <a:close/>
                </a:path>
              </a:pathLst>
            </a:custGeom>
            <a:solidFill>
              <a:srgbClr val="757B7F"/>
            </a:solidFill>
          </p:spPr>
          <p:txBody>
            <a:bodyPr wrap="square" lIns="0" tIns="0" rIns="0" bIns="0" rtlCol="0"/>
            <a:lstStyle/>
            <a:p>
              <a:endParaRPr/>
            </a:p>
          </p:txBody>
        </p:sp>
        <p:sp>
          <p:nvSpPr>
            <p:cNvPr id="121" name="object 121"/>
            <p:cNvSpPr/>
            <p:nvPr/>
          </p:nvSpPr>
          <p:spPr>
            <a:xfrm>
              <a:off x="2117629" y="6559892"/>
              <a:ext cx="0" cy="300990"/>
            </a:xfrm>
            <a:custGeom>
              <a:avLst/>
              <a:gdLst/>
              <a:ahLst/>
              <a:cxnLst/>
              <a:rect l="l" t="t" r="r" b="b"/>
              <a:pathLst>
                <a:path h="300990">
                  <a:moveTo>
                    <a:pt x="0" y="0"/>
                  </a:moveTo>
                  <a:lnTo>
                    <a:pt x="0" y="300786"/>
                  </a:lnTo>
                </a:path>
              </a:pathLst>
            </a:custGeom>
            <a:ln w="9182">
              <a:solidFill>
                <a:srgbClr val="757B7F"/>
              </a:solidFill>
              <a:prstDash val="dot"/>
            </a:ln>
          </p:spPr>
          <p:txBody>
            <a:bodyPr wrap="square" lIns="0" tIns="0" rIns="0" bIns="0" rtlCol="0"/>
            <a:lstStyle/>
            <a:p>
              <a:endParaRPr/>
            </a:p>
          </p:txBody>
        </p:sp>
        <p:sp>
          <p:nvSpPr>
            <p:cNvPr id="122" name="object 122"/>
            <p:cNvSpPr/>
            <p:nvPr/>
          </p:nvSpPr>
          <p:spPr>
            <a:xfrm>
              <a:off x="2034971" y="6559880"/>
              <a:ext cx="83185" cy="307340"/>
            </a:xfrm>
            <a:custGeom>
              <a:avLst/>
              <a:gdLst/>
              <a:ahLst/>
              <a:cxnLst/>
              <a:rect l="l" t="t" r="r" b="b"/>
              <a:pathLst>
                <a:path w="83185" h="307340">
                  <a:moveTo>
                    <a:pt x="12852" y="0"/>
                  </a:moveTo>
                  <a:lnTo>
                    <a:pt x="0" y="0"/>
                  </a:lnTo>
                  <a:lnTo>
                    <a:pt x="0" y="306781"/>
                  </a:lnTo>
                  <a:lnTo>
                    <a:pt x="12852" y="306781"/>
                  </a:lnTo>
                  <a:lnTo>
                    <a:pt x="12852" y="0"/>
                  </a:lnTo>
                  <a:close/>
                </a:path>
                <a:path w="83185" h="307340">
                  <a:moveTo>
                    <a:pt x="82638" y="0"/>
                  </a:moveTo>
                  <a:lnTo>
                    <a:pt x="69786" y="0"/>
                  </a:lnTo>
                  <a:lnTo>
                    <a:pt x="69786" y="306781"/>
                  </a:lnTo>
                  <a:lnTo>
                    <a:pt x="82638" y="306781"/>
                  </a:lnTo>
                  <a:lnTo>
                    <a:pt x="82638" y="0"/>
                  </a:lnTo>
                  <a:close/>
                </a:path>
              </a:pathLst>
            </a:custGeom>
            <a:solidFill>
              <a:srgbClr val="505457"/>
            </a:solidFill>
          </p:spPr>
          <p:txBody>
            <a:bodyPr wrap="square" lIns="0" tIns="0" rIns="0" bIns="0" rtlCol="0"/>
            <a:lstStyle/>
            <a:p>
              <a:endParaRPr/>
            </a:p>
          </p:txBody>
        </p:sp>
        <p:sp>
          <p:nvSpPr>
            <p:cNvPr id="123" name="object 123"/>
            <p:cNvSpPr/>
            <p:nvPr/>
          </p:nvSpPr>
          <p:spPr>
            <a:xfrm>
              <a:off x="1941109" y="6554852"/>
              <a:ext cx="176530" cy="0"/>
            </a:xfrm>
            <a:custGeom>
              <a:avLst/>
              <a:gdLst/>
              <a:ahLst/>
              <a:cxnLst/>
              <a:rect l="l" t="t" r="r" b="b"/>
              <a:pathLst>
                <a:path w="176530">
                  <a:moveTo>
                    <a:pt x="0" y="0"/>
                  </a:moveTo>
                  <a:lnTo>
                    <a:pt x="176517" y="0"/>
                  </a:lnTo>
                </a:path>
              </a:pathLst>
            </a:custGeom>
            <a:ln w="11963">
              <a:solidFill>
                <a:srgbClr val="757B7F"/>
              </a:solidFill>
            </a:ln>
          </p:spPr>
          <p:txBody>
            <a:bodyPr wrap="square" lIns="0" tIns="0" rIns="0" bIns="0" rtlCol="0"/>
            <a:lstStyle/>
            <a:p>
              <a:endParaRPr/>
            </a:p>
          </p:txBody>
        </p:sp>
        <p:sp>
          <p:nvSpPr>
            <p:cNvPr id="124" name="object 124"/>
            <p:cNvSpPr/>
            <p:nvPr/>
          </p:nvSpPr>
          <p:spPr>
            <a:xfrm>
              <a:off x="1438451" y="6392959"/>
              <a:ext cx="525780" cy="473709"/>
            </a:xfrm>
            <a:custGeom>
              <a:avLst/>
              <a:gdLst/>
              <a:ahLst/>
              <a:cxnLst/>
              <a:rect l="l" t="t" r="r" b="b"/>
              <a:pathLst>
                <a:path w="525780" h="473709">
                  <a:moveTo>
                    <a:pt x="272224" y="0"/>
                  </a:moveTo>
                  <a:lnTo>
                    <a:pt x="253047" y="0"/>
                  </a:lnTo>
                  <a:lnTo>
                    <a:pt x="233219" y="1521"/>
                  </a:lnTo>
                  <a:lnTo>
                    <a:pt x="186270" y="11125"/>
                  </a:lnTo>
                  <a:lnTo>
                    <a:pt x="147764" y="26289"/>
                  </a:lnTo>
                  <a:lnTo>
                    <a:pt x="100990" y="55486"/>
                  </a:lnTo>
                  <a:lnTo>
                    <a:pt x="72224" y="81546"/>
                  </a:lnTo>
                  <a:lnTo>
                    <a:pt x="39509" y="123901"/>
                  </a:lnTo>
                  <a:lnTo>
                    <a:pt x="19227" y="163626"/>
                  </a:lnTo>
                  <a:lnTo>
                    <a:pt x="4241" y="214972"/>
                  </a:lnTo>
                  <a:lnTo>
                    <a:pt x="0" y="257454"/>
                  </a:lnTo>
                  <a:lnTo>
                    <a:pt x="0" y="262521"/>
                  </a:lnTo>
                  <a:lnTo>
                    <a:pt x="0" y="473697"/>
                  </a:lnTo>
                  <a:lnTo>
                    <a:pt x="525208" y="473697"/>
                  </a:lnTo>
                  <a:lnTo>
                    <a:pt x="525208" y="257454"/>
                  </a:lnTo>
                  <a:lnTo>
                    <a:pt x="520966" y="214972"/>
                  </a:lnTo>
                  <a:lnTo>
                    <a:pt x="510667" y="175971"/>
                  </a:lnTo>
                  <a:lnTo>
                    <a:pt x="491490" y="133604"/>
                  </a:lnTo>
                  <a:lnTo>
                    <a:pt x="469900" y="101269"/>
                  </a:lnTo>
                  <a:lnTo>
                    <a:pt x="443230" y="71780"/>
                  </a:lnTo>
                  <a:lnTo>
                    <a:pt x="410933" y="45720"/>
                  </a:lnTo>
                  <a:lnTo>
                    <a:pt x="370890" y="23202"/>
                  </a:lnTo>
                  <a:lnTo>
                    <a:pt x="326062" y="7607"/>
                  </a:lnTo>
                  <a:lnTo>
                    <a:pt x="290118" y="1206"/>
                  </a:lnTo>
                  <a:lnTo>
                    <a:pt x="272224" y="0"/>
                  </a:lnTo>
                  <a:close/>
                </a:path>
              </a:pathLst>
            </a:custGeom>
            <a:solidFill>
              <a:srgbClr val="DFE1E1"/>
            </a:solidFill>
          </p:spPr>
          <p:txBody>
            <a:bodyPr wrap="square" lIns="0" tIns="0" rIns="0" bIns="0" rtlCol="0"/>
            <a:lstStyle/>
            <a:p>
              <a:endParaRPr/>
            </a:p>
          </p:txBody>
        </p:sp>
        <p:sp>
          <p:nvSpPr>
            <p:cNvPr id="125" name="object 125"/>
            <p:cNvSpPr/>
            <p:nvPr/>
          </p:nvSpPr>
          <p:spPr>
            <a:xfrm>
              <a:off x="1667568" y="6392962"/>
              <a:ext cx="297180" cy="473709"/>
            </a:xfrm>
            <a:custGeom>
              <a:avLst/>
              <a:gdLst/>
              <a:ahLst/>
              <a:cxnLst/>
              <a:rect l="l" t="t" r="r" b="b"/>
              <a:pathLst>
                <a:path w="297180" h="473709">
                  <a:moveTo>
                    <a:pt x="43637" y="0"/>
                  </a:moveTo>
                  <a:lnTo>
                    <a:pt x="24460" y="0"/>
                  </a:lnTo>
                  <a:lnTo>
                    <a:pt x="13055" y="660"/>
                  </a:lnTo>
                  <a:lnTo>
                    <a:pt x="6502" y="1257"/>
                  </a:lnTo>
                  <a:lnTo>
                    <a:pt x="0" y="2146"/>
                  </a:lnTo>
                  <a:lnTo>
                    <a:pt x="9937" y="3581"/>
                  </a:lnTo>
                  <a:lnTo>
                    <a:pt x="19748" y="5403"/>
                  </a:lnTo>
                  <a:lnTo>
                    <a:pt x="61755" y="17902"/>
                  </a:lnTo>
                  <a:lnTo>
                    <a:pt x="109410" y="42417"/>
                  </a:lnTo>
                  <a:lnTo>
                    <a:pt x="143078" y="68529"/>
                  </a:lnTo>
                  <a:lnTo>
                    <a:pt x="180492" y="110896"/>
                  </a:lnTo>
                  <a:lnTo>
                    <a:pt x="201752" y="146646"/>
                  </a:lnTo>
                  <a:lnTo>
                    <a:pt x="218059" y="188582"/>
                  </a:lnTo>
                  <a:lnTo>
                    <a:pt x="226377" y="227977"/>
                  </a:lnTo>
                  <a:lnTo>
                    <a:pt x="228587" y="257454"/>
                  </a:lnTo>
                  <a:lnTo>
                    <a:pt x="228587" y="473697"/>
                  </a:lnTo>
                  <a:lnTo>
                    <a:pt x="296633" y="473697"/>
                  </a:lnTo>
                  <a:lnTo>
                    <a:pt x="296633" y="257454"/>
                  </a:lnTo>
                  <a:lnTo>
                    <a:pt x="295795" y="241033"/>
                  </a:lnTo>
                  <a:lnTo>
                    <a:pt x="288861" y="198716"/>
                  </a:lnTo>
                  <a:lnTo>
                    <a:pt x="271386" y="149910"/>
                  </a:lnTo>
                  <a:lnTo>
                    <a:pt x="241312" y="101257"/>
                  </a:lnTo>
                  <a:lnTo>
                    <a:pt x="214642" y="71780"/>
                  </a:lnTo>
                  <a:lnTo>
                    <a:pt x="182359" y="45719"/>
                  </a:lnTo>
                  <a:lnTo>
                    <a:pt x="142303" y="23190"/>
                  </a:lnTo>
                  <a:lnTo>
                    <a:pt x="92806" y="6492"/>
                  </a:lnTo>
                  <a:lnTo>
                    <a:pt x="63451" y="1521"/>
                  </a:lnTo>
                  <a:lnTo>
                    <a:pt x="43637" y="0"/>
                  </a:lnTo>
                  <a:close/>
                </a:path>
              </a:pathLst>
            </a:custGeom>
            <a:solidFill>
              <a:srgbClr val="18171C">
                <a:alpha val="5000"/>
              </a:srgbClr>
            </a:solidFill>
          </p:spPr>
          <p:txBody>
            <a:bodyPr wrap="square" lIns="0" tIns="0" rIns="0" bIns="0" rtlCol="0"/>
            <a:lstStyle/>
            <a:p>
              <a:endParaRPr/>
            </a:p>
          </p:txBody>
        </p:sp>
        <p:sp>
          <p:nvSpPr>
            <p:cNvPr id="126" name="object 126"/>
            <p:cNvSpPr/>
            <p:nvPr/>
          </p:nvSpPr>
          <p:spPr>
            <a:xfrm>
              <a:off x="1945736" y="6559888"/>
              <a:ext cx="172085" cy="25400"/>
            </a:xfrm>
            <a:custGeom>
              <a:avLst/>
              <a:gdLst/>
              <a:ahLst/>
              <a:cxnLst/>
              <a:rect l="l" t="t" r="r" b="b"/>
              <a:pathLst>
                <a:path w="172085" h="25400">
                  <a:moveTo>
                    <a:pt x="171894" y="0"/>
                  </a:moveTo>
                  <a:lnTo>
                    <a:pt x="0" y="0"/>
                  </a:lnTo>
                  <a:lnTo>
                    <a:pt x="7378" y="21653"/>
                  </a:lnTo>
                  <a:lnTo>
                    <a:pt x="8255" y="24841"/>
                  </a:lnTo>
                  <a:lnTo>
                    <a:pt x="171894" y="24841"/>
                  </a:lnTo>
                  <a:lnTo>
                    <a:pt x="171894" y="0"/>
                  </a:lnTo>
                  <a:close/>
                </a:path>
              </a:pathLst>
            </a:custGeom>
            <a:solidFill>
              <a:srgbClr val="9BA0A3"/>
            </a:solidFill>
          </p:spPr>
          <p:txBody>
            <a:bodyPr wrap="square" lIns="0" tIns="0" rIns="0" bIns="0" rtlCol="0"/>
            <a:lstStyle/>
            <a:p>
              <a:endParaRPr/>
            </a:p>
          </p:txBody>
        </p:sp>
        <p:sp>
          <p:nvSpPr>
            <p:cNvPr id="127" name="object 127"/>
            <p:cNvSpPr/>
            <p:nvPr/>
          </p:nvSpPr>
          <p:spPr>
            <a:xfrm>
              <a:off x="1438871" y="6403174"/>
              <a:ext cx="521970" cy="237490"/>
            </a:xfrm>
            <a:custGeom>
              <a:avLst/>
              <a:gdLst/>
              <a:ahLst/>
              <a:cxnLst/>
              <a:rect l="l" t="t" r="r" b="b"/>
              <a:pathLst>
                <a:path w="521969" h="237490">
                  <a:moveTo>
                    <a:pt x="345046" y="3086"/>
                  </a:moveTo>
                  <a:lnTo>
                    <a:pt x="335191" y="0"/>
                  </a:lnTo>
                  <a:lnTo>
                    <a:pt x="189128" y="0"/>
                  </a:lnTo>
                  <a:lnTo>
                    <a:pt x="179273" y="3086"/>
                  </a:lnTo>
                  <a:lnTo>
                    <a:pt x="345046" y="3086"/>
                  </a:lnTo>
                  <a:close/>
                </a:path>
                <a:path w="521969" h="237490">
                  <a:moveTo>
                    <a:pt x="377012" y="16078"/>
                  </a:moveTo>
                  <a:lnTo>
                    <a:pt x="370459" y="12992"/>
                  </a:lnTo>
                  <a:lnTo>
                    <a:pt x="153873" y="12992"/>
                  </a:lnTo>
                  <a:lnTo>
                    <a:pt x="147320" y="16078"/>
                  </a:lnTo>
                  <a:lnTo>
                    <a:pt x="377012" y="16078"/>
                  </a:lnTo>
                  <a:close/>
                </a:path>
                <a:path w="521969" h="237490">
                  <a:moveTo>
                    <a:pt x="400532" y="29083"/>
                  </a:moveTo>
                  <a:lnTo>
                    <a:pt x="395389" y="25996"/>
                  </a:lnTo>
                  <a:lnTo>
                    <a:pt x="128905" y="25996"/>
                  </a:lnTo>
                  <a:lnTo>
                    <a:pt x="123786" y="29083"/>
                  </a:lnTo>
                  <a:lnTo>
                    <a:pt x="400532" y="29083"/>
                  </a:lnTo>
                  <a:close/>
                </a:path>
                <a:path w="521969" h="237490">
                  <a:moveTo>
                    <a:pt x="419544" y="42087"/>
                  </a:moveTo>
                  <a:lnTo>
                    <a:pt x="415353" y="39001"/>
                  </a:lnTo>
                  <a:lnTo>
                    <a:pt x="108978" y="39001"/>
                  </a:lnTo>
                  <a:lnTo>
                    <a:pt x="104787" y="42087"/>
                  </a:lnTo>
                  <a:lnTo>
                    <a:pt x="419544" y="42087"/>
                  </a:lnTo>
                  <a:close/>
                </a:path>
                <a:path w="521969" h="237490">
                  <a:moveTo>
                    <a:pt x="435622" y="55143"/>
                  </a:moveTo>
                  <a:lnTo>
                    <a:pt x="431977" y="52006"/>
                  </a:lnTo>
                  <a:lnTo>
                    <a:pt x="92329" y="52006"/>
                  </a:lnTo>
                  <a:lnTo>
                    <a:pt x="88696" y="55143"/>
                  </a:lnTo>
                  <a:lnTo>
                    <a:pt x="435622" y="55143"/>
                  </a:lnTo>
                  <a:close/>
                </a:path>
                <a:path w="521969" h="237490">
                  <a:moveTo>
                    <a:pt x="449338" y="68148"/>
                  </a:moveTo>
                  <a:lnTo>
                    <a:pt x="446201" y="65011"/>
                  </a:lnTo>
                  <a:lnTo>
                    <a:pt x="78117" y="65011"/>
                  </a:lnTo>
                  <a:lnTo>
                    <a:pt x="74980" y="68148"/>
                  </a:lnTo>
                  <a:lnTo>
                    <a:pt x="449338" y="68148"/>
                  </a:lnTo>
                  <a:close/>
                </a:path>
                <a:path w="521969" h="237490">
                  <a:moveTo>
                    <a:pt x="461352" y="81153"/>
                  </a:moveTo>
                  <a:lnTo>
                    <a:pt x="458584" y="78016"/>
                  </a:lnTo>
                  <a:lnTo>
                    <a:pt x="65722" y="78016"/>
                  </a:lnTo>
                  <a:lnTo>
                    <a:pt x="62966" y="81153"/>
                  </a:lnTo>
                  <a:lnTo>
                    <a:pt x="461352" y="81153"/>
                  </a:lnTo>
                  <a:close/>
                </a:path>
                <a:path w="521969" h="237490">
                  <a:moveTo>
                    <a:pt x="471817" y="94145"/>
                  </a:moveTo>
                  <a:lnTo>
                    <a:pt x="469442" y="91059"/>
                  </a:lnTo>
                  <a:lnTo>
                    <a:pt x="54927" y="91059"/>
                  </a:lnTo>
                  <a:lnTo>
                    <a:pt x="52552" y="94145"/>
                  </a:lnTo>
                  <a:lnTo>
                    <a:pt x="471817" y="94145"/>
                  </a:lnTo>
                  <a:close/>
                </a:path>
                <a:path w="521969" h="237490">
                  <a:moveTo>
                    <a:pt x="481012" y="107149"/>
                  </a:moveTo>
                  <a:lnTo>
                    <a:pt x="478917" y="104063"/>
                  </a:lnTo>
                  <a:lnTo>
                    <a:pt x="45377" y="104063"/>
                  </a:lnTo>
                  <a:lnTo>
                    <a:pt x="43294" y="107149"/>
                  </a:lnTo>
                  <a:lnTo>
                    <a:pt x="481012" y="107149"/>
                  </a:lnTo>
                  <a:close/>
                </a:path>
                <a:path w="521969" h="237490">
                  <a:moveTo>
                    <a:pt x="484924" y="234149"/>
                  </a:moveTo>
                  <a:lnTo>
                    <a:pt x="0" y="234149"/>
                  </a:lnTo>
                  <a:lnTo>
                    <a:pt x="0" y="237286"/>
                  </a:lnTo>
                  <a:lnTo>
                    <a:pt x="484924" y="237286"/>
                  </a:lnTo>
                  <a:lnTo>
                    <a:pt x="484924" y="234149"/>
                  </a:lnTo>
                  <a:close/>
                </a:path>
                <a:path w="521969" h="237490">
                  <a:moveTo>
                    <a:pt x="484924" y="221145"/>
                  </a:moveTo>
                  <a:lnTo>
                    <a:pt x="1041" y="221145"/>
                  </a:lnTo>
                  <a:lnTo>
                    <a:pt x="1041" y="224282"/>
                  </a:lnTo>
                  <a:lnTo>
                    <a:pt x="484924" y="224282"/>
                  </a:lnTo>
                  <a:lnTo>
                    <a:pt x="484924" y="221145"/>
                  </a:lnTo>
                  <a:close/>
                </a:path>
                <a:path w="521969" h="237490">
                  <a:moveTo>
                    <a:pt x="489178" y="120154"/>
                  </a:moveTo>
                  <a:lnTo>
                    <a:pt x="487299" y="117068"/>
                  </a:lnTo>
                  <a:lnTo>
                    <a:pt x="37020" y="117068"/>
                  </a:lnTo>
                  <a:lnTo>
                    <a:pt x="35204" y="120154"/>
                  </a:lnTo>
                  <a:lnTo>
                    <a:pt x="489178" y="120154"/>
                  </a:lnTo>
                  <a:close/>
                </a:path>
                <a:path w="521969" h="237490">
                  <a:moveTo>
                    <a:pt x="496277" y="133210"/>
                  </a:moveTo>
                  <a:lnTo>
                    <a:pt x="494626" y="130073"/>
                  </a:lnTo>
                  <a:lnTo>
                    <a:pt x="29692" y="130073"/>
                  </a:lnTo>
                  <a:lnTo>
                    <a:pt x="28092" y="133210"/>
                  </a:lnTo>
                  <a:lnTo>
                    <a:pt x="496277" y="133210"/>
                  </a:lnTo>
                  <a:close/>
                </a:path>
                <a:path w="521969" h="237490">
                  <a:moveTo>
                    <a:pt x="502450" y="146215"/>
                  </a:moveTo>
                  <a:lnTo>
                    <a:pt x="501015" y="143078"/>
                  </a:lnTo>
                  <a:lnTo>
                    <a:pt x="23304" y="143078"/>
                  </a:lnTo>
                  <a:lnTo>
                    <a:pt x="21869" y="146215"/>
                  </a:lnTo>
                  <a:lnTo>
                    <a:pt x="502450" y="146215"/>
                  </a:lnTo>
                  <a:close/>
                </a:path>
                <a:path w="521969" h="237490">
                  <a:moveTo>
                    <a:pt x="507796" y="159219"/>
                  </a:moveTo>
                  <a:lnTo>
                    <a:pt x="506577" y="156083"/>
                  </a:lnTo>
                  <a:lnTo>
                    <a:pt x="17792" y="156083"/>
                  </a:lnTo>
                  <a:lnTo>
                    <a:pt x="16573" y="159219"/>
                  </a:lnTo>
                  <a:lnTo>
                    <a:pt x="507796" y="159219"/>
                  </a:lnTo>
                  <a:close/>
                </a:path>
                <a:path w="521969" h="237490">
                  <a:moveTo>
                    <a:pt x="512305" y="172224"/>
                  </a:moveTo>
                  <a:lnTo>
                    <a:pt x="511314" y="169138"/>
                  </a:lnTo>
                  <a:lnTo>
                    <a:pt x="13055" y="169138"/>
                  </a:lnTo>
                  <a:lnTo>
                    <a:pt x="12001" y="172224"/>
                  </a:lnTo>
                  <a:lnTo>
                    <a:pt x="512305" y="172224"/>
                  </a:lnTo>
                  <a:close/>
                </a:path>
                <a:path w="521969" h="237490">
                  <a:moveTo>
                    <a:pt x="516115" y="185216"/>
                  </a:moveTo>
                  <a:lnTo>
                    <a:pt x="515289" y="182130"/>
                  </a:lnTo>
                  <a:lnTo>
                    <a:pt x="9029" y="182130"/>
                  </a:lnTo>
                  <a:lnTo>
                    <a:pt x="8204" y="185216"/>
                  </a:lnTo>
                  <a:lnTo>
                    <a:pt x="516115" y="185216"/>
                  </a:lnTo>
                  <a:close/>
                </a:path>
                <a:path w="521969" h="237490">
                  <a:moveTo>
                    <a:pt x="519150" y="198221"/>
                  </a:moveTo>
                  <a:lnTo>
                    <a:pt x="518490" y="195135"/>
                  </a:lnTo>
                  <a:lnTo>
                    <a:pt x="5842" y="195135"/>
                  </a:lnTo>
                  <a:lnTo>
                    <a:pt x="5181" y="198221"/>
                  </a:lnTo>
                  <a:lnTo>
                    <a:pt x="519150" y="198221"/>
                  </a:lnTo>
                  <a:close/>
                </a:path>
                <a:path w="521969" h="237490">
                  <a:moveTo>
                    <a:pt x="521576" y="211226"/>
                  </a:moveTo>
                  <a:lnTo>
                    <a:pt x="521081" y="208140"/>
                  </a:lnTo>
                  <a:lnTo>
                    <a:pt x="3302" y="208140"/>
                  </a:lnTo>
                  <a:lnTo>
                    <a:pt x="2755" y="211226"/>
                  </a:lnTo>
                  <a:lnTo>
                    <a:pt x="521576" y="211226"/>
                  </a:lnTo>
                  <a:close/>
                </a:path>
              </a:pathLst>
            </a:custGeom>
            <a:solidFill>
              <a:srgbClr val="C6CACB"/>
            </a:solidFill>
          </p:spPr>
          <p:txBody>
            <a:bodyPr wrap="square" lIns="0" tIns="0" rIns="0" bIns="0" rtlCol="0"/>
            <a:lstStyle/>
            <a:p>
              <a:endParaRPr/>
            </a:p>
          </p:txBody>
        </p:sp>
        <p:sp>
          <p:nvSpPr>
            <p:cNvPr id="128" name="object 128"/>
            <p:cNvSpPr/>
            <p:nvPr/>
          </p:nvSpPr>
          <p:spPr>
            <a:xfrm>
              <a:off x="1438428" y="6629748"/>
              <a:ext cx="485775" cy="12065"/>
            </a:xfrm>
            <a:custGeom>
              <a:avLst/>
              <a:gdLst/>
              <a:ahLst/>
              <a:cxnLst/>
              <a:rect l="l" t="t" r="r" b="b"/>
              <a:pathLst>
                <a:path w="485775" h="12065">
                  <a:moveTo>
                    <a:pt x="0" y="11950"/>
                  </a:moveTo>
                  <a:lnTo>
                    <a:pt x="485367" y="11950"/>
                  </a:lnTo>
                  <a:lnTo>
                    <a:pt x="485367" y="0"/>
                  </a:lnTo>
                  <a:lnTo>
                    <a:pt x="0" y="0"/>
                  </a:lnTo>
                  <a:lnTo>
                    <a:pt x="0" y="11950"/>
                  </a:lnTo>
                  <a:close/>
                </a:path>
              </a:pathLst>
            </a:custGeom>
            <a:solidFill>
              <a:srgbClr val="757B7F"/>
            </a:solidFill>
          </p:spPr>
          <p:txBody>
            <a:bodyPr wrap="square" lIns="0" tIns="0" rIns="0" bIns="0" rtlCol="0"/>
            <a:lstStyle/>
            <a:p>
              <a:endParaRPr/>
            </a:p>
          </p:txBody>
        </p:sp>
        <p:sp>
          <p:nvSpPr>
            <p:cNvPr id="129" name="object 129"/>
            <p:cNvSpPr/>
            <p:nvPr/>
          </p:nvSpPr>
          <p:spPr>
            <a:xfrm>
              <a:off x="1438440" y="6640258"/>
              <a:ext cx="485775" cy="25400"/>
            </a:xfrm>
            <a:custGeom>
              <a:avLst/>
              <a:gdLst/>
              <a:ahLst/>
              <a:cxnLst/>
              <a:rect l="l" t="t" r="r" b="b"/>
              <a:pathLst>
                <a:path w="485775" h="25400">
                  <a:moveTo>
                    <a:pt x="0" y="24879"/>
                  </a:moveTo>
                  <a:lnTo>
                    <a:pt x="485355" y="24879"/>
                  </a:lnTo>
                  <a:lnTo>
                    <a:pt x="485355" y="0"/>
                  </a:lnTo>
                  <a:lnTo>
                    <a:pt x="0" y="0"/>
                  </a:lnTo>
                  <a:lnTo>
                    <a:pt x="0" y="24879"/>
                  </a:lnTo>
                  <a:close/>
                </a:path>
              </a:pathLst>
            </a:custGeom>
            <a:solidFill>
              <a:srgbClr val="9BA0A3"/>
            </a:solidFill>
          </p:spPr>
          <p:txBody>
            <a:bodyPr wrap="square" lIns="0" tIns="0" rIns="0" bIns="0" rtlCol="0"/>
            <a:lstStyle/>
            <a:p>
              <a:endParaRPr/>
            </a:p>
          </p:txBody>
        </p:sp>
        <p:sp>
          <p:nvSpPr>
            <p:cNvPr id="130" name="object 130"/>
            <p:cNvSpPr/>
            <p:nvPr/>
          </p:nvSpPr>
          <p:spPr>
            <a:xfrm>
              <a:off x="1492498" y="6546791"/>
              <a:ext cx="143510" cy="320040"/>
            </a:xfrm>
            <a:custGeom>
              <a:avLst/>
              <a:gdLst/>
              <a:ahLst/>
              <a:cxnLst/>
              <a:rect l="l" t="t" r="r" b="b"/>
              <a:pathLst>
                <a:path w="143510" h="320040">
                  <a:moveTo>
                    <a:pt x="77177" y="0"/>
                  </a:moveTo>
                  <a:lnTo>
                    <a:pt x="71678" y="0"/>
                  </a:lnTo>
                  <a:lnTo>
                    <a:pt x="57210" y="1451"/>
                  </a:lnTo>
                  <a:lnTo>
                    <a:pt x="20993" y="20993"/>
                  </a:lnTo>
                  <a:lnTo>
                    <a:pt x="1451" y="57210"/>
                  </a:lnTo>
                  <a:lnTo>
                    <a:pt x="0" y="71678"/>
                  </a:lnTo>
                  <a:lnTo>
                    <a:pt x="0" y="319874"/>
                  </a:lnTo>
                  <a:lnTo>
                    <a:pt x="143357" y="319874"/>
                  </a:lnTo>
                  <a:lnTo>
                    <a:pt x="143357" y="71678"/>
                  </a:lnTo>
                  <a:lnTo>
                    <a:pt x="127476" y="26689"/>
                  </a:lnTo>
                  <a:lnTo>
                    <a:pt x="87706" y="1816"/>
                  </a:lnTo>
                  <a:lnTo>
                    <a:pt x="77177" y="0"/>
                  </a:lnTo>
                  <a:close/>
                </a:path>
              </a:pathLst>
            </a:custGeom>
            <a:solidFill>
              <a:srgbClr val="C6CACB"/>
            </a:solidFill>
          </p:spPr>
          <p:txBody>
            <a:bodyPr wrap="square" lIns="0" tIns="0" rIns="0" bIns="0" rtlCol="0"/>
            <a:lstStyle/>
            <a:p>
              <a:endParaRPr/>
            </a:p>
          </p:txBody>
        </p:sp>
        <p:sp>
          <p:nvSpPr>
            <p:cNvPr id="131" name="object 131"/>
            <p:cNvSpPr/>
            <p:nvPr/>
          </p:nvSpPr>
          <p:spPr>
            <a:xfrm>
              <a:off x="1548088" y="6546796"/>
              <a:ext cx="88265" cy="320040"/>
            </a:xfrm>
            <a:custGeom>
              <a:avLst/>
              <a:gdLst/>
              <a:ahLst/>
              <a:cxnLst/>
              <a:rect l="l" t="t" r="r" b="b"/>
              <a:pathLst>
                <a:path w="88264" h="320040">
                  <a:moveTo>
                    <a:pt x="16090" y="0"/>
                  </a:moveTo>
                  <a:lnTo>
                    <a:pt x="10579" y="0"/>
                  </a:lnTo>
                  <a:lnTo>
                    <a:pt x="5168" y="596"/>
                  </a:lnTo>
                  <a:lnTo>
                    <a:pt x="0" y="1816"/>
                  </a:lnTo>
                  <a:lnTo>
                    <a:pt x="22130" y="11005"/>
                  </a:lnTo>
                  <a:lnTo>
                    <a:pt x="39763" y="26684"/>
                  </a:lnTo>
                  <a:lnTo>
                    <a:pt x="51424" y="47395"/>
                  </a:lnTo>
                  <a:lnTo>
                    <a:pt x="55638" y="71678"/>
                  </a:lnTo>
                  <a:lnTo>
                    <a:pt x="55638" y="319874"/>
                  </a:lnTo>
                  <a:lnTo>
                    <a:pt x="87757" y="319874"/>
                  </a:lnTo>
                  <a:lnTo>
                    <a:pt x="87757" y="71678"/>
                  </a:lnTo>
                  <a:lnTo>
                    <a:pt x="82120" y="43767"/>
                  </a:lnTo>
                  <a:lnTo>
                    <a:pt x="66754" y="20985"/>
                  </a:lnTo>
                  <a:lnTo>
                    <a:pt x="43972" y="5629"/>
                  </a:lnTo>
                  <a:lnTo>
                    <a:pt x="16090" y="0"/>
                  </a:lnTo>
                  <a:close/>
                </a:path>
              </a:pathLst>
            </a:custGeom>
            <a:solidFill>
              <a:srgbClr val="18171C">
                <a:alpha val="9999"/>
              </a:srgbClr>
            </a:solidFill>
          </p:spPr>
          <p:txBody>
            <a:bodyPr wrap="square" lIns="0" tIns="0" rIns="0" bIns="0" rtlCol="0"/>
            <a:lstStyle/>
            <a:p>
              <a:endParaRPr/>
            </a:p>
          </p:txBody>
        </p:sp>
        <p:sp>
          <p:nvSpPr>
            <p:cNvPr id="132" name="object 132"/>
            <p:cNvSpPr/>
            <p:nvPr/>
          </p:nvSpPr>
          <p:spPr>
            <a:xfrm>
              <a:off x="1389070" y="6546791"/>
              <a:ext cx="143510" cy="320040"/>
            </a:xfrm>
            <a:custGeom>
              <a:avLst/>
              <a:gdLst/>
              <a:ahLst/>
              <a:cxnLst/>
              <a:rect l="l" t="t" r="r" b="b"/>
              <a:pathLst>
                <a:path w="143509" h="320040">
                  <a:moveTo>
                    <a:pt x="77177" y="0"/>
                  </a:moveTo>
                  <a:lnTo>
                    <a:pt x="71678" y="0"/>
                  </a:lnTo>
                  <a:lnTo>
                    <a:pt x="57210" y="1451"/>
                  </a:lnTo>
                  <a:lnTo>
                    <a:pt x="20993" y="20993"/>
                  </a:lnTo>
                  <a:lnTo>
                    <a:pt x="1451" y="57210"/>
                  </a:lnTo>
                  <a:lnTo>
                    <a:pt x="0" y="71678"/>
                  </a:lnTo>
                  <a:lnTo>
                    <a:pt x="0" y="319874"/>
                  </a:lnTo>
                  <a:lnTo>
                    <a:pt x="143357" y="319874"/>
                  </a:lnTo>
                  <a:lnTo>
                    <a:pt x="143357" y="71678"/>
                  </a:lnTo>
                  <a:lnTo>
                    <a:pt x="127476" y="26689"/>
                  </a:lnTo>
                  <a:lnTo>
                    <a:pt x="87706" y="1816"/>
                  </a:lnTo>
                  <a:lnTo>
                    <a:pt x="77177" y="0"/>
                  </a:lnTo>
                  <a:close/>
                </a:path>
              </a:pathLst>
            </a:custGeom>
            <a:solidFill>
              <a:srgbClr val="C6CACB"/>
            </a:solidFill>
          </p:spPr>
          <p:txBody>
            <a:bodyPr wrap="square" lIns="0" tIns="0" rIns="0" bIns="0" rtlCol="0"/>
            <a:lstStyle/>
            <a:p>
              <a:endParaRPr/>
            </a:p>
          </p:txBody>
        </p:sp>
        <p:sp>
          <p:nvSpPr>
            <p:cNvPr id="133" name="object 133"/>
            <p:cNvSpPr/>
            <p:nvPr/>
          </p:nvSpPr>
          <p:spPr>
            <a:xfrm>
              <a:off x="1444659" y="6546796"/>
              <a:ext cx="88265" cy="320040"/>
            </a:xfrm>
            <a:custGeom>
              <a:avLst/>
              <a:gdLst/>
              <a:ahLst/>
              <a:cxnLst/>
              <a:rect l="l" t="t" r="r" b="b"/>
              <a:pathLst>
                <a:path w="88265" h="320040">
                  <a:moveTo>
                    <a:pt x="16090" y="0"/>
                  </a:moveTo>
                  <a:lnTo>
                    <a:pt x="10579" y="0"/>
                  </a:lnTo>
                  <a:lnTo>
                    <a:pt x="5168" y="596"/>
                  </a:lnTo>
                  <a:lnTo>
                    <a:pt x="0" y="1816"/>
                  </a:lnTo>
                  <a:lnTo>
                    <a:pt x="22130" y="11005"/>
                  </a:lnTo>
                  <a:lnTo>
                    <a:pt x="39763" y="26684"/>
                  </a:lnTo>
                  <a:lnTo>
                    <a:pt x="51424" y="47395"/>
                  </a:lnTo>
                  <a:lnTo>
                    <a:pt x="55638" y="71678"/>
                  </a:lnTo>
                  <a:lnTo>
                    <a:pt x="55638" y="319874"/>
                  </a:lnTo>
                  <a:lnTo>
                    <a:pt x="87757" y="319874"/>
                  </a:lnTo>
                  <a:lnTo>
                    <a:pt x="87757" y="71678"/>
                  </a:lnTo>
                  <a:lnTo>
                    <a:pt x="82120" y="43767"/>
                  </a:lnTo>
                  <a:lnTo>
                    <a:pt x="66754" y="20985"/>
                  </a:lnTo>
                  <a:lnTo>
                    <a:pt x="43972" y="5629"/>
                  </a:lnTo>
                  <a:lnTo>
                    <a:pt x="16090" y="0"/>
                  </a:lnTo>
                  <a:close/>
                </a:path>
              </a:pathLst>
            </a:custGeom>
            <a:solidFill>
              <a:srgbClr val="18171C">
                <a:alpha val="9999"/>
              </a:srgbClr>
            </a:solidFill>
          </p:spPr>
          <p:txBody>
            <a:bodyPr wrap="square" lIns="0" tIns="0" rIns="0" bIns="0" rtlCol="0"/>
            <a:lstStyle/>
            <a:p>
              <a:endParaRPr/>
            </a:p>
          </p:txBody>
        </p:sp>
        <p:sp>
          <p:nvSpPr>
            <p:cNvPr id="134" name="object 134"/>
            <p:cNvSpPr/>
            <p:nvPr/>
          </p:nvSpPr>
          <p:spPr>
            <a:xfrm>
              <a:off x="2658201" y="6470944"/>
              <a:ext cx="218440" cy="474345"/>
            </a:xfrm>
            <a:custGeom>
              <a:avLst/>
              <a:gdLst/>
              <a:ahLst/>
              <a:cxnLst/>
              <a:rect l="l" t="t" r="r" b="b"/>
              <a:pathLst>
                <a:path w="218439" h="474345">
                  <a:moveTo>
                    <a:pt x="142989" y="0"/>
                  </a:moveTo>
                  <a:lnTo>
                    <a:pt x="81445" y="0"/>
                  </a:lnTo>
                  <a:lnTo>
                    <a:pt x="81445" y="14173"/>
                  </a:lnTo>
                  <a:lnTo>
                    <a:pt x="0" y="14173"/>
                  </a:lnTo>
                  <a:lnTo>
                    <a:pt x="9740" y="29222"/>
                  </a:lnTo>
                  <a:lnTo>
                    <a:pt x="84988" y="62864"/>
                  </a:lnTo>
                  <a:lnTo>
                    <a:pt x="84988" y="473989"/>
                  </a:lnTo>
                  <a:lnTo>
                    <a:pt x="146075" y="473989"/>
                  </a:lnTo>
                  <a:lnTo>
                    <a:pt x="146075" y="65087"/>
                  </a:lnTo>
                  <a:lnTo>
                    <a:pt x="218236" y="25679"/>
                  </a:lnTo>
                  <a:lnTo>
                    <a:pt x="213804" y="15062"/>
                  </a:lnTo>
                  <a:lnTo>
                    <a:pt x="142989" y="15062"/>
                  </a:lnTo>
                  <a:lnTo>
                    <a:pt x="142989" y="0"/>
                  </a:lnTo>
                  <a:close/>
                </a:path>
              </a:pathLst>
            </a:custGeom>
            <a:solidFill>
              <a:srgbClr val="ABAEAE"/>
            </a:solidFill>
          </p:spPr>
          <p:txBody>
            <a:bodyPr wrap="square" lIns="0" tIns="0" rIns="0" bIns="0" rtlCol="0"/>
            <a:lstStyle/>
            <a:p>
              <a:endParaRPr/>
            </a:p>
          </p:txBody>
        </p:sp>
        <p:sp>
          <p:nvSpPr>
            <p:cNvPr id="135" name="object 135"/>
            <p:cNvSpPr/>
            <p:nvPr/>
          </p:nvSpPr>
          <p:spPr>
            <a:xfrm>
              <a:off x="2688221" y="6509870"/>
              <a:ext cx="160020" cy="24130"/>
            </a:xfrm>
            <a:custGeom>
              <a:avLst/>
              <a:gdLst/>
              <a:ahLst/>
              <a:cxnLst/>
              <a:rect l="l" t="t" r="r" b="b"/>
              <a:pathLst>
                <a:path w="160019" h="24129">
                  <a:moveTo>
                    <a:pt x="159588" y="0"/>
                  </a:moveTo>
                  <a:lnTo>
                    <a:pt x="0" y="0"/>
                  </a:lnTo>
                  <a:lnTo>
                    <a:pt x="54978" y="23939"/>
                  </a:lnTo>
                  <a:lnTo>
                    <a:pt x="116471" y="23939"/>
                  </a:lnTo>
                  <a:lnTo>
                    <a:pt x="159588" y="0"/>
                  </a:lnTo>
                  <a:close/>
                </a:path>
              </a:pathLst>
            </a:custGeom>
            <a:solidFill>
              <a:srgbClr val="4D5051"/>
            </a:solidFill>
          </p:spPr>
          <p:txBody>
            <a:bodyPr wrap="square" lIns="0" tIns="0" rIns="0" bIns="0" rtlCol="0"/>
            <a:lstStyle/>
            <a:p>
              <a:endParaRPr/>
            </a:p>
          </p:txBody>
        </p:sp>
        <p:sp>
          <p:nvSpPr>
            <p:cNvPr id="136" name="object 136"/>
            <p:cNvSpPr/>
            <p:nvPr/>
          </p:nvSpPr>
          <p:spPr>
            <a:xfrm>
              <a:off x="2688221" y="6509870"/>
              <a:ext cx="160020" cy="24130"/>
            </a:xfrm>
            <a:custGeom>
              <a:avLst/>
              <a:gdLst/>
              <a:ahLst/>
              <a:cxnLst/>
              <a:rect l="l" t="t" r="r" b="b"/>
              <a:pathLst>
                <a:path w="160019" h="24129">
                  <a:moveTo>
                    <a:pt x="159588" y="0"/>
                  </a:moveTo>
                  <a:lnTo>
                    <a:pt x="0" y="0"/>
                  </a:lnTo>
                  <a:lnTo>
                    <a:pt x="19863" y="8530"/>
                  </a:lnTo>
                  <a:lnTo>
                    <a:pt x="37509" y="16227"/>
                  </a:lnTo>
                  <a:lnTo>
                    <a:pt x="50145" y="21795"/>
                  </a:lnTo>
                  <a:lnTo>
                    <a:pt x="54978" y="23939"/>
                  </a:lnTo>
                  <a:lnTo>
                    <a:pt x="116471" y="23939"/>
                  </a:lnTo>
                  <a:lnTo>
                    <a:pt x="159588" y="0"/>
                  </a:lnTo>
                  <a:close/>
                </a:path>
              </a:pathLst>
            </a:custGeom>
            <a:ln w="4826">
              <a:solidFill>
                <a:srgbClr val="FFFFFF"/>
              </a:solidFill>
            </a:ln>
          </p:spPr>
          <p:txBody>
            <a:bodyPr wrap="square" lIns="0" tIns="0" rIns="0" bIns="0" rtlCol="0"/>
            <a:lstStyle/>
            <a:p>
              <a:endParaRPr/>
            </a:p>
          </p:txBody>
        </p:sp>
        <p:sp>
          <p:nvSpPr>
            <p:cNvPr id="137" name="object 137"/>
            <p:cNvSpPr/>
            <p:nvPr/>
          </p:nvSpPr>
          <p:spPr>
            <a:xfrm>
              <a:off x="2282285" y="6371691"/>
              <a:ext cx="307340" cy="467995"/>
            </a:xfrm>
            <a:custGeom>
              <a:avLst/>
              <a:gdLst/>
              <a:ahLst/>
              <a:cxnLst/>
              <a:rect l="l" t="t" r="r" b="b"/>
              <a:pathLst>
                <a:path w="307339" h="467995">
                  <a:moveTo>
                    <a:pt x="201091" y="0"/>
                  </a:moveTo>
                  <a:lnTo>
                    <a:pt x="114541" y="0"/>
                  </a:lnTo>
                  <a:lnTo>
                    <a:pt x="114541" y="19913"/>
                  </a:lnTo>
                  <a:lnTo>
                    <a:pt x="0" y="19913"/>
                  </a:lnTo>
                  <a:lnTo>
                    <a:pt x="13690" y="41084"/>
                  </a:lnTo>
                  <a:lnTo>
                    <a:pt x="119532" y="88404"/>
                  </a:lnTo>
                  <a:lnTo>
                    <a:pt x="119532" y="467741"/>
                  </a:lnTo>
                  <a:lnTo>
                    <a:pt x="205447" y="467741"/>
                  </a:lnTo>
                  <a:lnTo>
                    <a:pt x="205447" y="91516"/>
                  </a:lnTo>
                  <a:lnTo>
                    <a:pt x="306920" y="36106"/>
                  </a:lnTo>
                  <a:lnTo>
                    <a:pt x="300697" y="21170"/>
                  </a:lnTo>
                  <a:lnTo>
                    <a:pt x="201091" y="21170"/>
                  </a:lnTo>
                  <a:lnTo>
                    <a:pt x="201091" y="0"/>
                  </a:lnTo>
                  <a:close/>
                </a:path>
              </a:pathLst>
            </a:custGeom>
            <a:solidFill>
              <a:srgbClr val="ABAEAE"/>
            </a:solidFill>
          </p:spPr>
          <p:txBody>
            <a:bodyPr wrap="square" lIns="0" tIns="0" rIns="0" bIns="0" rtlCol="0"/>
            <a:lstStyle/>
            <a:p>
              <a:endParaRPr/>
            </a:p>
          </p:txBody>
        </p:sp>
        <p:sp>
          <p:nvSpPr>
            <p:cNvPr id="138" name="object 138"/>
            <p:cNvSpPr/>
            <p:nvPr/>
          </p:nvSpPr>
          <p:spPr>
            <a:xfrm>
              <a:off x="2324492" y="6426422"/>
              <a:ext cx="224790" cy="34290"/>
            </a:xfrm>
            <a:custGeom>
              <a:avLst/>
              <a:gdLst/>
              <a:ahLst/>
              <a:cxnLst/>
              <a:rect l="l" t="t" r="r" b="b"/>
              <a:pathLst>
                <a:path w="224789" h="34289">
                  <a:moveTo>
                    <a:pt x="224459" y="0"/>
                  </a:moveTo>
                  <a:lnTo>
                    <a:pt x="0" y="0"/>
                  </a:lnTo>
                  <a:lnTo>
                    <a:pt x="77330" y="33667"/>
                  </a:lnTo>
                  <a:lnTo>
                    <a:pt x="163804" y="33667"/>
                  </a:lnTo>
                  <a:lnTo>
                    <a:pt x="224459" y="0"/>
                  </a:lnTo>
                  <a:close/>
                </a:path>
              </a:pathLst>
            </a:custGeom>
            <a:solidFill>
              <a:srgbClr val="4D5051"/>
            </a:solidFill>
          </p:spPr>
          <p:txBody>
            <a:bodyPr wrap="square" lIns="0" tIns="0" rIns="0" bIns="0" rtlCol="0"/>
            <a:lstStyle/>
            <a:p>
              <a:endParaRPr/>
            </a:p>
          </p:txBody>
        </p:sp>
        <p:sp>
          <p:nvSpPr>
            <p:cNvPr id="139" name="object 139"/>
            <p:cNvSpPr/>
            <p:nvPr/>
          </p:nvSpPr>
          <p:spPr>
            <a:xfrm>
              <a:off x="2324492" y="6426422"/>
              <a:ext cx="224790" cy="34290"/>
            </a:xfrm>
            <a:custGeom>
              <a:avLst/>
              <a:gdLst/>
              <a:ahLst/>
              <a:cxnLst/>
              <a:rect l="l" t="t" r="r" b="b"/>
              <a:pathLst>
                <a:path w="224789" h="34289">
                  <a:moveTo>
                    <a:pt x="224459" y="0"/>
                  </a:moveTo>
                  <a:lnTo>
                    <a:pt x="0" y="0"/>
                  </a:lnTo>
                  <a:lnTo>
                    <a:pt x="27941" y="12000"/>
                  </a:lnTo>
                  <a:lnTo>
                    <a:pt x="52762" y="22825"/>
                  </a:lnTo>
                  <a:lnTo>
                    <a:pt x="70533" y="30653"/>
                  </a:lnTo>
                  <a:lnTo>
                    <a:pt x="77330" y="33667"/>
                  </a:lnTo>
                  <a:lnTo>
                    <a:pt x="163804" y="33667"/>
                  </a:lnTo>
                  <a:lnTo>
                    <a:pt x="224459" y="0"/>
                  </a:lnTo>
                  <a:close/>
                </a:path>
              </a:pathLst>
            </a:custGeom>
            <a:ln w="6769">
              <a:solidFill>
                <a:srgbClr val="FFFFFF"/>
              </a:solidFill>
            </a:ln>
          </p:spPr>
          <p:txBody>
            <a:bodyPr wrap="square" lIns="0" tIns="0" rIns="0" bIns="0" rtlCol="0"/>
            <a:lstStyle/>
            <a:p>
              <a:endParaRPr/>
            </a:p>
          </p:txBody>
        </p:sp>
        <p:pic>
          <p:nvPicPr>
            <p:cNvPr id="140" name="object 140"/>
            <p:cNvPicPr/>
            <p:nvPr/>
          </p:nvPicPr>
          <p:blipFill>
            <a:blip r:embed="rId9" cstate="print"/>
            <a:stretch>
              <a:fillRect/>
            </a:stretch>
          </p:blipFill>
          <p:spPr>
            <a:xfrm>
              <a:off x="818337" y="6127394"/>
              <a:ext cx="131025" cy="714514"/>
            </a:xfrm>
            <a:prstGeom prst="rect">
              <a:avLst/>
            </a:prstGeom>
          </p:spPr>
        </p:pic>
        <p:sp>
          <p:nvSpPr>
            <p:cNvPr id="141" name="object 141"/>
            <p:cNvSpPr/>
            <p:nvPr/>
          </p:nvSpPr>
          <p:spPr>
            <a:xfrm>
              <a:off x="141989" y="6617256"/>
              <a:ext cx="1237615" cy="209550"/>
            </a:xfrm>
            <a:custGeom>
              <a:avLst/>
              <a:gdLst/>
              <a:ahLst/>
              <a:cxnLst/>
              <a:rect l="l" t="t" r="r" b="b"/>
              <a:pathLst>
                <a:path w="1237615" h="209550">
                  <a:moveTo>
                    <a:pt x="1237246" y="61391"/>
                  </a:moveTo>
                  <a:lnTo>
                    <a:pt x="1040612" y="0"/>
                  </a:lnTo>
                  <a:lnTo>
                    <a:pt x="628853" y="0"/>
                  </a:lnTo>
                  <a:lnTo>
                    <a:pt x="588429" y="31445"/>
                  </a:lnTo>
                  <a:lnTo>
                    <a:pt x="0" y="31445"/>
                  </a:lnTo>
                  <a:lnTo>
                    <a:pt x="0" y="209499"/>
                  </a:lnTo>
                </a:path>
              </a:pathLst>
            </a:custGeom>
            <a:ln w="4508">
              <a:solidFill>
                <a:srgbClr val="FFFFFF"/>
              </a:solidFill>
            </a:ln>
          </p:spPr>
          <p:txBody>
            <a:bodyPr wrap="square" lIns="0" tIns="0" rIns="0" bIns="0" rtlCol="0"/>
            <a:lstStyle/>
            <a:p>
              <a:endParaRPr/>
            </a:p>
          </p:txBody>
        </p:sp>
        <p:sp>
          <p:nvSpPr>
            <p:cNvPr id="142" name="object 142"/>
            <p:cNvSpPr/>
            <p:nvPr/>
          </p:nvSpPr>
          <p:spPr>
            <a:xfrm>
              <a:off x="888466" y="6233528"/>
              <a:ext cx="131445" cy="608330"/>
            </a:xfrm>
            <a:custGeom>
              <a:avLst/>
              <a:gdLst/>
              <a:ahLst/>
              <a:cxnLst/>
              <a:rect l="l" t="t" r="r" b="b"/>
              <a:pathLst>
                <a:path w="131444" h="608329">
                  <a:moveTo>
                    <a:pt x="131051" y="1270"/>
                  </a:moveTo>
                  <a:lnTo>
                    <a:pt x="5092" y="1270"/>
                  </a:lnTo>
                  <a:lnTo>
                    <a:pt x="5092" y="0"/>
                  </a:lnTo>
                  <a:lnTo>
                    <a:pt x="0" y="0"/>
                  </a:lnTo>
                  <a:lnTo>
                    <a:pt x="0" y="1270"/>
                  </a:lnTo>
                  <a:lnTo>
                    <a:pt x="0" y="608330"/>
                  </a:lnTo>
                  <a:lnTo>
                    <a:pt x="131051" y="608330"/>
                  </a:lnTo>
                  <a:lnTo>
                    <a:pt x="131051" y="1270"/>
                  </a:lnTo>
                  <a:close/>
                </a:path>
              </a:pathLst>
            </a:custGeom>
            <a:solidFill>
              <a:srgbClr val="001E1A"/>
            </a:solidFill>
          </p:spPr>
          <p:txBody>
            <a:bodyPr wrap="square" lIns="0" tIns="0" rIns="0" bIns="0" rtlCol="0"/>
            <a:lstStyle/>
            <a:p>
              <a:endParaRPr/>
            </a:p>
          </p:txBody>
        </p:sp>
        <p:pic>
          <p:nvPicPr>
            <p:cNvPr id="143" name="object 143"/>
            <p:cNvPicPr/>
            <p:nvPr/>
          </p:nvPicPr>
          <p:blipFill>
            <a:blip r:embed="rId10" cstate="print"/>
            <a:stretch>
              <a:fillRect/>
            </a:stretch>
          </p:blipFill>
          <p:spPr>
            <a:xfrm>
              <a:off x="5442330" y="6189459"/>
              <a:ext cx="119685" cy="547484"/>
            </a:xfrm>
            <a:prstGeom prst="rect">
              <a:avLst/>
            </a:prstGeom>
          </p:spPr>
        </p:pic>
        <p:sp>
          <p:nvSpPr>
            <p:cNvPr id="144" name="object 144"/>
            <p:cNvSpPr/>
            <p:nvPr/>
          </p:nvSpPr>
          <p:spPr>
            <a:xfrm>
              <a:off x="5442897" y="6189445"/>
              <a:ext cx="119380" cy="24130"/>
            </a:xfrm>
            <a:custGeom>
              <a:avLst/>
              <a:gdLst/>
              <a:ahLst/>
              <a:cxnLst/>
              <a:rect l="l" t="t" r="r" b="b"/>
              <a:pathLst>
                <a:path w="119379" h="24129">
                  <a:moveTo>
                    <a:pt x="81165" y="0"/>
                  </a:moveTo>
                  <a:lnTo>
                    <a:pt x="38481" y="0"/>
                  </a:lnTo>
                  <a:lnTo>
                    <a:pt x="38481" y="11595"/>
                  </a:lnTo>
                  <a:lnTo>
                    <a:pt x="0" y="11595"/>
                  </a:lnTo>
                  <a:lnTo>
                    <a:pt x="0" y="23736"/>
                  </a:lnTo>
                  <a:lnTo>
                    <a:pt x="117589" y="23736"/>
                  </a:lnTo>
                  <a:lnTo>
                    <a:pt x="116725" y="22872"/>
                  </a:lnTo>
                  <a:lnTo>
                    <a:pt x="119126" y="11036"/>
                  </a:lnTo>
                  <a:lnTo>
                    <a:pt x="81165" y="11036"/>
                  </a:lnTo>
                  <a:lnTo>
                    <a:pt x="81165" y="0"/>
                  </a:lnTo>
                  <a:close/>
                </a:path>
              </a:pathLst>
            </a:custGeom>
            <a:solidFill>
              <a:srgbClr val="ABAEAE"/>
            </a:solidFill>
          </p:spPr>
          <p:txBody>
            <a:bodyPr wrap="square" lIns="0" tIns="0" rIns="0" bIns="0" rtlCol="0"/>
            <a:lstStyle/>
            <a:p>
              <a:endParaRPr/>
            </a:p>
          </p:txBody>
        </p:sp>
        <p:sp>
          <p:nvSpPr>
            <p:cNvPr id="145" name="object 145"/>
            <p:cNvSpPr/>
            <p:nvPr/>
          </p:nvSpPr>
          <p:spPr>
            <a:xfrm>
              <a:off x="5442897" y="6189445"/>
              <a:ext cx="119380" cy="24130"/>
            </a:xfrm>
            <a:custGeom>
              <a:avLst/>
              <a:gdLst/>
              <a:ahLst/>
              <a:cxnLst/>
              <a:rect l="l" t="t" r="r" b="b"/>
              <a:pathLst>
                <a:path w="119379" h="24129">
                  <a:moveTo>
                    <a:pt x="117589" y="23736"/>
                  </a:moveTo>
                  <a:lnTo>
                    <a:pt x="0" y="23736"/>
                  </a:lnTo>
                  <a:lnTo>
                    <a:pt x="0" y="11595"/>
                  </a:lnTo>
                  <a:lnTo>
                    <a:pt x="38481" y="11595"/>
                  </a:lnTo>
                  <a:lnTo>
                    <a:pt x="38481" y="0"/>
                  </a:lnTo>
                  <a:lnTo>
                    <a:pt x="81165" y="0"/>
                  </a:lnTo>
                  <a:lnTo>
                    <a:pt x="81165" y="11036"/>
                  </a:lnTo>
                  <a:lnTo>
                    <a:pt x="119126" y="11036"/>
                  </a:lnTo>
                  <a:lnTo>
                    <a:pt x="116725" y="22872"/>
                  </a:lnTo>
                  <a:lnTo>
                    <a:pt x="117589" y="23736"/>
                  </a:lnTo>
                  <a:close/>
                </a:path>
              </a:pathLst>
            </a:custGeom>
            <a:ln w="4826">
              <a:solidFill>
                <a:srgbClr val="FFFFFF"/>
              </a:solidFill>
            </a:ln>
          </p:spPr>
          <p:txBody>
            <a:bodyPr wrap="square" lIns="0" tIns="0" rIns="0" bIns="0" rtlCol="0"/>
            <a:lstStyle/>
            <a:p>
              <a:endParaRPr/>
            </a:p>
          </p:txBody>
        </p:sp>
        <p:sp>
          <p:nvSpPr>
            <p:cNvPr id="146" name="object 146"/>
            <p:cNvSpPr/>
            <p:nvPr/>
          </p:nvSpPr>
          <p:spPr>
            <a:xfrm>
              <a:off x="3496653" y="6885622"/>
              <a:ext cx="347980" cy="124460"/>
            </a:xfrm>
            <a:custGeom>
              <a:avLst/>
              <a:gdLst/>
              <a:ahLst/>
              <a:cxnLst/>
              <a:rect l="l" t="t" r="r" b="b"/>
              <a:pathLst>
                <a:path w="347979" h="124459">
                  <a:moveTo>
                    <a:pt x="347675" y="0"/>
                  </a:moveTo>
                  <a:lnTo>
                    <a:pt x="0" y="0"/>
                  </a:lnTo>
                  <a:lnTo>
                    <a:pt x="0" y="74942"/>
                  </a:lnTo>
                  <a:lnTo>
                    <a:pt x="0" y="123837"/>
                  </a:lnTo>
                  <a:lnTo>
                    <a:pt x="347675" y="123837"/>
                  </a:lnTo>
                  <a:lnTo>
                    <a:pt x="347675" y="74942"/>
                  </a:lnTo>
                  <a:lnTo>
                    <a:pt x="347675" y="0"/>
                  </a:lnTo>
                  <a:close/>
                </a:path>
              </a:pathLst>
            </a:custGeom>
            <a:solidFill>
              <a:srgbClr val="CFD1D0"/>
            </a:solidFill>
          </p:spPr>
          <p:txBody>
            <a:bodyPr wrap="square" lIns="0" tIns="0" rIns="0" bIns="0" rtlCol="0"/>
            <a:lstStyle/>
            <a:p>
              <a:endParaRPr/>
            </a:p>
          </p:txBody>
        </p:sp>
        <p:sp>
          <p:nvSpPr>
            <p:cNvPr id="147" name="object 147"/>
            <p:cNvSpPr/>
            <p:nvPr/>
          </p:nvSpPr>
          <p:spPr>
            <a:xfrm>
              <a:off x="3508286" y="6915302"/>
              <a:ext cx="1270" cy="30480"/>
            </a:xfrm>
            <a:custGeom>
              <a:avLst/>
              <a:gdLst/>
              <a:ahLst/>
              <a:cxnLst/>
              <a:rect l="l" t="t" r="r" b="b"/>
              <a:pathLst>
                <a:path w="1270" h="30479">
                  <a:moveTo>
                    <a:pt x="0" y="30251"/>
                  </a:moveTo>
                  <a:lnTo>
                    <a:pt x="1079" y="30251"/>
                  </a:lnTo>
                  <a:lnTo>
                    <a:pt x="1079" y="0"/>
                  </a:lnTo>
                  <a:lnTo>
                    <a:pt x="0" y="0"/>
                  </a:lnTo>
                  <a:lnTo>
                    <a:pt x="0" y="30251"/>
                  </a:lnTo>
                  <a:close/>
                </a:path>
              </a:pathLst>
            </a:custGeom>
            <a:solidFill>
              <a:srgbClr val="8F9293"/>
            </a:solidFill>
          </p:spPr>
          <p:txBody>
            <a:bodyPr wrap="square" lIns="0" tIns="0" rIns="0" bIns="0" rtlCol="0"/>
            <a:lstStyle/>
            <a:p>
              <a:endParaRPr/>
            </a:p>
          </p:txBody>
        </p:sp>
        <p:sp>
          <p:nvSpPr>
            <p:cNvPr id="148" name="object 148"/>
            <p:cNvSpPr/>
            <p:nvPr/>
          </p:nvSpPr>
          <p:spPr>
            <a:xfrm>
              <a:off x="3496652" y="6885622"/>
              <a:ext cx="13335" cy="10795"/>
            </a:xfrm>
            <a:custGeom>
              <a:avLst/>
              <a:gdLst/>
              <a:ahLst/>
              <a:cxnLst/>
              <a:rect l="l" t="t" r="r" b="b"/>
              <a:pathLst>
                <a:path w="13335" h="10795">
                  <a:moveTo>
                    <a:pt x="0" y="10388"/>
                  </a:moveTo>
                  <a:lnTo>
                    <a:pt x="12712" y="10388"/>
                  </a:lnTo>
                  <a:lnTo>
                    <a:pt x="12712" y="0"/>
                  </a:lnTo>
                  <a:lnTo>
                    <a:pt x="0" y="0"/>
                  </a:lnTo>
                  <a:lnTo>
                    <a:pt x="0" y="10388"/>
                  </a:lnTo>
                  <a:close/>
                </a:path>
              </a:pathLst>
            </a:custGeom>
            <a:solidFill>
              <a:srgbClr val="A5A592"/>
            </a:solidFill>
          </p:spPr>
          <p:txBody>
            <a:bodyPr wrap="square" lIns="0" tIns="0" rIns="0" bIns="0" rtlCol="0"/>
            <a:lstStyle/>
            <a:p>
              <a:endParaRPr/>
            </a:p>
          </p:txBody>
        </p:sp>
        <p:pic>
          <p:nvPicPr>
            <p:cNvPr id="149" name="object 149"/>
            <p:cNvPicPr/>
            <p:nvPr/>
          </p:nvPicPr>
          <p:blipFill>
            <a:blip r:embed="rId11" cstate="print"/>
            <a:stretch>
              <a:fillRect/>
            </a:stretch>
          </p:blipFill>
          <p:spPr>
            <a:xfrm>
              <a:off x="2383663" y="6823024"/>
              <a:ext cx="1112989" cy="186435"/>
            </a:xfrm>
            <a:prstGeom prst="rect">
              <a:avLst/>
            </a:prstGeom>
          </p:spPr>
        </p:pic>
        <p:sp>
          <p:nvSpPr>
            <p:cNvPr id="150" name="object 150"/>
            <p:cNvSpPr/>
            <p:nvPr/>
          </p:nvSpPr>
          <p:spPr>
            <a:xfrm>
              <a:off x="2435136" y="6850926"/>
              <a:ext cx="1010285" cy="114935"/>
            </a:xfrm>
            <a:custGeom>
              <a:avLst/>
              <a:gdLst/>
              <a:ahLst/>
              <a:cxnLst/>
              <a:rect l="l" t="t" r="r" b="b"/>
              <a:pathLst>
                <a:path w="1010285" h="114934">
                  <a:moveTo>
                    <a:pt x="1010056" y="90932"/>
                  </a:moveTo>
                  <a:lnTo>
                    <a:pt x="0" y="90932"/>
                  </a:lnTo>
                  <a:lnTo>
                    <a:pt x="0" y="114490"/>
                  </a:lnTo>
                  <a:lnTo>
                    <a:pt x="1010056" y="114490"/>
                  </a:lnTo>
                  <a:lnTo>
                    <a:pt x="1010056" y="90932"/>
                  </a:lnTo>
                  <a:close/>
                </a:path>
                <a:path w="1010285" h="114934">
                  <a:moveTo>
                    <a:pt x="1010056" y="45466"/>
                  </a:moveTo>
                  <a:lnTo>
                    <a:pt x="0" y="45466"/>
                  </a:lnTo>
                  <a:lnTo>
                    <a:pt x="0" y="69024"/>
                  </a:lnTo>
                  <a:lnTo>
                    <a:pt x="1010056" y="69024"/>
                  </a:lnTo>
                  <a:lnTo>
                    <a:pt x="1010056" y="45466"/>
                  </a:lnTo>
                  <a:close/>
                </a:path>
                <a:path w="1010285" h="114934">
                  <a:moveTo>
                    <a:pt x="1010056" y="0"/>
                  </a:moveTo>
                  <a:lnTo>
                    <a:pt x="0" y="0"/>
                  </a:lnTo>
                  <a:lnTo>
                    <a:pt x="0" y="23558"/>
                  </a:lnTo>
                  <a:lnTo>
                    <a:pt x="1010056" y="23558"/>
                  </a:lnTo>
                  <a:lnTo>
                    <a:pt x="1010056" y="0"/>
                  </a:lnTo>
                  <a:close/>
                </a:path>
              </a:pathLst>
            </a:custGeom>
            <a:solidFill>
              <a:srgbClr val="C6CACB"/>
            </a:solidFill>
          </p:spPr>
          <p:txBody>
            <a:bodyPr wrap="square" lIns="0" tIns="0" rIns="0" bIns="0" rtlCol="0"/>
            <a:lstStyle/>
            <a:p>
              <a:endParaRPr/>
            </a:p>
          </p:txBody>
        </p:sp>
        <p:sp>
          <p:nvSpPr>
            <p:cNvPr id="151" name="object 151"/>
            <p:cNvSpPr/>
            <p:nvPr/>
          </p:nvSpPr>
          <p:spPr>
            <a:xfrm>
              <a:off x="2399652" y="6810273"/>
              <a:ext cx="1108710" cy="18415"/>
            </a:xfrm>
            <a:custGeom>
              <a:avLst/>
              <a:gdLst/>
              <a:ahLst/>
              <a:cxnLst/>
              <a:rect l="l" t="t" r="r" b="b"/>
              <a:pathLst>
                <a:path w="1108710" h="18415">
                  <a:moveTo>
                    <a:pt x="0" y="18148"/>
                  </a:moveTo>
                  <a:lnTo>
                    <a:pt x="1108341" y="18148"/>
                  </a:lnTo>
                  <a:lnTo>
                    <a:pt x="1108341" y="0"/>
                  </a:lnTo>
                  <a:lnTo>
                    <a:pt x="0" y="0"/>
                  </a:lnTo>
                  <a:lnTo>
                    <a:pt x="0" y="18148"/>
                  </a:lnTo>
                  <a:close/>
                </a:path>
              </a:pathLst>
            </a:custGeom>
            <a:solidFill>
              <a:srgbClr val="A5A592"/>
            </a:solidFill>
          </p:spPr>
          <p:txBody>
            <a:bodyPr wrap="square" lIns="0" tIns="0" rIns="0" bIns="0" rtlCol="0"/>
            <a:lstStyle/>
            <a:p>
              <a:endParaRPr/>
            </a:p>
          </p:txBody>
        </p:sp>
        <p:sp>
          <p:nvSpPr>
            <p:cNvPr id="152" name="object 152"/>
            <p:cNvSpPr/>
            <p:nvPr/>
          </p:nvSpPr>
          <p:spPr>
            <a:xfrm>
              <a:off x="1923795" y="6619468"/>
              <a:ext cx="356870" cy="71755"/>
            </a:xfrm>
            <a:custGeom>
              <a:avLst/>
              <a:gdLst/>
              <a:ahLst/>
              <a:cxnLst/>
              <a:rect l="l" t="t" r="r" b="b"/>
              <a:pathLst>
                <a:path w="356869" h="71754">
                  <a:moveTo>
                    <a:pt x="356692" y="0"/>
                  </a:moveTo>
                  <a:lnTo>
                    <a:pt x="0" y="0"/>
                  </a:lnTo>
                  <a:lnTo>
                    <a:pt x="0" y="71742"/>
                  </a:lnTo>
                  <a:lnTo>
                    <a:pt x="356692" y="71742"/>
                  </a:lnTo>
                  <a:lnTo>
                    <a:pt x="356692" y="0"/>
                  </a:lnTo>
                  <a:close/>
                </a:path>
              </a:pathLst>
            </a:custGeom>
            <a:solidFill>
              <a:srgbClr val="CFD1D0"/>
            </a:solidFill>
          </p:spPr>
          <p:txBody>
            <a:bodyPr wrap="square" lIns="0" tIns="0" rIns="0" bIns="0" rtlCol="0"/>
            <a:lstStyle/>
            <a:p>
              <a:endParaRPr/>
            </a:p>
          </p:txBody>
        </p:sp>
        <p:sp>
          <p:nvSpPr>
            <p:cNvPr id="153" name="object 153"/>
            <p:cNvSpPr/>
            <p:nvPr/>
          </p:nvSpPr>
          <p:spPr>
            <a:xfrm>
              <a:off x="1923797" y="6619462"/>
              <a:ext cx="356870" cy="71755"/>
            </a:xfrm>
            <a:custGeom>
              <a:avLst/>
              <a:gdLst/>
              <a:ahLst/>
              <a:cxnLst/>
              <a:rect l="l" t="t" r="r" b="b"/>
              <a:pathLst>
                <a:path w="356869" h="71754">
                  <a:moveTo>
                    <a:pt x="0" y="71742"/>
                  </a:moveTo>
                  <a:lnTo>
                    <a:pt x="356692" y="71742"/>
                  </a:lnTo>
                  <a:lnTo>
                    <a:pt x="356692" y="0"/>
                  </a:lnTo>
                  <a:lnTo>
                    <a:pt x="0" y="0"/>
                  </a:lnTo>
                  <a:lnTo>
                    <a:pt x="0" y="71742"/>
                  </a:lnTo>
                  <a:close/>
                </a:path>
              </a:pathLst>
            </a:custGeom>
            <a:ln w="8470">
              <a:solidFill>
                <a:srgbClr val="FFFFFF"/>
              </a:solidFill>
            </a:ln>
          </p:spPr>
          <p:txBody>
            <a:bodyPr wrap="square" lIns="0" tIns="0" rIns="0" bIns="0" rtlCol="0"/>
            <a:lstStyle/>
            <a:p>
              <a:endParaRPr/>
            </a:p>
          </p:txBody>
        </p:sp>
        <p:sp>
          <p:nvSpPr>
            <p:cNvPr id="154" name="object 154"/>
            <p:cNvSpPr/>
            <p:nvPr/>
          </p:nvSpPr>
          <p:spPr>
            <a:xfrm>
              <a:off x="1792516" y="6691210"/>
              <a:ext cx="607695" cy="318770"/>
            </a:xfrm>
            <a:custGeom>
              <a:avLst/>
              <a:gdLst/>
              <a:ahLst/>
              <a:cxnLst/>
              <a:rect l="l" t="t" r="r" b="b"/>
              <a:pathLst>
                <a:path w="607694" h="318770">
                  <a:moveTo>
                    <a:pt x="607136" y="0"/>
                  </a:moveTo>
                  <a:lnTo>
                    <a:pt x="0" y="0"/>
                  </a:lnTo>
                  <a:lnTo>
                    <a:pt x="0" y="318249"/>
                  </a:lnTo>
                  <a:lnTo>
                    <a:pt x="607136" y="318249"/>
                  </a:lnTo>
                  <a:lnTo>
                    <a:pt x="607136" y="0"/>
                  </a:lnTo>
                  <a:close/>
                </a:path>
              </a:pathLst>
            </a:custGeom>
            <a:solidFill>
              <a:srgbClr val="001E1A"/>
            </a:solidFill>
          </p:spPr>
          <p:txBody>
            <a:bodyPr wrap="square" lIns="0" tIns="0" rIns="0" bIns="0" rtlCol="0"/>
            <a:lstStyle/>
            <a:p>
              <a:endParaRPr/>
            </a:p>
          </p:txBody>
        </p:sp>
        <p:sp>
          <p:nvSpPr>
            <p:cNvPr id="155" name="object 155"/>
            <p:cNvSpPr/>
            <p:nvPr/>
          </p:nvSpPr>
          <p:spPr>
            <a:xfrm>
              <a:off x="1854568" y="6791858"/>
              <a:ext cx="480695" cy="197485"/>
            </a:xfrm>
            <a:custGeom>
              <a:avLst/>
              <a:gdLst/>
              <a:ahLst/>
              <a:cxnLst/>
              <a:rect l="l" t="t" r="r" b="b"/>
              <a:pathLst>
                <a:path w="480694" h="197484">
                  <a:moveTo>
                    <a:pt x="84848" y="147485"/>
                  </a:moveTo>
                  <a:lnTo>
                    <a:pt x="0" y="147485"/>
                  </a:lnTo>
                  <a:lnTo>
                    <a:pt x="0" y="197408"/>
                  </a:lnTo>
                  <a:lnTo>
                    <a:pt x="84848" y="197408"/>
                  </a:lnTo>
                  <a:lnTo>
                    <a:pt x="84848" y="147485"/>
                  </a:lnTo>
                  <a:close/>
                </a:path>
                <a:path w="480694" h="197484">
                  <a:moveTo>
                    <a:pt x="84848" y="73736"/>
                  </a:moveTo>
                  <a:lnTo>
                    <a:pt x="0" y="73736"/>
                  </a:lnTo>
                  <a:lnTo>
                    <a:pt x="0" y="123659"/>
                  </a:lnTo>
                  <a:lnTo>
                    <a:pt x="84848" y="123659"/>
                  </a:lnTo>
                  <a:lnTo>
                    <a:pt x="84848" y="73736"/>
                  </a:lnTo>
                  <a:close/>
                </a:path>
                <a:path w="480694" h="197484">
                  <a:moveTo>
                    <a:pt x="84848" y="0"/>
                  </a:moveTo>
                  <a:lnTo>
                    <a:pt x="0" y="0"/>
                  </a:lnTo>
                  <a:lnTo>
                    <a:pt x="0" y="49923"/>
                  </a:lnTo>
                  <a:lnTo>
                    <a:pt x="84848" y="49923"/>
                  </a:lnTo>
                  <a:lnTo>
                    <a:pt x="84848" y="0"/>
                  </a:lnTo>
                  <a:close/>
                </a:path>
                <a:path w="480694" h="197484">
                  <a:moveTo>
                    <a:pt x="216649" y="147485"/>
                  </a:moveTo>
                  <a:lnTo>
                    <a:pt x="131800" y="147485"/>
                  </a:lnTo>
                  <a:lnTo>
                    <a:pt x="131800" y="197408"/>
                  </a:lnTo>
                  <a:lnTo>
                    <a:pt x="216649" y="197408"/>
                  </a:lnTo>
                  <a:lnTo>
                    <a:pt x="216649" y="147485"/>
                  </a:lnTo>
                  <a:close/>
                </a:path>
                <a:path w="480694" h="197484">
                  <a:moveTo>
                    <a:pt x="216649" y="73736"/>
                  </a:moveTo>
                  <a:lnTo>
                    <a:pt x="131800" y="73736"/>
                  </a:lnTo>
                  <a:lnTo>
                    <a:pt x="131800" y="123659"/>
                  </a:lnTo>
                  <a:lnTo>
                    <a:pt x="216649" y="123659"/>
                  </a:lnTo>
                  <a:lnTo>
                    <a:pt x="216649" y="73736"/>
                  </a:lnTo>
                  <a:close/>
                </a:path>
                <a:path w="480694" h="197484">
                  <a:moveTo>
                    <a:pt x="216649" y="0"/>
                  </a:moveTo>
                  <a:lnTo>
                    <a:pt x="131800" y="0"/>
                  </a:lnTo>
                  <a:lnTo>
                    <a:pt x="131800" y="49923"/>
                  </a:lnTo>
                  <a:lnTo>
                    <a:pt x="216649" y="49923"/>
                  </a:lnTo>
                  <a:lnTo>
                    <a:pt x="216649" y="0"/>
                  </a:lnTo>
                  <a:close/>
                </a:path>
                <a:path w="480694" h="197484">
                  <a:moveTo>
                    <a:pt x="348449" y="147485"/>
                  </a:moveTo>
                  <a:lnTo>
                    <a:pt x="263601" y="147485"/>
                  </a:lnTo>
                  <a:lnTo>
                    <a:pt x="263601" y="197408"/>
                  </a:lnTo>
                  <a:lnTo>
                    <a:pt x="348449" y="197408"/>
                  </a:lnTo>
                  <a:lnTo>
                    <a:pt x="348449" y="147485"/>
                  </a:lnTo>
                  <a:close/>
                </a:path>
                <a:path w="480694" h="197484">
                  <a:moveTo>
                    <a:pt x="348449" y="73736"/>
                  </a:moveTo>
                  <a:lnTo>
                    <a:pt x="263601" y="73736"/>
                  </a:lnTo>
                  <a:lnTo>
                    <a:pt x="263601" y="123659"/>
                  </a:lnTo>
                  <a:lnTo>
                    <a:pt x="348449" y="123659"/>
                  </a:lnTo>
                  <a:lnTo>
                    <a:pt x="348449" y="73736"/>
                  </a:lnTo>
                  <a:close/>
                </a:path>
                <a:path w="480694" h="197484">
                  <a:moveTo>
                    <a:pt x="348449" y="0"/>
                  </a:moveTo>
                  <a:lnTo>
                    <a:pt x="263601" y="0"/>
                  </a:lnTo>
                  <a:lnTo>
                    <a:pt x="263601" y="49923"/>
                  </a:lnTo>
                  <a:lnTo>
                    <a:pt x="348449" y="49923"/>
                  </a:lnTo>
                  <a:lnTo>
                    <a:pt x="348449" y="0"/>
                  </a:lnTo>
                  <a:close/>
                </a:path>
                <a:path w="480694" h="197484">
                  <a:moveTo>
                    <a:pt x="480250" y="147485"/>
                  </a:moveTo>
                  <a:lnTo>
                    <a:pt x="395401" y="147485"/>
                  </a:lnTo>
                  <a:lnTo>
                    <a:pt x="395401" y="197408"/>
                  </a:lnTo>
                  <a:lnTo>
                    <a:pt x="480250" y="197408"/>
                  </a:lnTo>
                  <a:lnTo>
                    <a:pt x="480250" y="147485"/>
                  </a:lnTo>
                  <a:close/>
                </a:path>
                <a:path w="480694" h="197484">
                  <a:moveTo>
                    <a:pt x="480250" y="73736"/>
                  </a:moveTo>
                  <a:lnTo>
                    <a:pt x="395401" y="73736"/>
                  </a:lnTo>
                  <a:lnTo>
                    <a:pt x="395401" y="123659"/>
                  </a:lnTo>
                  <a:lnTo>
                    <a:pt x="480250" y="123659"/>
                  </a:lnTo>
                  <a:lnTo>
                    <a:pt x="480250" y="73736"/>
                  </a:lnTo>
                  <a:close/>
                </a:path>
                <a:path w="480694" h="197484">
                  <a:moveTo>
                    <a:pt x="480250" y="0"/>
                  </a:moveTo>
                  <a:lnTo>
                    <a:pt x="395401" y="0"/>
                  </a:lnTo>
                  <a:lnTo>
                    <a:pt x="395401" y="49923"/>
                  </a:lnTo>
                  <a:lnTo>
                    <a:pt x="480250" y="49923"/>
                  </a:lnTo>
                  <a:lnTo>
                    <a:pt x="480250" y="0"/>
                  </a:lnTo>
                  <a:close/>
                </a:path>
              </a:pathLst>
            </a:custGeom>
            <a:solidFill>
              <a:srgbClr val="C6CACB"/>
            </a:solidFill>
          </p:spPr>
          <p:txBody>
            <a:bodyPr wrap="square" lIns="0" tIns="0" rIns="0" bIns="0" rtlCol="0"/>
            <a:lstStyle/>
            <a:p>
              <a:endParaRPr/>
            </a:p>
          </p:txBody>
        </p:sp>
        <p:sp>
          <p:nvSpPr>
            <p:cNvPr id="156" name="object 156"/>
            <p:cNvSpPr/>
            <p:nvPr/>
          </p:nvSpPr>
          <p:spPr>
            <a:xfrm>
              <a:off x="1781479" y="6607340"/>
              <a:ext cx="631190" cy="92075"/>
            </a:xfrm>
            <a:custGeom>
              <a:avLst/>
              <a:gdLst/>
              <a:ahLst/>
              <a:cxnLst/>
              <a:rect l="l" t="t" r="r" b="b"/>
              <a:pathLst>
                <a:path w="631189" h="92075">
                  <a:moveTo>
                    <a:pt x="513003" y="0"/>
                  </a:moveTo>
                  <a:lnTo>
                    <a:pt x="129476" y="0"/>
                  </a:lnTo>
                  <a:lnTo>
                    <a:pt x="129476" y="12128"/>
                  </a:lnTo>
                  <a:lnTo>
                    <a:pt x="513003" y="12128"/>
                  </a:lnTo>
                  <a:lnTo>
                    <a:pt x="513003" y="0"/>
                  </a:lnTo>
                  <a:close/>
                </a:path>
                <a:path w="631189" h="92075">
                  <a:moveTo>
                    <a:pt x="630567" y="75653"/>
                  </a:moveTo>
                  <a:lnTo>
                    <a:pt x="0" y="75653"/>
                  </a:lnTo>
                  <a:lnTo>
                    <a:pt x="0" y="92075"/>
                  </a:lnTo>
                  <a:lnTo>
                    <a:pt x="630567" y="92075"/>
                  </a:lnTo>
                  <a:lnTo>
                    <a:pt x="630567" y="75653"/>
                  </a:lnTo>
                  <a:close/>
                </a:path>
              </a:pathLst>
            </a:custGeom>
            <a:solidFill>
              <a:srgbClr val="505457"/>
            </a:solidFill>
          </p:spPr>
          <p:txBody>
            <a:bodyPr wrap="square" lIns="0" tIns="0" rIns="0" bIns="0" rtlCol="0"/>
            <a:lstStyle/>
            <a:p>
              <a:endParaRPr/>
            </a:p>
          </p:txBody>
        </p:sp>
        <p:sp>
          <p:nvSpPr>
            <p:cNvPr id="157" name="object 157"/>
            <p:cNvSpPr/>
            <p:nvPr/>
          </p:nvSpPr>
          <p:spPr>
            <a:xfrm>
              <a:off x="4883670" y="6859841"/>
              <a:ext cx="294640" cy="100965"/>
            </a:xfrm>
            <a:custGeom>
              <a:avLst/>
              <a:gdLst/>
              <a:ahLst/>
              <a:cxnLst/>
              <a:rect l="l" t="t" r="r" b="b"/>
              <a:pathLst>
                <a:path w="294639" h="100965">
                  <a:moveTo>
                    <a:pt x="294525" y="0"/>
                  </a:moveTo>
                  <a:lnTo>
                    <a:pt x="0" y="0"/>
                  </a:lnTo>
                  <a:lnTo>
                    <a:pt x="0" y="100723"/>
                  </a:lnTo>
                  <a:lnTo>
                    <a:pt x="294525" y="100723"/>
                  </a:lnTo>
                  <a:lnTo>
                    <a:pt x="294525" y="0"/>
                  </a:lnTo>
                  <a:close/>
                </a:path>
              </a:pathLst>
            </a:custGeom>
            <a:solidFill>
              <a:srgbClr val="CFD1D0"/>
            </a:solidFill>
          </p:spPr>
          <p:txBody>
            <a:bodyPr wrap="square" lIns="0" tIns="0" rIns="0" bIns="0" rtlCol="0"/>
            <a:lstStyle/>
            <a:p>
              <a:endParaRPr/>
            </a:p>
          </p:txBody>
        </p:sp>
        <p:sp>
          <p:nvSpPr>
            <p:cNvPr id="158" name="object 158"/>
            <p:cNvSpPr/>
            <p:nvPr/>
          </p:nvSpPr>
          <p:spPr>
            <a:xfrm>
              <a:off x="4904892" y="6883996"/>
              <a:ext cx="255270" cy="24765"/>
            </a:xfrm>
            <a:custGeom>
              <a:avLst/>
              <a:gdLst/>
              <a:ahLst/>
              <a:cxnLst/>
              <a:rect l="l" t="t" r="r" b="b"/>
              <a:pathLst>
                <a:path w="255270" h="24765">
                  <a:moveTo>
                    <a:pt x="254850" y="0"/>
                  </a:moveTo>
                  <a:lnTo>
                    <a:pt x="0" y="0"/>
                  </a:lnTo>
                  <a:lnTo>
                    <a:pt x="0" y="24599"/>
                  </a:lnTo>
                  <a:lnTo>
                    <a:pt x="254850" y="24599"/>
                  </a:lnTo>
                  <a:lnTo>
                    <a:pt x="254850" y="0"/>
                  </a:lnTo>
                  <a:close/>
                </a:path>
              </a:pathLst>
            </a:custGeom>
            <a:solidFill>
              <a:srgbClr val="C6CACB"/>
            </a:solidFill>
          </p:spPr>
          <p:txBody>
            <a:bodyPr wrap="square" lIns="0" tIns="0" rIns="0" bIns="0" rtlCol="0"/>
            <a:lstStyle/>
            <a:p>
              <a:endParaRPr/>
            </a:p>
          </p:txBody>
        </p:sp>
        <p:sp>
          <p:nvSpPr>
            <p:cNvPr id="159" name="object 159"/>
            <p:cNvSpPr/>
            <p:nvPr/>
          </p:nvSpPr>
          <p:spPr>
            <a:xfrm>
              <a:off x="4904892" y="6883984"/>
              <a:ext cx="255270" cy="24765"/>
            </a:xfrm>
            <a:custGeom>
              <a:avLst/>
              <a:gdLst/>
              <a:ahLst/>
              <a:cxnLst/>
              <a:rect l="l" t="t" r="r" b="b"/>
              <a:pathLst>
                <a:path w="255270" h="24765">
                  <a:moveTo>
                    <a:pt x="4064" y="0"/>
                  </a:moveTo>
                  <a:lnTo>
                    <a:pt x="0" y="0"/>
                  </a:lnTo>
                  <a:lnTo>
                    <a:pt x="0" y="24599"/>
                  </a:lnTo>
                  <a:lnTo>
                    <a:pt x="4064" y="24599"/>
                  </a:lnTo>
                  <a:lnTo>
                    <a:pt x="4064" y="0"/>
                  </a:lnTo>
                  <a:close/>
                </a:path>
                <a:path w="255270" h="24765">
                  <a:moveTo>
                    <a:pt x="54229" y="0"/>
                  </a:moveTo>
                  <a:lnTo>
                    <a:pt x="50152" y="0"/>
                  </a:lnTo>
                  <a:lnTo>
                    <a:pt x="50152" y="24599"/>
                  </a:lnTo>
                  <a:lnTo>
                    <a:pt x="54229" y="24599"/>
                  </a:lnTo>
                  <a:lnTo>
                    <a:pt x="54229" y="0"/>
                  </a:lnTo>
                  <a:close/>
                </a:path>
                <a:path w="255270" h="24765">
                  <a:moveTo>
                    <a:pt x="104368" y="0"/>
                  </a:moveTo>
                  <a:lnTo>
                    <a:pt x="100291" y="0"/>
                  </a:lnTo>
                  <a:lnTo>
                    <a:pt x="100291" y="24599"/>
                  </a:lnTo>
                  <a:lnTo>
                    <a:pt x="104368" y="24599"/>
                  </a:lnTo>
                  <a:lnTo>
                    <a:pt x="104368" y="0"/>
                  </a:lnTo>
                  <a:close/>
                </a:path>
                <a:path w="255270" h="24765">
                  <a:moveTo>
                    <a:pt x="154520" y="0"/>
                  </a:moveTo>
                  <a:lnTo>
                    <a:pt x="150456" y="0"/>
                  </a:lnTo>
                  <a:lnTo>
                    <a:pt x="150456" y="24599"/>
                  </a:lnTo>
                  <a:lnTo>
                    <a:pt x="154520" y="24599"/>
                  </a:lnTo>
                  <a:lnTo>
                    <a:pt x="154520" y="0"/>
                  </a:lnTo>
                  <a:close/>
                </a:path>
                <a:path w="255270" h="24765">
                  <a:moveTo>
                    <a:pt x="204673" y="0"/>
                  </a:moveTo>
                  <a:lnTo>
                    <a:pt x="200609" y="0"/>
                  </a:lnTo>
                  <a:lnTo>
                    <a:pt x="200609" y="24599"/>
                  </a:lnTo>
                  <a:lnTo>
                    <a:pt x="204673" y="24599"/>
                  </a:lnTo>
                  <a:lnTo>
                    <a:pt x="204673" y="0"/>
                  </a:lnTo>
                  <a:close/>
                </a:path>
                <a:path w="255270" h="24765">
                  <a:moveTo>
                    <a:pt x="254825" y="0"/>
                  </a:moveTo>
                  <a:lnTo>
                    <a:pt x="250761" y="0"/>
                  </a:lnTo>
                  <a:lnTo>
                    <a:pt x="250761" y="24599"/>
                  </a:lnTo>
                  <a:lnTo>
                    <a:pt x="254825" y="24599"/>
                  </a:lnTo>
                  <a:lnTo>
                    <a:pt x="254825" y="0"/>
                  </a:lnTo>
                  <a:close/>
                </a:path>
              </a:pathLst>
            </a:custGeom>
            <a:solidFill>
              <a:srgbClr val="8F9293"/>
            </a:solidFill>
          </p:spPr>
          <p:txBody>
            <a:bodyPr wrap="square" lIns="0" tIns="0" rIns="0" bIns="0" rtlCol="0"/>
            <a:lstStyle/>
            <a:p>
              <a:endParaRPr/>
            </a:p>
          </p:txBody>
        </p:sp>
        <p:sp>
          <p:nvSpPr>
            <p:cNvPr id="160" name="object 160"/>
            <p:cNvSpPr/>
            <p:nvPr/>
          </p:nvSpPr>
          <p:spPr>
            <a:xfrm>
              <a:off x="4895418" y="6859841"/>
              <a:ext cx="283210" cy="8890"/>
            </a:xfrm>
            <a:custGeom>
              <a:avLst/>
              <a:gdLst/>
              <a:ahLst/>
              <a:cxnLst/>
              <a:rect l="l" t="t" r="r" b="b"/>
              <a:pathLst>
                <a:path w="283210" h="8890">
                  <a:moveTo>
                    <a:pt x="0" y="8445"/>
                  </a:moveTo>
                  <a:lnTo>
                    <a:pt x="282790" y="8445"/>
                  </a:lnTo>
                  <a:lnTo>
                    <a:pt x="282790" y="0"/>
                  </a:lnTo>
                  <a:lnTo>
                    <a:pt x="0" y="0"/>
                  </a:lnTo>
                  <a:lnTo>
                    <a:pt x="0" y="8445"/>
                  </a:lnTo>
                  <a:close/>
                </a:path>
              </a:pathLst>
            </a:custGeom>
            <a:solidFill>
              <a:srgbClr val="A5A592"/>
            </a:solidFill>
          </p:spPr>
          <p:txBody>
            <a:bodyPr wrap="square" lIns="0" tIns="0" rIns="0" bIns="0" rtlCol="0"/>
            <a:lstStyle/>
            <a:p>
              <a:endParaRPr/>
            </a:p>
          </p:txBody>
        </p:sp>
        <p:sp>
          <p:nvSpPr>
            <p:cNvPr id="161" name="object 161"/>
            <p:cNvSpPr/>
            <p:nvPr/>
          </p:nvSpPr>
          <p:spPr>
            <a:xfrm>
              <a:off x="4003166" y="6808927"/>
              <a:ext cx="892810" cy="151765"/>
            </a:xfrm>
            <a:custGeom>
              <a:avLst/>
              <a:gdLst/>
              <a:ahLst/>
              <a:cxnLst/>
              <a:rect l="l" t="t" r="r" b="b"/>
              <a:pathLst>
                <a:path w="892810" h="151765">
                  <a:moveTo>
                    <a:pt x="0" y="151637"/>
                  </a:moveTo>
                  <a:lnTo>
                    <a:pt x="892251" y="151637"/>
                  </a:lnTo>
                  <a:lnTo>
                    <a:pt x="892251" y="0"/>
                  </a:lnTo>
                  <a:lnTo>
                    <a:pt x="0" y="0"/>
                  </a:lnTo>
                  <a:lnTo>
                    <a:pt x="0" y="151637"/>
                  </a:lnTo>
                  <a:close/>
                </a:path>
              </a:pathLst>
            </a:custGeom>
            <a:solidFill>
              <a:srgbClr val="CFD1D0"/>
            </a:solidFill>
          </p:spPr>
          <p:txBody>
            <a:bodyPr wrap="square" lIns="0" tIns="0" rIns="0" bIns="0" rtlCol="0"/>
            <a:lstStyle/>
            <a:p>
              <a:endParaRPr/>
            </a:p>
          </p:txBody>
        </p:sp>
        <p:sp>
          <p:nvSpPr>
            <p:cNvPr id="162" name="object 162"/>
            <p:cNvSpPr/>
            <p:nvPr/>
          </p:nvSpPr>
          <p:spPr>
            <a:xfrm>
              <a:off x="3990175" y="6808930"/>
              <a:ext cx="905510" cy="151765"/>
            </a:xfrm>
            <a:custGeom>
              <a:avLst/>
              <a:gdLst/>
              <a:ahLst/>
              <a:cxnLst/>
              <a:rect l="l" t="t" r="r" b="b"/>
              <a:pathLst>
                <a:path w="905510" h="151765">
                  <a:moveTo>
                    <a:pt x="0" y="151637"/>
                  </a:moveTo>
                  <a:lnTo>
                    <a:pt x="905243" y="151637"/>
                  </a:lnTo>
                  <a:lnTo>
                    <a:pt x="905243" y="0"/>
                  </a:lnTo>
                  <a:lnTo>
                    <a:pt x="0" y="0"/>
                  </a:lnTo>
                  <a:lnTo>
                    <a:pt x="0" y="151637"/>
                  </a:lnTo>
                  <a:close/>
                </a:path>
              </a:pathLst>
            </a:custGeom>
            <a:ln w="6883">
              <a:solidFill>
                <a:srgbClr val="FFFFFF"/>
              </a:solidFill>
            </a:ln>
          </p:spPr>
          <p:txBody>
            <a:bodyPr wrap="square" lIns="0" tIns="0" rIns="0" bIns="0" rtlCol="0"/>
            <a:lstStyle/>
            <a:p>
              <a:endParaRPr/>
            </a:p>
          </p:txBody>
        </p:sp>
        <p:sp>
          <p:nvSpPr>
            <p:cNvPr id="163" name="object 163"/>
            <p:cNvSpPr/>
            <p:nvPr/>
          </p:nvSpPr>
          <p:spPr>
            <a:xfrm>
              <a:off x="4032034" y="6831634"/>
              <a:ext cx="821690" cy="93345"/>
            </a:xfrm>
            <a:custGeom>
              <a:avLst/>
              <a:gdLst/>
              <a:ahLst/>
              <a:cxnLst/>
              <a:rect l="l" t="t" r="r" b="b"/>
              <a:pathLst>
                <a:path w="821689" h="93345">
                  <a:moveTo>
                    <a:pt x="821537" y="73939"/>
                  </a:moveTo>
                  <a:lnTo>
                    <a:pt x="0" y="73939"/>
                  </a:lnTo>
                  <a:lnTo>
                    <a:pt x="0" y="93103"/>
                  </a:lnTo>
                  <a:lnTo>
                    <a:pt x="821537" y="93103"/>
                  </a:lnTo>
                  <a:lnTo>
                    <a:pt x="821537" y="73939"/>
                  </a:lnTo>
                  <a:close/>
                </a:path>
                <a:path w="821689" h="93345">
                  <a:moveTo>
                    <a:pt x="821537" y="36969"/>
                  </a:moveTo>
                  <a:lnTo>
                    <a:pt x="0" y="36969"/>
                  </a:lnTo>
                  <a:lnTo>
                    <a:pt x="0" y="56134"/>
                  </a:lnTo>
                  <a:lnTo>
                    <a:pt x="821537" y="56134"/>
                  </a:lnTo>
                  <a:lnTo>
                    <a:pt x="821537" y="36969"/>
                  </a:lnTo>
                  <a:close/>
                </a:path>
                <a:path w="821689" h="93345">
                  <a:moveTo>
                    <a:pt x="821537" y="0"/>
                  </a:moveTo>
                  <a:lnTo>
                    <a:pt x="0" y="0"/>
                  </a:lnTo>
                  <a:lnTo>
                    <a:pt x="0" y="19164"/>
                  </a:lnTo>
                  <a:lnTo>
                    <a:pt x="821537" y="19164"/>
                  </a:lnTo>
                  <a:lnTo>
                    <a:pt x="821537" y="0"/>
                  </a:lnTo>
                  <a:close/>
                </a:path>
              </a:pathLst>
            </a:custGeom>
            <a:solidFill>
              <a:srgbClr val="C6CACB"/>
            </a:solidFill>
          </p:spPr>
          <p:txBody>
            <a:bodyPr wrap="square" lIns="0" tIns="0" rIns="0" bIns="0" rtlCol="0"/>
            <a:lstStyle/>
            <a:p>
              <a:endParaRPr/>
            </a:p>
          </p:txBody>
        </p:sp>
        <p:sp>
          <p:nvSpPr>
            <p:cNvPr id="164" name="object 164"/>
            <p:cNvSpPr/>
            <p:nvPr/>
          </p:nvSpPr>
          <p:spPr>
            <a:xfrm>
              <a:off x="4003166" y="6798551"/>
              <a:ext cx="901700" cy="15240"/>
            </a:xfrm>
            <a:custGeom>
              <a:avLst/>
              <a:gdLst/>
              <a:ahLst/>
              <a:cxnLst/>
              <a:rect l="l" t="t" r="r" b="b"/>
              <a:pathLst>
                <a:path w="901700" h="15240">
                  <a:moveTo>
                    <a:pt x="0" y="14770"/>
                  </a:moveTo>
                  <a:lnTo>
                    <a:pt x="901484" y="14770"/>
                  </a:lnTo>
                  <a:lnTo>
                    <a:pt x="901484" y="0"/>
                  </a:lnTo>
                  <a:lnTo>
                    <a:pt x="0" y="0"/>
                  </a:lnTo>
                  <a:lnTo>
                    <a:pt x="0" y="14770"/>
                  </a:lnTo>
                  <a:close/>
                </a:path>
              </a:pathLst>
            </a:custGeom>
            <a:solidFill>
              <a:srgbClr val="A5A592"/>
            </a:solidFill>
          </p:spPr>
          <p:txBody>
            <a:bodyPr wrap="square" lIns="0" tIns="0" rIns="0" bIns="0" rtlCol="0"/>
            <a:lstStyle/>
            <a:p>
              <a:endParaRPr/>
            </a:p>
          </p:txBody>
        </p:sp>
        <p:sp>
          <p:nvSpPr>
            <p:cNvPr id="165" name="object 165"/>
            <p:cNvSpPr/>
            <p:nvPr/>
          </p:nvSpPr>
          <p:spPr>
            <a:xfrm>
              <a:off x="3616134" y="6643382"/>
              <a:ext cx="290195" cy="58419"/>
            </a:xfrm>
            <a:custGeom>
              <a:avLst/>
              <a:gdLst/>
              <a:ahLst/>
              <a:cxnLst/>
              <a:rect l="l" t="t" r="r" b="b"/>
              <a:pathLst>
                <a:path w="290195" h="58420">
                  <a:moveTo>
                    <a:pt x="290118" y="0"/>
                  </a:moveTo>
                  <a:lnTo>
                    <a:pt x="0" y="0"/>
                  </a:lnTo>
                  <a:lnTo>
                    <a:pt x="0" y="58343"/>
                  </a:lnTo>
                  <a:lnTo>
                    <a:pt x="290118" y="58343"/>
                  </a:lnTo>
                  <a:lnTo>
                    <a:pt x="290118" y="0"/>
                  </a:lnTo>
                  <a:close/>
                </a:path>
              </a:pathLst>
            </a:custGeom>
            <a:solidFill>
              <a:srgbClr val="CFD1D0"/>
            </a:solidFill>
          </p:spPr>
          <p:txBody>
            <a:bodyPr wrap="square" lIns="0" tIns="0" rIns="0" bIns="0" rtlCol="0"/>
            <a:lstStyle/>
            <a:p>
              <a:endParaRPr/>
            </a:p>
          </p:txBody>
        </p:sp>
        <p:sp>
          <p:nvSpPr>
            <p:cNvPr id="166" name="object 166"/>
            <p:cNvSpPr/>
            <p:nvPr/>
          </p:nvSpPr>
          <p:spPr>
            <a:xfrm>
              <a:off x="3616133" y="6643376"/>
              <a:ext cx="290195" cy="58419"/>
            </a:xfrm>
            <a:custGeom>
              <a:avLst/>
              <a:gdLst/>
              <a:ahLst/>
              <a:cxnLst/>
              <a:rect l="l" t="t" r="r" b="b"/>
              <a:pathLst>
                <a:path w="290195" h="58420">
                  <a:moveTo>
                    <a:pt x="0" y="58343"/>
                  </a:moveTo>
                  <a:lnTo>
                    <a:pt x="290118" y="58343"/>
                  </a:lnTo>
                  <a:lnTo>
                    <a:pt x="290118" y="0"/>
                  </a:lnTo>
                  <a:lnTo>
                    <a:pt x="0" y="0"/>
                  </a:lnTo>
                  <a:lnTo>
                    <a:pt x="0" y="58343"/>
                  </a:lnTo>
                  <a:close/>
                </a:path>
              </a:pathLst>
            </a:custGeom>
            <a:ln w="6883">
              <a:solidFill>
                <a:srgbClr val="FFFFFF"/>
              </a:solidFill>
            </a:ln>
          </p:spPr>
          <p:txBody>
            <a:bodyPr wrap="square" lIns="0" tIns="0" rIns="0" bIns="0" rtlCol="0"/>
            <a:lstStyle/>
            <a:p>
              <a:endParaRPr/>
            </a:p>
          </p:txBody>
        </p:sp>
        <p:sp>
          <p:nvSpPr>
            <p:cNvPr id="167" name="object 167"/>
            <p:cNvSpPr/>
            <p:nvPr/>
          </p:nvSpPr>
          <p:spPr>
            <a:xfrm>
              <a:off x="3509365" y="6701714"/>
              <a:ext cx="494030" cy="259079"/>
            </a:xfrm>
            <a:custGeom>
              <a:avLst/>
              <a:gdLst/>
              <a:ahLst/>
              <a:cxnLst/>
              <a:rect l="l" t="t" r="r" b="b"/>
              <a:pathLst>
                <a:path w="494029" h="259079">
                  <a:moveTo>
                    <a:pt x="493801" y="0"/>
                  </a:moveTo>
                  <a:lnTo>
                    <a:pt x="0" y="0"/>
                  </a:lnTo>
                  <a:lnTo>
                    <a:pt x="0" y="258851"/>
                  </a:lnTo>
                  <a:lnTo>
                    <a:pt x="493801" y="258851"/>
                  </a:lnTo>
                  <a:lnTo>
                    <a:pt x="493801" y="0"/>
                  </a:lnTo>
                  <a:close/>
                </a:path>
              </a:pathLst>
            </a:custGeom>
            <a:solidFill>
              <a:srgbClr val="001E1A"/>
            </a:solidFill>
          </p:spPr>
          <p:txBody>
            <a:bodyPr wrap="square" lIns="0" tIns="0" rIns="0" bIns="0" rtlCol="0"/>
            <a:lstStyle/>
            <a:p>
              <a:endParaRPr/>
            </a:p>
          </p:txBody>
        </p:sp>
        <p:sp>
          <p:nvSpPr>
            <p:cNvPr id="168" name="object 168"/>
            <p:cNvSpPr/>
            <p:nvPr/>
          </p:nvSpPr>
          <p:spPr>
            <a:xfrm>
              <a:off x="3559835" y="6783590"/>
              <a:ext cx="391160" cy="160655"/>
            </a:xfrm>
            <a:custGeom>
              <a:avLst/>
              <a:gdLst/>
              <a:ahLst/>
              <a:cxnLst/>
              <a:rect l="l" t="t" r="r" b="b"/>
              <a:pathLst>
                <a:path w="391160" h="160654">
                  <a:moveTo>
                    <a:pt x="69011" y="119964"/>
                  </a:moveTo>
                  <a:lnTo>
                    <a:pt x="0" y="119964"/>
                  </a:lnTo>
                  <a:lnTo>
                    <a:pt x="0" y="160566"/>
                  </a:lnTo>
                  <a:lnTo>
                    <a:pt x="69011" y="160566"/>
                  </a:lnTo>
                  <a:lnTo>
                    <a:pt x="69011" y="119964"/>
                  </a:lnTo>
                  <a:close/>
                </a:path>
                <a:path w="391160" h="160654">
                  <a:moveTo>
                    <a:pt x="69011" y="59969"/>
                  </a:moveTo>
                  <a:lnTo>
                    <a:pt x="0" y="59969"/>
                  </a:lnTo>
                  <a:lnTo>
                    <a:pt x="0" y="100571"/>
                  </a:lnTo>
                  <a:lnTo>
                    <a:pt x="69011" y="100571"/>
                  </a:lnTo>
                  <a:lnTo>
                    <a:pt x="69011" y="59969"/>
                  </a:lnTo>
                  <a:close/>
                </a:path>
                <a:path w="391160" h="160654">
                  <a:moveTo>
                    <a:pt x="69011" y="0"/>
                  </a:moveTo>
                  <a:lnTo>
                    <a:pt x="0" y="0"/>
                  </a:lnTo>
                  <a:lnTo>
                    <a:pt x="0" y="40601"/>
                  </a:lnTo>
                  <a:lnTo>
                    <a:pt x="69011" y="40601"/>
                  </a:lnTo>
                  <a:lnTo>
                    <a:pt x="69011" y="0"/>
                  </a:lnTo>
                  <a:close/>
                </a:path>
                <a:path w="391160" h="160654">
                  <a:moveTo>
                    <a:pt x="176199" y="119964"/>
                  </a:moveTo>
                  <a:lnTo>
                    <a:pt x="107188" y="119964"/>
                  </a:lnTo>
                  <a:lnTo>
                    <a:pt x="107188" y="160566"/>
                  </a:lnTo>
                  <a:lnTo>
                    <a:pt x="176199" y="160566"/>
                  </a:lnTo>
                  <a:lnTo>
                    <a:pt x="176199" y="119964"/>
                  </a:lnTo>
                  <a:close/>
                </a:path>
                <a:path w="391160" h="160654">
                  <a:moveTo>
                    <a:pt x="176199" y="59969"/>
                  </a:moveTo>
                  <a:lnTo>
                    <a:pt x="107188" y="59969"/>
                  </a:lnTo>
                  <a:lnTo>
                    <a:pt x="107188" y="100571"/>
                  </a:lnTo>
                  <a:lnTo>
                    <a:pt x="176199" y="100571"/>
                  </a:lnTo>
                  <a:lnTo>
                    <a:pt x="176199" y="59969"/>
                  </a:lnTo>
                  <a:close/>
                </a:path>
                <a:path w="391160" h="160654">
                  <a:moveTo>
                    <a:pt x="176199" y="0"/>
                  </a:moveTo>
                  <a:lnTo>
                    <a:pt x="107188" y="0"/>
                  </a:lnTo>
                  <a:lnTo>
                    <a:pt x="107188" y="40601"/>
                  </a:lnTo>
                  <a:lnTo>
                    <a:pt x="176199" y="40601"/>
                  </a:lnTo>
                  <a:lnTo>
                    <a:pt x="176199" y="0"/>
                  </a:lnTo>
                  <a:close/>
                </a:path>
                <a:path w="391160" h="160654">
                  <a:moveTo>
                    <a:pt x="283413" y="119964"/>
                  </a:moveTo>
                  <a:lnTo>
                    <a:pt x="214401" y="119964"/>
                  </a:lnTo>
                  <a:lnTo>
                    <a:pt x="214401" y="160566"/>
                  </a:lnTo>
                  <a:lnTo>
                    <a:pt x="283413" y="160566"/>
                  </a:lnTo>
                  <a:lnTo>
                    <a:pt x="283413" y="119964"/>
                  </a:lnTo>
                  <a:close/>
                </a:path>
                <a:path w="391160" h="160654">
                  <a:moveTo>
                    <a:pt x="283413" y="59969"/>
                  </a:moveTo>
                  <a:lnTo>
                    <a:pt x="214401" y="59969"/>
                  </a:lnTo>
                  <a:lnTo>
                    <a:pt x="214401" y="100571"/>
                  </a:lnTo>
                  <a:lnTo>
                    <a:pt x="283413" y="100571"/>
                  </a:lnTo>
                  <a:lnTo>
                    <a:pt x="283413" y="59969"/>
                  </a:lnTo>
                  <a:close/>
                </a:path>
                <a:path w="391160" h="160654">
                  <a:moveTo>
                    <a:pt x="283413" y="0"/>
                  </a:moveTo>
                  <a:lnTo>
                    <a:pt x="214401" y="0"/>
                  </a:lnTo>
                  <a:lnTo>
                    <a:pt x="214401" y="40601"/>
                  </a:lnTo>
                  <a:lnTo>
                    <a:pt x="283413" y="40601"/>
                  </a:lnTo>
                  <a:lnTo>
                    <a:pt x="283413" y="0"/>
                  </a:lnTo>
                  <a:close/>
                </a:path>
                <a:path w="391160" h="160654">
                  <a:moveTo>
                    <a:pt x="390613" y="119964"/>
                  </a:moveTo>
                  <a:lnTo>
                    <a:pt x="321602" y="119964"/>
                  </a:lnTo>
                  <a:lnTo>
                    <a:pt x="321602" y="160566"/>
                  </a:lnTo>
                  <a:lnTo>
                    <a:pt x="390613" y="160566"/>
                  </a:lnTo>
                  <a:lnTo>
                    <a:pt x="390613" y="119964"/>
                  </a:lnTo>
                  <a:close/>
                </a:path>
                <a:path w="391160" h="160654">
                  <a:moveTo>
                    <a:pt x="390613" y="59969"/>
                  </a:moveTo>
                  <a:lnTo>
                    <a:pt x="321602" y="59969"/>
                  </a:lnTo>
                  <a:lnTo>
                    <a:pt x="321602" y="100571"/>
                  </a:lnTo>
                  <a:lnTo>
                    <a:pt x="390613" y="100571"/>
                  </a:lnTo>
                  <a:lnTo>
                    <a:pt x="390613" y="59969"/>
                  </a:lnTo>
                  <a:close/>
                </a:path>
                <a:path w="391160" h="160654">
                  <a:moveTo>
                    <a:pt x="390613" y="0"/>
                  </a:moveTo>
                  <a:lnTo>
                    <a:pt x="321602" y="0"/>
                  </a:lnTo>
                  <a:lnTo>
                    <a:pt x="321602" y="40601"/>
                  </a:lnTo>
                  <a:lnTo>
                    <a:pt x="390613" y="40601"/>
                  </a:lnTo>
                  <a:lnTo>
                    <a:pt x="390613" y="0"/>
                  </a:lnTo>
                  <a:close/>
                </a:path>
              </a:pathLst>
            </a:custGeom>
            <a:solidFill>
              <a:srgbClr val="C6CACB"/>
            </a:solidFill>
          </p:spPr>
          <p:txBody>
            <a:bodyPr wrap="square" lIns="0" tIns="0" rIns="0" bIns="0" rtlCol="0"/>
            <a:lstStyle/>
            <a:p>
              <a:endParaRPr/>
            </a:p>
          </p:txBody>
        </p:sp>
        <p:sp>
          <p:nvSpPr>
            <p:cNvPr id="169" name="object 169"/>
            <p:cNvSpPr/>
            <p:nvPr/>
          </p:nvSpPr>
          <p:spPr>
            <a:xfrm>
              <a:off x="3500386" y="6633502"/>
              <a:ext cx="513080" cy="74930"/>
            </a:xfrm>
            <a:custGeom>
              <a:avLst/>
              <a:gdLst/>
              <a:ahLst/>
              <a:cxnLst/>
              <a:rect l="l" t="t" r="r" b="b"/>
              <a:pathLst>
                <a:path w="513079" h="74929">
                  <a:moveTo>
                    <a:pt x="417271" y="0"/>
                  </a:moveTo>
                  <a:lnTo>
                    <a:pt x="105308" y="0"/>
                  </a:lnTo>
                  <a:lnTo>
                    <a:pt x="105308" y="9867"/>
                  </a:lnTo>
                  <a:lnTo>
                    <a:pt x="417271" y="9867"/>
                  </a:lnTo>
                  <a:lnTo>
                    <a:pt x="417271" y="0"/>
                  </a:lnTo>
                  <a:close/>
                </a:path>
                <a:path w="513079" h="74929">
                  <a:moveTo>
                    <a:pt x="512889" y="61569"/>
                  </a:moveTo>
                  <a:lnTo>
                    <a:pt x="0" y="61569"/>
                  </a:lnTo>
                  <a:lnTo>
                    <a:pt x="0" y="74904"/>
                  </a:lnTo>
                  <a:lnTo>
                    <a:pt x="512889" y="74904"/>
                  </a:lnTo>
                  <a:lnTo>
                    <a:pt x="512889" y="61569"/>
                  </a:lnTo>
                  <a:close/>
                </a:path>
              </a:pathLst>
            </a:custGeom>
            <a:solidFill>
              <a:srgbClr val="505457"/>
            </a:solidFill>
          </p:spPr>
          <p:txBody>
            <a:bodyPr wrap="square" lIns="0" tIns="0" rIns="0" bIns="0" rtlCol="0"/>
            <a:lstStyle/>
            <a:p>
              <a:endParaRPr/>
            </a:p>
          </p:txBody>
        </p:sp>
        <p:pic>
          <p:nvPicPr>
            <p:cNvPr id="170" name="object 170"/>
            <p:cNvPicPr/>
            <p:nvPr/>
          </p:nvPicPr>
          <p:blipFill>
            <a:blip r:embed="rId12" cstate="print"/>
            <a:stretch>
              <a:fillRect/>
            </a:stretch>
          </p:blipFill>
          <p:spPr>
            <a:xfrm>
              <a:off x="0" y="6640639"/>
              <a:ext cx="425335" cy="197573"/>
            </a:xfrm>
            <a:prstGeom prst="rect">
              <a:avLst/>
            </a:prstGeom>
          </p:spPr>
        </p:pic>
        <p:pic>
          <p:nvPicPr>
            <p:cNvPr id="171" name="object 171"/>
            <p:cNvPicPr/>
            <p:nvPr/>
          </p:nvPicPr>
          <p:blipFill>
            <a:blip r:embed="rId13" cstate="print"/>
            <a:stretch>
              <a:fillRect/>
            </a:stretch>
          </p:blipFill>
          <p:spPr>
            <a:xfrm>
              <a:off x="0" y="6434829"/>
              <a:ext cx="5759996" cy="726165"/>
            </a:xfrm>
            <a:prstGeom prst="rect">
              <a:avLst/>
            </a:prstGeom>
          </p:spPr>
        </p:pic>
        <p:sp>
          <p:nvSpPr>
            <p:cNvPr id="172" name="object 172"/>
            <p:cNvSpPr/>
            <p:nvPr/>
          </p:nvSpPr>
          <p:spPr>
            <a:xfrm>
              <a:off x="0" y="4970970"/>
              <a:ext cx="5553075" cy="772795"/>
            </a:xfrm>
            <a:custGeom>
              <a:avLst/>
              <a:gdLst/>
              <a:ahLst/>
              <a:cxnLst/>
              <a:rect l="l" t="t" r="r" b="b"/>
              <a:pathLst>
                <a:path w="5553075" h="772795">
                  <a:moveTo>
                    <a:pt x="48031" y="693305"/>
                  </a:moveTo>
                  <a:lnTo>
                    <a:pt x="44780" y="686600"/>
                  </a:lnTo>
                  <a:lnTo>
                    <a:pt x="37807" y="681596"/>
                  </a:lnTo>
                  <a:lnTo>
                    <a:pt x="32854" y="678040"/>
                  </a:lnTo>
                  <a:lnTo>
                    <a:pt x="27774" y="677278"/>
                  </a:lnTo>
                  <a:lnTo>
                    <a:pt x="21018" y="680008"/>
                  </a:lnTo>
                  <a:lnTo>
                    <a:pt x="15773" y="681799"/>
                  </a:lnTo>
                  <a:lnTo>
                    <a:pt x="14732" y="678954"/>
                  </a:lnTo>
                  <a:lnTo>
                    <a:pt x="11836" y="680554"/>
                  </a:lnTo>
                  <a:lnTo>
                    <a:pt x="7950" y="682447"/>
                  </a:lnTo>
                  <a:lnTo>
                    <a:pt x="3708" y="679653"/>
                  </a:lnTo>
                  <a:lnTo>
                    <a:pt x="0" y="675132"/>
                  </a:lnTo>
                  <a:lnTo>
                    <a:pt x="0" y="683158"/>
                  </a:lnTo>
                  <a:lnTo>
                    <a:pt x="2197" y="685368"/>
                  </a:lnTo>
                  <a:lnTo>
                    <a:pt x="2540" y="687336"/>
                  </a:lnTo>
                  <a:lnTo>
                    <a:pt x="0" y="689927"/>
                  </a:lnTo>
                  <a:lnTo>
                    <a:pt x="0" y="693572"/>
                  </a:lnTo>
                  <a:lnTo>
                    <a:pt x="7137" y="693356"/>
                  </a:lnTo>
                  <a:lnTo>
                    <a:pt x="10756" y="689457"/>
                  </a:lnTo>
                  <a:lnTo>
                    <a:pt x="14160" y="685977"/>
                  </a:lnTo>
                  <a:lnTo>
                    <a:pt x="17081" y="685431"/>
                  </a:lnTo>
                  <a:lnTo>
                    <a:pt x="25742" y="682447"/>
                  </a:lnTo>
                  <a:lnTo>
                    <a:pt x="27622" y="681799"/>
                  </a:lnTo>
                  <a:lnTo>
                    <a:pt x="28206" y="681596"/>
                  </a:lnTo>
                  <a:lnTo>
                    <a:pt x="32550" y="684657"/>
                  </a:lnTo>
                  <a:lnTo>
                    <a:pt x="44577" y="689140"/>
                  </a:lnTo>
                  <a:lnTo>
                    <a:pt x="48031" y="693305"/>
                  </a:lnTo>
                  <a:close/>
                </a:path>
                <a:path w="5553075" h="772795">
                  <a:moveTo>
                    <a:pt x="219443" y="483654"/>
                  </a:moveTo>
                  <a:lnTo>
                    <a:pt x="217398" y="478764"/>
                  </a:lnTo>
                  <a:lnTo>
                    <a:pt x="215239" y="478180"/>
                  </a:lnTo>
                  <a:lnTo>
                    <a:pt x="207492" y="480822"/>
                  </a:lnTo>
                  <a:lnTo>
                    <a:pt x="204241" y="482650"/>
                  </a:lnTo>
                  <a:lnTo>
                    <a:pt x="197116" y="482650"/>
                  </a:lnTo>
                  <a:lnTo>
                    <a:pt x="195592" y="480212"/>
                  </a:lnTo>
                  <a:lnTo>
                    <a:pt x="192125" y="470839"/>
                  </a:lnTo>
                  <a:lnTo>
                    <a:pt x="194919" y="466763"/>
                  </a:lnTo>
                  <a:lnTo>
                    <a:pt x="181635" y="469061"/>
                  </a:lnTo>
                  <a:lnTo>
                    <a:pt x="172783" y="470954"/>
                  </a:lnTo>
                  <a:lnTo>
                    <a:pt x="166573" y="472897"/>
                  </a:lnTo>
                  <a:lnTo>
                    <a:pt x="163703" y="474408"/>
                  </a:lnTo>
                  <a:lnTo>
                    <a:pt x="164833" y="475018"/>
                  </a:lnTo>
                  <a:lnTo>
                    <a:pt x="167779" y="475018"/>
                  </a:lnTo>
                  <a:lnTo>
                    <a:pt x="175526" y="472821"/>
                  </a:lnTo>
                  <a:lnTo>
                    <a:pt x="186156" y="472732"/>
                  </a:lnTo>
                  <a:lnTo>
                    <a:pt x="186626" y="474205"/>
                  </a:lnTo>
                  <a:lnTo>
                    <a:pt x="192328" y="485406"/>
                  </a:lnTo>
                  <a:lnTo>
                    <a:pt x="194716" y="483412"/>
                  </a:lnTo>
                  <a:lnTo>
                    <a:pt x="190550" y="487591"/>
                  </a:lnTo>
                  <a:lnTo>
                    <a:pt x="188531" y="487718"/>
                  </a:lnTo>
                  <a:lnTo>
                    <a:pt x="184683" y="488835"/>
                  </a:lnTo>
                  <a:lnTo>
                    <a:pt x="187185" y="491159"/>
                  </a:lnTo>
                  <a:lnTo>
                    <a:pt x="189522" y="488823"/>
                  </a:lnTo>
                  <a:lnTo>
                    <a:pt x="191922" y="488556"/>
                  </a:lnTo>
                  <a:lnTo>
                    <a:pt x="200685" y="489572"/>
                  </a:lnTo>
                  <a:lnTo>
                    <a:pt x="201701" y="486930"/>
                  </a:lnTo>
                  <a:lnTo>
                    <a:pt x="207200" y="483882"/>
                  </a:lnTo>
                  <a:lnTo>
                    <a:pt x="212636" y="481863"/>
                  </a:lnTo>
                  <a:lnTo>
                    <a:pt x="213702" y="482536"/>
                  </a:lnTo>
                  <a:lnTo>
                    <a:pt x="215557" y="483946"/>
                  </a:lnTo>
                  <a:lnTo>
                    <a:pt x="213842" y="495401"/>
                  </a:lnTo>
                  <a:lnTo>
                    <a:pt x="216281" y="495401"/>
                  </a:lnTo>
                  <a:lnTo>
                    <a:pt x="216865" y="493344"/>
                  </a:lnTo>
                  <a:lnTo>
                    <a:pt x="218503" y="489889"/>
                  </a:lnTo>
                  <a:lnTo>
                    <a:pt x="219443" y="483654"/>
                  </a:lnTo>
                  <a:close/>
                </a:path>
                <a:path w="5553075" h="772795">
                  <a:moveTo>
                    <a:pt x="248183" y="697026"/>
                  </a:moveTo>
                  <a:lnTo>
                    <a:pt x="245211" y="698677"/>
                  </a:lnTo>
                  <a:lnTo>
                    <a:pt x="242900" y="698182"/>
                  </a:lnTo>
                  <a:lnTo>
                    <a:pt x="238810" y="697293"/>
                  </a:lnTo>
                  <a:lnTo>
                    <a:pt x="237896" y="696899"/>
                  </a:lnTo>
                  <a:lnTo>
                    <a:pt x="234988" y="695642"/>
                  </a:lnTo>
                  <a:lnTo>
                    <a:pt x="233565" y="695706"/>
                  </a:lnTo>
                  <a:lnTo>
                    <a:pt x="230212" y="696899"/>
                  </a:lnTo>
                  <a:lnTo>
                    <a:pt x="229577" y="696899"/>
                  </a:lnTo>
                  <a:lnTo>
                    <a:pt x="225577" y="696214"/>
                  </a:lnTo>
                  <a:lnTo>
                    <a:pt x="223608" y="698182"/>
                  </a:lnTo>
                  <a:lnTo>
                    <a:pt x="220738" y="698093"/>
                  </a:lnTo>
                  <a:lnTo>
                    <a:pt x="217170" y="697293"/>
                  </a:lnTo>
                  <a:lnTo>
                    <a:pt x="215125" y="696023"/>
                  </a:lnTo>
                  <a:lnTo>
                    <a:pt x="212674" y="699287"/>
                  </a:lnTo>
                  <a:lnTo>
                    <a:pt x="209550" y="699516"/>
                  </a:lnTo>
                  <a:lnTo>
                    <a:pt x="211302" y="700265"/>
                  </a:lnTo>
                  <a:lnTo>
                    <a:pt x="214287" y="700646"/>
                  </a:lnTo>
                  <a:lnTo>
                    <a:pt x="217170" y="699960"/>
                  </a:lnTo>
                  <a:lnTo>
                    <a:pt x="220611" y="700659"/>
                  </a:lnTo>
                  <a:lnTo>
                    <a:pt x="214998" y="702564"/>
                  </a:lnTo>
                  <a:lnTo>
                    <a:pt x="205930" y="713333"/>
                  </a:lnTo>
                  <a:lnTo>
                    <a:pt x="202399" y="715568"/>
                  </a:lnTo>
                  <a:lnTo>
                    <a:pt x="207149" y="715708"/>
                  </a:lnTo>
                  <a:lnTo>
                    <a:pt x="217551" y="709066"/>
                  </a:lnTo>
                  <a:lnTo>
                    <a:pt x="222097" y="707301"/>
                  </a:lnTo>
                  <a:lnTo>
                    <a:pt x="226669" y="705180"/>
                  </a:lnTo>
                  <a:lnTo>
                    <a:pt x="232956" y="706183"/>
                  </a:lnTo>
                  <a:lnTo>
                    <a:pt x="235724" y="705180"/>
                  </a:lnTo>
                  <a:lnTo>
                    <a:pt x="238074" y="704329"/>
                  </a:lnTo>
                  <a:lnTo>
                    <a:pt x="239141" y="704938"/>
                  </a:lnTo>
                  <a:lnTo>
                    <a:pt x="244525" y="704519"/>
                  </a:lnTo>
                  <a:lnTo>
                    <a:pt x="244652" y="704329"/>
                  </a:lnTo>
                  <a:lnTo>
                    <a:pt x="246494" y="701636"/>
                  </a:lnTo>
                  <a:lnTo>
                    <a:pt x="246761" y="701243"/>
                  </a:lnTo>
                  <a:lnTo>
                    <a:pt x="245173" y="701636"/>
                  </a:lnTo>
                  <a:lnTo>
                    <a:pt x="240068" y="700112"/>
                  </a:lnTo>
                  <a:lnTo>
                    <a:pt x="244729" y="700532"/>
                  </a:lnTo>
                  <a:lnTo>
                    <a:pt x="245135" y="700112"/>
                  </a:lnTo>
                  <a:lnTo>
                    <a:pt x="245287" y="699960"/>
                  </a:lnTo>
                  <a:lnTo>
                    <a:pt x="246557" y="698677"/>
                  </a:lnTo>
                  <a:lnTo>
                    <a:pt x="248183" y="697026"/>
                  </a:lnTo>
                  <a:close/>
                </a:path>
                <a:path w="5553075" h="772795">
                  <a:moveTo>
                    <a:pt x="875042" y="746975"/>
                  </a:moveTo>
                  <a:lnTo>
                    <a:pt x="870800" y="747255"/>
                  </a:lnTo>
                  <a:lnTo>
                    <a:pt x="856424" y="749515"/>
                  </a:lnTo>
                  <a:lnTo>
                    <a:pt x="842314" y="752894"/>
                  </a:lnTo>
                  <a:lnTo>
                    <a:pt x="834986" y="762635"/>
                  </a:lnTo>
                  <a:lnTo>
                    <a:pt x="831596" y="763473"/>
                  </a:lnTo>
                  <a:lnTo>
                    <a:pt x="823417" y="762482"/>
                  </a:lnTo>
                  <a:lnTo>
                    <a:pt x="809320" y="761365"/>
                  </a:lnTo>
                  <a:lnTo>
                    <a:pt x="795782" y="769112"/>
                  </a:lnTo>
                  <a:lnTo>
                    <a:pt x="795782" y="772071"/>
                  </a:lnTo>
                  <a:lnTo>
                    <a:pt x="809459" y="767562"/>
                  </a:lnTo>
                  <a:lnTo>
                    <a:pt x="819048" y="767003"/>
                  </a:lnTo>
                  <a:lnTo>
                    <a:pt x="826528" y="768553"/>
                  </a:lnTo>
                  <a:lnTo>
                    <a:pt x="829627" y="771093"/>
                  </a:lnTo>
                  <a:lnTo>
                    <a:pt x="832586" y="772782"/>
                  </a:lnTo>
                  <a:lnTo>
                    <a:pt x="837666" y="772502"/>
                  </a:lnTo>
                  <a:lnTo>
                    <a:pt x="844854" y="767422"/>
                  </a:lnTo>
                  <a:lnTo>
                    <a:pt x="845159" y="767003"/>
                  </a:lnTo>
                  <a:lnTo>
                    <a:pt x="846264" y="765441"/>
                  </a:lnTo>
                  <a:lnTo>
                    <a:pt x="842606" y="765035"/>
                  </a:lnTo>
                  <a:lnTo>
                    <a:pt x="843851" y="763473"/>
                  </a:lnTo>
                  <a:lnTo>
                    <a:pt x="849363" y="756564"/>
                  </a:lnTo>
                  <a:lnTo>
                    <a:pt x="866724" y="752055"/>
                  </a:lnTo>
                  <a:lnTo>
                    <a:pt x="875042" y="746975"/>
                  </a:lnTo>
                  <a:close/>
                </a:path>
                <a:path w="5553075" h="772795">
                  <a:moveTo>
                    <a:pt x="1097343" y="753110"/>
                  </a:moveTo>
                  <a:lnTo>
                    <a:pt x="1093558" y="751103"/>
                  </a:lnTo>
                  <a:lnTo>
                    <a:pt x="1090650" y="749554"/>
                  </a:lnTo>
                  <a:lnTo>
                    <a:pt x="1083132" y="746760"/>
                  </a:lnTo>
                  <a:lnTo>
                    <a:pt x="1077480" y="745426"/>
                  </a:lnTo>
                  <a:lnTo>
                    <a:pt x="1075740" y="745020"/>
                  </a:lnTo>
                  <a:lnTo>
                    <a:pt x="1069403" y="744651"/>
                  </a:lnTo>
                  <a:lnTo>
                    <a:pt x="1065314" y="744969"/>
                  </a:lnTo>
                  <a:lnTo>
                    <a:pt x="1062050" y="745426"/>
                  </a:lnTo>
                  <a:lnTo>
                    <a:pt x="1058392" y="744283"/>
                  </a:lnTo>
                  <a:lnTo>
                    <a:pt x="1058887" y="742391"/>
                  </a:lnTo>
                  <a:lnTo>
                    <a:pt x="1059649" y="739419"/>
                  </a:lnTo>
                  <a:lnTo>
                    <a:pt x="1061491" y="733831"/>
                  </a:lnTo>
                  <a:lnTo>
                    <a:pt x="1055751" y="731151"/>
                  </a:lnTo>
                  <a:lnTo>
                    <a:pt x="1053566" y="733132"/>
                  </a:lnTo>
                  <a:lnTo>
                    <a:pt x="1054023" y="738949"/>
                  </a:lnTo>
                  <a:lnTo>
                    <a:pt x="1054227" y="740752"/>
                  </a:lnTo>
                  <a:lnTo>
                    <a:pt x="1054290" y="742391"/>
                  </a:lnTo>
                  <a:lnTo>
                    <a:pt x="1052512" y="741311"/>
                  </a:lnTo>
                  <a:lnTo>
                    <a:pt x="1050582" y="739813"/>
                  </a:lnTo>
                  <a:lnTo>
                    <a:pt x="1048385" y="737755"/>
                  </a:lnTo>
                  <a:lnTo>
                    <a:pt x="1040269" y="732015"/>
                  </a:lnTo>
                  <a:lnTo>
                    <a:pt x="1031252" y="727659"/>
                  </a:lnTo>
                  <a:lnTo>
                    <a:pt x="1023924" y="724903"/>
                  </a:lnTo>
                  <a:lnTo>
                    <a:pt x="1020902" y="723938"/>
                  </a:lnTo>
                  <a:lnTo>
                    <a:pt x="1025893" y="727087"/>
                  </a:lnTo>
                  <a:lnTo>
                    <a:pt x="1032954" y="732561"/>
                  </a:lnTo>
                  <a:lnTo>
                    <a:pt x="1039977" y="738949"/>
                  </a:lnTo>
                  <a:lnTo>
                    <a:pt x="1044892" y="744791"/>
                  </a:lnTo>
                  <a:lnTo>
                    <a:pt x="1046962" y="748169"/>
                  </a:lnTo>
                  <a:lnTo>
                    <a:pt x="1048778" y="750620"/>
                  </a:lnTo>
                  <a:lnTo>
                    <a:pt x="1051140" y="752081"/>
                  </a:lnTo>
                  <a:lnTo>
                    <a:pt x="1050150" y="753173"/>
                  </a:lnTo>
                  <a:lnTo>
                    <a:pt x="1049261" y="753554"/>
                  </a:lnTo>
                  <a:lnTo>
                    <a:pt x="1048677" y="753770"/>
                  </a:lnTo>
                  <a:lnTo>
                    <a:pt x="1050391" y="757466"/>
                  </a:lnTo>
                  <a:lnTo>
                    <a:pt x="1054963" y="758952"/>
                  </a:lnTo>
                  <a:lnTo>
                    <a:pt x="1059751" y="757186"/>
                  </a:lnTo>
                  <a:lnTo>
                    <a:pt x="1058799" y="755777"/>
                  </a:lnTo>
                  <a:lnTo>
                    <a:pt x="1058125" y="753554"/>
                  </a:lnTo>
                  <a:lnTo>
                    <a:pt x="1060411" y="753427"/>
                  </a:lnTo>
                  <a:lnTo>
                    <a:pt x="1063142" y="752881"/>
                  </a:lnTo>
                  <a:lnTo>
                    <a:pt x="1066507" y="751878"/>
                  </a:lnTo>
                  <a:lnTo>
                    <a:pt x="1074648" y="751103"/>
                  </a:lnTo>
                  <a:lnTo>
                    <a:pt x="1084884" y="751636"/>
                  </a:lnTo>
                  <a:lnTo>
                    <a:pt x="1093635" y="752602"/>
                  </a:lnTo>
                  <a:lnTo>
                    <a:pt x="1097343" y="753110"/>
                  </a:lnTo>
                  <a:close/>
                </a:path>
                <a:path w="5553075" h="772795">
                  <a:moveTo>
                    <a:pt x="4707128" y="696607"/>
                  </a:moveTo>
                  <a:lnTo>
                    <a:pt x="4691545" y="689851"/>
                  </a:lnTo>
                  <a:lnTo>
                    <a:pt x="4686033" y="687031"/>
                  </a:lnTo>
                  <a:lnTo>
                    <a:pt x="4685512" y="686765"/>
                  </a:lnTo>
                  <a:lnTo>
                    <a:pt x="4678261" y="683488"/>
                  </a:lnTo>
                  <a:lnTo>
                    <a:pt x="4678464" y="682523"/>
                  </a:lnTo>
                  <a:lnTo>
                    <a:pt x="4678527" y="681228"/>
                  </a:lnTo>
                  <a:lnTo>
                    <a:pt x="4676470" y="679958"/>
                  </a:lnTo>
                  <a:lnTo>
                    <a:pt x="4674463" y="680745"/>
                  </a:lnTo>
                  <a:lnTo>
                    <a:pt x="4673117" y="681215"/>
                  </a:lnTo>
                  <a:lnTo>
                    <a:pt x="4671796" y="680656"/>
                  </a:lnTo>
                  <a:lnTo>
                    <a:pt x="4652442" y="673049"/>
                  </a:lnTo>
                  <a:lnTo>
                    <a:pt x="4643539" y="669239"/>
                  </a:lnTo>
                  <a:lnTo>
                    <a:pt x="4638345" y="666165"/>
                  </a:lnTo>
                  <a:lnTo>
                    <a:pt x="4641596" y="672833"/>
                  </a:lnTo>
                  <a:lnTo>
                    <a:pt x="4666450" y="680516"/>
                  </a:lnTo>
                  <a:lnTo>
                    <a:pt x="4665142" y="684949"/>
                  </a:lnTo>
                  <a:lnTo>
                    <a:pt x="4664126" y="686854"/>
                  </a:lnTo>
                  <a:lnTo>
                    <a:pt x="4666767" y="689241"/>
                  </a:lnTo>
                  <a:lnTo>
                    <a:pt x="4673155" y="689254"/>
                  </a:lnTo>
                  <a:lnTo>
                    <a:pt x="4674832" y="687031"/>
                  </a:lnTo>
                  <a:lnTo>
                    <a:pt x="4677461" y="687489"/>
                  </a:lnTo>
                  <a:lnTo>
                    <a:pt x="4681956" y="689254"/>
                  </a:lnTo>
                  <a:lnTo>
                    <a:pt x="4688814" y="692200"/>
                  </a:lnTo>
                  <a:lnTo>
                    <a:pt x="4697412" y="695210"/>
                  </a:lnTo>
                  <a:lnTo>
                    <a:pt x="4705578" y="696595"/>
                  </a:lnTo>
                  <a:lnTo>
                    <a:pt x="4707128" y="696607"/>
                  </a:lnTo>
                  <a:close/>
                </a:path>
                <a:path w="5553075" h="772795">
                  <a:moveTo>
                    <a:pt x="4708918" y="696633"/>
                  </a:moveTo>
                  <a:lnTo>
                    <a:pt x="4707128" y="696607"/>
                  </a:lnTo>
                  <a:lnTo>
                    <a:pt x="4707712" y="696861"/>
                  </a:lnTo>
                  <a:lnTo>
                    <a:pt x="4708918" y="696633"/>
                  </a:lnTo>
                  <a:close/>
                </a:path>
                <a:path w="5553075" h="772795">
                  <a:moveTo>
                    <a:pt x="4715408" y="696671"/>
                  </a:moveTo>
                  <a:lnTo>
                    <a:pt x="4713605" y="695680"/>
                  </a:lnTo>
                  <a:lnTo>
                    <a:pt x="4708918" y="696633"/>
                  </a:lnTo>
                  <a:lnTo>
                    <a:pt x="4715408" y="696671"/>
                  </a:lnTo>
                  <a:close/>
                </a:path>
                <a:path w="5553075" h="772795">
                  <a:moveTo>
                    <a:pt x="5393791" y="587844"/>
                  </a:moveTo>
                  <a:lnTo>
                    <a:pt x="5393601" y="587184"/>
                  </a:lnTo>
                  <a:lnTo>
                    <a:pt x="5393410" y="586524"/>
                  </a:lnTo>
                  <a:lnTo>
                    <a:pt x="5379161" y="597992"/>
                  </a:lnTo>
                  <a:lnTo>
                    <a:pt x="5374398" y="604888"/>
                  </a:lnTo>
                  <a:lnTo>
                    <a:pt x="5367883" y="610412"/>
                  </a:lnTo>
                  <a:lnTo>
                    <a:pt x="5365966" y="609384"/>
                  </a:lnTo>
                  <a:lnTo>
                    <a:pt x="5364048" y="610082"/>
                  </a:lnTo>
                  <a:lnTo>
                    <a:pt x="5363108" y="611327"/>
                  </a:lnTo>
                  <a:lnTo>
                    <a:pt x="5362753" y="611644"/>
                  </a:lnTo>
                  <a:lnTo>
                    <a:pt x="5360822" y="612076"/>
                  </a:lnTo>
                  <a:lnTo>
                    <a:pt x="5361165" y="612470"/>
                  </a:lnTo>
                  <a:lnTo>
                    <a:pt x="5362816" y="612419"/>
                  </a:lnTo>
                  <a:lnTo>
                    <a:pt x="5364429" y="612800"/>
                  </a:lnTo>
                  <a:lnTo>
                    <a:pt x="5360657" y="615099"/>
                  </a:lnTo>
                  <a:lnTo>
                    <a:pt x="5351564" y="621017"/>
                  </a:lnTo>
                  <a:lnTo>
                    <a:pt x="5347068" y="623201"/>
                  </a:lnTo>
                  <a:lnTo>
                    <a:pt x="5345912" y="625373"/>
                  </a:lnTo>
                  <a:lnTo>
                    <a:pt x="5360263" y="619442"/>
                  </a:lnTo>
                  <a:lnTo>
                    <a:pt x="5367502" y="616648"/>
                  </a:lnTo>
                  <a:lnTo>
                    <a:pt x="5372468" y="614311"/>
                  </a:lnTo>
                  <a:lnTo>
                    <a:pt x="5375681" y="614083"/>
                  </a:lnTo>
                  <a:lnTo>
                    <a:pt x="5377294" y="614489"/>
                  </a:lnTo>
                  <a:lnTo>
                    <a:pt x="5377205" y="616407"/>
                  </a:lnTo>
                  <a:lnTo>
                    <a:pt x="5381510" y="615010"/>
                  </a:lnTo>
                  <a:lnTo>
                    <a:pt x="5384330" y="612533"/>
                  </a:lnTo>
                  <a:lnTo>
                    <a:pt x="5385168" y="609549"/>
                  </a:lnTo>
                  <a:lnTo>
                    <a:pt x="5383860" y="609269"/>
                  </a:lnTo>
                  <a:lnTo>
                    <a:pt x="5382514" y="609092"/>
                  </a:lnTo>
                  <a:lnTo>
                    <a:pt x="5378920" y="609650"/>
                  </a:lnTo>
                  <a:lnTo>
                    <a:pt x="5381498" y="606120"/>
                  </a:lnTo>
                  <a:lnTo>
                    <a:pt x="5385333" y="599427"/>
                  </a:lnTo>
                  <a:lnTo>
                    <a:pt x="5390616" y="591934"/>
                  </a:lnTo>
                  <a:lnTo>
                    <a:pt x="5393791" y="587844"/>
                  </a:lnTo>
                  <a:close/>
                </a:path>
                <a:path w="5553075" h="772795">
                  <a:moveTo>
                    <a:pt x="5552897" y="58928"/>
                  </a:moveTo>
                  <a:lnTo>
                    <a:pt x="5536908" y="23355"/>
                  </a:lnTo>
                  <a:lnTo>
                    <a:pt x="5524424" y="13538"/>
                  </a:lnTo>
                  <a:lnTo>
                    <a:pt x="5525605" y="11506"/>
                  </a:lnTo>
                  <a:lnTo>
                    <a:pt x="5525973" y="9474"/>
                  </a:lnTo>
                  <a:lnTo>
                    <a:pt x="5522747" y="7480"/>
                  </a:lnTo>
                  <a:lnTo>
                    <a:pt x="5519013" y="6629"/>
                  </a:lnTo>
                  <a:lnTo>
                    <a:pt x="5515445" y="7683"/>
                  </a:lnTo>
                  <a:lnTo>
                    <a:pt x="5509780" y="4292"/>
                  </a:lnTo>
                  <a:lnTo>
                    <a:pt x="5504662" y="1790"/>
                  </a:lnTo>
                  <a:lnTo>
                    <a:pt x="5501602" y="736"/>
                  </a:lnTo>
                  <a:lnTo>
                    <a:pt x="5491416" y="0"/>
                  </a:lnTo>
                  <a:lnTo>
                    <a:pt x="5476811" y="1066"/>
                  </a:lnTo>
                  <a:lnTo>
                    <a:pt x="5458028" y="3492"/>
                  </a:lnTo>
                  <a:lnTo>
                    <a:pt x="5462956" y="4635"/>
                  </a:lnTo>
                  <a:lnTo>
                    <a:pt x="5487695" y="4343"/>
                  </a:lnTo>
                  <a:lnTo>
                    <a:pt x="5497741" y="4876"/>
                  </a:lnTo>
                  <a:lnTo>
                    <a:pt x="5500776" y="5422"/>
                  </a:lnTo>
                  <a:lnTo>
                    <a:pt x="5505132" y="7785"/>
                  </a:lnTo>
                  <a:lnTo>
                    <a:pt x="5509844" y="10883"/>
                  </a:lnTo>
                  <a:lnTo>
                    <a:pt x="5507012" y="13169"/>
                  </a:lnTo>
                  <a:lnTo>
                    <a:pt x="5504739" y="15849"/>
                  </a:lnTo>
                  <a:lnTo>
                    <a:pt x="5506504" y="17627"/>
                  </a:lnTo>
                  <a:lnTo>
                    <a:pt x="5511812" y="20027"/>
                  </a:lnTo>
                  <a:lnTo>
                    <a:pt x="5519280" y="18364"/>
                  </a:lnTo>
                  <a:lnTo>
                    <a:pt x="5519775" y="18110"/>
                  </a:lnTo>
                  <a:lnTo>
                    <a:pt x="5525960" y="22974"/>
                  </a:lnTo>
                  <a:lnTo>
                    <a:pt x="5531599" y="27965"/>
                  </a:lnTo>
                  <a:lnTo>
                    <a:pt x="5534418" y="30784"/>
                  </a:lnTo>
                  <a:lnTo>
                    <a:pt x="5539778" y="37960"/>
                  </a:lnTo>
                  <a:lnTo>
                    <a:pt x="5550827" y="56273"/>
                  </a:lnTo>
                  <a:lnTo>
                    <a:pt x="5552897" y="58928"/>
                  </a:lnTo>
                  <a:close/>
                </a:path>
              </a:pathLst>
            </a:custGeom>
            <a:solidFill>
              <a:srgbClr val="001E1A"/>
            </a:solidFill>
          </p:spPr>
          <p:txBody>
            <a:bodyPr wrap="square" lIns="0" tIns="0" rIns="0" bIns="0" rtlCol="0"/>
            <a:lstStyle/>
            <a:p>
              <a:endParaRPr/>
            </a:p>
          </p:txBody>
        </p:sp>
        <p:sp>
          <p:nvSpPr>
            <p:cNvPr id="173" name="object 173"/>
            <p:cNvSpPr/>
            <p:nvPr/>
          </p:nvSpPr>
          <p:spPr>
            <a:xfrm>
              <a:off x="929994" y="2288650"/>
              <a:ext cx="3900170" cy="12700"/>
            </a:xfrm>
            <a:custGeom>
              <a:avLst/>
              <a:gdLst/>
              <a:ahLst/>
              <a:cxnLst/>
              <a:rect l="l" t="t" r="r" b="b"/>
              <a:pathLst>
                <a:path w="3900170" h="12700">
                  <a:moveTo>
                    <a:pt x="0" y="12700"/>
                  </a:moveTo>
                  <a:lnTo>
                    <a:pt x="3900004" y="12700"/>
                  </a:lnTo>
                  <a:lnTo>
                    <a:pt x="3900004" y="0"/>
                  </a:lnTo>
                  <a:lnTo>
                    <a:pt x="0" y="0"/>
                  </a:lnTo>
                  <a:lnTo>
                    <a:pt x="0" y="12700"/>
                  </a:lnTo>
                  <a:close/>
                </a:path>
              </a:pathLst>
            </a:custGeom>
            <a:solidFill>
              <a:srgbClr val="DC2945"/>
            </a:solidFill>
          </p:spPr>
          <p:txBody>
            <a:bodyPr wrap="square" lIns="0" tIns="0" rIns="0" bIns="0" rtlCol="0"/>
            <a:lstStyle/>
            <a:p>
              <a:endParaRPr/>
            </a:p>
          </p:txBody>
        </p:sp>
      </p:grpSp>
      <p:pic>
        <p:nvPicPr>
          <p:cNvPr id="174" name="object 174"/>
          <p:cNvPicPr/>
          <p:nvPr/>
        </p:nvPicPr>
        <p:blipFill>
          <a:blip r:embed="rId14" cstate="print"/>
          <a:stretch>
            <a:fillRect/>
          </a:stretch>
        </p:blipFill>
        <p:spPr>
          <a:xfrm>
            <a:off x="2259736" y="7661310"/>
            <a:ext cx="242276" cy="282393"/>
          </a:xfrm>
          <a:prstGeom prst="rect">
            <a:avLst/>
          </a:prstGeom>
        </p:spPr>
      </p:pic>
      <p:sp>
        <p:nvSpPr>
          <p:cNvPr id="175" name="object 175"/>
          <p:cNvSpPr/>
          <p:nvPr/>
        </p:nvSpPr>
        <p:spPr>
          <a:xfrm>
            <a:off x="2787904" y="7590866"/>
            <a:ext cx="494030" cy="415925"/>
          </a:xfrm>
          <a:custGeom>
            <a:avLst/>
            <a:gdLst/>
            <a:ahLst/>
            <a:cxnLst/>
            <a:rect l="l" t="t" r="r" b="b"/>
            <a:pathLst>
              <a:path w="494029" h="415925">
                <a:moveTo>
                  <a:pt x="181749" y="7785"/>
                </a:moveTo>
                <a:lnTo>
                  <a:pt x="170180" y="4699"/>
                </a:lnTo>
                <a:lnTo>
                  <a:pt x="157632" y="2235"/>
                </a:lnTo>
                <a:lnTo>
                  <a:pt x="143522" y="596"/>
                </a:lnTo>
                <a:lnTo>
                  <a:pt x="127279" y="0"/>
                </a:lnTo>
                <a:lnTo>
                  <a:pt x="88823" y="5956"/>
                </a:lnTo>
                <a:lnTo>
                  <a:pt x="60579" y="23901"/>
                </a:lnTo>
                <a:lnTo>
                  <a:pt x="43167" y="53936"/>
                </a:lnTo>
                <a:lnTo>
                  <a:pt x="37236" y="96151"/>
                </a:lnTo>
                <a:lnTo>
                  <a:pt x="37236" y="117271"/>
                </a:lnTo>
                <a:lnTo>
                  <a:pt x="0" y="117271"/>
                </a:lnTo>
                <a:lnTo>
                  <a:pt x="0" y="173405"/>
                </a:lnTo>
                <a:lnTo>
                  <a:pt x="37236" y="173405"/>
                </a:lnTo>
                <a:lnTo>
                  <a:pt x="37236" y="409067"/>
                </a:lnTo>
                <a:lnTo>
                  <a:pt x="104495" y="409067"/>
                </a:lnTo>
                <a:lnTo>
                  <a:pt x="104495" y="173405"/>
                </a:lnTo>
                <a:lnTo>
                  <a:pt x="181190" y="173405"/>
                </a:lnTo>
                <a:lnTo>
                  <a:pt x="181190" y="117830"/>
                </a:lnTo>
                <a:lnTo>
                  <a:pt x="103378" y="117830"/>
                </a:lnTo>
                <a:lnTo>
                  <a:pt x="103378" y="101714"/>
                </a:lnTo>
                <a:lnTo>
                  <a:pt x="105854" y="81876"/>
                </a:lnTo>
                <a:lnTo>
                  <a:pt x="113233" y="68021"/>
                </a:lnTo>
                <a:lnTo>
                  <a:pt x="125412" y="59905"/>
                </a:lnTo>
                <a:lnTo>
                  <a:pt x="142290" y="57251"/>
                </a:lnTo>
                <a:lnTo>
                  <a:pt x="152666" y="57759"/>
                </a:lnTo>
                <a:lnTo>
                  <a:pt x="162420" y="59207"/>
                </a:lnTo>
                <a:lnTo>
                  <a:pt x="171983" y="61480"/>
                </a:lnTo>
                <a:lnTo>
                  <a:pt x="181749" y="64477"/>
                </a:lnTo>
                <a:lnTo>
                  <a:pt x="181749" y="7785"/>
                </a:lnTo>
                <a:close/>
              </a:path>
              <a:path w="494029" h="415925">
                <a:moveTo>
                  <a:pt x="493547" y="267893"/>
                </a:moveTo>
                <a:lnTo>
                  <a:pt x="487883" y="218770"/>
                </a:lnTo>
                <a:lnTo>
                  <a:pt x="470941" y="175412"/>
                </a:lnTo>
                <a:lnTo>
                  <a:pt x="442772" y="140766"/>
                </a:lnTo>
                <a:lnTo>
                  <a:pt x="426847" y="131483"/>
                </a:lnTo>
                <a:lnTo>
                  <a:pt x="426847" y="241782"/>
                </a:lnTo>
                <a:lnTo>
                  <a:pt x="276225" y="241782"/>
                </a:lnTo>
                <a:lnTo>
                  <a:pt x="284924" y="210477"/>
                </a:lnTo>
                <a:lnTo>
                  <a:pt x="301167" y="186055"/>
                </a:lnTo>
                <a:lnTo>
                  <a:pt x="323989" y="170180"/>
                </a:lnTo>
                <a:lnTo>
                  <a:pt x="352374" y="164515"/>
                </a:lnTo>
                <a:lnTo>
                  <a:pt x="382143" y="170497"/>
                </a:lnTo>
                <a:lnTo>
                  <a:pt x="404622" y="186893"/>
                </a:lnTo>
                <a:lnTo>
                  <a:pt x="419595" y="211416"/>
                </a:lnTo>
                <a:lnTo>
                  <a:pt x="426847" y="241782"/>
                </a:lnTo>
                <a:lnTo>
                  <a:pt x="426847" y="131483"/>
                </a:lnTo>
                <a:lnTo>
                  <a:pt x="403415" y="117805"/>
                </a:lnTo>
                <a:lnTo>
                  <a:pt x="352933" y="109499"/>
                </a:lnTo>
                <a:lnTo>
                  <a:pt x="305790" y="117348"/>
                </a:lnTo>
                <a:lnTo>
                  <a:pt x="266204" y="139166"/>
                </a:lnTo>
                <a:lnTo>
                  <a:pt x="235839" y="172415"/>
                </a:lnTo>
                <a:lnTo>
                  <a:pt x="216395" y="214515"/>
                </a:lnTo>
                <a:lnTo>
                  <a:pt x="209537" y="262902"/>
                </a:lnTo>
                <a:lnTo>
                  <a:pt x="217043" y="313804"/>
                </a:lnTo>
                <a:lnTo>
                  <a:pt x="238061" y="356082"/>
                </a:lnTo>
                <a:lnTo>
                  <a:pt x="270408" y="388200"/>
                </a:lnTo>
                <a:lnTo>
                  <a:pt x="311835" y="408597"/>
                </a:lnTo>
                <a:lnTo>
                  <a:pt x="360159" y="415747"/>
                </a:lnTo>
                <a:lnTo>
                  <a:pt x="397751" y="411835"/>
                </a:lnTo>
                <a:lnTo>
                  <a:pt x="429971" y="400735"/>
                </a:lnTo>
                <a:lnTo>
                  <a:pt x="457301" y="383387"/>
                </a:lnTo>
                <a:lnTo>
                  <a:pt x="480199" y="360718"/>
                </a:lnTo>
                <a:lnTo>
                  <a:pt x="440740" y="325704"/>
                </a:lnTo>
                <a:lnTo>
                  <a:pt x="423087" y="340791"/>
                </a:lnTo>
                <a:lnTo>
                  <a:pt x="404545" y="351751"/>
                </a:lnTo>
                <a:lnTo>
                  <a:pt x="384238" y="358457"/>
                </a:lnTo>
                <a:lnTo>
                  <a:pt x="361264" y="360718"/>
                </a:lnTo>
                <a:lnTo>
                  <a:pt x="330873" y="355803"/>
                </a:lnTo>
                <a:lnTo>
                  <a:pt x="305689" y="341401"/>
                </a:lnTo>
                <a:lnTo>
                  <a:pt x="287172" y="318046"/>
                </a:lnTo>
                <a:lnTo>
                  <a:pt x="276783" y="286245"/>
                </a:lnTo>
                <a:lnTo>
                  <a:pt x="492429" y="286245"/>
                </a:lnTo>
                <a:lnTo>
                  <a:pt x="492988" y="279565"/>
                </a:lnTo>
                <a:lnTo>
                  <a:pt x="493547" y="274015"/>
                </a:lnTo>
                <a:lnTo>
                  <a:pt x="493547" y="267893"/>
                </a:lnTo>
                <a:close/>
              </a:path>
            </a:pathLst>
          </a:custGeom>
          <a:solidFill>
            <a:srgbClr val="FFFFFF"/>
          </a:solidFill>
        </p:spPr>
        <p:txBody>
          <a:bodyPr wrap="square" lIns="0" tIns="0" rIns="0" bIns="0" rtlCol="0"/>
          <a:lstStyle/>
          <a:p>
            <a:endParaRPr/>
          </a:p>
        </p:txBody>
      </p:sp>
      <p:sp>
        <p:nvSpPr>
          <p:cNvPr id="176" name="object 176"/>
          <p:cNvSpPr/>
          <p:nvPr/>
        </p:nvSpPr>
        <p:spPr>
          <a:xfrm>
            <a:off x="3349263" y="7700353"/>
            <a:ext cx="263525" cy="299720"/>
          </a:xfrm>
          <a:custGeom>
            <a:avLst/>
            <a:gdLst/>
            <a:ahLst/>
            <a:cxnLst/>
            <a:rect l="l" t="t" r="r" b="b"/>
            <a:pathLst>
              <a:path w="263525" h="299720">
                <a:moveTo>
                  <a:pt x="158953" y="0"/>
                </a:moveTo>
                <a:lnTo>
                  <a:pt x="128052" y="4168"/>
                </a:lnTo>
                <a:lnTo>
                  <a:pt x="103093" y="15424"/>
                </a:lnTo>
                <a:lnTo>
                  <a:pt x="83138" y="31889"/>
                </a:lnTo>
                <a:lnTo>
                  <a:pt x="67246" y="51689"/>
                </a:lnTo>
                <a:lnTo>
                  <a:pt x="67246" y="6121"/>
                </a:lnTo>
                <a:lnTo>
                  <a:pt x="0" y="6121"/>
                </a:lnTo>
                <a:lnTo>
                  <a:pt x="0" y="299580"/>
                </a:lnTo>
                <a:lnTo>
                  <a:pt x="67246" y="299580"/>
                </a:lnTo>
                <a:lnTo>
                  <a:pt x="67246" y="133946"/>
                </a:lnTo>
                <a:lnTo>
                  <a:pt x="72109" y="103346"/>
                </a:lnTo>
                <a:lnTo>
                  <a:pt x="85725" y="80454"/>
                </a:lnTo>
                <a:lnTo>
                  <a:pt x="106637" y="66106"/>
                </a:lnTo>
                <a:lnTo>
                  <a:pt x="133388" y="61137"/>
                </a:lnTo>
                <a:lnTo>
                  <a:pt x="160083" y="65931"/>
                </a:lnTo>
                <a:lnTo>
                  <a:pt x="179795" y="79897"/>
                </a:lnTo>
                <a:lnTo>
                  <a:pt x="192004" y="102409"/>
                </a:lnTo>
                <a:lnTo>
                  <a:pt x="196189" y="132842"/>
                </a:lnTo>
                <a:lnTo>
                  <a:pt x="196189" y="299580"/>
                </a:lnTo>
                <a:lnTo>
                  <a:pt x="263448" y="299580"/>
                </a:lnTo>
                <a:lnTo>
                  <a:pt x="263448" y="112826"/>
                </a:lnTo>
                <a:lnTo>
                  <a:pt x="256422" y="66356"/>
                </a:lnTo>
                <a:lnTo>
                  <a:pt x="236004" y="30776"/>
                </a:lnTo>
                <a:lnTo>
                  <a:pt x="203184" y="8015"/>
                </a:lnTo>
                <a:lnTo>
                  <a:pt x="158953" y="0"/>
                </a:lnTo>
                <a:close/>
              </a:path>
            </a:pathLst>
          </a:custGeom>
          <a:solidFill>
            <a:srgbClr val="FFFFFF"/>
          </a:solidFill>
        </p:spPr>
        <p:txBody>
          <a:bodyPr wrap="square" lIns="0" tIns="0" rIns="0" bIns="0" rtlCol="0"/>
          <a:lstStyle/>
          <a:p>
            <a:endParaRPr/>
          </a:p>
        </p:txBody>
      </p:sp>
      <p:pic>
        <p:nvPicPr>
          <p:cNvPr id="177" name="object 177"/>
          <p:cNvPicPr/>
          <p:nvPr/>
        </p:nvPicPr>
        <p:blipFill>
          <a:blip r:embed="rId15" cstate="print"/>
          <a:stretch>
            <a:fillRect/>
          </a:stretch>
        </p:blipFill>
        <p:spPr>
          <a:xfrm>
            <a:off x="2644923" y="7590155"/>
            <a:ext cx="80759" cy="80772"/>
          </a:xfrm>
          <a:prstGeom prst="rect">
            <a:avLst/>
          </a:prstGeom>
        </p:spPr>
      </p:pic>
      <p:grpSp>
        <p:nvGrpSpPr>
          <p:cNvPr id="178" name="object 178"/>
          <p:cNvGrpSpPr/>
          <p:nvPr/>
        </p:nvGrpSpPr>
        <p:grpSpPr>
          <a:xfrm>
            <a:off x="2147297" y="7578667"/>
            <a:ext cx="441959" cy="441959"/>
            <a:chOff x="2147297" y="7578667"/>
            <a:chExt cx="441959" cy="441959"/>
          </a:xfrm>
        </p:grpSpPr>
        <p:sp>
          <p:nvSpPr>
            <p:cNvPr id="179" name="object 179"/>
            <p:cNvSpPr/>
            <p:nvPr/>
          </p:nvSpPr>
          <p:spPr>
            <a:xfrm>
              <a:off x="2147290" y="7578673"/>
              <a:ext cx="441959" cy="441959"/>
            </a:xfrm>
            <a:custGeom>
              <a:avLst/>
              <a:gdLst/>
              <a:ahLst/>
              <a:cxnLst/>
              <a:rect l="l" t="t" r="r" b="b"/>
              <a:pathLst>
                <a:path w="441960" h="441959">
                  <a:moveTo>
                    <a:pt x="371589" y="59550"/>
                  </a:moveTo>
                  <a:lnTo>
                    <a:pt x="339585" y="34671"/>
                  </a:lnTo>
                  <a:lnTo>
                    <a:pt x="303276" y="15925"/>
                  </a:lnTo>
                  <a:lnTo>
                    <a:pt x="263423" y="4114"/>
                  </a:lnTo>
                  <a:lnTo>
                    <a:pt x="220814" y="0"/>
                  </a:lnTo>
                  <a:lnTo>
                    <a:pt x="170891" y="5664"/>
                  </a:lnTo>
                  <a:lnTo>
                    <a:pt x="124980" y="21818"/>
                  </a:lnTo>
                  <a:lnTo>
                    <a:pt x="84353" y="47193"/>
                  </a:lnTo>
                  <a:lnTo>
                    <a:pt x="50266" y="80518"/>
                  </a:lnTo>
                  <a:lnTo>
                    <a:pt x="24015" y="120523"/>
                  </a:lnTo>
                  <a:lnTo>
                    <a:pt x="6832" y="165950"/>
                  </a:lnTo>
                  <a:lnTo>
                    <a:pt x="0" y="215519"/>
                  </a:lnTo>
                  <a:lnTo>
                    <a:pt x="117729" y="215519"/>
                  </a:lnTo>
                  <a:lnTo>
                    <a:pt x="127266" y="177241"/>
                  </a:lnTo>
                  <a:lnTo>
                    <a:pt x="149631" y="146177"/>
                  </a:lnTo>
                  <a:lnTo>
                    <a:pt x="181813" y="125336"/>
                  </a:lnTo>
                  <a:lnTo>
                    <a:pt x="220814" y="117716"/>
                  </a:lnTo>
                  <a:lnTo>
                    <a:pt x="239699" y="119443"/>
                  </a:lnTo>
                  <a:lnTo>
                    <a:pt x="257441" y="124409"/>
                  </a:lnTo>
                  <a:lnTo>
                    <a:pt x="273735" y="132321"/>
                  </a:lnTo>
                  <a:lnTo>
                    <a:pt x="288290" y="142849"/>
                  </a:lnTo>
                  <a:lnTo>
                    <a:pt x="371589" y="59550"/>
                  </a:lnTo>
                  <a:close/>
                </a:path>
                <a:path w="441960" h="441959">
                  <a:moveTo>
                    <a:pt x="441769" y="220941"/>
                  </a:moveTo>
                  <a:lnTo>
                    <a:pt x="441629" y="215455"/>
                  </a:lnTo>
                  <a:lnTo>
                    <a:pt x="218097" y="215455"/>
                  </a:lnTo>
                  <a:lnTo>
                    <a:pt x="218097" y="260426"/>
                  </a:lnTo>
                  <a:lnTo>
                    <a:pt x="316204" y="260426"/>
                  </a:lnTo>
                  <a:lnTo>
                    <a:pt x="300812" y="286181"/>
                  </a:lnTo>
                  <a:lnTo>
                    <a:pt x="278828" y="306349"/>
                  </a:lnTo>
                  <a:lnTo>
                    <a:pt x="251688" y="319481"/>
                  </a:lnTo>
                  <a:lnTo>
                    <a:pt x="220814" y="324180"/>
                  </a:lnTo>
                  <a:lnTo>
                    <a:pt x="198107" y="321678"/>
                  </a:lnTo>
                  <a:lnTo>
                    <a:pt x="177152" y="314502"/>
                  </a:lnTo>
                  <a:lnTo>
                    <a:pt x="158508" y="303237"/>
                  </a:lnTo>
                  <a:lnTo>
                    <a:pt x="142709" y="288404"/>
                  </a:lnTo>
                  <a:lnTo>
                    <a:pt x="59372" y="371741"/>
                  </a:lnTo>
                  <a:lnTo>
                    <a:pt x="92659" y="400913"/>
                  </a:lnTo>
                  <a:lnTo>
                    <a:pt x="131318" y="423011"/>
                  </a:lnTo>
                  <a:lnTo>
                    <a:pt x="174383" y="437019"/>
                  </a:lnTo>
                  <a:lnTo>
                    <a:pt x="220814" y="441909"/>
                  </a:lnTo>
                  <a:lnTo>
                    <a:pt x="265353" y="437426"/>
                  </a:lnTo>
                  <a:lnTo>
                    <a:pt x="306819" y="424548"/>
                  </a:lnTo>
                  <a:lnTo>
                    <a:pt x="344360" y="404177"/>
                  </a:lnTo>
                  <a:lnTo>
                    <a:pt x="377063" y="377190"/>
                  </a:lnTo>
                  <a:lnTo>
                    <a:pt x="404037" y="344487"/>
                  </a:lnTo>
                  <a:lnTo>
                    <a:pt x="424408" y="306959"/>
                  </a:lnTo>
                  <a:lnTo>
                    <a:pt x="437286" y="265480"/>
                  </a:lnTo>
                  <a:lnTo>
                    <a:pt x="441769" y="220941"/>
                  </a:lnTo>
                  <a:close/>
                </a:path>
              </a:pathLst>
            </a:custGeom>
            <a:solidFill>
              <a:srgbClr val="FFFFFF"/>
            </a:solidFill>
          </p:spPr>
          <p:txBody>
            <a:bodyPr wrap="square" lIns="0" tIns="0" rIns="0" bIns="0" rtlCol="0"/>
            <a:lstStyle/>
            <a:p>
              <a:endParaRPr/>
            </a:p>
          </p:txBody>
        </p:sp>
        <p:pic>
          <p:nvPicPr>
            <p:cNvPr id="180" name="object 180"/>
            <p:cNvPicPr/>
            <p:nvPr/>
          </p:nvPicPr>
          <p:blipFill>
            <a:blip r:embed="rId14" cstate="print"/>
            <a:stretch>
              <a:fillRect/>
            </a:stretch>
          </p:blipFill>
          <p:spPr>
            <a:xfrm>
              <a:off x="2259736" y="7661310"/>
              <a:ext cx="242276" cy="282393"/>
            </a:xfrm>
            <a:prstGeom prst="rect">
              <a:avLst/>
            </a:prstGeom>
          </p:spPr>
        </p:pic>
        <p:sp>
          <p:nvSpPr>
            <p:cNvPr id="181" name="object 181"/>
            <p:cNvSpPr/>
            <p:nvPr/>
          </p:nvSpPr>
          <p:spPr>
            <a:xfrm>
              <a:off x="2147290" y="7578673"/>
              <a:ext cx="441959" cy="441959"/>
            </a:xfrm>
            <a:custGeom>
              <a:avLst/>
              <a:gdLst/>
              <a:ahLst/>
              <a:cxnLst/>
              <a:rect l="l" t="t" r="r" b="b"/>
              <a:pathLst>
                <a:path w="441960" h="441959">
                  <a:moveTo>
                    <a:pt x="371589" y="59550"/>
                  </a:moveTo>
                  <a:lnTo>
                    <a:pt x="339585" y="34671"/>
                  </a:lnTo>
                  <a:lnTo>
                    <a:pt x="303276" y="15925"/>
                  </a:lnTo>
                  <a:lnTo>
                    <a:pt x="263423" y="4114"/>
                  </a:lnTo>
                  <a:lnTo>
                    <a:pt x="220814" y="0"/>
                  </a:lnTo>
                  <a:lnTo>
                    <a:pt x="170891" y="5664"/>
                  </a:lnTo>
                  <a:lnTo>
                    <a:pt x="124980" y="21818"/>
                  </a:lnTo>
                  <a:lnTo>
                    <a:pt x="84353" y="47193"/>
                  </a:lnTo>
                  <a:lnTo>
                    <a:pt x="50266" y="80518"/>
                  </a:lnTo>
                  <a:lnTo>
                    <a:pt x="24015" y="120523"/>
                  </a:lnTo>
                  <a:lnTo>
                    <a:pt x="6832" y="165950"/>
                  </a:lnTo>
                  <a:lnTo>
                    <a:pt x="0" y="215519"/>
                  </a:lnTo>
                  <a:lnTo>
                    <a:pt x="117729" y="215519"/>
                  </a:lnTo>
                  <a:lnTo>
                    <a:pt x="127266" y="177241"/>
                  </a:lnTo>
                  <a:lnTo>
                    <a:pt x="149631" y="146177"/>
                  </a:lnTo>
                  <a:lnTo>
                    <a:pt x="181813" y="125336"/>
                  </a:lnTo>
                  <a:lnTo>
                    <a:pt x="220814" y="117716"/>
                  </a:lnTo>
                  <a:lnTo>
                    <a:pt x="239699" y="119443"/>
                  </a:lnTo>
                  <a:lnTo>
                    <a:pt x="257441" y="124409"/>
                  </a:lnTo>
                  <a:lnTo>
                    <a:pt x="273735" y="132321"/>
                  </a:lnTo>
                  <a:lnTo>
                    <a:pt x="288290" y="142849"/>
                  </a:lnTo>
                  <a:lnTo>
                    <a:pt x="371589" y="59550"/>
                  </a:lnTo>
                  <a:close/>
                </a:path>
                <a:path w="441960" h="441959">
                  <a:moveTo>
                    <a:pt x="441769" y="220941"/>
                  </a:moveTo>
                  <a:lnTo>
                    <a:pt x="441629" y="215455"/>
                  </a:lnTo>
                  <a:lnTo>
                    <a:pt x="218097" y="215455"/>
                  </a:lnTo>
                  <a:lnTo>
                    <a:pt x="218097" y="260426"/>
                  </a:lnTo>
                  <a:lnTo>
                    <a:pt x="316204" y="260426"/>
                  </a:lnTo>
                  <a:lnTo>
                    <a:pt x="300812" y="286181"/>
                  </a:lnTo>
                  <a:lnTo>
                    <a:pt x="278828" y="306349"/>
                  </a:lnTo>
                  <a:lnTo>
                    <a:pt x="251688" y="319481"/>
                  </a:lnTo>
                  <a:lnTo>
                    <a:pt x="220814" y="324180"/>
                  </a:lnTo>
                  <a:lnTo>
                    <a:pt x="198107" y="321678"/>
                  </a:lnTo>
                  <a:lnTo>
                    <a:pt x="177152" y="314502"/>
                  </a:lnTo>
                  <a:lnTo>
                    <a:pt x="158508" y="303237"/>
                  </a:lnTo>
                  <a:lnTo>
                    <a:pt x="142709" y="288404"/>
                  </a:lnTo>
                  <a:lnTo>
                    <a:pt x="59372" y="371741"/>
                  </a:lnTo>
                  <a:lnTo>
                    <a:pt x="92659" y="400913"/>
                  </a:lnTo>
                  <a:lnTo>
                    <a:pt x="131318" y="423011"/>
                  </a:lnTo>
                  <a:lnTo>
                    <a:pt x="174383" y="437019"/>
                  </a:lnTo>
                  <a:lnTo>
                    <a:pt x="220814" y="441909"/>
                  </a:lnTo>
                  <a:lnTo>
                    <a:pt x="265353" y="437426"/>
                  </a:lnTo>
                  <a:lnTo>
                    <a:pt x="306819" y="424548"/>
                  </a:lnTo>
                  <a:lnTo>
                    <a:pt x="344360" y="404177"/>
                  </a:lnTo>
                  <a:lnTo>
                    <a:pt x="377063" y="377190"/>
                  </a:lnTo>
                  <a:lnTo>
                    <a:pt x="404037" y="344487"/>
                  </a:lnTo>
                  <a:lnTo>
                    <a:pt x="424408" y="306959"/>
                  </a:lnTo>
                  <a:lnTo>
                    <a:pt x="437286" y="265480"/>
                  </a:lnTo>
                  <a:lnTo>
                    <a:pt x="441769" y="220941"/>
                  </a:lnTo>
                  <a:close/>
                </a:path>
              </a:pathLst>
            </a:custGeom>
            <a:solidFill>
              <a:srgbClr val="FFFFFF"/>
            </a:solidFill>
          </p:spPr>
          <p:txBody>
            <a:bodyPr wrap="square" lIns="0" tIns="0" rIns="0" bIns="0" rtlCol="0"/>
            <a:lstStyle/>
            <a:p>
              <a:endParaRPr/>
            </a:p>
          </p:txBody>
        </p:sp>
      </p:grpSp>
      <p:sp>
        <p:nvSpPr>
          <p:cNvPr id="182" name="object 182"/>
          <p:cNvSpPr txBox="1"/>
          <p:nvPr/>
        </p:nvSpPr>
        <p:spPr>
          <a:xfrm>
            <a:off x="2602763" y="3317958"/>
            <a:ext cx="554990" cy="330200"/>
          </a:xfrm>
          <a:prstGeom prst="rect">
            <a:avLst/>
          </a:prstGeom>
        </p:spPr>
        <p:txBody>
          <a:bodyPr vert="horz" wrap="square" lIns="0" tIns="12700" rIns="0" bIns="0" rtlCol="0">
            <a:spAutoFit/>
          </a:bodyPr>
          <a:lstStyle/>
          <a:p>
            <a:pPr marL="12700">
              <a:lnSpc>
                <a:spcPct val="100000"/>
              </a:lnSpc>
              <a:spcBef>
                <a:spcPts val="100"/>
              </a:spcBef>
            </a:pPr>
            <a:r>
              <a:rPr sz="2000" dirty="0">
                <a:solidFill>
                  <a:srgbClr val="6C91A8"/>
                </a:solidFill>
                <a:latin typeface="Rafale BG"/>
                <a:cs typeface="Rafale BG"/>
              </a:rPr>
              <a:t>202</a:t>
            </a:r>
            <a:r>
              <a:rPr lang="fr-FR" sz="2000" dirty="0">
                <a:solidFill>
                  <a:srgbClr val="6C91A8"/>
                </a:solidFill>
                <a:latin typeface="Rafale BG"/>
                <a:cs typeface="Rafale BG"/>
              </a:rPr>
              <a:t>2</a:t>
            </a:r>
            <a:endParaRPr sz="2000" dirty="0">
              <a:latin typeface="Rafale BG"/>
              <a:cs typeface="Rafale BG"/>
            </a:endParaRPr>
          </a:p>
        </p:txBody>
      </p:sp>
      <p:sp>
        <p:nvSpPr>
          <p:cNvPr id="183" name="object 183"/>
          <p:cNvSpPr txBox="1"/>
          <p:nvPr/>
        </p:nvSpPr>
        <p:spPr>
          <a:xfrm>
            <a:off x="1546636" y="2459937"/>
            <a:ext cx="2667635" cy="197490"/>
          </a:xfrm>
          <a:prstGeom prst="rect">
            <a:avLst/>
          </a:prstGeom>
        </p:spPr>
        <p:txBody>
          <a:bodyPr vert="horz" wrap="square" lIns="0" tIns="12700" rIns="0" bIns="0" rtlCol="0">
            <a:spAutoFit/>
          </a:bodyPr>
          <a:lstStyle/>
          <a:p>
            <a:pPr marL="12700">
              <a:lnSpc>
                <a:spcPct val="100000"/>
              </a:lnSpc>
              <a:spcBef>
                <a:spcPts val="100"/>
              </a:spcBef>
            </a:pPr>
            <a:r>
              <a:rPr sz="1200" b="1" dirty="0">
                <a:solidFill>
                  <a:srgbClr val="EF3A47"/>
                </a:solidFill>
                <a:latin typeface="Century Gothic"/>
                <a:cs typeface="Century Gothic"/>
              </a:rPr>
              <a:t>Focus</a:t>
            </a:r>
            <a:r>
              <a:rPr sz="1200" b="1" spc="-20" dirty="0">
                <a:solidFill>
                  <a:srgbClr val="EF3A47"/>
                </a:solidFill>
                <a:latin typeface="Century Gothic"/>
                <a:cs typeface="Century Gothic"/>
              </a:rPr>
              <a:t> </a:t>
            </a:r>
            <a:r>
              <a:rPr sz="1200" b="1" spc="-5" dirty="0">
                <a:solidFill>
                  <a:srgbClr val="EF3A47"/>
                </a:solidFill>
                <a:latin typeface="Century Gothic"/>
                <a:cs typeface="Century Gothic"/>
              </a:rPr>
              <a:t>on</a:t>
            </a:r>
            <a:r>
              <a:rPr sz="1200" b="1" spc="-25" dirty="0">
                <a:solidFill>
                  <a:srgbClr val="EF3A47"/>
                </a:solidFill>
                <a:latin typeface="Century Gothic"/>
                <a:cs typeface="Century Gothic"/>
              </a:rPr>
              <a:t> </a:t>
            </a:r>
            <a:r>
              <a:rPr lang="fr-FR" sz="1200" b="1" spc="-25" dirty="0">
                <a:solidFill>
                  <a:srgbClr val="EF3A47"/>
                </a:solidFill>
                <a:latin typeface="Century Gothic"/>
                <a:cs typeface="Century Gothic"/>
              </a:rPr>
              <a:t>FUSION program</a:t>
            </a:r>
            <a:endParaRPr sz="1200" dirty="0">
              <a:latin typeface="Century Gothic"/>
              <a:cs typeface="Century Gothic"/>
            </a:endParaRPr>
          </a:p>
        </p:txBody>
      </p:sp>
      <p:sp>
        <p:nvSpPr>
          <p:cNvPr id="184" name="object 184"/>
          <p:cNvSpPr txBox="1">
            <a:spLocks noGrp="1"/>
          </p:cNvSpPr>
          <p:nvPr>
            <p:ph type="title"/>
          </p:nvPr>
        </p:nvSpPr>
        <p:spPr>
          <a:prstGeom prst="rect">
            <a:avLst/>
          </a:prstGeom>
        </p:spPr>
        <p:txBody>
          <a:bodyPr vert="horz" wrap="square" lIns="0" tIns="88900" rIns="0" bIns="0" rtlCol="0">
            <a:spAutoFit/>
          </a:bodyPr>
          <a:lstStyle/>
          <a:p>
            <a:pPr marL="12700" marR="5080" indent="674370">
              <a:lnSpc>
                <a:spcPts val="3000"/>
              </a:lnSpc>
              <a:spcBef>
                <a:spcPts val="700"/>
              </a:spcBef>
            </a:pPr>
            <a:r>
              <a:rPr dirty="0"/>
              <a:t>THE FRENCH </a:t>
            </a:r>
            <a:r>
              <a:rPr spc="5" dirty="0"/>
              <a:t> </a:t>
            </a:r>
            <a:r>
              <a:rPr dirty="0"/>
              <a:t>NUCLEAR</a:t>
            </a:r>
            <a:r>
              <a:rPr spc="-100" dirty="0"/>
              <a:t> </a:t>
            </a:r>
            <a:r>
              <a:rPr dirty="0"/>
              <a:t>INDUSTRY</a:t>
            </a:r>
          </a:p>
        </p:txBody>
      </p:sp>
      <p:sp>
        <p:nvSpPr>
          <p:cNvPr id="185" name="object 185"/>
          <p:cNvSpPr/>
          <p:nvPr/>
        </p:nvSpPr>
        <p:spPr>
          <a:xfrm>
            <a:off x="929994" y="2288650"/>
            <a:ext cx="3900170" cy="12700"/>
          </a:xfrm>
          <a:custGeom>
            <a:avLst/>
            <a:gdLst/>
            <a:ahLst/>
            <a:cxnLst/>
            <a:rect l="l" t="t" r="r" b="b"/>
            <a:pathLst>
              <a:path w="3900170" h="12700">
                <a:moveTo>
                  <a:pt x="0" y="12700"/>
                </a:moveTo>
                <a:lnTo>
                  <a:pt x="3900004" y="12700"/>
                </a:lnTo>
                <a:lnTo>
                  <a:pt x="3900004" y="0"/>
                </a:lnTo>
                <a:lnTo>
                  <a:pt x="0" y="0"/>
                </a:lnTo>
                <a:lnTo>
                  <a:pt x="0" y="12700"/>
                </a:lnTo>
                <a:close/>
              </a:path>
            </a:pathLst>
          </a:custGeom>
          <a:solidFill>
            <a:srgbClr val="DC2945"/>
          </a:solidFill>
        </p:spPr>
        <p:txBody>
          <a:bodyPr wrap="square" lIns="0" tIns="0" rIns="0" bIns="0" rtlCol="0"/>
          <a:lstStyle/>
          <a:p>
            <a:endParaRPr/>
          </a:p>
        </p:txBody>
      </p:sp>
      <p:sp>
        <p:nvSpPr>
          <p:cNvPr id="186" name="object 186"/>
          <p:cNvSpPr/>
          <p:nvPr/>
        </p:nvSpPr>
        <p:spPr>
          <a:xfrm>
            <a:off x="2787904" y="7590866"/>
            <a:ext cx="494030" cy="415925"/>
          </a:xfrm>
          <a:custGeom>
            <a:avLst/>
            <a:gdLst/>
            <a:ahLst/>
            <a:cxnLst/>
            <a:rect l="l" t="t" r="r" b="b"/>
            <a:pathLst>
              <a:path w="494029" h="415925">
                <a:moveTo>
                  <a:pt x="181749" y="7785"/>
                </a:moveTo>
                <a:lnTo>
                  <a:pt x="170180" y="4699"/>
                </a:lnTo>
                <a:lnTo>
                  <a:pt x="157632" y="2235"/>
                </a:lnTo>
                <a:lnTo>
                  <a:pt x="143522" y="596"/>
                </a:lnTo>
                <a:lnTo>
                  <a:pt x="127279" y="0"/>
                </a:lnTo>
                <a:lnTo>
                  <a:pt x="88823" y="5956"/>
                </a:lnTo>
                <a:lnTo>
                  <a:pt x="60579" y="23901"/>
                </a:lnTo>
                <a:lnTo>
                  <a:pt x="43167" y="53936"/>
                </a:lnTo>
                <a:lnTo>
                  <a:pt x="37236" y="96151"/>
                </a:lnTo>
                <a:lnTo>
                  <a:pt x="37236" y="117271"/>
                </a:lnTo>
                <a:lnTo>
                  <a:pt x="0" y="117271"/>
                </a:lnTo>
                <a:lnTo>
                  <a:pt x="0" y="173405"/>
                </a:lnTo>
                <a:lnTo>
                  <a:pt x="37236" y="173405"/>
                </a:lnTo>
                <a:lnTo>
                  <a:pt x="37236" y="409067"/>
                </a:lnTo>
                <a:lnTo>
                  <a:pt x="104495" y="409067"/>
                </a:lnTo>
                <a:lnTo>
                  <a:pt x="104495" y="173405"/>
                </a:lnTo>
                <a:lnTo>
                  <a:pt x="181190" y="173405"/>
                </a:lnTo>
                <a:lnTo>
                  <a:pt x="181190" y="117830"/>
                </a:lnTo>
                <a:lnTo>
                  <a:pt x="103378" y="117830"/>
                </a:lnTo>
                <a:lnTo>
                  <a:pt x="103378" y="101714"/>
                </a:lnTo>
                <a:lnTo>
                  <a:pt x="105854" y="81876"/>
                </a:lnTo>
                <a:lnTo>
                  <a:pt x="113233" y="68021"/>
                </a:lnTo>
                <a:lnTo>
                  <a:pt x="125412" y="59905"/>
                </a:lnTo>
                <a:lnTo>
                  <a:pt x="142290" y="57251"/>
                </a:lnTo>
                <a:lnTo>
                  <a:pt x="152666" y="57759"/>
                </a:lnTo>
                <a:lnTo>
                  <a:pt x="162420" y="59207"/>
                </a:lnTo>
                <a:lnTo>
                  <a:pt x="171983" y="61480"/>
                </a:lnTo>
                <a:lnTo>
                  <a:pt x="181749" y="64477"/>
                </a:lnTo>
                <a:lnTo>
                  <a:pt x="181749" y="7785"/>
                </a:lnTo>
                <a:close/>
              </a:path>
              <a:path w="494029" h="415925">
                <a:moveTo>
                  <a:pt x="493547" y="267893"/>
                </a:moveTo>
                <a:lnTo>
                  <a:pt x="487883" y="218770"/>
                </a:lnTo>
                <a:lnTo>
                  <a:pt x="470941" y="175412"/>
                </a:lnTo>
                <a:lnTo>
                  <a:pt x="442772" y="140766"/>
                </a:lnTo>
                <a:lnTo>
                  <a:pt x="426847" y="131483"/>
                </a:lnTo>
                <a:lnTo>
                  <a:pt x="426847" y="241782"/>
                </a:lnTo>
                <a:lnTo>
                  <a:pt x="276225" y="241782"/>
                </a:lnTo>
                <a:lnTo>
                  <a:pt x="284924" y="210477"/>
                </a:lnTo>
                <a:lnTo>
                  <a:pt x="301167" y="186055"/>
                </a:lnTo>
                <a:lnTo>
                  <a:pt x="323989" y="170180"/>
                </a:lnTo>
                <a:lnTo>
                  <a:pt x="352374" y="164515"/>
                </a:lnTo>
                <a:lnTo>
                  <a:pt x="382143" y="170497"/>
                </a:lnTo>
                <a:lnTo>
                  <a:pt x="404622" y="186893"/>
                </a:lnTo>
                <a:lnTo>
                  <a:pt x="419595" y="211416"/>
                </a:lnTo>
                <a:lnTo>
                  <a:pt x="426847" y="241782"/>
                </a:lnTo>
                <a:lnTo>
                  <a:pt x="426847" y="131483"/>
                </a:lnTo>
                <a:lnTo>
                  <a:pt x="403415" y="117805"/>
                </a:lnTo>
                <a:lnTo>
                  <a:pt x="352933" y="109499"/>
                </a:lnTo>
                <a:lnTo>
                  <a:pt x="305790" y="117348"/>
                </a:lnTo>
                <a:lnTo>
                  <a:pt x="266204" y="139166"/>
                </a:lnTo>
                <a:lnTo>
                  <a:pt x="235839" y="172415"/>
                </a:lnTo>
                <a:lnTo>
                  <a:pt x="216395" y="214515"/>
                </a:lnTo>
                <a:lnTo>
                  <a:pt x="209537" y="262902"/>
                </a:lnTo>
                <a:lnTo>
                  <a:pt x="217043" y="313804"/>
                </a:lnTo>
                <a:lnTo>
                  <a:pt x="238061" y="356082"/>
                </a:lnTo>
                <a:lnTo>
                  <a:pt x="270408" y="388200"/>
                </a:lnTo>
                <a:lnTo>
                  <a:pt x="311835" y="408597"/>
                </a:lnTo>
                <a:lnTo>
                  <a:pt x="360159" y="415747"/>
                </a:lnTo>
                <a:lnTo>
                  <a:pt x="397751" y="411835"/>
                </a:lnTo>
                <a:lnTo>
                  <a:pt x="429971" y="400735"/>
                </a:lnTo>
                <a:lnTo>
                  <a:pt x="457301" y="383387"/>
                </a:lnTo>
                <a:lnTo>
                  <a:pt x="480199" y="360718"/>
                </a:lnTo>
                <a:lnTo>
                  <a:pt x="440740" y="325704"/>
                </a:lnTo>
                <a:lnTo>
                  <a:pt x="423087" y="340791"/>
                </a:lnTo>
                <a:lnTo>
                  <a:pt x="404545" y="351751"/>
                </a:lnTo>
                <a:lnTo>
                  <a:pt x="384238" y="358457"/>
                </a:lnTo>
                <a:lnTo>
                  <a:pt x="361264" y="360718"/>
                </a:lnTo>
                <a:lnTo>
                  <a:pt x="330873" y="355803"/>
                </a:lnTo>
                <a:lnTo>
                  <a:pt x="305689" y="341401"/>
                </a:lnTo>
                <a:lnTo>
                  <a:pt x="287172" y="318046"/>
                </a:lnTo>
                <a:lnTo>
                  <a:pt x="276783" y="286245"/>
                </a:lnTo>
                <a:lnTo>
                  <a:pt x="492429" y="286245"/>
                </a:lnTo>
                <a:lnTo>
                  <a:pt x="492988" y="279565"/>
                </a:lnTo>
                <a:lnTo>
                  <a:pt x="493547" y="274015"/>
                </a:lnTo>
                <a:lnTo>
                  <a:pt x="493547" y="267893"/>
                </a:lnTo>
                <a:close/>
              </a:path>
            </a:pathLst>
          </a:custGeom>
          <a:solidFill>
            <a:srgbClr val="FFFFFF"/>
          </a:solidFill>
        </p:spPr>
        <p:txBody>
          <a:bodyPr wrap="square" lIns="0" tIns="0" rIns="0" bIns="0" rtlCol="0"/>
          <a:lstStyle/>
          <a:p>
            <a:endParaRPr/>
          </a:p>
        </p:txBody>
      </p:sp>
      <p:sp>
        <p:nvSpPr>
          <p:cNvPr id="187" name="object 187"/>
          <p:cNvSpPr/>
          <p:nvPr/>
        </p:nvSpPr>
        <p:spPr>
          <a:xfrm>
            <a:off x="3349263" y="7700353"/>
            <a:ext cx="263525" cy="299720"/>
          </a:xfrm>
          <a:custGeom>
            <a:avLst/>
            <a:gdLst/>
            <a:ahLst/>
            <a:cxnLst/>
            <a:rect l="l" t="t" r="r" b="b"/>
            <a:pathLst>
              <a:path w="263525" h="299720">
                <a:moveTo>
                  <a:pt x="158953" y="0"/>
                </a:moveTo>
                <a:lnTo>
                  <a:pt x="128052" y="4168"/>
                </a:lnTo>
                <a:lnTo>
                  <a:pt x="103093" y="15424"/>
                </a:lnTo>
                <a:lnTo>
                  <a:pt x="83138" y="31889"/>
                </a:lnTo>
                <a:lnTo>
                  <a:pt x="67246" y="51689"/>
                </a:lnTo>
                <a:lnTo>
                  <a:pt x="67246" y="6121"/>
                </a:lnTo>
                <a:lnTo>
                  <a:pt x="0" y="6121"/>
                </a:lnTo>
                <a:lnTo>
                  <a:pt x="0" y="299580"/>
                </a:lnTo>
                <a:lnTo>
                  <a:pt x="67246" y="299580"/>
                </a:lnTo>
                <a:lnTo>
                  <a:pt x="67246" y="133946"/>
                </a:lnTo>
                <a:lnTo>
                  <a:pt x="72109" y="103346"/>
                </a:lnTo>
                <a:lnTo>
                  <a:pt x="85725" y="80454"/>
                </a:lnTo>
                <a:lnTo>
                  <a:pt x="106637" y="66106"/>
                </a:lnTo>
                <a:lnTo>
                  <a:pt x="133388" y="61137"/>
                </a:lnTo>
                <a:lnTo>
                  <a:pt x="160083" y="65931"/>
                </a:lnTo>
                <a:lnTo>
                  <a:pt x="179795" y="79897"/>
                </a:lnTo>
                <a:lnTo>
                  <a:pt x="192004" y="102409"/>
                </a:lnTo>
                <a:lnTo>
                  <a:pt x="196189" y="132842"/>
                </a:lnTo>
                <a:lnTo>
                  <a:pt x="196189" y="299580"/>
                </a:lnTo>
                <a:lnTo>
                  <a:pt x="263448" y="299580"/>
                </a:lnTo>
                <a:lnTo>
                  <a:pt x="263448" y="112826"/>
                </a:lnTo>
                <a:lnTo>
                  <a:pt x="256422" y="66356"/>
                </a:lnTo>
                <a:lnTo>
                  <a:pt x="236004" y="30776"/>
                </a:lnTo>
                <a:lnTo>
                  <a:pt x="203184" y="8015"/>
                </a:lnTo>
                <a:lnTo>
                  <a:pt x="158953" y="0"/>
                </a:lnTo>
                <a:close/>
              </a:path>
            </a:pathLst>
          </a:custGeom>
          <a:solidFill>
            <a:srgbClr val="FFFFFF"/>
          </a:solidFill>
        </p:spPr>
        <p:txBody>
          <a:bodyPr wrap="square" lIns="0" tIns="0" rIns="0" bIns="0" rtlCol="0"/>
          <a:lstStyle/>
          <a:p>
            <a:endParaRPr/>
          </a:p>
        </p:txBody>
      </p:sp>
      <p:grpSp>
        <p:nvGrpSpPr>
          <p:cNvPr id="188" name="object 188"/>
          <p:cNvGrpSpPr/>
          <p:nvPr/>
        </p:nvGrpSpPr>
        <p:grpSpPr>
          <a:xfrm>
            <a:off x="2644923" y="7590155"/>
            <a:ext cx="81280" cy="409575"/>
            <a:chOff x="2644923" y="7590155"/>
            <a:chExt cx="81280" cy="409575"/>
          </a:xfrm>
        </p:grpSpPr>
        <p:sp>
          <p:nvSpPr>
            <p:cNvPr id="189" name="object 189"/>
            <p:cNvSpPr/>
            <p:nvPr/>
          </p:nvSpPr>
          <p:spPr>
            <a:xfrm>
              <a:off x="2649385" y="7704290"/>
              <a:ext cx="68580" cy="295275"/>
            </a:xfrm>
            <a:custGeom>
              <a:avLst/>
              <a:gdLst/>
              <a:ahLst/>
              <a:cxnLst/>
              <a:rect l="l" t="t" r="r" b="b"/>
              <a:pathLst>
                <a:path w="68580" h="295275">
                  <a:moveTo>
                    <a:pt x="68122" y="0"/>
                  </a:moveTo>
                  <a:lnTo>
                    <a:pt x="0" y="0"/>
                  </a:lnTo>
                  <a:lnTo>
                    <a:pt x="0" y="294970"/>
                  </a:lnTo>
                  <a:lnTo>
                    <a:pt x="68122" y="294970"/>
                  </a:lnTo>
                  <a:lnTo>
                    <a:pt x="68122" y="0"/>
                  </a:lnTo>
                  <a:close/>
                </a:path>
              </a:pathLst>
            </a:custGeom>
            <a:solidFill>
              <a:srgbClr val="FFFFFF"/>
            </a:solidFill>
          </p:spPr>
          <p:txBody>
            <a:bodyPr wrap="square" lIns="0" tIns="0" rIns="0" bIns="0" rtlCol="0"/>
            <a:lstStyle/>
            <a:p>
              <a:endParaRPr/>
            </a:p>
          </p:txBody>
        </p:sp>
        <p:pic>
          <p:nvPicPr>
            <p:cNvPr id="190" name="object 190"/>
            <p:cNvPicPr/>
            <p:nvPr/>
          </p:nvPicPr>
          <p:blipFill>
            <a:blip r:embed="rId15" cstate="print"/>
            <a:stretch>
              <a:fillRect/>
            </a:stretch>
          </p:blipFill>
          <p:spPr>
            <a:xfrm>
              <a:off x="2644923" y="7590155"/>
              <a:ext cx="80759" cy="80772"/>
            </a:xfrm>
            <a:prstGeom prst="rect">
              <a:avLst/>
            </a:prstGeom>
          </p:spPr>
        </p:pic>
      </p:gr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5183784"/>
            <a:ext cx="5760085" cy="3456304"/>
          </a:xfrm>
          <a:custGeom>
            <a:avLst/>
            <a:gdLst/>
            <a:ahLst/>
            <a:cxnLst/>
            <a:rect l="l" t="t" r="r" b="b"/>
            <a:pathLst>
              <a:path w="5760085" h="3456304">
                <a:moveTo>
                  <a:pt x="5759983" y="0"/>
                </a:moveTo>
                <a:lnTo>
                  <a:pt x="0" y="0"/>
                </a:lnTo>
                <a:lnTo>
                  <a:pt x="0" y="168567"/>
                </a:lnTo>
                <a:lnTo>
                  <a:pt x="0" y="1716760"/>
                </a:lnTo>
                <a:lnTo>
                  <a:pt x="0" y="3456216"/>
                </a:lnTo>
                <a:lnTo>
                  <a:pt x="5759983" y="3456216"/>
                </a:lnTo>
                <a:lnTo>
                  <a:pt x="5759983" y="1716760"/>
                </a:lnTo>
                <a:lnTo>
                  <a:pt x="5759983" y="168567"/>
                </a:lnTo>
                <a:lnTo>
                  <a:pt x="5759983" y="0"/>
                </a:lnTo>
                <a:close/>
              </a:path>
            </a:pathLst>
          </a:custGeom>
          <a:solidFill>
            <a:srgbClr val="001D18"/>
          </a:solidFill>
        </p:spPr>
        <p:txBody>
          <a:bodyPr wrap="square" lIns="0" tIns="0" rIns="0" bIns="0" rtlCol="0"/>
          <a:lstStyle/>
          <a:p>
            <a:endParaRPr/>
          </a:p>
        </p:txBody>
      </p:sp>
      <p:grpSp>
        <p:nvGrpSpPr>
          <p:cNvPr id="3" name="object 3"/>
          <p:cNvGrpSpPr/>
          <p:nvPr/>
        </p:nvGrpSpPr>
        <p:grpSpPr>
          <a:xfrm>
            <a:off x="0" y="0"/>
            <a:ext cx="5760085" cy="5220335"/>
            <a:chOff x="0" y="0"/>
            <a:chExt cx="5760085" cy="5220335"/>
          </a:xfrm>
        </p:grpSpPr>
        <p:pic>
          <p:nvPicPr>
            <p:cNvPr id="4" name="object 4"/>
            <p:cNvPicPr/>
            <p:nvPr/>
          </p:nvPicPr>
          <p:blipFill>
            <a:blip r:embed="rId2" cstate="print"/>
            <a:stretch>
              <a:fillRect/>
            </a:stretch>
          </p:blipFill>
          <p:spPr>
            <a:xfrm>
              <a:off x="0" y="0"/>
              <a:ext cx="5759996" cy="4335030"/>
            </a:xfrm>
            <a:prstGeom prst="rect">
              <a:avLst/>
            </a:prstGeom>
          </p:spPr>
        </p:pic>
        <p:sp>
          <p:nvSpPr>
            <p:cNvPr id="5" name="object 5"/>
            <p:cNvSpPr/>
            <p:nvPr/>
          </p:nvSpPr>
          <p:spPr>
            <a:xfrm>
              <a:off x="946758" y="3183968"/>
              <a:ext cx="690245" cy="690245"/>
            </a:xfrm>
            <a:custGeom>
              <a:avLst/>
              <a:gdLst/>
              <a:ahLst/>
              <a:cxnLst/>
              <a:rect l="l" t="t" r="r" b="b"/>
              <a:pathLst>
                <a:path w="690244" h="690245">
                  <a:moveTo>
                    <a:pt x="344817" y="0"/>
                  </a:moveTo>
                  <a:lnTo>
                    <a:pt x="298030" y="3147"/>
                  </a:lnTo>
                  <a:lnTo>
                    <a:pt x="253156" y="12316"/>
                  </a:lnTo>
                  <a:lnTo>
                    <a:pt x="210604" y="27095"/>
                  </a:lnTo>
                  <a:lnTo>
                    <a:pt x="170787" y="47075"/>
                  </a:lnTo>
                  <a:lnTo>
                    <a:pt x="134115" y="71843"/>
                  </a:lnTo>
                  <a:lnTo>
                    <a:pt x="100999" y="100990"/>
                  </a:lnTo>
                  <a:lnTo>
                    <a:pt x="71851" y="134104"/>
                  </a:lnTo>
                  <a:lnTo>
                    <a:pt x="47080" y="170776"/>
                  </a:lnTo>
                  <a:lnTo>
                    <a:pt x="27099" y="210594"/>
                  </a:lnTo>
                  <a:lnTo>
                    <a:pt x="12318" y="253147"/>
                  </a:lnTo>
                  <a:lnTo>
                    <a:pt x="3148" y="298025"/>
                  </a:lnTo>
                  <a:lnTo>
                    <a:pt x="0" y="344817"/>
                  </a:lnTo>
                  <a:lnTo>
                    <a:pt x="3148" y="391609"/>
                  </a:lnTo>
                  <a:lnTo>
                    <a:pt x="12318" y="436487"/>
                  </a:lnTo>
                  <a:lnTo>
                    <a:pt x="27099" y="479041"/>
                  </a:lnTo>
                  <a:lnTo>
                    <a:pt x="47080" y="518858"/>
                  </a:lnTo>
                  <a:lnTo>
                    <a:pt x="71851" y="555530"/>
                  </a:lnTo>
                  <a:lnTo>
                    <a:pt x="100999" y="588645"/>
                  </a:lnTo>
                  <a:lnTo>
                    <a:pt x="134115" y="617791"/>
                  </a:lnTo>
                  <a:lnTo>
                    <a:pt x="170787" y="642560"/>
                  </a:lnTo>
                  <a:lnTo>
                    <a:pt x="210604" y="662539"/>
                  </a:lnTo>
                  <a:lnTo>
                    <a:pt x="253156" y="677318"/>
                  </a:lnTo>
                  <a:lnTo>
                    <a:pt x="298030" y="686487"/>
                  </a:lnTo>
                  <a:lnTo>
                    <a:pt x="344817" y="689635"/>
                  </a:lnTo>
                  <a:lnTo>
                    <a:pt x="391610" y="686487"/>
                  </a:lnTo>
                  <a:lnTo>
                    <a:pt x="436489" y="677318"/>
                  </a:lnTo>
                  <a:lnTo>
                    <a:pt x="479045" y="662539"/>
                  </a:lnTo>
                  <a:lnTo>
                    <a:pt x="518865" y="642560"/>
                  </a:lnTo>
                  <a:lnTo>
                    <a:pt x="555540" y="617791"/>
                  </a:lnTo>
                  <a:lnTo>
                    <a:pt x="588657" y="588645"/>
                  </a:lnTo>
                  <a:lnTo>
                    <a:pt x="617807" y="555530"/>
                  </a:lnTo>
                  <a:lnTo>
                    <a:pt x="642579" y="518858"/>
                  </a:lnTo>
                  <a:lnTo>
                    <a:pt x="662560" y="479041"/>
                  </a:lnTo>
                  <a:lnTo>
                    <a:pt x="677342" y="436487"/>
                  </a:lnTo>
                  <a:lnTo>
                    <a:pt x="686512" y="391609"/>
                  </a:lnTo>
                  <a:lnTo>
                    <a:pt x="689660" y="344817"/>
                  </a:lnTo>
                  <a:lnTo>
                    <a:pt x="686512" y="298025"/>
                  </a:lnTo>
                  <a:lnTo>
                    <a:pt x="677342" y="253147"/>
                  </a:lnTo>
                  <a:lnTo>
                    <a:pt x="662560" y="210594"/>
                  </a:lnTo>
                  <a:lnTo>
                    <a:pt x="642579" y="170776"/>
                  </a:lnTo>
                  <a:lnTo>
                    <a:pt x="617807" y="134104"/>
                  </a:lnTo>
                  <a:lnTo>
                    <a:pt x="588657" y="100990"/>
                  </a:lnTo>
                  <a:lnTo>
                    <a:pt x="555540" y="71843"/>
                  </a:lnTo>
                  <a:lnTo>
                    <a:pt x="518865" y="47075"/>
                  </a:lnTo>
                  <a:lnTo>
                    <a:pt x="479045" y="27095"/>
                  </a:lnTo>
                  <a:lnTo>
                    <a:pt x="436489" y="12316"/>
                  </a:lnTo>
                  <a:lnTo>
                    <a:pt x="391610" y="3147"/>
                  </a:lnTo>
                  <a:lnTo>
                    <a:pt x="344817" y="0"/>
                  </a:lnTo>
                  <a:close/>
                </a:path>
              </a:pathLst>
            </a:custGeom>
            <a:solidFill>
              <a:srgbClr val="FFFFFF">
                <a:alpha val="69999"/>
              </a:srgbClr>
            </a:solidFill>
          </p:spPr>
          <p:txBody>
            <a:bodyPr wrap="square" lIns="0" tIns="0" rIns="0" bIns="0" rtlCol="0"/>
            <a:lstStyle/>
            <a:p>
              <a:endParaRPr/>
            </a:p>
          </p:txBody>
        </p:sp>
        <p:sp>
          <p:nvSpPr>
            <p:cNvPr id="6" name="object 6"/>
            <p:cNvSpPr/>
            <p:nvPr/>
          </p:nvSpPr>
          <p:spPr>
            <a:xfrm>
              <a:off x="0" y="4372546"/>
              <a:ext cx="467995" cy="386080"/>
            </a:xfrm>
            <a:custGeom>
              <a:avLst/>
              <a:gdLst/>
              <a:ahLst/>
              <a:cxnLst/>
              <a:rect l="l" t="t" r="r" b="b"/>
              <a:pathLst>
                <a:path w="467995" h="386079">
                  <a:moveTo>
                    <a:pt x="103911" y="25400"/>
                  </a:moveTo>
                  <a:lnTo>
                    <a:pt x="101765" y="25704"/>
                  </a:lnTo>
                  <a:lnTo>
                    <a:pt x="103797" y="25476"/>
                  </a:lnTo>
                  <a:close/>
                </a:path>
                <a:path w="467995" h="386079">
                  <a:moveTo>
                    <a:pt x="143357" y="21145"/>
                  </a:moveTo>
                  <a:lnTo>
                    <a:pt x="143116" y="20320"/>
                  </a:lnTo>
                  <a:lnTo>
                    <a:pt x="111188" y="24663"/>
                  </a:lnTo>
                  <a:lnTo>
                    <a:pt x="143357" y="21145"/>
                  </a:lnTo>
                  <a:close/>
                </a:path>
                <a:path w="467995" h="386079">
                  <a:moveTo>
                    <a:pt x="147154" y="20739"/>
                  </a:moveTo>
                  <a:lnTo>
                    <a:pt x="146913" y="20320"/>
                  </a:lnTo>
                  <a:lnTo>
                    <a:pt x="145542" y="20320"/>
                  </a:lnTo>
                  <a:lnTo>
                    <a:pt x="145719" y="20891"/>
                  </a:lnTo>
                  <a:lnTo>
                    <a:pt x="147154" y="20739"/>
                  </a:lnTo>
                  <a:close/>
                </a:path>
                <a:path w="467995" h="386079">
                  <a:moveTo>
                    <a:pt x="184696" y="16624"/>
                  </a:moveTo>
                  <a:lnTo>
                    <a:pt x="147777" y="20320"/>
                  </a:lnTo>
                  <a:lnTo>
                    <a:pt x="147967" y="20650"/>
                  </a:lnTo>
                  <a:lnTo>
                    <a:pt x="184696" y="16624"/>
                  </a:lnTo>
                  <a:close/>
                </a:path>
                <a:path w="467995" h="386079">
                  <a:moveTo>
                    <a:pt x="248983" y="142240"/>
                  </a:moveTo>
                  <a:lnTo>
                    <a:pt x="247370" y="141605"/>
                  </a:lnTo>
                  <a:lnTo>
                    <a:pt x="248894" y="142240"/>
                  </a:lnTo>
                  <a:close/>
                </a:path>
                <a:path w="467995" h="386079">
                  <a:moveTo>
                    <a:pt x="274027" y="138430"/>
                  </a:moveTo>
                  <a:lnTo>
                    <a:pt x="273824" y="138582"/>
                  </a:lnTo>
                  <a:lnTo>
                    <a:pt x="274002" y="138518"/>
                  </a:lnTo>
                  <a:close/>
                </a:path>
                <a:path w="467995" h="386079">
                  <a:moveTo>
                    <a:pt x="325094" y="88"/>
                  </a:moveTo>
                  <a:lnTo>
                    <a:pt x="321094" y="0"/>
                  </a:lnTo>
                  <a:lnTo>
                    <a:pt x="320954" y="660"/>
                  </a:lnTo>
                  <a:lnTo>
                    <a:pt x="325094" y="88"/>
                  </a:lnTo>
                  <a:close/>
                </a:path>
                <a:path w="467995" h="386079">
                  <a:moveTo>
                    <a:pt x="328917" y="254254"/>
                  </a:moveTo>
                  <a:lnTo>
                    <a:pt x="328803" y="254000"/>
                  </a:lnTo>
                  <a:lnTo>
                    <a:pt x="328574" y="253733"/>
                  </a:lnTo>
                  <a:lnTo>
                    <a:pt x="328688" y="254000"/>
                  </a:lnTo>
                  <a:lnTo>
                    <a:pt x="328917" y="254254"/>
                  </a:lnTo>
                  <a:close/>
                </a:path>
                <a:path w="467995" h="386079">
                  <a:moveTo>
                    <a:pt x="397052" y="172999"/>
                  </a:moveTo>
                  <a:lnTo>
                    <a:pt x="396938" y="172720"/>
                  </a:lnTo>
                  <a:lnTo>
                    <a:pt x="396633" y="172466"/>
                  </a:lnTo>
                  <a:lnTo>
                    <a:pt x="396709" y="172720"/>
                  </a:lnTo>
                  <a:lnTo>
                    <a:pt x="397052" y="172999"/>
                  </a:lnTo>
                  <a:close/>
                </a:path>
                <a:path w="467995" h="386079">
                  <a:moveTo>
                    <a:pt x="397776" y="174625"/>
                  </a:moveTo>
                  <a:lnTo>
                    <a:pt x="397586" y="174193"/>
                  </a:lnTo>
                  <a:lnTo>
                    <a:pt x="397256" y="173990"/>
                  </a:lnTo>
                  <a:lnTo>
                    <a:pt x="397776" y="174625"/>
                  </a:lnTo>
                  <a:close/>
                </a:path>
                <a:path w="467995" h="386079">
                  <a:moveTo>
                    <a:pt x="405257" y="248920"/>
                  </a:moveTo>
                  <a:lnTo>
                    <a:pt x="404926" y="248691"/>
                  </a:lnTo>
                  <a:lnTo>
                    <a:pt x="405218" y="248920"/>
                  </a:lnTo>
                  <a:close/>
                </a:path>
                <a:path w="467995" h="386079">
                  <a:moveTo>
                    <a:pt x="409397" y="275234"/>
                  </a:moveTo>
                  <a:lnTo>
                    <a:pt x="408635" y="274320"/>
                  </a:lnTo>
                  <a:lnTo>
                    <a:pt x="407289" y="273519"/>
                  </a:lnTo>
                  <a:lnTo>
                    <a:pt x="409397" y="275234"/>
                  </a:lnTo>
                  <a:close/>
                </a:path>
                <a:path w="467995" h="386079">
                  <a:moveTo>
                    <a:pt x="411035" y="276860"/>
                  </a:moveTo>
                  <a:lnTo>
                    <a:pt x="409841" y="275590"/>
                  </a:lnTo>
                  <a:lnTo>
                    <a:pt x="409397" y="275234"/>
                  </a:lnTo>
                  <a:lnTo>
                    <a:pt x="409702" y="275590"/>
                  </a:lnTo>
                  <a:lnTo>
                    <a:pt x="410908" y="276860"/>
                  </a:lnTo>
                  <a:lnTo>
                    <a:pt x="411035" y="276860"/>
                  </a:lnTo>
                  <a:close/>
                </a:path>
                <a:path w="467995" h="386079">
                  <a:moveTo>
                    <a:pt x="415251" y="276860"/>
                  </a:moveTo>
                  <a:lnTo>
                    <a:pt x="412292" y="276860"/>
                  </a:lnTo>
                  <a:lnTo>
                    <a:pt x="413677" y="278130"/>
                  </a:lnTo>
                  <a:lnTo>
                    <a:pt x="415251" y="276860"/>
                  </a:lnTo>
                  <a:close/>
                </a:path>
                <a:path w="467995" h="386079">
                  <a:moveTo>
                    <a:pt x="432181" y="234696"/>
                  </a:moveTo>
                  <a:lnTo>
                    <a:pt x="429602" y="231140"/>
                  </a:lnTo>
                  <a:lnTo>
                    <a:pt x="429247" y="231140"/>
                  </a:lnTo>
                  <a:lnTo>
                    <a:pt x="432181" y="234696"/>
                  </a:lnTo>
                  <a:close/>
                </a:path>
                <a:path w="467995" h="386079">
                  <a:moveTo>
                    <a:pt x="433387" y="236220"/>
                  </a:moveTo>
                  <a:lnTo>
                    <a:pt x="432181" y="234696"/>
                  </a:lnTo>
                  <a:lnTo>
                    <a:pt x="433285" y="236220"/>
                  </a:lnTo>
                  <a:close/>
                </a:path>
                <a:path w="467995" h="386079">
                  <a:moveTo>
                    <a:pt x="446519" y="237426"/>
                  </a:moveTo>
                  <a:lnTo>
                    <a:pt x="445338" y="238633"/>
                  </a:lnTo>
                  <a:lnTo>
                    <a:pt x="445427" y="238760"/>
                  </a:lnTo>
                  <a:lnTo>
                    <a:pt x="446519" y="237426"/>
                  </a:lnTo>
                  <a:close/>
                </a:path>
                <a:path w="467995" h="386079">
                  <a:moveTo>
                    <a:pt x="454355" y="254000"/>
                  </a:moveTo>
                  <a:lnTo>
                    <a:pt x="452920" y="251460"/>
                  </a:lnTo>
                  <a:lnTo>
                    <a:pt x="451700" y="247650"/>
                  </a:lnTo>
                  <a:lnTo>
                    <a:pt x="450951" y="245960"/>
                  </a:lnTo>
                  <a:lnTo>
                    <a:pt x="451662" y="247650"/>
                  </a:lnTo>
                  <a:lnTo>
                    <a:pt x="452882" y="251460"/>
                  </a:lnTo>
                  <a:lnTo>
                    <a:pt x="454291" y="254000"/>
                  </a:lnTo>
                  <a:lnTo>
                    <a:pt x="449999" y="256540"/>
                  </a:lnTo>
                  <a:lnTo>
                    <a:pt x="445401" y="257810"/>
                  </a:lnTo>
                  <a:lnTo>
                    <a:pt x="440613" y="259080"/>
                  </a:lnTo>
                  <a:lnTo>
                    <a:pt x="445439" y="259080"/>
                  </a:lnTo>
                  <a:lnTo>
                    <a:pt x="450037" y="256540"/>
                  </a:lnTo>
                  <a:lnTo>
                    <a:pt x="454355" y="254000"/>
                  </a:lnTo>
                  <a:close/>
                </a:path>
                <a:path w="467995" h="386079">
                  <a:moveTo>
                    <a:pt x="455155" y="255270"/>
                  </a:moveTo>
                  <a:lnTo>
                    <a:pt x="454393" y="254000"/>
                  </a:lnTo>
                  <a:lnTo>
                    <a:pt x="455155" y="255270"/>
                  </a:lnTo>
                  <a:close/>
                </a:path>
                <a:path w="467995" h="386079">
                  <a:moveTo>
                    <a:pt x="456920" y="259080"/>
                  </a:moveTo>
                  <a:lnTo>
                    <a:pt x="456006" y="257810"/>
                  </a:lnTo>
                  <a:lnTo>
                    <a:pt x="456920" y="259080"/>
                  </a:lnTo>
                  <a:close/>
                </a:path>
                <a:path w="467995" h="386079">
                  <a:moveTo>
                    <a:pt x="458863" y="261620"/>
                  </a:moveTo>
                  <a:lnTo>
                    <a:pt x="457936" y="260438"/>
                  </a:lnTo>
                  <a:lnTo>
                    <a:pt x="458368" y="261620"/>
                  </a:lnTo>
                  <a:lnTo>
                    <a:pt x="458863" y="261620"/>
                  </a:lnTo>
                  <a:close/>
                </a:path>
                <a:path w="467995" h="386079">
                  <a:moveTo>
                    <a:pt x="460209" y="262890"/>
                  </a:moveTo>
                  <a:lnTo>
                    <a:pt x="458863" y="261620"/>
                  </a:lnTo>
                  <a:lnTo>
                    <a:pt x="459397" y="262890"/>
                  </a:lnTo>
                  <a:lnTo>
                    <a:pt x="460209" y="262890"/>
                  </a:lnTo>
                  <a:close/>
                </a:path>
                <a:path w="467995" h="386079">
                  <a:moveTo>
                    <a:pt x="461822" y="172720"/>
                  </a:moveTo>
                  <a:lnTo>
                    <a:pt x="461200" y="171450"/>
                  </a:lnTo>
                  <a:lnTo>
                    <a:pt x="460870" y="171450"/>
                  </a:lnTo>
                  <a:lnTo>
                    <a:pt x="461606" y="172720"/>
                  </a:lnTo>
                  <a:lnTo>
                    <a:pt x="461822" y="172720"/>
                  </a:lnTo>
                  <a:close/>
                </a:path>
                <a:path w="467995" h="386079">
                  <a:moveTo>
                    <a:pt x="462114" y="265430"/>
                  </a:moveTo>
                  <a:lnTo>
                    <a:pt x="461137" y="264160"/>
                  </a:lnTo>
                  <a:lnTo>
                    <a:pt x="460222" y="262890"/>
                  </a:lnTo>
                  <a:lnTo>
                    <a:pt x="461149" y="264210"/>
                  </a:lnTo>
                  <a:lnTo>
                    <a:pt x="462114" y="265430"/>
                  </a:lnTo>
                  <a:close/>
                </a:path>
                <a:path w="467995" h="386079">
                  <a:moveTo>
                    <a:pt x="462229" y="270471"/>
                  </a:moveTo>
                  <a:lnTo>
                    <a:pt x="460984" y="292100"/>
                  </a:lnTo>
                  <a:lnTo>
                    <a:pt x="462191" y="271780"/>
                  </a:lnTo>
                  <a:lnTo>
                    <a:pt x="462229" y="270471"/>
                  </a:lnTo>
                  <a:close/>
                </a:path>
                <a:path w="467995" h="386079">
                  <a:moveTo>
                    <a:pt x="462546" y="265430"/>
                  </a:moveTo>
                  <a:lnTo>
                    <a:pt x="462381" y="267970"/>
                  </a:lnTo>
                  <a:lnTo>
                    <a:pt x="462546" y="265430"/>
                  </a:lnTo>
                  <a:close/>
                </a:path>
                <a:path w="467995" h="386079">
                  <a:moveTo>
                    <a:pt x="462749" y="261594"/>
                  </a:moveTo>
                  <a:lnTo>
                    <a:pt x="462597" y="264210"/>
                  </a:lnTo>
                  <a:lnTo>
                    <a:pt x="462699" y="262890"/>
                  </a:lnTo>
                  <a:lnTo>
                    <a:pt x="462749" y="261594"/>
                  </a:lnTo>
                  <a:close/>
                </a:path>
                <a:path w="467995" h="386079">
                  <a:moveTo>
                    <a:pt x="464629" y="229019"/>
                  </a:moveTo>
                  <a:lnTo>
                    <a:pt x="464108" y="237490"/>
                  </a:lnTo>
                  <a:lnTo>
                    <a:pt x="464629" y="229019"/>
                  </a:lnTo>
                  <a:close/>
                </a:path>
                <a:path w="467995" h="386079">
                  <a:moveTo>
                    <a:pt x="465048" y="222250"/>
                  </a:moveTo>
                  <a:lnTo>
                    <a:pt x="464629" y="229019"/>
                  </a:lnTo>
                  <a:lnTo>
                    <a:pt x="465048" y="222250"/>
                  </a:lnTo>
                  <a:close/>
                </a:path>
                <a:path w="467995" h="386079">
                  <a:moveTo>
                    <a:pt x="467918" y="171450"/>
                  </a:moveTo>
                  <a:lnTo>
                    <a:pt x="467766" y="171450"/>
                  </a:lnTo>
                  <a:lnTo>
                    <a:pt x="466166" y="172720"/>
                  </a:lnTo>
                  <a:lnTo>
                    <a:pt x="466496" y="172720"/>
                  </a:lnTo>
                  <a:lnTo>
                    <a:pt x="467918" y="171450"/>
                  </a:lnTo>
                  <a:close/>
                </a:path>
                <a:path w="467995" h="386079">
                  <a:moveTo>
                    <a:pt x="467956" y="171450"/>
                  </a:moveTo>
                  <a:lnTo>
                    <a:pt x="467766" y="173990"/>
                  </a:lnTo>
                  <a:lnTo>
                    <a:pt x="460984" y="180340"/>
                  </a:lnTo>
                  <a:lnTo>
                    <a:pt x="454609" y="171450"/>
                  </a:lnTo>
                  <a:lnTo>
                    <a:pt x="453898" y="171450"/>
                  </a:lnTo>
                  <a:lnTo>
                    <a:pt x="466471" y="187960"/>
                  </a:lnTo>
                  <a:lnTo>
                    <a:pt x="458063" y="215900"/>
                  </a:lnTo>
                  <a:lnTo>
                    <a:pt x="457568" y="216268"/>
                  </a:lnTo>
                  <a:lnTo>
                    <a:pt x="457746" y="215722"/>
                  </a:lnTo>
                  <a:lnTo>
                    <a:pt x="456857" y="216471"/>
                  </a:lnTo>
                  <a:lnTo>
                    <a:pt x="456857" y="219710"/>
                  </a:lnTo>
                  <a:lnTo>
                    <a:pt x="456234" y="220980"/>
                  </a:lnTo>
                  <a:lnTo>
                    <a:pt x="456082" y="220980"/>
                  </a:lnTo>
                  <a:lnTo>
                    <a:pt x="456082" y="222250"/>
                  </a:lnTo>
                  <a:lnTo>
                    <a:pt x="454101" y="228600"/>
                  </a:lnTo>
                  <a:lnTo>
                    <a:pt x="453923" y="228422"/>
                  </a:lnTo>
                  <a:lnTo>
                    <a:pt x="453923" y="228600"/>
                  </a:lnTo>
                  <a:lnTo>
                    <a:pt x="453072" y="229870"/>
                  </a:lnTo>
                  <a:lnTo>
                    <a:pt x="452691" y="229184"/>
                  </a:lnTo>
                  <a:lnTo>
                    <a:pt x="452691" y="229870"/>
                  </a:lnTo>
                  <a:lnTo>
                    <a:pt x="452450" y="230644"/>
                  </a:lnTo>
                  <a:lnTo>
                    <a:pt x="452310" y="230746"/>
                  </a:lnTo>
                  <a:lnTo>
                    <a:pt x="452310" y="231089"/>
                  </a:lnTo>
                  <a:lnTo>
                    <a:pt x="452310" y="230746"/>
                  </a:lnTo>
                  <a:lnTo>
                    <a:pt x="451967" y="231140"/>
                  </a:lnTo>
                  <a:lnTo>
                    <a:pt x="451802" y="231140"/>
                  </a:lnTo>
                  <a:lnTo>
                    <a:pt x="449440" y="233680"/>
                  </a:lnTo>
                  <a:lnTo>
                    <a:pt x="448500" y="231140"/>
                  </a:lnTo>
                  <a:lnTo>
                    <a:pt x="448297" y="231140"/>
                  </a:lnTo>
                  <a:lnTo>
                    <a:pt x="446633" y="226060"/>
                  </a:lnTo>
                  <a:lnTo>
                    <a:pt x="448233" y="224790"/>
                  </a:lnTo>
                  <a:lnTo>
                    <a:pt x="449707" y="224790"/>
                  </a:lnTo>
                  <a:lnTo>
                    <a:pt x="452691" y="229870"/>
                  </a:lnTo>
                  <a:lnTo>
                    <a:pt x="452691" y="229184"/>
                  </a:lnTo>
                  <a:lnTo>
                    <a:pt x="450964" y="226060"/>
                  </a:lnTo>
                  <a:lnTo>
                    <a:pt x="453923" y="228600"/>
                  </a:lnTo>
                  <a:lnTo>
                    <a:pt x="453923" y="228422"/>
                  </a:lnTo>
                  <a:lnTo>
                    <a:pt x="451561" y="226060"/>
                  </a:lnTo>
                  <a:lnTo>
                    <a:pt x="450291" y="224790"/>
                  </a:lnTo>
                  <a:lnTo>
                    <a:pt x="449186" y="223520"/>
                  </a:lnTo>
                  <a:lnTo>
                    <a:pt x="451231" y="222250"/>
                  </a:lnTo>
                  <a:lnTo>
                    <a:pt x="456082" y="222250"/>
                  </a:lnTo>
                  <a:lnTo>
                    <a:pt x="456082" y="220980"/>
                  </a:lnTo>
                  <a:lnTo>
                    <a:pt x="451789" y="220980"/>
                  </a:lnTo>
                  <a:lnTo>
                    <a:pt x="456323" y="217170"/>
                  </a:lnTo>
                  <a:lnTo>
                    <a:pt x="456857" y="219710"/>
                  </a:lnTo>
                  <a:lnTo>
                    <a:pt x="456857" y="216471"/>
                  </a:lnTo>
                  <a:lnTo>
                    <a:pt x="456552" y="216712"/>
                  </a:lnTo>
                  <a:lnTo>
                    <a:pt x="456628" y="216979"/>
                  </a:lnTo>
                  <a:lnTo>
                    <a:pt x="456374" y="217170"/>
                  </a:lnTo>
                  <a:lnTo>
                    <a:pt x="456145" y="216179"/>
                  </a:lnTo>
                  <a:lnTo>
                    <a:pt x="456145" y="217170"/>
                  </a:lnTo>
                  <a:lnTo>
                    <a:pt x="450888" y="220980"/>
                  </a:lnTo>
                  <a:lnTo>
                    <a:pt x="450342" y="220980"/>
                  </a:lnTo>
                  <a:lnTo>
                    <a:pt x="450342" y="222250"/>
                  </a:lnTo>
                  <a:lnTo>
                    <a:pt x="448868" y="223367"/>
                  </a:lnTo>
                  <a:lnTo>
                    <a:pt x="448741" y="223139"/>
                  </a:lnTo>
                  <a:lnTo>
                    <a:pt x="448602" y="223266"/>
                  </a:lnTo>
                  <a:lnTo>
                    <a:pt x="448792" y="223431"/>
                  </a:lnTo>
                  <a:lnTo>
                    <a:pt x="448665" y="223520"/>
                  </a:lnTo>
                  <a:lnTo>
                    <a:pt x="448119" y="223520"/>
                  </a:lnTo>
                  <a:lnTo>
                    <a:pt x="447776" y="223342"/>
                  </a:lnTo>
                  <a:lnTo>
                    <a:pt x="447776" y="223520"/>
                  </a:lnTo>
                  <a:lnTo>
                    <a:pt x="446443" y="224790"/>
                  </a:lnTo>
                  <a:lnTo>
                    <a:pt x="446074" y="223761"/>
                  </a:lnTo>
                  <a:lnTo>
                    <a:pt x="446074" y="224790"/>
                  </a:lnTo>
                  <a:lnTo>
                    <a:pt x="444690" y="226060"/>
                  </a:lnTo>
                  <a:lnTo>
                    <a:pt x="444639" y="225907"/>
                  </a:lnTo>
                  <a:lnTo>
                    <a:pt x="444639" y="226060"/>
                  </a:lnTo>
                  <a:lnTo>
                    <a:pt x="439420" y="231140"/>
                  </a:lnTo>
                  <a:lnTo>
                    <a:pt x="439623" y="243840"/>
                  </a:lnTo>
                  <a:lnTo>
                    <a:pt x="439305" y="243446"/>
                  </a:lnTo>
                  <a:lnTo>
                    <a:pt x="439305" y="243840"/>
                  </a:lnTo>
                  <a:lnTo>
                    <a:pt x="438772" y="243840"/>
                  </a:lnTo>
                  <a:lnTo>
                    <a:pt x="436079" y="246380"/>
                  </a:lnTo>
                  <a:lnTo>
                    <a:pt x="435495" y="243840"/>
                  </a:lnTo>
                  <a:lnTo>
                    <a:pt x="435330" y="243840"/>
                  </a:lnTo>
                  <a:lnTo>
                    <a:pt x="435724" y="246380"/>
                  </a:lnTo>
                  <a:lnTo>
                    <a:pt x="435952" y="246380"/>
                  </a:lnTo>
                  <a:lnTo>
                    <a:pt x="433946" y="248920"/>
                  </a:lnTo>
                  <a:lnTo>
                    <a:pt x="437540" y="252730"/>
                  </a:lnTo>
                  <a:lnTo>
                    <a:pt x="438404" y="255270"/>
                  </a:lnTo>
                  <a:lnTo>
                    <a:pt x="433895" y="259080"/>
                  </a:lnTo>
                  <a:lnTo>
                    <a:pt x="429361" y="255270"/>
                  </a:lnTo>
                  <a:lnTo>
                    <a:pt x="429755" y="253733"/>
                  </a:lnTo>
                  <a:lnTo>
                    <a:pt x="429907" y="252730"/>
                  </a:lnTo>
                  <a:lnTo>
                    <a:pt x="430174" y="252730"/>
                  </a:lnTo>
                  <a:lnTo>
                    <a:pt x="431431" y="251460"/>
                  </a:lnTo>
                  <a:lnTo>
                    <a:pt x="433946" y="248920"/>
                  </a:lnTo>
                  <a:lnTo>
                    <a:pt x="433501" y="248399"/>
                  </a:lnTo>
                  <a:lnTo>
                    <a:pt x="433501" y="248920"/>
                  </a:lnTo>
                  <a:lnTo>
                    <a:pt x="430441" y="251460"/>
                  </a:lnTo>
                  <a:lnTo>
                    <a:pt x="431342" y="248691"/>
                  </a:lnTo>
                  <a:lnTo>
                    <a:pt x="431634" y="247650"/>
                  </a:lnTo>
                  <a:lnTo>
                    <a:pt x="433501" y="248920"/>
                  </a:lnTo>
                  <a:lnTo>
                    <a:pt x="433501" y="248399"/>
                  </a:lnTo>
                  <a:lnTo>
                    <a:pt x="432879" y="247650"/>
                  </a:lnTo>
                  <a:lnTo>
                    <a:pt x="431812" y="246380"/>
                  </a:lnTo>
                  <a:lnTo>
                    <a:pt x="432079" y="245110"/>
                  </a:lnTo>
                  <a:lnTo>
                    <a:pt x="432346" y="243840"/>
                  </a:lnTo>
                  <a:lnTo>
                    <a:pt x="432485" y="243840"/>
                  </a:lnTo>
                  <a:lnTo>
                    <a:pt x="433362" y="240030"/>
                  </a:lnTo>
                  <a:lnTo>
                    <a:pt x="433768" y="238760"/>
                  </a:lnTo>
                  <a:lnTo>
                    <a:pt x="435165" y="243840"/>
                  </a:lnTo>
                  <a:lnTo>
                    <a:pt x="435317" y="243840"/>
                  </a:lnTo>
                  <a:lnTo>
                    <a:pt x="433946" y="238760"/>
                  </a:lnTo>
                  <a:lnTo>
                    <a:pt x="433946" y="237490"/>
                  </a:lnTo>
                  <a:lnTo>
                    <a:pt x="434174" y="237490"/>
                  </a:lnTo>
                  <a:lnTo>
                    <a:pt x="439305" y="243840"/>
                  </a:lnTo>
                  <a:lnTo>
                    <a:pt x="439305" y="243446"/>
                  </a:lnTo>
                  <a:lnTo>
                    <a:pt x="434606" y="237490"/>
                  </a:lnTo>
                  <a:lnTo>
                    <a:pt x="435495" y="236220"/>
                  </a:lnTo>
                  <a:lnTo>
                    <a:pt x="439305" y="231140"/>
                  </a:lnTo>
                  <a:lnTo>
                    <a:pt x="438658" y="231140"/>
                  </a:lnTo>
                  <a:lnTo>
                    <a:pt x="434403" y="236118"/>
                  </a:lnTo>
                  <a:lnTo>
                    <a:pt x="434403" y="234950"/>
                  </a:lnTo>
                  <a:lnTo>
                    <a:pt x="434670" y="234950"/>
                  </a:lnTo>
                  <a:lnTo>
                    <a:pt x="434670" y="233680"/>
                  </a:lnTo>
                  <a:lnTo>
                    <a:pt x="434200" y="233680"/>
                  </a:lnTo>
                  <a:lnTo>
                    <a:pt x="433946" y="232410"/>
                  </a:lnTo>
                  <a:lnTo>
                    <a:pt x="434403" y="232410"/>
                  </a:lnTo>
                  <a:lnTo>
                    <a:pt x="434200" y="231140"/>
                  </a:lnTo>
                  <a:lnTo>
                    <a:pt x="434352" y="231140"/>
                  </a:lnTo>
                  <a:lnTo>
                    <a:pt x="434289" y="229870"/>
                  </a:lnTo>
                  <a:lnTo>
                    <a:pt x="434403" y="227330"/>
                  </a:lnTo>
                  <a:lnTo>
                    <a:pt x="434670" y="227330"/>
                  </a:lnTo>
                  <a:lnTo>
                    <a:pt x="434670" y="224790"/>
                  </a:lnTo>
                  <a:lnTo>
                    <a:pt x="434403" y="224790"/>
                  </a:lnTo>
                  <a:lnTo>
                    <a:pt x="434200" y="223520"/>
                  </a:lnTo>
                  <a:lnTo>
                    <a:pt x="434403" y="223520"/>
                  </a:lnTo>
                  <a:lnTo>
                    <a:pt x="434200" y="222250"/>
                  </a:lnTo>
                  <a:lnTo>
                    <a:pt x="443395" y="222250"/>
                  </a:lnTo>
                  <a:lnTo>
                    <a:pt x="443814" y="223520"/>
                  </a:lnTo>
                  <a:lnTo>
                    <a:pt x="444195" y="224790"/>
                  </a:lnTo>
                  <a:lnTo>
                    <a:pt x="444639" y="226060"/>
                  </a:lnTo>
                  <a:lnTo>
                    <a:pt x="444639" y="225907"/>
                  </a:lnTo>
                  <a:lnTo>
                    <a:pt x="444271" y="224790"/>
                  </a:lnTo>
                  <a:lnTo>
                    <a:pt x="443484" y="222250"/>
                  </a:lnTo>
                  <a:lnTo>
                    <a:pt x="444931" y="222250"/>
                  </a:lnTo>
                  <a:lnTo>
                    <a:pt x="446074" y="224790"/>
                  </a:lnTo>
                  <a:lnTo>
                    <a:pt x="446074" y="223761"/>
                  </a:lnTo>
                  <a:lnTo>
                    <a:pt x="445541" y="222250"/>
                  </a:lnTo>
                  <a:lnTo>
                    <a:pt x="447776" y="223520"/>
                  </a:lnTo>
                  <a:lnTo>
                    <a:pt x="447776" y="223342"/>
                  </a:lnTo>
                  <a:lnTo>
                    <a:pt x="445757" y="222250"/>
                  </a:lnTo>
                  <a:lnTo>
                    <a:pt x="450342" y="222250"/>
                  </a:lnTo>
                  <a:lnTo>
                    <a:pt x="450342" y="220980"/>
                  </a:lnTo>
                  <a:lnTo>
                    <a:pt x="445262" y="220980"/>
                  </a:lnTo>
                  <a:lnTo>
                    <a:pt x="444792" y="219532"/>
                  </a:lnTo>
                  <a:lnTo>
                    <a:pt x="444792" y="220980"/>
                  </a:lnTo>
                  <a:lnTo>
                    <a:pt x="443369" y="220980"/>
                  </a:lnTo>
                  <a:lnTo>
                    <a:pt x="442264" y="217170"/>
                  </a:lnTo>
                  <a:lnTo>
                    <a:pt x="441223" y="212090"/>
                  </a:lnTo>
                  <a:lnTo>
                    <a:pt x="440232" y="208280"/>
                  </a:lnTo>
                  <a:lnTo>
                    <a:pt x="439889" y="207010"/>
                  </a:lnTo>
                  <a:lnTo>
                    <a:pt x="444792" y="220980"/>
                  </a:lnTo>
                  <a:lnTo>
                    <a:pt x="444792" y="219532"/>
                  </a:lnTo>
                  <a:lnTo>
                    <a:pt x="440740" y="207010"/>
                  </a:lnTo>
                  <a:lnTo>
                    <a:pt x="440334" y="205740"/>
                  </a:lnTo>
                  <a:lnTo>
                    <a:pt x="439407" y="205740"/>
                  </a:lnTo>
                  <a:lnTo>
                    <a:pt x="439737" y="208280"/>
                  </a:lnTo>
                  <a:lnTo>
                    <a:pt x="438924" y="209550"/>
                  </a:lnTo>
                  <a:lnTo>
                    <a:pt x="438023" y="210820"/>
                  </a:lnTo>
                  <a:lnTo>
                    <a:pt x="435610" y="213360"/>
                  </a:lnTo>
                  <a:lnTo>
                    <a:pt x="434009" y="214630"/>
                  </a:lnTo>
                  <a:lnTo>
                    <a:pt x="431406" y="215900"/>
                  </a:lnTo>
                  <a:lnTo>
                    <a:pt x="434060" y="214630"/>
                  </a:lnTo>
                  <a:lnTo>
                    <a:pt x="439762" y="208280"/>
                  </a:lnTo>
                  <a:lnTo>
                    <a:pt x="440131" y="208280"/>
                  </a:lnTo>
                  <a:lnTo>
                    <a:pt x="441134" y="213360"/>
                  </a:lnTo>
                  <a:lnTo>
                    <a:pt x="442175" y="217170"/>
                  </a:lnTo>
                  <a:lnTo>
                    <a:pt x="443280" y="220980"/>
                  </a:lnTo>
                  <a:lnTo>
                    <a:pt x="432346" y="220980"/>
                  </a:lnTo>
                  <a:lnTo>
                    <a:pt x="432282" y="222250"/>
                  </a:lnTo>
                  <a:lnTo>
                    <a:pt x="433590" y="222250"/>
                  </a:lnTo>
                  <a:lnTo>
                    <a:pt x="433387" y="223520"/>
                  </a:lnTo>
                  <a:lnTo>
                    <a:pt x="433590" y="223520"/>
                  </a:lnTo>
                  <a:lnTo>
                    <a:pt x="433387" y="224790"/>
                  </a:lnTo>
                  <a:lnTo>
                    <a:pt x="433120" y="224790"/>
                  </a:lnTo>
                  <a:lnTo>
                    <a:pt x="433120" y="227330"/>
                  </a:lnTo>
                  <a:lnTo>
                    <a:pt x="433387" y="227330"/>
                  </a:lnTo>
                  <a:lnTo>
                    <a:pt x="433387" y="229870"/>
                  </a:lnTo>
                  <a:lnTo>
                    <a:pt x="433514" y="229870"/>
                  </a:lnTo>
                  <a:lnTo>
                    <a:pt x="433438" y="231140"/>
                  </a:lnTo>
                  <a:lnTo>
                    <a:pt x="433590" y="231140"/>
                  </a:lnTo>
                  <a:lnTo>
                    <a:pt x="433387" y="232410"/>
                  </a:lnTo>
                  <a:lnTo>
                    <a:pt x="433844" y="232410"/>
                  </a:lnTo>
                  <a:lnTo>
                    <a:pt x="433641" y="233426"/>
                  </a:lnTo>
                  <a:lnTo>
                    <a:pt x="433641" y="238760"/>
                  </a:lnTo>
                  <a:lnTo>
                    <a:pt x="432295" y="243840"/>
                  </a:lnTo>
                  <a:lnTo>
                    <a:pt x="432155" y="243840"/>
                  </a:lnTo>
                  <a:lnTo>
                    <a:pt x="431977" y="245110"/>
                  </a:lnTo>
                  <a:lnTo>
                    <a:pt x="431838" y="245110"/>
                  </a:lnTo>
                  <a:lnTo>
                    <a:pt x="431660" y="246380"/>
                  </a:lnTo>
                  <a:lnTo>
                    <a:pt x="430491" y="245110"/>
                  </a:lnTo>
                  <a:lnTo>
                    <a:pt x="429310" y="243840"/>
                  </a:lnTo>
                  <a:lnTo>
                    <a:pt x="429145" y="243840"/>
                  </a:lnTo>
                  <a:lnTo>
                    <a:pt x="433641" y="238760"/>
                  </a:lnTo>
                  <a:lnTo>
                    <a:pt x="433641" y="233426"/>
                  </a:lnTo>
                  <a:lnTo>
                    <a:pt x="433590" y="233680"/>
                  </a:lnTo>
                  <a:lnTo>
                    <a:pt x="433120" y="233680"/>
                  </a:lnTo>
                  <a:lnTo>
                    <a:pt x="433120" y="234950"/>
                  </a:lnTo>
                  <a:lnTo>
                    <a:pt x="433387" y="234950"/>
                  </a:lnTo>
                  <a:lnTo>
                    <a:pt x="433387" y="236220"/>
                  </a:lnTo>
                  <a:lnTo>
                    <a:pt x="433387" y="237490"/>
                  </a:lnTo>
                  <a:lnTo>
                    <a:pt x="433527" y="237490"/>
                  </a:lnTo>
                  <a:lnTo>
                    <a:pt x="428840" y="243840"/>
                  </a:lnTo>
                  <a:lnTo>
                    <a:pt x="429247" y="231140"/>
                  </a:lnTo>
                  <a:lnTo>
                    <a:pt x="429082" y="231140"/>
                  </a:lnTo>
                  <a:lnTo>
                    <a:pt x="428688" y="230835"/>
                  </a:lnTo>
                  <a:lnTo>
                    <a:pt x="428688" y="231140"/>
                  </a:lnTo>
                  <a:lnTo>
                    <a:pt x="428282" y="243840"/>
                  </a:lnTo>
                  <a:lnTo>
                    <a:pt x="422351" y="238760"/>
                  </a:lnTo>
                  <a:lnTo>
                    <a:pt x="423405" y="237490"/>
                  </a:lnTo>
                  <a:lnTo>
                    <a:pt x="428688" y="231140"/>
                  </a:lnTo>
                  <a:lnTo>
                    <a:pt x="428688" y="230835"/>
                  </a:lnTo>
                  <a:lnTo>
                    <a:pt x="428307" y="230530"/>
                  </a:lnTo>
                  <a:lnTo>
                    <a:pt x="428307" y="231140"/>
                  </a:lnTo>
                  <a:lnTo>
                    <a:pt x="421944" y="237490"/>
                  </a:lnTo>
                  <a:lnTo>
                    <a:pt x="422973" y="236220"/>
                  </a:lnTo>
                  <a:lnTo>
                    <a:pt x="423875" y="233680"/>
                  </a:lnTo>
                  <a:lnTo>
                    <a:pt x="424726" y="231140"/>
                  </a:lnTo>
                  <a:lnTo>
                    <a:pt x="424942" y="231140"/>
                  </a:lnTo>
                  <a:lnTo>
                    <a:pt x="425437" y="229870"/>
                  </a:lnTo>
                  <a:lnTo>
                    <a:pt x="425665" y="228600"/>
                  </a:lnTo>
                  <a:lnTo>
                    <a:pt x="428142" y="231140"/>
                  </a:lnTo>
                  <a:lnTo>
                    <a:pt x="428307" y="231140"/>
                  </a:lnTo>
                  <a:lnTo>
                    <a:pt x="428307" y="230530"/>
                  </a:lnTo>
                  <a:lnTo>
                    <a:pt x="425856" y="228600"/>
                  </a:lnTo>
                  <a:lnTo>
                    <a:pt x="426275" y="227330"/>
                  </a:lnTo>
                  <a:lnTo>
                    <a:pt x="426681" y="226060"/>
                  </a:lnTo>
                  <a:lnTo>
                    <a:pt x="428053" y="220980"/>
                  </a:lnTo>
                  <a:lnTo>
                    <a:pt x="428942" y="218440"/>
                  </a:lnTo>
                  <a:lnTo>
                    <a:pt x="429780" y="215900"/>
                  </a:lnTo>
                  <a:lnTo>
                    <a:pt x="430606" y="215900"/>
                  </a:lnTo>
                  <a:lnTo>
                    <a:pt x="429818" y="214630"/>
                  </a:lnTo>
                  <a:lnTo>
                    <a:pt x="431888" y="207010"/>
                  </a:lnTo>
                  <a:lnTo>
                    <a:pt x="433590" y="199390"/>
                  </a:lnTo>
                  <a:lnTo>
                    <a:pt x="435140" y="191770"/>
                  </a:lnTo>
                  <a:lnTo>
                    <a:pt x="435330" y="191770"/>
                  </a:lnTo>
                  <a:lnTo>
                    <a:pt x="435305" y="190500"/>
                  </a:lnTo>
                  <a:lnTo>
                    <a:pt x="435610" y="190500"/>
                  </a:lnTo>
                  <a:lnTo>
                    <a:pt x="435660" y="189230"/>
                  </a:lnTo>
                  <a:lnTo>
                    <a:pt x="436905" y="182880"/>
                  </a:lnTo>
                  <a:lnTo>
                    <a:pt x="437870" y="176530"/>
                  </a:lnTo>
                  <a:lnTo>
                    <a:pt x="438797" y="171450"/>
                  </a:lnTo>
                  <a:lnTo>
                    <a:pt x="439889" y="165100"/>
                  </a:lnTo>
                  <a:lnTo>
                    <a:pt x="440804" y="158750"/>
                  </a:lnTo>
                  <a:lnTo>
                    <a:pt x="441680" y="152400"/>
                  </a:lnTo>
                  <a:lnTo>
                    <a:pt x="444017" y="165100"/>
                  </a:lnTo>
                  <a:lnTo>
                    <a:pt x="445236" y="171450"/>
                  </a:lnTo>
                  <a:lnTo>
                    <a:pt x="446747" y="179070"/>
                  </a:lnTo>
                  <a:lnTo>
                    <a:pt x="448525" y="186715"/>
                  </a:lnTo>
                  <a:lnTo>
                    <a:pt x="451383" y="199390"/>
                  </a:lnTo>
                  <a:lnTo>
                    <a:pt x="453059" y="205740"/>
                  </a:lnTo>
                  <a:lnTo>
                    <a:pt x="455320" y="214630"/>
                  </a:lnTo>
                  <a:lnTo>
                    <a:pt x="456145" y="217170"/>
                  </a:lnTo>
                  <a:lnTo>
                    <a:pt x="456145" y="216179"/>
                  </a:lnTo>
                  <a:lnTo>
                    <a:pt x="455206" y="212090"/>
                  </a:lnTo>
                  <a:lnTo>
                    <a:pt x="453339" y="205740"/>
                  </a:lnTo>
                  <a:lnTo>
                    <a:pt x="451662" y="199390"/>
                  </a:lnTo>
                  <a:lnTo>
                    <a:pt x="448246" y="184150"/>
                  </a:lnTo>
                  <a:lnTo>
                    <a:pt x="447078" y="179070"/>
                  </a:lnTo>
                  <a:lnTo>
                    <a:pt x="445693" y="171450"/>
                  </a:lnTo>
                  <a:lnTo>
                    <a:pt x="444373" y="165100"/>
                  </a:lnTo>
                  <a:lnTo>
                    <a:pt x="443217" y="158750"/>
                  </a:lnTo>
                  <a:lnTo>
                    <a:pt x="442125" y="152400"/>
                  </a:lnTo>
                  <a:lnTo>
                    <a:pt x="442188" y="151130"/>
                  </a:lnTo>
                  <a:lnTo>
                    <a:pt x="443204" y="151130"/>
                  </a:lnTo>
                  <a:lnTo>
                    <a:pt x="443433" y="149860"/>
                  </a:lnTo>
                  <a:lnTo>
                    <a:pt x="442950" y="149860"/>
                  </a:lnTo>
                  <a:lnTo>
                    <a:pt x="442925" y="148590"/>
                  </a:lnTo>
                  <a:lnTo>
                    <a:pt x="442607" y="147320"/>
                  </a:lnTo>
                  <a:lnTo>
                    <a:pt x="443217" y="147320"/>
                  </a:lnTo>
                  <a:lnTo>
                    <a:pt x="442950" y="146050"/>
                  </a:lnTo>
                  <a:lnTo>
                    <a:pt x="442810" y="146050"/>
                  </a:lnTo>
                  <a:lnTo>
                    <a:pt x="442607" y="144780"/>
                  </a:lnTo>
                  <a:lnTo>
                    <a:pt x="443433" y="144780"/>
                  </a:lnTo>
                  <a:lnTo>
                    <a:pt x="443217" y="143510"/>
                  </a:lnTo>
                  <a:lnTo>
                    <a:pt x="442810" y="143510"/>
                  </a:lnTo>
                  <a:lnTo>
                    <a:pt x="442607" y="142240"/>
                  </a:lnTo>
                  <a:lnTo>
                    <a:pt x="442785" y="142240"/>
                  </a:lnTo>
                  <a:lnTo>
                    <a:pt x="447776" y="154940"/>
                  </a:lnTo>
                  <a:lnTo>
                    <a:pt x="449834" y="158750"/>
                  </a:lnTo>
                  <a:lnTo>
                    <a:pt x="453605" y="165100"/>
                  </a:lnTo>
                  <a:lnTo>
                    <a:pt x="454964" y="166370"/>
                  </a:lnTo>
                  <a:lnTo>
                    <a:pt x="457377" y="168910"/>
                  </a:lnTo>
                  <a:lnTo>
                    <a:pt x="458254" y="170180"/>
                  </a:lnTo>
                  <a:lnTo>
                    <a:pt x="459206" y="171450"/>
                  </a:lnTo>
                  <a:lnTo>
                    <a:pt x="459651" y="171450"/>
                  </a:lnTo>
                  <a:lnTo>
                    <a:pt x="458584" y="170180"/>
                  </a:lnTo>
                  <a:lnTo>
                    <a:pt x="457619" y="168910"/>
                  </a:lnTo>
                  <a:lnTo>
                    <a:pt x="455155" y="166370"/>
                  </a:lnTo>
                  <a:lnTo>
                    <a:pt x="453809" y="165100"/>
                  </a:lnTo>
                  <a:lnTo>
                    <a:pt x="450062" y="158750"/>
                  </a:lnTo>
                  <a:lnTo>
                    <a:pt x="448005" y="154940"/>
                  </a:lnTo>
                  <a:lnTo>
                    <a:pt x="445046" y="147320"/>
                  </a:lnTo>
                  <a:lnTo>
                    <a:pt x="444030" y="144780"/>
                  </a:lnTo>
                  <a:lnTo>
                    <a:pt x="443052" y="142240"/>
                  </a:lnTo>
                  <a:lnTo>
                    <a:pt x="443433" y="142240"/>
                  </a:lnTo>
                  <a:lnTo>
                    <a:pt x="443217" y="140970"/>
                  </a:lnTo>
                  <a:lnTo>
                    <a:pt x="442925" y="140970"/>
                  </a:lnTo>
                  <a:lnTo>
                    <a:pt x="442810" y="139700"/>
                  </a:lnTo>
                  <a:lnTo>
                    <a:pt x="443433" y="139700"/>
                  </a:lnTo>
                  <a:lnTo>
                    <a:pt x="443433" y="138430"/>
                  </a:lnTo>
                  <a:lnTo>
                    <a:pt x="442925" y="138430"/>
                  </a:lnTo>
                  <a:lnTo>
                    <a:pt x="442810" y="137160"/>
                  </a:lnTo>
                  <a:lnTo>
                    <a:pt x="443433" y="137160"/>
                  </a:lnTo>
                  <a:lnTo>
                    <a:pt x="443433" y="135890"/>
                  </a:lnTo>
                  <a:lnTo>
                    <a:pt x="442925" y="135890"/>
                  </a:lnTo>
                  <a:lnTo>
                    <a:pt x="442810" y="134620"/>
                  </a:lnTo>
                  <a:lnTo>
                    <a:pt x="443433" y="134620"/>
                  </a:lnTo>
                  <a:lnTo>
                    <a:pt x="443433" y="133350"/>
                  </a:lnTo>
                  <a:lnTo>
                    <a:pt x="442925" y="133350"/>
                  </a:lnTo>
                  <a:lnTo>
                    <a:pt x="442810" y="132080"/>
                  </a:lnTo>
                  <a:lnTo>
                    <a:pt x="443433" y="132080"/>
                  </a:lnTo>
                  <a:lnTo>
                    <a:pt x="443433" y="130810"/>
                  </a:lnTo>
                  <a:lnTo>
                    <a:pt x="442925" y="130810"/>
                  </a:lnTo>
                  <a:lnTo>
                    <a:pt x="442810" y="129540"/>
                  </a:lnTo>
                  <a:lnTo>
                    <a:pt x="443433" y="129540"/>
                  </a:lnTo>
                  <a:lnTo>
                    <a:pt x="443433" y="128270"/>
                  </a:lnTo>
                  <a:lnTo>
                    <a:pt x="442950" y="128270"/>
                  </a:lnTo>
                  <a:lnTo>
                    <a:pt x="442925" y="127000"/>
                  </a:lnTo>
                  <a:lnTo>
                    <a:pt x="443204" y="127000"/>
                  </a:lnTo>
                  <a:lnTo>
                    <a:pt x="443433" y="125730"/>
                  </a:lnTo>
                  <a:lnTo>
                    <a:pt x="442950" y="125730"/>
                  </a:lnTo>
                  <a:lnTo>
                    <a:pt x="442912" y="124460"/>
                  </a:lnTo>
                  <a:lnTo>
                    <a:pt x="442658" y="123190"/>
                  </a:lnTo>
                  <a:lnTo>
                    <a:pt x="442188" y="123190"/>
                  </a:lnTo>
                  <a:lnTo>
                    <a:pt x="442188" y="121920"/>
                  </a:lnTo>
                  <a:lnTo>
                    <a:pt x="441375" y="121920"/>
                  </a:lnTo>
                  <a:lnTo>
                    <a:pt x="441375" y="151130"/>
                  </a:lnTo>
                  <a:lnTo>
                    <a:pt x="441375" y="152400"/>
                  </a:lnTo>
                  <a:lnTo>
                    <a:pt x="440474" y="158750"/>
                  </a:lnTo>
                  <a:lnTo>
                    <a:pt x="439534" y="165100"/>
                  </a:lnTo>
                  <a:lnTo>
                    <a:pt x="438505" y="171450"/>
                  </a:lnTo>
                  <a:lnTo>
                    <a:pt x="437515" y="176530"/>
                  </a:lnTo>
                  <a:lnTo>
                    <a:pt x="436575" y="181610"/>
                  </a:lnTo>
                  <a:lnTo>
                    <a:pt x="435571" y="187960"/>
                  </a:lnTo>
                  <a:lnTo>
                    <a:pt x="435368" y="187960"/>
                  </a:lnTo>
                  <a:lnTo>
                    <a:pt x="435444" y="187591"/>
                  </a:lnTo>
                  <a:lnTo>
                    <a:pt x="435495" y="187337"/>
                  </a:lnTo>
                  <a:lnTo>
                    <a:pt x="435330" y="187337"/>
                  </a:lnTo>
                  <a:lnTo>
                    <a:pt x="435330" y="186690"/>
                  </a:lnTo>
                  <a:lnTo>
                    <a:pt x="435089" y="186690"/>
                  </a:lnTo>
                  <a:lnTo>
                    <a:pt x="434771" y="185420"/>
                  </a:lnTo>
                  <a:lnTo>
                    <a:pt x="435330" y="185420"/>
                  </a:lnTo>
                  <a:lnTo>
                    <a:pt x="435089" y="184150"/>
                  </a:lnTo>
                  <a:lnTo>
                    <a:pt x="435330" y="184150"/>
                  </a:lnTo>
                  <a:lnTo>
                    <a:pt x="435330" y="182880"/>
                  </a:lnTo>
                  <a:lnTo>
                    <a:pt x="435089" y="181610"/>
                  </a:lnTo>
                  <a:lnTo>
                    <a:pt x="435330" y="181610"/>
                  </a:lnTo>
                  <a:lnTo>
                    <a:pt x="435330" y="179070"/>
                  </a:lnTo>
                  <a:lnTo>
                    <a:pt x="435089" y="177800"/>
                  </a:lnTo>
                  <a:lnTo>
                    <a:pt x="435330" y="177800"/>
                  </a:lnTo>
                  <a:lnTo>
                    <a:pt x="435216" y="174625"/>
                  </a:lnTo>
                  <a:lnTo>
                    <a:pt x="435089" y="173990"/>
                  </a:lnTo>
                  <a:lnTo>
                    <a:pt x="435330" y="173990"/>
                  </a:lnTo>
                  <a:lnTo>
                    <a:pt x="435330" y="172720"/>
                  </a:lnTo>
                  <a:lnTo>
                    <a:pt x="434771" y="172720"/>
                  </a:lnTo>
                  <a:lnTo>
                    <a:pt x="434771" y="171450"/>
                  </a:lnTo>
                  <a:lnTo>
                    <a:pt x="434632" y="171450"/>
                  </a:lnTo>
                  <a:lnTo>
                    <a:pt x="434632" y="172720"/>
                  </a:lnTo>
                  <a:lnTo>
                    <a:pt x="434073" y="172720"/>
                  </a:lnTo>
                  <a:lnTo>
                    <a:pt x="434073" y="173990"/>
                  </a:lnTo>
                  <a:lnTo>
                    <a:pt x="434314" y="173990"/>
                  </a:lnTo>
                  <a:lnTo>
                    <a:pt x="434200" y="174625"/>
                  </a:lnTo>
                  <a:lnTo>
                    <a:pt x="434073" y="177800"/>
                  </a:lnTo>
                  <a:lnTo>
                    <a:pt x="434314" y="177800"/>
                  </a:lnTo>
                  <a:lnTo>
                    <a:pt x="434073" y="179070"/>
                  </a:lnTo>
                  <a:lnTo>
                    <a:pt x="434073" y="181610"/>
                  </a:lnTo>
                  <a:lnTo>
                    <a:pt x="434314" y="181610"/>
                  </a:lnTo>
                  <a:lnTo>
                    <a:pt x="434073" y="182880"/>
                  </a:lnTo>
                  <a:lnTo>
                    <a:pt x="434073" y="184150"/>
                  </a:lnTo>
                  <a:lnTo>
                    <a:pt x="434314" y="184150"/>
                  </a:lnTo>
                  <a:lnTo>
                    <a:pt x="434073" y="185420"/>
                  </a:lnTo>
                  <a:lnTo>
                    <a:pt x="434632" y="185420"/>
                  </a:lnTo>
                  <a:lnTo>
                    <a:pt x="434314" y="186690"/>
                  </a:lnTo>
                  <a:lnTo>
                    <a:pt x="434073" y="186690"/>
                  </a:lnTo>
                  <a:lnTo>
                    <a:pt x="434073" y="187960"/>
                  </a:lnTo>
                  <a:lnTo>
                    <a:pt x="434314" y="187960"/>
                  </a:lnTo>
                  <a:lnTo>
                    <a:pt x="434073" y="189230"/>
                  </a:lnTo>
                  <a:lnTo>
                    <a:pt x="433743" y="189230"/>
                  </a:lnTo>
                  <a:lnTo>
                    <a:pt x="433793" y="190500"/>
                  </a:lnTo>
                  <a:lnTo>
                    <a:pt x="434073" y="190500"/>
                  </a:lnTo>
                  <a:lnTo>
                    <a:pt x="434073" y="191770"/>
                  </a:lnTo>
                  <a:lnTo>
                    <a:pt x="434632" y="191770"/>
                  </a:lnTo>
                  <a:lnTo>
                    <a:pt x="433095" y="199390"/>
                  </a:lnTo>
                  <a:lnTo>
                    <a:pt x="431431" y="207010"/>
                  </a:lnTo>
                  <a:lnTo>
                    <a:pt x="429374" y="214630"/>
                  </a:lnTo>
                  <a:lnTo>
                    <a:pt x="428447" y="214630"/>
                  </a:lnTo>
                  <a:lnTo>
                    <a:pt x="429348" y="215900"/>
                  </a:lnTo>
                  <a:lnTo>
                    <a:pt x="428510" y="218440"/>
                  </a:lnTo>
                  <a:lnTo>
                    <a:pt x="427609" y="220980"/>
                  </a:lnTo>
                  <a:lnTo>
                    <a:pt x="426262" y="226060"/>
                  </a:lnTo>
                  <a:lnTo>
                    <a:pt x="425488" y="227330"/>
                  </a:lnTo>
                  <a:lnTo>
                    <a:pt x="425284" y="227177"/>
                  </a:lnTo>
                  <a:lnTo>
                    <a:pt x="425284" y="228600"/>
                  </a:lnTo>
                  <a:lnTo>
                    <a:pt x="425030" y="228600"/>
                  </a:lnTo>
                  <a:lnTo>
                    <a:pt x="424459" y="231140"/>
                  </a:lnTo>
                  <a:lnTo>
                    <a:pt x="424230" y="231140"/>
                  </a:lnTo>
                  <a:lnTo>
                    <a:pt x="423418" y="233680"/>
                  </a:lnTo>
                  <a:lnTo>
                    <a:pt x="422554" y="234950"/>
                  </a:lnTo>
                  <a:lnTo>
                    <a:pt x="421551" y="237490"/>
                  </a:lnTo>
                  <a:lnTo>
                    <a:pt x="414464" y="231140"/>
                  </a:lnTo>
                  <a:lnTo>
                    <a:pt x="414235" y="231140"/>
                  </a:lnTo>
                  <a:lnTo>
                    <a:pt x="415036" y="229870"/>
                  </a:lnTo>
                  <a:lnTo>
                    <a:pt x="419023" y="223520"/>
                  </a:lnTo>
                  <a:lnTo>
                    <a:pt x="425284" y="228600"/>
                  </a:lnTo>
                  <a:lnTo>
                    <a:pt x="425284" y="227177"/>
                  </a:lnTo>
                  <a:lnTo>
                    <a:pt x="420535" y="223520"/>
                  </a:lnTo>
                  <a:lnTo>
                    <a:pt x="418579" y="222021"/>
                  </a:lnTo>
                  <a:lnTo>
                    <a:pt x="418579" y="223520"/>
                  </a:lnTo>
                  <a:lnTo>
                    <a:pt x="413778" y="229870"/>
                  </a:lnTo>
                  <a:lnTo>
                    <a:pt x="409270" y="215900"/>
                  </a:lnTo>
                  <a:lnTo>
                    <a:pt x="418579" y="223520"/>
                  </a:lnTo>
                  <a:lnTo>
                    <a:pt x="418579" y="222021"/>
                  </a:lnTo>
                  <a:lnTo>
                    <a:pt x="410629" y="215900"/>
                  </a:lnTo>
                  <a:lnTo>
                    <a:pt x="408978" y="214630"/>
                  </a:lnTo>
                  <a:lnTo>
                    <a:pt x="400519" y="187960"/>
                  </a:lnTo>
                  <a:lnTo>
                    <a:pt x="403021" y="185420"/>
                  </a:lnTo>
                  <a:lnTo>
                    <a:pt x="404672" y="187960"/>
                  </a:lnTo>
                  <a:lnTo>
                    <a:pt x="406361" y="190500"/>
                  </a:lnTo>
                  <a:lnTo>
                    <a:pt x="410121" y="196850"/>
                  </a:lnTo>
                  <a:lnTo>
                    <a:pt x="412178" y="200660"/>
                  </a:lnTo>
                  <a:lnTo>
                    <a:pt x="416699" y="205740"/>
                  </a:lnTo>
                  <a:lnTo>
                    <a:pt x="419138" y="209550"/>
                  </a:lnTo>
                  <a:lnTo>
                    <a:pt x="423430" y="212090"/>
                  </a:lnTo>
                  <a:lnTo>
                    <a:pt x="424980" y="213360"/>
                  </a:lnTo>
                  <a:lnTo>
                    <a:pt x="427545" y="214630"/>
                  </a:lnTo>
                  <a:lnTo>
                    <a:pt x="425043" y="213360"/>
                  </a:lnTo>
                  <a:lnTo>
                    <a:pt x="423506" y="212090"/>
                  </a:lnTo>
                  <a:lnTo>
                    <a:pt x="419239" y="209550"/>
                  </a:lnTo>
                  <a:lnTo>
                    <a:pt x="416801" y="205740"/>
                  </a:lnTo>
                  <a:lnTo>
                    <a:pt x="412292" y="200660"/>
                  </a:lnTo>
                  <a:lnTo>
                    <a:pt x="410235" y="196850"/>
                  </a:lnTo>
                  <a:lnTo>
                    <a:pt x="406488" y="190500"/>
                  </a:lnTo>
                  <a:lnTo>
                    <a:pt x="404787" y="187960"/>
                  </a:lnTo>
                  <a:lnTo>
                    <a:pt x="403136" y="185420"/>
                  </a:lnTo>
                  <a:lnTo>
                    <a:pt x="407022" y="180340"/>
                  </a:lnTo>
                  <a:lnTo>
                    <a:pt x="413816" y="171450"/>
                  </a:lnTo>
                  <a:lnTo>
                    <a:pt x="413092" y="171450"/>
                  </a:lnTo>
                  <a:lnTo>
                    <a:pt x="406349" y="180340"/>
                  </a:lnTo>
                  <a:lnTo>
                    <a:pt x="405993" y="179971"/>
                  </a:lnTo>
                  <a:lnTo>
                    <a:pt x="405993" y="180340"/>
                  </a:lnTo>
                  <a:lnTo>
                    <a:pt x="402831" y="184150"/>
                  </a:lnTo>
                  <a:lnTo>
                    <a:pt x="402717" y="183857"/>
                  </a:lnTo>
                  <a:lnTo>
                    <a:pt x="402717" y="184150"/>
                  </a:lnTo>
                  <a:lnTo>
                    <a:pt x="400304" y="187960"/>
                  </a:lnTo>
                  <a:lnTo>
                    <a:pt x="399935" y="186690"/>
                  </a:lnTo>
                  <a:lnTo>
                    <a:pt x="400278" y="185420"/>
                  </a:lnTo>
                  <a:lnTo>
                    <a:pt x="400977" y="182880"/>
                  </a:lnTo>
                  <a:lnTo>
                    <a:pt x="401320" y="181610"/>
                  </a:lnTo>
                  <a:lnTo>
                    <a:pt x="401777" y="182880"/>
                  </a:lnTo>
                  <a:lnTo>
                    <a:pt x="402234" y="184150"/>
                  </a:lnTo>
                  <a:lnTo>
                    <a:pt x="402717" y="184150"/>
                  </a:lnTo>
                  <a:lnTo>
                    <a:pt x="402717" y="183857"/>
                  </a:lnTo>
                  <a:lnTo>
                    <a:pt x="402336" y="182880"/>
                  </a:lnTo>
                  <a:lnTo>
                    <a:pt x="401878" y="182880"/>
                  </a:lnTo>
                  <a:lnTo>
                    <a:pt x="401383" y="181610"/>
                  </a:lnTo>
                  <a:lnTo>
                    <a:pt x="402577" y="177800"/>
                  </a:lnTo>
                  <a:lnTo>
                    <a:pt x="405993" y="180340"/>
                  </a:lnTo>
                  <a:lnTo>
                    <a:pt x="405993" y="179971"/>
                  </a:lnTo>
                  <a:lnTo>
                    <a:pt x="403961" y="177800"/>
                  </a:lnTo>
                  <a:lnTo>
                    <a:pt x="402767" y="176530"/>
                  </a:lnTo>
                  <a:lnTo>
                    <a:pt x="404495" y="171450"/>
                  </a:lnTo>
                  <a:lnTo>
                    <a:pt x="404672" y="171450"/>
                  </a:lnTo>
                  <a:lnTo>
                    <a:pt x="413245" y="143510"/>
                  </a:lnTo>
                  <a:lnTo>
                    <a:pt x="419087" y="124460"/>
                  </a:lnTo>
                  <a:lnTo>
                    <a:pt x="419481" y="123190"/>
                  </a:lnTo>
                  <a:lnTo>
                    <a:pt x="436118" y="123190"/>
                  </a:lnTo>
                  <a:lnTo>
                    <a:pt x="437603" y="128270"/>
                  </a:lnTo>
                  <a:lnTo>
                    <a:pt x="438975" y="132080"/>
                  </a:lnTo>
                  <a:lnTo>
                    <a:pt x="440410" y="135890"/>
                  </a:lnTo>
                  <a:lnTo>
                    <a:pt x="440143" y="135890"/>
                  </a:lnTo>
                  <a:lnTo>
                    <a:pt x="440143" y="137160"/>
                  </a:lnTo>
                  <a:lnTo>
                    <a:pt x="440880" y="137160"/>
                  </a:lnTo>
                  <a:lnTo>
                    <a:pt x="440740" y="138430"/>
                  </a:lnTo>
                  <a:lnTo>
                    <a:pt x="440143" y="138430"/>
                  </a:lnTo>
                  <a:lnTo>
                    <a:pt x="440143" y="139700"/>
                  </a:lnTo>
                  <a:lnTo>
                    <a:pt x="440753" y="139700"/>
                  </a:lnTo>
                  <a:lnTo>
                    <a:pt x="440639" y="140970"/>
                  </a:lnTo>
                  <a:lnTo>
                    <a:pt x="440347" y="140970"/>
                  </a:lnTo>
                  <a:lnTo>
                    <a:pt x="440143" y="142240"/>
                  </a:lnTo>
                  <a:lnTo>
                    <a:pt x="440969" y="142240"/>
                  </a:lnTo>
                  <a:lnTo>
                    <a:pt x="440753" y="143510"/>
                  </a:lnTo>
                  <a:lnTo>
                    <a:pt x="440347" y="143510"/>
                  </a:lnTo>
                  <a:lnTo>
                    <a:pt x="440143" y="144780"/>
                  </a:lnTo>
                  <a:lnTo>
                    <a:pt x="440969" y="144780"/>
                  </a:lnTo>
                  <a:lnTo>
                    <a:pt x="440753" y="146050"/>
                  </a:lnTo>
                  <a:lnTo>
                    <a:pt x="440613" y="146050"/>
                  </a:lnTo>
                  <a:lnTo>
                    <a:pt x="440347" y="147320"/>
                  </a:lnTo>
                  <a:lnTo>
                    <a:pt x="440969" y="147320"/>
                  </a:lnTo>
                  <a:lnTo>
                    <a:pt x="440753" y="148590"/>
                  </a:lnTo>
                  <a:lnTo>
                    <a:pt x="440613" y="149860"/>
                  </a:lnTo>
                  <a:lnTo>
                    <a:pt x="440143" y="149860"/>
                  </a:lnTo>
                  <a:lnTo>
                    <a:pt x="440347" y="151130"/>
                  </a:lnTo>
                  <a:lnTo>
                    <a:pt x="441375" y="151130"/>
                  </a:lnTo>
                  <a:lnTo>
                    <a:pt x="441375" y="121920"/>
                  </a:lnTo>
                  <a:lnTo>
                    <a:pt x="440918" y="121920"/>
                  </a:lnTo>
                  <a:lnTo>
                    <a:pt x="440918" y="123190"/>
                  </a:lnTo>
                  <a:lnTo>
                    <a:pt x="440778" y="123888"/>
                  </a:lnTo>
                  <a:lnTo>
                    <a:pt x="440778" y="134620"/>
                  </a:lnTo>
                  <a:lnTo>
                    <a:pt x="440677" y="135890"/>
                  </a:lnTo>
                  <a:lnTo>
                    <a:pt x="440156" y="134620"/>
                  </a:lnTo>
                  <a:lnTo>
                    <a:pt x="440778" y="134620"/>
                  </a:lnTo>
                  <a:lnTo>
                    <a:pt x="440778" y="123888"/>
                  </a:lnTo>
                  <a:lnTo>
                    <a:pt x="440664" y="124460"/>
                  </a:lnTo>
                  <a:lnTo>
                    <a:pt x="440613" y="125730"/>
                  </a:lnTo>
                  <a:lnTo>
                    <a:pt x="440143" y="125730"/>
                  </a:lnTo>
                  <a:lnTo>
                    <a:pt x="440347" y="127000"/>
                  </a:lnTo>
                  <a:lnTo>
                    <a:pt x="440639" y="127000"/>
                  </a:lnTo>
                  <a:lnTo>
                    <a:pt x="440613" y="128270"/>
                  </a:lnTo>
                  <a:lnTo>
                    <a:pt x="440143" y="128270"/>
                  </a:lnTo>
                  <a:lnTo>
                    <a:pt x="440143" y="129540"/>
                  </a:lnTo>
                  <a:lnTo>
                    <a:pt x="440753" y="129540"/>
                  </a:lnTo>
                  <a:lnTo>
                    <a:pt x="440639" y="130810"/>
                  </a:lnTo>
                  <a:lnTo>
                    <a:pt x="440143" y="130810"/>
                  </a:lnTo>
                  <a:lnTo>
                    <a:pt x="440143" y="132080"/>
                  </a:lnTo>
                  <a:lnTo>
                    <a:pt x="440753" y="132080"/>
                  </a:lnTo>
                  <a:lnTo>
                    <a:pt x="440639" y="133350"/>
                  </a:lnTo>
                  <a:lnTo>
                    <a:pt x="440143" y="133350"/>
                  </a:lnTo>
                  <a:lnTo>
                    <a:pt x="440143" y="134581"/>
                  </a:lnTo>
                  <a:lnTo>
                    <a:pt x="439204" y="132080"/>
                  </a:lnTo>
                  <a:lnTo>
                    <a:pt x="437870" y="128270"/>
                  </a:lnTo>
                  <a:lnTo>
                    <a:pt x="436422" y="123190"/>
                  </a:lnTo>
                  <a:lnTo>
                    <a:pt x="440918" y="123190"/>
                  </a:lnTo>
                  <a:lnTo>
                    <a:pt x="440918" y="121920"/>
                  </a:lnTo>
                  <a:lnTo>
                    <a:pt x="436003" y="121920"/>
                  </a:lnTo>
                  <a:lnTo>
                    <a:pt x="435686" y="120891"/>
                  </a:lnTo>
                  <a:lnTo>
                    <a:pt x="435686" y="121920"/>
                  </a:lnTo>
                  <a:lnTo>
                    <a:pt x="419925" y="121920"/>
                  </a:lnTo>
                  <a:lnTo>
                    <a:pt x="421551" y="116840"/>
                  </a:lnTo>
                  <a:lnTo>
                    <a:pt x="423125" y="113030"/>
                  </a:lnTo>
                  <a:lnTo>
                    <a:pt x="424180" y="110490"/>
                  </a:lnTo>
                  <a:lnTo>
                    <a:pt x="426364" y="104140"/>
                  </a:lnTo>
                  <a:lnTo>
                    <a:pt x="428396" y="97790"/>
                  </a:lnTo>
                  <a:lnTo>
                    <a:pt x="429107" y="97790"/>
                  </a:lnTo>
                  <a:lnTo>
                    <a:pt x="431152" y="106680"/>
                  </a:lnTo>
                  <a:lnTo>
                    <a:pt x="433324" y="114300"/>
                  </a:lnTo>
                  <a:lnTo>
                    <a:pt x="435686" y="121920"/>
                  </a:lnTo>
                  <a:lnTo>
                    <a:pt x="435686" y="120891"/>
                  </a:lnTo>
                  <a:lnTo>
                    <a:pt x="433666" y="114300"/>
                  </a:lnTo>
                  <a:lnTo>
                    <a:pt x="431507" y="106680"/>
                  </a:lnTo>
                  <a:lnTo>
                    <a:pt x="429488" y="97790"/>
                  </a:lnTo>
                  <a:lnTo>
                    <a:pt x="430314" y="93980"/>
                  </a:lnTo>
                  <a:lnTo>
                    <a:pt x="430136" y="93980"/>
                  </a:lnTo>
                  <a:lnTo>
                    <a:pt x="428790" y="93205"/>
                  </a:lnTo>
                  <a:lnTo>
                    <a:pt x="428790" y="95250"/>
                  </a:lnTo>
                  <a:lnTo>
                    <a:pt x="428282" y="97790"/>
                  </a:lnTo>
                  <a:lnTo>
                    <a:pt x="426593" y="102870"/>
                  </a:lnTo>
                  <a:lnTo>
                    <a:pt x="424764" y="107950"/>
                  </a:lnTo>
                  <a:lnTo>
                    <a:pt x="422694" y="113030"/>
                  </a:lnTo>
                  <a:lnTo>
                    <a:pt x="428307" y="93980"/>
                  </a:lnTo>
                  <a:lnTo>
                    <a:pt x="428790" y="95250"/>
                  </a:lnTo>
                  <a:lnTo>
                    <a:pt x="428790" y="93205"/>
                  </a:lnTo>
                  <a:lnTo>
                    <a:pt x="427951" y="92710"/>
                  </a:lnTo>
                  <a:lnTo>
                    <a:pt x="427278" y="92710"/>
                  </a:lnTo>
                  <a:lnTo>
                    <a:pt x="418465" y="121920"/>
                  </a:lnTo>
                  <a:lnTo>
                    <a:pt x="417626" y="121920"/>
                  </a:lnTo>
                  <a:lnTo>
                    <a:pt x="417626" y="124460"/>
                  </a:lnTo>
                  <a:lnTo>
                    <a:pt x="411543" y="143510"/>
                  </a:lnTo>
                  <a:lnTo>
                    <a:pt x="411035" y="142963"/>
                  </a:lnTo>
                  <a:lnTo>
                    <a:pt x="411035" y="146050"/>
                  </a:lnTo>
                  <a:lnTo>
                    <a:pt x="403225" y="171450"/>
                  </a:lnTo>
                  <a:lnTo>
                    <a:pt x="403047" y="171450"/>
                  </a:lnTo>
                  <a:lnTo>
                    <a:pt x="401599" y="176530"/>
                  </a:lnTo>
                  <a:lnTo>
                    <a:pt x="397052" y="172999"/>
                  </a:lnTo>
                  <a:lnTo>
                    <a:pt x="397586" y="174193"/>
                  </a:lnTo>
                  <a:lnTo>
                    <a:pt x="401434" y="176530"/>
                  </a:lnTo>
                  <a:lnTo>
                    <a:pt x="400481" y="180340"/>
                  </a:lnTo>
                  <a:lnTo>
                    <a:pt x="398297" y="175260"/>
                  </a:lnTo>
                  <a:lnTo>
                    <a:pt x="397776" y="174625"/>
                  </a:lnTo>
                  <a:lnTo>
                    <a:pt x="400405" y="180340"/>
                  </a:lnTo>
                  <a:lnTo>
                    <a:pt x="399542" y="182880"/>
                  </a:lnTo>
                  <a:lnTo>
                    <a:pt x="398983" y="182880"/>
                  </a:lnTo>
                  <a:lnTo>
                    <a:pt x="398792" y="182270"/>
                  </a:lnTo>
                  <a:lnTo>
                    <a:pt x="398792" y="185420"/>
                  </a:lnTo>
                  <a:lnTo>
                    <a:pt x="393369" y="203200"/>
                  </a:lnTo>
                  <a:lnTo>
                    <a:pt x="392315" y="201447"/>
                  </a:lnTo>
                  <a:lnTo>
                    <a:pt x="392315" y="203200"/>
                  </a:lnTo>
                  <a:lnTo>
                    <a:pt x="391782" y="203200"/>
                  </a:lnTo>
                  <a:lnTo>
                    <a:pt x="391782" y="205740"/>
                  </a:lnTo>
                  <a:lnTo>
                    <a:pt x="385089" y="212090"/>
                  </a:lnTo>
                  <a:lnTo>
                    <a:pt x="384822" y="210921"/>
                  </a:lnTo>
                  <a:lnTo>
                    <a:pt x="384822" y="212090"/>
                  </a:lnTo>
                  <a:lnTo>
                    <a:pt x="384416" y="212090"/>
                  </a:lnTo>
                  <a:lnTo>
                    <a:pt x="384213" y="211518"/>
                  </a:lnTo>
                  <a:lnTo>
                    <a:pt x="384213" y="212090"/>
                  </a:lnTo>
                  <a:lnTo>
                    <a:pt x="383882" y="212090"/>
                  </a:lnTo>
                  <a:lnTo>
                    <a:pt x="383463" y="211543"/>
                  </a:lnTo>
                  <a:lnTo>
                    <a:pt x="383463" y="213360"/>
                  </a:lnTo>
                  <a:lnTo>
                    <a:pt x="382498" y="213360"/>
                  </a:lnTo>
                  <a:lnTo>
                    <a:pt x="381482" y="212090"/>
                  </a:lnTo>
                  <a:lnTo>
                    <a:pt x="381482" y="214630"/>
                  </a:lnTo>
                  <a:lnTo>
                    <a:pt x="375539" y="220980"/>
                  </a:lnTo>
                  <a:lnTo>
                    <a:pt x="375513" y="219710"/>
                  </a:lnTo>
                  <a:lnTo>
                    <a:pt x="375373" y="214630"/>
                  </a:lnTo>
                  <a:lnTo>
                    <a:pt x="375627" y="213360"/>
                  </a:lnTo>
                  <a:lnTo>
                    <a:pt x="375881" y="212090"/>
                  </a:lnTo>
                  <a:lnTo>
                    <a:pt x="376923" y="209550"/>
                  </a:lnTo>
                  <a:lnTo>
                    <a:pt x="381482" y="214630"/>
                  </a:lnTo>
                  <a:lnTo>
                    <a:pt x="381482" y="212090"/>
                  </a:lnTo>
                  <a:lnTo>
                    <a:pt x="379450" y="209550"/>
                  </a:lnTo>
                  <a:lnTo>
                    <a:pt x="377405" y="207010"/>
                  </a:lnTo>
                  <a:lnTo>
                    <a:pt x="377964" y="205740"/>
                  </a:lnTo>
                  <a:lnTo>
                    <a:pt x="380466" y="205740"/>
                  </a:lnTo>
                  <a:lnTo>
                    <a:pt x="381431" y="208280"/>
                  </a:lnTo>
                  <a:lnTo>
                    <a:pt x="383463" y="213360"/>
                  </a:lnTo>
                  <a:lnTo>
                    <a:pt x="383463" y="211543"/>
                  </a:lnTo>
                  <a:lnTo>
                    <a:pt x="382917" y="210820"/>
                  </a:lnTo>
                  <a:lnTo>
                    <a:pt x="381063" y="205740"/>
                  </a:lnTo>
                  <a:lnTo>
                    <a:pt x="381533" y="205740"/>
                  </a:lnTo>
                  <a:lnTo>
                    <a:pt x="382384" y="207010"/>
                  </a:lnTo>
                  <a:lnTo>
                    <a:pt x="383273" y="209550"/>
                  </a:lnTo>
                  <a:lnTo>
                    <a:pt x="384213" y="212090"/>
                  </a:lnTo>
                  <a:lnTo>
                    <a:pt x="384213" y="211518"/>
                  </a:lnTo>
                  <a:lnTo>
                    <a:pt x="383514" y="209550"/>
                  </a:lnTo>
                  <a:lnTo>
                    <a:pt x="382651" y="207010"/>
                  </a:lnTo>
                  <a:lnTo>
                    <a:pt x="381825" y="205740"/>
                  </a:lnTo>
                  <a:lnTo>
                    <a:pt x="383311" y="205740"/>
                  </a:lnTo>
                  <a:lnTo>
                    <a:pt x="384302" y="209550"/>
                  </a:lnTo>
                  <a:lnTo>
                    <a:pt x="384822" y="212090"/>
                  </a:lnTo>
                  <a:lnTo>
                    <a:pt x="384822" y="210921"/>
                  </a:lnTo>
                  <a:lnTo>
                    <a:pt x="383654" y="205740"/>
                  </a:lnTo>
                  <a:lnTo>
                    <a:pt x="391782" y="205740"/>
                  </a:lnTo>
                  <a:lnTo>
                    <a:pt x="391782" y="203200"/>
                  </a:lnTo>
                  <a:lnTo>
                    <a:pt x="383324" y="203200"/>
                  </a:lnTo>
                  <a:lnTo>
                    <a:pt x="382981" y="201980"/>
                  </a:lnTo>
                  <a:lnTo>
                    <a:pt x="382981" y="203200"/>
                  </a:lnTo>
                  <a:lnTo>
                    <a:pt x="381317" y="203200"/>
                  </a:lnTo>
                  <a:lnTo>
                    <a:pt x="380593" y="201980"/>
                  </a:lnTo>
                  <a:lnTo>
                    <a:pt x="380504" y="201739"/>
                  </a:lnTo>
                  <a:lnTo>
                    <a:pt x="380225" y="200660"/>
                  </a:lnTo>
                  <a:lnTo>
                    <a:pt x="381952" y="199390"/>
                  </a:lnTo>
                  <a:lnTo>
                    <a:pt x="382981" y="203200"/>
                  </a:lnTo>
                  <a:lnTo>
                    <a:pt x="382981" y="201980"/>
                  </a:lnTo>
                  <a:lnTo>
                    <a:pt x="382257" y="199390"/>
                  </a:lnTo>
                  <a:lnTo>
                    <a:pt x="385381" y="196850"/>
                  </a:lnTo>
                  <a:lnTo>
                    <a:pt x="386943" y="195580"/>
                  </a:lnTo>
                  <a:lnTo>
                    <a:pt x="392315" y="203200"/>
                  </a:lnTo>
                  <a:lnTo>
                    <a:pt x="392315" y="201447"/>
                  </a:lnTo>
                  <a:lnTo>
                    <a:pt x="388797" y="195580"/>
                  </a:lnTo>
                  <a:lnTo>
                    <a:pt x="388035" y="194310"/>
                  </a:lnTo>
                  <a:lnTo>
                    <a:pt x="398792" y="185420"/>
                  </a:lnTo>
                  <a:lnTo>
                    <a:pt x="398792" y="182270"/>
                  </a:lnTo>
                  <a:lnTo>
                    <a:pt x="395439" y="171450"/>
                  </a:lnTo>
                  <a:lnTo>
                    <a:pt x="395097" y="171450"/>
                  </a:lnTo>
                  <a:lnTo>
                    <a:pt x="393585" y="166370"/>
                  </a:lnTo>
                  <a:lnTo>
                    <a:pt x="395871" y="171450"/>
                  </a:lnTo>
                  <a:lnTo>
                    <a:pt x="395439" y="171450"/>
                  </a:lnTo>
                  <a:lnTo>
                    <a:pt x="396633" y="172466"/>
                  </a:lnTo>
                  <a:lnTo>
                    <a:pt x="396341" y="171450"/>
                  </a:lnTo>
                  <a:lnTo>
                    <a:pt x="396062" y="171450"/>
                  </a:lnTo>
                  <a:lnTo>
                    <a:pt x="395897" y="171043"/>
                  </a:lnTo>
                  <a:lnTo>
                    <a:pt x="396405" y="171437"/>
                  </a:lnTo>
                  <a:lnTo>
                    <a:pt x="396316" y="171259"/>
                  </a:lnTo>
                  <a:lnTo>
                    <a:pt x="396240" y="171081"/>
                  </a:lnTo>
                  <a:lnTo>
                    <a:pt x="396151" y="170903"/>
                  </a:lnTo>
                  <a:lnTo>
                    <a:pt x="395846" y="170903"/>
                  </a:lnTo>
                  <a:lnTo>
                    <a:pt x="394106" y="166370"/>
                  </a:lnTo>
                  <a:lnTo>
                    <a:pt x="393153" y="165100"/>
                  </a:lnTo>
                  <a:lnTo>
                    <a:pt x="391629" y="160020"/>
                  </a:lnTo>
                  <a:lnTo>
                    <a:pt x="391198" y="158584"/>
                  </a:lnTo>
                  <a:lnTo>
                    <a:pt x="391198" y="160020"/>
                  </a:lnTo>
                  <a:lnTo>
                    <a:pt x="389470" y="156210"/>
                  </a:lnTo>
                  <a:lnTo>
                    <a:pt x="388632" y="154940"/>
                  </a:lnTo>
                  <a:lnTo>
                    <a:pt x="388886" y="154940"/>
                  </a:lnTo>
                  <a:lnTo>
                    <a:pt x="388658" y="153670"/>
                  </a:lnTo>
                  <a:lnTo>
                    <a:pt x="388416" y="152400"/>
                  </a:lnTo>
                  <a:lnTo>
                    <a:pt x="391198" y="160020"/>
                  </a:lnTo>
                  <a:lnTo>
                    <a:pt x="391198" y="158584"/>
                  </a:lnTo>
                  <a:lnTo>
                    <a:pt x="389343" y="152400"/>
                  </a:lnTo>
                  <a:lnTo>
                    <a:pt x="388962" y="151130"/>
                  </a:lnTo>
                  <a:lnTo>
                    <a:pt x="387807" y="151130"/>
                  </a:lnTo>
                  <a:lnTo>
                    <a:pt x="388175" y="153670"/>
                  </a:lnTo>
                  <a:lnTo>
                    <a:pt x="386588" y="158750"/>
                  </a:lnTo>
                  <a:lnTo>
                    <a:pt x="384517" y="163830"/>
                  </a:lnTo>
                  <a:lnTo>
                    <a:pt x="380860" y="168910"/>
                  </a:lnTo>
                  <a:lnTo>
                    <a:pt x="379031" y="170180"/>
                  </a:lnTo>
                  <a:lnTo>
                    <a:pt x="376770" y="172720"/>
                  </a:lnTo>
                  <a:lnTo>
                    <a:pt x="373659" y="173990"/>
                  </a:lnTo>
                  <a:lnTo>
                    <a:pt x="388226" y="153670"/>
                  </a:lnTo>
                  <a:lnTo>
                    <a:pt x="388340" y="154940"/>
                  </a:lnTo>
                  <a:lnTo>
                    <a:pt x="389496" y="157480"/>
                  </a:lnTo>
                  <a:lnTo>
                    <a:pt x="391718" y="162560"/>
                  </a:lnTo>
                  <a:lnTo>
                    <a:pt x="394512" y="171450"/>
                  </a:lnTo>
                  <a:lnTo>
                    <a:pt x="394703" y="171450"/>
                  </a:lnTo>
                  <a:lnTo>
                    <a:pt x="398526" y="184150"/>
                  </a:lnTo>
                  <a:lnTo>
                    <a:pt x="386740" y="193040"/>
                  </a:lnTo>
                  <a:lnTo>
                    <a:pt x="386410" y="193040"/>
                  </a:lnTo>
                  <a:lnTo>
                    <a:pt x="386181" y="194310"/>
                  </a:lnTo>
                  <a:lnTo>
                    <a:pt x="381927" y="196850"/>
                  </a:lnTo>
                  <a:lnTo>
                    <a:pt x="381622" y="195618"/>
                  </a:lnTo>
                  <a:lnTo>
                    <a:pt x="381622" y="198120"/>
                  </a:lnTo>
                  <a:lnTo>
                    <a:pt x="379945" y="199263"/>
                  </a:lnTo>
                  <a:lnTo>
                    <a:pt x="379945" y="203200"/>
                  </a:lnTo>
                  <a:lnTo>
                    <a:pt x="378345" y="203200"/>
                  </a:lnTo>
                  <a:lnTo>
                    <a:pt x="378866" y="201930"/>
                  </a:lnTo>
                  <a:lnTo>
                    <a:pt x="379120" y="201930"/>
                  </a:lnTo>
                  <a:lnTo>
                    <a:pt x="379945" y="203200"/>
                  </a:lnTo>
                  <a:lnTo>
                    <a:pt x="379945" y="199263"/>
                  </a:lnTo>
                  <a:lnTo>
                    <a:pt x="379755" y="199390"/>
                  </a:lnTo>
                  <a:lnTo>
                    <a:pt x="379628" y="199390"/>
                  </a:lnTo>
                  <a:lnTo>
                    <a:pt x="380860" y="194310"/>
                  </a:lnTo>
                  <a:lnTo>
                    <a:pt x="381622" y="198120"/>
                  </a:lnTo>
                  <a:lnTo>
                    <a:pt x="381622" y="195618"/>
                  </a:lnTo>
                  <a:lnTo>
                    <a:pt x="381304" y="194310"/>
                  </a:lnTo>
                  <a:lnTo>
                    <a:pt x="381000" y="193040"/>
                  </a:lnTo>
                  <a:lnTo>
                    <a:pt x="381000" y="191770"/>
                  </a:lnTo>
                  <a:lnTo>
                    <a:pt x="381558" y="191770"/>
                  </a:lnTo>
                  <a:lnTo>
                    <a:pt x="381558" y="190500"/>
                  </a:lnTo>
                  <a:lnTo>
                    <a:pt x="381838" y="190500"/>
                  </a:lnTo>
                  <a:lnTo>
                    <a:pt x="381901" y="189230"/>
                  </a:lnTo>
                  <a:lnTo>
                    <a:pt x="381558" y="189230"/>
                  </a:lnTo>
                  <a:lnTo>
                    <a:pt x="381317" y="187960"/>
                  </a:lnTo>
                  <a:lnTo>
                    <a:pt x="381558" y="187960"/>
                  </a:lnTo>
                  <a:lnTo>
                    <a:pt x="381558" y="186690"/>
                  </a:lnTo>
                  <a:lnTo>
                    <a:pt x="381317" y="186690"/>
                  </a:lnTo>
                  <a:lnTo>
                    <a:pt x="381000" y="185420"/>
                  </a:lnTo>
                  <a:lnTo>
                    <a:pt x="381558" y="185420"/>
                  </a:lnTo>
                  <a:lnTo>
                    <a:pt x="381317" y="184150"/>
                  </a:lnTo>
                  <a:lnTo>
                    <a:pt x="381558" y="184150"/>
                  </a:lnTo>
                  <a:lnTo>
                    <a:pt x="381558" y="182880"/>
                  </a:lnTo>
                  <a:lnTo>
                    <a:pt x="381317" y="181610"/>
                  </a:lnTo>
                  <a:lnTo>
                    <a:pt x="381558" y="181610"/>
                  </a:lnTo>
                  <a:lnTo>
                    <a:pt x="381558" y="179070"/>
                  </a:lnTo>
                  <a:lnTo>
                    <a:pt x="381317" y="177800"/>
                  </a:lnTo>
                  <a:lnTo>
                    <a:pt x="381558" y="177800"/>
                  </a:lnTo>
                  <a:lnTo>
                    <a:pt x="381444" y="174625"/>
                  </a:lnTo>
                  <a:lnTo>
                    <a:pt x="381317" y="173990"/>
                  </a:lnTo>
                  <a:lnTo>
                    <a:pt x="381558" y="173990"/>
                  </a:lnTo>
                  <a:lnTo>
                    <a:pt x="381558" y="172720"/>
                  </a:lnTo>
                  <a:lnTo>
                    <a:pt x="381000" y="172720"/>
                  </a:lnTo>
                  <a:lnTo>
                    <a:pt x="381000" y="171450"/>
                  </a:lnTo>
                  <a:lnTo>
                    <a:pt x="380860" y="171450"/>
                  </a:lnTo>
                  <a:lnTo>
                    <a:pt x="380860" y="172720"/>
                  </a:lnTo>
                  <a:lnTo>
                    <a:pt x="380301" y="172720"/>
                  </a:lnTo>
                  <a:lnTo>
                    <a:pt x="380301" y="173990"/>
                  </a:lnTo>
                  <a:lnTo>
                    <a:pt x="380555" y="173990"/>
                  </a:lnTo>
                  <a:lnTo>
                    <a:pt x="380428" y="174625"/>
                  </a:lnTo>
                  <a:lnTo>
                    <a:pt x="380301" y="177800"/>
                  </a:lnTo>
                  <a:lnTo>
                    <a:pt x="380555" y="177800"/>
                  </a:lnTo>
                  <a:lnTo>
                    <a:pt x="380301" y="179070"/>
                  </a:lnTo>
                  <a:lnTo>
                    <a:pt x="380301" y="181610"/>
                  </a:lnTo>
                  <a:lnTo>
                    <a:pt x="380555" y="181610"/>
                  </a:lnTo>
                  <a:lnTo>
                    <a:pt x="380301" y="182880"/>
                  </a:lnTo>
                  <a:lnTo>
                    <a:pt x="380301" y="184150"/>
                  </a:lnTo>
                  <a:lnTo>
                    <a:pt x="380555" y="184150"/>
                  </a:lnTo>
                  <a:lnTo>
                    <a:pt x="380301" y="185420"/>
                  </a:lnTo>
                  <a:lnTo>
                    <a:pt x="380860" y="185420"/>
                  </a:lnTo>
                  <a:lnTo>
                    <a:pt x="380555" y="186690"/>
                  </a:lnTo>
                  <a:lnTo>
                    <a:pt x="380301" y="186690"/>
                  </a:lnTo>
                  <a:lnTo>
                    <a:pt x="380301" y="187960"/>
                  </a:lnTo>
                  <a:lnTo>
                    <a:pt x="380555" y="187960"/>
                  </a:lnTo>
                  <a:lnTo>
                    <a:pt x="380301" y="189230"/>
                  </a:lnTo>
                  <a:lnTo>
                    <a:pt x="379971" y="189230"/>
                  </a:lnTo>
                  <a:lnTo>
                    <a:pt x="380022" y="190500"/>
                  </a:lnTo>
                  <a:lnTo>
                    <a:pt x="380301" y="190500"/>
                  </a:lnTo>
                  <a:lnTo>
                    <a:pt x="380301" y="191770"/>
                  </a:lnTo>
                  <a:lnTo>
                    <a:pt x="380860" y="191770"/>
                  </a:lnTo>
                  <a:lnTo>
                    <a:pt x="380860" y="193040"/>
                  </a:lnTo>
                  <a:lnTo>
                    <a:pt x="380288" y="195580"/>
                  </a:lnTo>
                  <a:lnTo>
                    <a:pt x="379425" y="198120"/>
                  </a:lnTo>
                  <a:lnTo>
                    <a:pt x="379298" y="197726"/>
                  </a:lnTo>
                  <a:lnTo>
                    <a:pt x="379298" y="198120"/>
                  </a:lnTo>
                  <a:lnTo>
                    <a:pt x="379031" y="199390"/>
                  </a:lnTo>
                  <a:lnTo>
                    <a:pt x="378599" y="198132"/>
                  </a:lnTo>
                  <a:lnTo>
                    <a:pt x="378599" y="200660"/>
                  </a:lnTo>
                  <a:lnTo>
                    <a:pt x="378396" y="200787"/>
                  </a:lnTo>
                  <a:lnTo>
                    <a:pt x="378396" y="201930"/>
                  </a:lnTo>
                  <a:lnTo>
                    <a:pt x="378244" y="203200"/>
                  </a:lnTo>
                  <a:lnTo>
                    <a:pt x="377596" y="203200"/>
                  </a:lnTo>
                  <a:lnTo>
                    <a:pt x="377596" y="205740"/>
                  </a:lnTo>
                  <a:lnTo>
                    <a:pt x="377126" y="207010"/>
                  </a:lnTo>
                  <a:lnTo>
                    <a:pt x="376643" y="206540"/>
                  </a:lnTo>
                  <a:lnTo>
                    <a:pt x="376643" y="208280"/>
                  </a:lnTo>
                  <a:lnTo>
                    <a:pt x="376224" y="209550"/>
                  </a:lnTo>
                  <a:lnTo>
                    <a:pt x="375348" y="213258"/>
                  </a:lnTo>
                  <a:lnTo>
                    <a:pt x="375348" y="265430"/>
                  </a:lnTo>
                  <a:lnTo>
                    <a:pt x="374967" y="265074"/>
                  </a:lnTo>
                  <a:lnTo>
                    <a:pt x="374967" y="266700"/>
                  </a:lnTo>
                  <a:lnTo>
                    <a:pt x="367118" y="273050"/>
                  </a:lnTo>
                  <a:lnTo>
                    <a:pt x="365963" y="272084"/>
                  </a:lnTo>
                  <a:lnTo>
                    <a:pt x="365963" y="273050"/>
                  </a:lnTo>
                  <a:lnTo>
                    <a:pt x="357771" y="279400"/>
                  </a:lnTo>
                  <a:lnTo>
                    <a:pt x="358228" y="267970"/>
                  </a:lnTo>
                  <a:lnTo>
                    <a:pt x="365963" y="273050"/>
                  </a:lnTo>
                  <a:lnTo>
                    <a:pt x="365963" y="272084"/>
                  </a:lnTo>
                  <a:lnTo>
                    <a:pt x="361099" y="267970"/>
                  </a:lnTo>
                  <a:lnTo>
                    <a:pt x="359587" y="266700"/>
                  </a:lnTo>
                  <a:lnTo>
                    <a:pt x="361188" y="265430"/>
                  </a:lnTo>
                  <a:lnTo>
                    <a:pt x="367563" y="260350"/>
                  </a:lnTo>
                  <a:lnTo>
                    <a:pt x="374967" y="266700"/>
                  </a:lnTo>
                  <a:lnTo>
                    <a:pt x="374967" y="265074"/>
                  </a:lnTo>
                  <a:lnTo>
                    <a:pt x="370014" y="260350"/>
                  </a:lnTo>
                  <a:lnTo>
                    <a:pt x="368795" y="259194"/>
                  </a:lnTo>
                  <a:lnTo>
                    <a:pt x="368795" y="258991"/>
                  </a:lnTo>
                  <a:lnTo>
                    <a:pt x="370281" y="257810"/>
                  </a:lnTo>
                  <a:lnTo>
                    <a:pt x="375069" y="254000"/>
                  </a:lnTo>
                  <a:lnTo>
                    <a:pt x="375348" y="265430"/>
                  </a:lnTo>
                  <a:lnTo>
                    <a:pt x="375348" y="213258"/>
                  </a:lnTo>
                  <a:lnTo>
                    <a:pt x="375158" y="207010"/>
                  </a:lnTo>
                  <a:lnTo>
                    <a:pt x="376643" y="208280"/>
                  </a:lnTo>
                  <a:lnTo>
                    <a:pt x="376643" y="206540"/>
                  </a:lnTo>
                  <a:lnTo>
                    <a:pt x="375831" y="205740"/>
                  </a:lnTo>
                  <a:lnTo>
                    <a:pt x="377596" y="205740"/>
                  </a:lnTo>
                  <a:lnTo>
                    <a:pt x="377596" y="203200"/>
                  </a:lnTo>
                  <a:lnTo>
                    <a:pt x="376389" y="203200"/>
                  </a:lnTo>
                  <a:lnTo>
                    <a:pt x="378396" y="201930"/>
                  </a:lnTo>
                  <a:lnTo>
                    <a:pt x="378396" y="200787"/>
                  </a:lnTo>
                  <a:lnTo>
                    <a:pt x="374967" y="202730"/>
                  </a:lnTo>
                  <a:lnTo>
                    <a:pt x="374967" y="251460"/>
                  </a:lnTo>
                  <a:lnTo>
                    <a:pt x="374967" y="252730"/>
                  </a:lnTo>
                  <a:lnTo>
                    <a:pt x="367588" y="257810"/>
                  </a:lnTo>
                  <a:lnTo>
                    <a:pt x="366458" y="256997"/>
                  </a:lnTo>
                  <a:lnTo>
                    <a:pt x="366458" y="259080"/>
                  </a:lnTo>
                  <a:lnTo>
                    <a:pt x="358292" y="265430"/>
                  </a:lnTo>
                  <a:lnTo>
                    <a:pt x="358584" y="257810"/>
                  </a:lnTo>
                  <a:lnTo>
                    <a:pt x="358673" y="255270"/>
                  </a:lnTo>
                  <a:lnTo>
                    <a:pt x="359905" y="254000"/>
                  </a:lnTo>
                  <a:lnTo>
                    <a:pt x="366458" y="259080"/>
                  </a:lnTo>
                  <a:lnTo>
                    <a:pt x="366458" y="256997"/>
                  </a:lnTo>
                  <a:lnTo>
                    <a:pt x="362369" y="254000"/>
                  </a:lnTo>
                  <a:lnTo>
                    <a:pt x="360629" y="252730"/>
                  </a:lnTo>
                  <a:lnTo>
                    <a:pt x="361696" y="250190"/>
                  </a:lnTo>
                  <a:lnTo>
                    <a:pt x="362686" y="248920"/>
                  </a:lnTo>
                  <a:lnTo>
                    <a:pt x="363156" y="247650"/>
                  </a:lnTo>
                  <a:lnTo>
                    <a:pt x="362851" y="247662"/>
                  </a:lnTo>
                  <a:lnTo>
                    <a:pt x="362051" y="248920"/>
                  </a:lnTo>
                  <a:lnTo>
                    <a:pt x="361188" y="250190"/>
                  </a:lnTo>
                  <a:lnTo>
                    <a:pt x="360286" y="252730"/>
                  </a:lnTo>
                  <a:lnTo>
                    <a:pt x="359676" y="251460"/>
                  </a:lnTo>
                  <a:lnTo>
                    <a:pt x="359765" y="250190"/>
                  </a:lnTo>
                  <a:lnTo>
                    <a:pt x="361315" y="248920"/>
                  </a:lnTo>
                  <a:lnTo>
                    <a:pt x="362851" y="247650"/>
                  </a:lnTo>
                  <a:lnTo>
                    <a:pt x="363156" y="247650"/>
                  </a:lnTo>
                  <a:lnTo>
                    <a:pt x="363613" y="246380"/>
                  </a:lnTo>
                  <a:lnTo>
                    <a:pt x="366623" y="243840"/>
                  </a:lnTo>
                  <a:lnTo>
                    <a:pt x="374967" y="251460"/>
                  </a:lnTo>
                  <a:lnTo>
                    <a:pt x="374967" y="202730"/>
                  </a:lnTo>
                  <a:lnTo>
                    <a:pt x="374929" y="250190"/>
                  </a:lnTo>
                  <a:lnTo>
                    <a:pt x="367728" y="243840"/>
                  </a:lnTo>
                  <a:lnTo>
                    <a:pt x="369112" y="242570"/>
                  </a:lnTo>
                  <a:lnTo>
                    <a:pt x="374624" y="237490"/>
                  </a:lnTo>
                  <a:lnTo>
                    <a:pt x="374929" y="250190"/>
                  </a:lnTo>
                  <a:lnTo>
                    <a:pt x="374929" y="202755"/>
                  </a:lnTo>
                  <a:lnTo>
                    <a:pt x="374535" y="202984"/>
                  </a:lnTo>
                  <a:lnTo>
                    <a:pt x="374535" y="234950"/>
                  </a:lnTo>
                  <a:lnTo>
                    <a:pt x="374167" y="234645"/>
                  </a:lnTo>
                  <a:lnTo>
                    <a:pt x="374167" y="236220"/>
                  </a:lnTo>
                  <a:lnTo>
                    <a:pt x="366623" y="242570"/>
                  </a:lnTo>
                  <a:lnTo>
                    <a:pt x="365823" y="241300"/>
                  </a:lnTo>
                  <a:lnTo>
                    <a:pt x="367207" y="238633"/>
                  </a:lnTo>
                  <a:lnTo>
                    <a:pt x="368401" y="236220"/>
                  </a:lnTo>
                  <a:lnTo>
                    <a:pt x="369544" y="232410"/>
                  </a:lnTo>
                  <a:lnTo>
                    <a:pt x="374167" y="236220"/>
                  </a:lnTo>
                  <a:lnTo>
                    <a:pt x="374167" y="234645"/>
                  </a:lnTo>
                  <a:lnTo>
                    <a:pt x="371551" y="232410"/>
                  </a:lnTo>
                  <a:lnTo>
                    <a:pt x="370052" y="231140"/>
                  </a:lnTo>
                  <a:lnTo>
                    <a:pt x="370713" y="228600"/>
                  </a:lnTo>
                  <a:lnTo>
                    <a:pt x="371957" y="226060"/>
                  </a:lnTo>
                  <a:lnTo>
                    <a:pt x="374230" y="223520"/>
                  </a:lnTo>
                  <a:lnTo>
                    <a:pt x="374535" y="234950"/>
                  </a:lnTo>
                  <a:lnTo>
                    <a:pt x="374535" y="202984"/>
                  </a:lnTo>
                  <a:lnTo>
                    <a:pt x="374142" y="203200"/>
                  </a:lnTo>
                  <a:lnTo>
                    <a:pt x="374065" y="217170"/>
                  </a:lnTo>
                  <a:lnTo>
                    <a:pt x="373583" y="219710"/>
                  </a:lnTo>
                  <a:lnTo>
                    <a:pt x="373418" y="219710"/>
                  </a:lnTo>
                  <a:lnTo>
                    <a:pt x="372910" y="219125"/>
                  </a:lnTo>
                  <a:lnTo>
                    <a:pt x="372910" y="220980"/>
                  </a:lnTo>
                  <a:lnTo>
                    <a:pt x="372732" y="222250"/>
                  </a:lnTo>
                  <a:lnTo>
                    <a:pt x="372198" y="222250"/>
                  </a:lnTo>
                  <a:lnTo>
                    <a:pt x="372198" y="223520"/>
                  </a:lnTo>
                  <a:lnTo>
                    <a:pt x="371373" y="224282"/>
                  </a:lnTo>
                  <a:lnTo>
                    <a:pt x="371373" y="226060"/>
                  </a:lnTo>
                  <a:lnTo>
                    <a:pt x="370852" y="227330"/>
                  </a:lnTo>
                  <a:lnTo>
                    <a:pt x="369735" y="231140"/>
                  </a:lnTo>
                  <a:lnTo>
                    <a:pt x="369227" y="230492"/>
                  </a:lnTo>
                  <a:lnTo>
                    <a:pt x="369227" y="232410"/>
                  </a:lnTo>
                  <a:lnTo>
                    <a:pt x="368071" y="234950"/>
                  </a:lnTo>
                  <a:lnTo>
                    <a:pt x="366814" y="238760"/>
                  </a:lnTo>
                  <a:lnTo>
                    <a:pt x="365480" y="241300"/>
                  </a:lnTo>
                  <a:lnTo>
                    <a:pt x="364909" y="240893"/>
                  </a:lnTo>
                  <a:lnTo>
                    <a:pt x="364909" y="242570"/>
                  </a:lnTo>
                  <a:lnTo>
                    <a:pt x="364236" y="245110"/>
                  </a:lnTo>
                  <a:lnTo>
                    <a:pt x="358940" y="248920"/>
                  </a:lnTo>
                  <a:lnTo>
                    <a:pt x="359333" y="238760"/>
                  </a:lnTo>
                  <a:lnTo>
                    <a:pt x="364909" y="242570"/>
                  </a:lnTo>
                  <a:lnTo>
                    <a:pt x="364909" y="240893"/>
                  </a:lnTo>
                  <a:lnTo>
                    <a:pt x="362013" y="238760"/>
                  </a:lnTo>
                  <a:lnTo>
                    <a:pt x="360286" y="237490"/>
                  </a:lnTo>
                  <a:lnTo>
                    <a:pt x="360375" y="234950"/>
                  </a:lnTo>
                  <a:lnTo>
                    <a:pt x="361950" y="233680"/>
                  </a:lnTo>
                  <a:lnTo>
                    <a:pt x="366674" y="229870"/>
                  </a:lnTo>
                  <a:lnTo>
                    <a:pt x="369227" y="232410"/>
                  </a:lnTo>
                  <a:lnTo>
                    <a:pt x="369227" y="230492"/>
                  </a:lnTo>
                  <a:lnTo>
                    <a:pt x="368757" y="229870"/>
                  </a:lnTo>
                  <a:lnTo>
                    <a:pt x="367766" y="228600"/>
                  </a:lnTo>
                  <a:lnTo>
                    <a:pt x="371373" y="226060"/>
                  </a:lnTo>
                  <a:lnTo>
                    <a:pt x="371373" y="224282"/>
                  </a:lnTo>
                  <a:lnTo>
                    <a:pt x="366687" y="228600"/>
                  </a:lnTo>
                  <a:lnTo>
                    <a:pt x="365594" y="227609"/>
                  </a:lnTo>
                  <a:lnTo>
                    <a:pt x="365594" y="228600"/>
                  </a:lnTo>
                  <a:lnTo>
                    <a:pt x="359486" y="233680"/>
                  </a:lnTo>
                  <a:lnTo>
                    <a:pt x="359879" y="223520"/>
                  </a:lnTo>
                  <a:lnTo>
                    <a:pt x="365594" y="228600"/>
                  </a:lnTo>
                  <a:lnTo>
                    <a:pt x="365594" y="227609"/>
                  </a:lnTo>
                  <a:lnTo>
                    <a:pt x="361137" y="223520"/>
                  </a:lnTo>
                  <a:lnTo>
                    <a:pt x="372198" y="223520"/>
                  </a:lnTo>
                  <a:lnTo>
                    <a:pt x="372198" y="222250"/>
                  </a:lnTo>
                  <a:lnTo>
                    <a:pt x="360743" y="222250"/>
                  </a:lnTo>
                  <a:lnTo>
                    <a:pt x="361784" y="220980"/>
                  </a:lnTo>
                  <a:lnTo>
                    <a:pt x="367004" y="214630"/>
                  </a:lnTo>
                  <a:lnTo>
                    <a:pt x="372910" y="220980"/>
                  </a:lnTo>
                  <a:lnTo>
                    <a:pt x="372910" y="219125"/>
                  </a:lnTo>
                  <a:lnTo>
                    <a:pt x="369011" y="214630"/>
                  </a:lnTo>
                  <a:lnTo>
                    <a:pt x="367906" y="213360"/>
                  </a:lnTo>
                  <a:lnTo>
                    <a:pt x="368884" y="212090"/>
                  </a:lnTo>
                  <a:lnTo>
                    <a:pt x="373761" y="205740"/>
                  </a:lnTo>
                  <a:lnTo>
                    <a:pt x="374065" y="217170"/>
                  </a:lnTo>
                  <a:lnTo>
                    <a:pt x="374065" y="203200"/>
                  </a:lnTo>
                  <a:lnTo>
                    <a:pt x="372503" y="203200"/>
                  </a:lnTo>
                  <a:lnTo>
                    <a:pt x="372503" y="205740"/>
                  </a:lnTo>
                  <a:lnTo>
                    <a:pt x="366991" y="212090"/>
                  </a:lnTo>
                  <a:lnTo>
                    <a:pt x="366090" y="211074"/>
                  </a:lnTo>
                  <a:lnTo>
                    <a:pt x="366090" y="213360"/>
                  </a:lnTo>
                  <a:lnTo>
                    <a:pt x="360006" y="220980"/>
                  </a:lnTo>
                  <a:lnTo>
                    <a:pt x="360502" y="205740"/>
                  </a:lnTo>
                  <a:lnTo>
                    <a:pt x="366090" y="213360"/>
                  </a:lnTo>
                  <a:lnTo>
                    <a:pt x="366090" y="211074"/>
                  </a:lnTo>
                  <a:lnTo>
                    <a:pt x="361378" y="205740"/>
                  </a:lnTo>
                  <a:lnTo>
                    <a:pt x="372503" y="205740"/>
                  </a:lnTo>
                  <a:lnTo>
                    <a:pt x="372503" y="203200"/>
                  </a:lnTo>
                  <a:lnTo>
                    <a:pt x="360108" y="203200"/>
                  </a:lnTo>
                  <a:lnTo>
                    <a:pt x="359117" y="202679"/>
                  </a:lnTo>
                  <a:lnTo>
                    <a:pt x="359117" y="205740"/>
                  </a:lnTo>
                  <a:lnTo>
                    <a:pt x="358609" y="220980"/>
                  </a:lnTo>
                  <a:lnTo>
                    <a:pt x="356044" y="218440"/>
                  </a:lnTo>
                  <a:lnTo>
                    <a:pt x="353479" y="215900"/>
                  </a:lnTo>
                  <a:lnTo>
                    <a:pt x="354164" y="214630"/>
                  </a:lnTo>
                  <a:lnTo>
                    <a:pt x="355104" y="210820"/>
                  </a:lnTo>
                  <a:lnTo>
                    <a:pt x="355422" y="209550"/>
                  </a:lnTo>
                  <a:lnTo>
                    <a:pt x="357886" y="207010"/>
                  </a:lnTo>
                  <a:lnTo>
                    <a:pt x="359117" y="205740"/>
                  </a:lnTo>
                  <a:lnTo>
                    <a:pt x="359117" y="202679"/>
                  </a:lnTo>
                  <a:lnTo>
                    <a:pt x="358203" y="202196"/>
                  </a:lnTo>
                  <a:lnTo>
                    <a:pt x="358203" y="205740"/>
                  </a:lnTo>
                  <a:lnTo>
                    <a:pt x="356260" y="207010"/>
                  </a:lnTo>
                  <a:lnTo>
                    <a:pt x="356806" y="205740"/>
                  </a:lnTo>
                  <a:lnTo>
                    <a:pt x="358203" y="205740"/>
                  </a:lnTo>
                  <a:lnTo>
                    <a:pt x="358203" y="202196"/>
                  </a:lnTo>
                  <a:lnTo>
                    <a:pt x="357708" y="201930"/>
                  </a:lnTo>
                  <a:lnTo>
                    <a:pt x="358559" y="198120"/>
                  </a:lnTo>
                  <a:lnTo>
                    <a:pt x="360133" y="191770"/>
                  </a:lnTo>
                  <a:lnTo>
                    <a:pt x="361569" y="186690"/>
                  </a:lnTo>
                  <a:lnTo>
                    <a:pt x="362851" y="180340"/>
                  </a:lnTo>
                  <a:lnTo>
                    <a:pt x="364070" y="173990"/>
                  </a:lnTo>
                  <a:lnTo>
                    <a:pt x="364845" y="170180"/>
                  </a:lnTo>
                  <a:lnTo>
                    <a:pt x="366217" y="162560"/>
                  </a:lnTo>
                  <a:lnTo>
                    <a:pt x="367423" y="166370"/>
                  </a:lnTo>
                  <a:lnTo>
                    <a:pt x="369938" y="173990"/>
                  </a:lnTo>
                  <a:lnTo>
                    <a:pt x="370763" y="176530"/>
                  </a:lnTo>
                  <a:lnTo>
                    <a:pt x="371487" y="179070"/>
                  </a:lnTo>
                  <a:lnTo>
                    <a:pt x="374294" y="187960"/>
                  </a:lnTo>
                  <a:lnTo>
                    <a:pt x="376402" y="194310"/>
                  </a:lnTo>
                  <a:lnTo>
                    <a:pt x="378599" y="200660"/>
                  </a:lnTo>
                  <a:lnTo>
                    <a:pt x="378599" y="198132"/>
                  </a:lnTo>
                  <a:lnTo>
                    <a:pt x="376859" y="193040"/>
                  </a:lnTo>
                  <a:lnTo>
                    <a:pt x="374802" y="187960"/>
                  </a:lnTo>
                  <a:lnTo>
                    <a:pt x="372059" y="179070"/>
                  </a:lnTo>
                  <a:lnTo>
                    <a:pt x="370611" y="173990"/>
                  </a:lnTo>
                  <a:lnTo>
                    <a:pt x="367779" y="165100"/>
                  </a:lnTo>
                  <a:lnTo>
                    <a:pt x="366890" y="162560"/>
                  </a:lnTo>
                  <a:lnTo>
                    <a:pt x="366445" y="161290"/>
                  </a:lnTo>
                  <a:lnTo>
                    <a:pt x="366674" y="160020"/>
                  </a:lnTo>
                  <a:lnTo>
                    <a:pt x="367817" y="153670"/>
                  </a:lnTo>
                  <a:lnTo>
                    <a:pt x="369201" y="160020"/>
                  </a:lnTo>
                  <a:lnTo>
                    <a:pt x="370662" y="167640"/>
                  </a:lnTo>
                  <a:lnTo>
                    <a:pt x="372325" y="173990"/>
                  </a:lnTo>
                  <a:lnTo>
                    <a:pt x="374230" y="181610"/>
                  </a:lnTo>
                  <a:lnTo>
                    <a:pt x="376288" y="189230"/>
                  </a:lnTo>
                  <a:lnTo>
                    <a:pt x="379082" y="198120"/>
                  </a:lnTo>
                  <a:lnTo>
                    <a:pt x="379298" y="198120"/>
                  </a:lnTo>
                  <a:lnTo>
                    <a:pt x="379298" y="197726"/>
                  </a:lnTo>
                  <a:lnTo>
                    <a:pt x="376567" y="189230"/>
                  </a:lnTo>
                  <a:lnTo>
                    <a:pt x="374510" y="181610"/>
                  </a:lnTo>
                  <a:lnTo>
                    <a:pt x="372681" y="173990"/>
                  </a:lnTo>
                  <a:lnTo>
                    <a:pt x="370967" y="166370"/>
                  </a:lnTo>
                  <a:lnTo>
                    <a:pt x="369481" y="160020"/>
                  </a:lnTo>
                  <a:lnTo>
                    <a:pt x="368122" y="152400"/>
                  </a:lnTo>
                  <a:lnTo>
                    <a:pt x="368122" y="151130"/>
                  </a:lnTo>
                  <a:lnTo>
                    <a:pt x="369366" y="151130"/>
                  </a:lnTo>
                  <a:lnTo>
                    <a:pt x="369366" y="149860"/>
                  </a:lnTo>
                  <a:lnTo>
                    <a:pt x="368858" y="149860"/>
                  </a:lnTo>
                  <a:lnTo>
                    <a:pt x="368744" y="148590"/>
                  </a:lnTo>
                  <a:lnTo>
                    <a:pt x="369366" y="148590"/>
                  </a:lnTo>
                  <a:lnTo>
                    <a:pt x="369366" y="147320"/>
                  </a:lnTo>
                  <a:lnTo>
                    <a:pt x="368896" y="147320"/>
                  </a:lnTo>
                  <a:lnTo>
                    <a:pt x="368858" y="146050"/>
                  </a:lnTo>
                  <a:lnTo>
                    <a:pt x="369366" y="146050"/>
                  </a:lnTo>
                  <a:lnTo>
                    <a:pt x="369366" y="144780"/>
                  </a:lnTo>
                  <a:lnTo>
                    <a:pt x="368896" y="144780"/>
                  </a:lnTo>
                  <a:lnTo>
                    <a:pt x="368858" y="143510"/>
                  </a:lnTo>
                  <a:lnTo>
                    <a:pt x="369150" y="143510"/>
                  </a:lnTo>
                  <a:lnTo>
                    <a:pt x="369366" y="142240"/>
                  </a:lnTo>
                  <a:lnTo>
                    <a:pt x="368896" y="142240"/>
                  </a:lnTo>
                  <a:lnTo>
                    <a:pt x="368858" y="140970"/>
                  </a:lnTo>
                  <a:lnTo>
                    <a:pt x="369150" y="140970"/>
                  </a:lnTo>
                  <a:lnTo>
                    <a:pt x="369366" y="139700"/>
                  </a:lnTo>
                  <a:lnTo>
                    <a:pt x="368896" y="139700"/>
                  </a:lnTo>
                  <a:lnTo>
                    <a:pt x="368858" y="138430"/>
                  </a:lnTo>
                  <a:lnTo>
                    <a:pt x="368541" y="137160"/>
                  </a:lnTo>
                  <a:lnTo>
                    <a:pt x="369163" y="137160"/>
                  </a:lnTo>
                  <a:lnTo>
                    <a:pt x="368896" y="135890"/>
                  </a:lnTo>
                  <a:lnTo>
                    <a:pt x="368744" y="135890"/>
                  </a:lnTo>
                  <a:lnTo>
                    <a:pt x="368541" y="134620"/>
                  </a:lnTo>
                  <a:lnTo>
                    <a:pt x="369366" y="134620"/>
                  </a:lnTo>
                  <a:lnTo>
                    <a:pt x="369163" y="133350"/>
                  </a:lnTo>
                  <a:lnTo>
                    <a:pt x="368744" y="133350"/>
                  </a:lnTo>
                  <a:lnTo>
                    <a:pt x="368541" y="132080"/>
                  </a:lnTo>
                  <a:lnTo>
                    <a:pt x="369366" y="132080"/>
                  </a:lnTo>
                  <a:lnTo>
                    <a:pt x="369163" y="130810"/>
                  </a:lnTo>
                  <a:lnTo>
                    <a:pt x="368858" y="130810"/>
                  </a:lnTo>
                  <a:lnTo>
                    <a:pt x="368744" y="129540"/>
                  </a:lnTo>
                  <a:lnTo>
                    <a:pt x="369366" y="129540"/>
                  </a:lnTo>
                  <a:lnTo>
                    <a:pt x="369366" y="128270"/>
                  </a:lnTo>
                  <a:lnTo>
                    <a:pt x="368858" y="128270"/>
                  </a:lnTo>
                  <a:lnTo>
                    <a:pt x="368744" y="127000"/>
                  </a:lnTo>
                  <a:lnTo>
                    <a:pt x="369366" y="127000"/>
                  </a:lnTo>
                  <a:lnTo>
                    <a:pt x="369366" y="125730"/>
                  </a:lnTo>
                  <a:lnTo>
                    <a:pt x="368896" y="125730"/>
                  </a:lnTo>
                  <a:lnTo>
                    <a:pt x="368846" y="124460"/>
                  </a:lnTo>
                  <a:lnTo>
                    <a:pt x="368122" y="124460"/>
                  </a:lnTo>
                  <a:lnTo>
                    <a:pt x="368122" y="123190"/>
                  </a:lnTo>
                  <a:lnTo>
                    <a:pt x="376059" y="123190"/>
                  </a:lnTo>
                  <a:lnTo>
                    <a:pt x="376364" y="124460"/>
                  </a:lnTo>
                  <a:lnTo>
                    <a:pt x="379425" y="128270"/>
                  </a:lnTo>
                  <a:lnTo>
                    <a:pt x="382333" y="132080"/>
                  </a:lnTo>
                  <a:lnTo>
                    <a:pt x="385876" y="135890"/>
                  </a:lnTo>
                  <a:lnTo>
                    <a:pt x="389331" y="138430"/>
                  </a:lnTo>
                  <a:lnTo>
                    <a:pt x="393687" y="140970"/>
                  </a:lnTo>
                  <a:lnTo>
                    <a:pt x="393852" y="140970"/>
                  </a:lnTo>
                  <a:lnTo>
                    <a:pt x="389585" y="138430"/>
                  </a:lnTo>
                  <a:lnTo>
                    <a:pt x="382676" y="132080"/>
                  </a:lnTo>
                  <a:lnTo>
                    <a:pt x="379780" y="128270"/>
                  </a:lnTo>
                  <a:lnTo>
                    <a:pt x="376796" y="124460"/>
                  </a:lnTo>
                  <a:lnTo>
                    <a:pt x="376555" y="123190"/>
                  </a:lnTo>
                  <a:lnTo>
                    <a:pt x="393954" y="123190"/>
                  </a:lnTo>
                  <a:lnTo>
                    <a:pt x="405498" y="138430"/>
                  </a:lnTo>
                  <a:lnTo>
                    <a:pt x="403402" y="139700"/>
                  </a:lnTo>
                  <a:lnTo>
                    <a:pt x="401078" y="140970"/>
                  </a:lnTo>
                  <a:lnTo>
                    <a:pt x="401205" y="140970"/>
                  </a:lnTo>
                  <a:lnTo>
                    <a:pt x="403606" y="139700"/>
                  </a:lnTo>
                  <a:lnTo>
                    <a:pt x="405752" y="138430"/>
                  </a:lnTo>
                  <a:lnTo>
                    <a:pt x="411035" y="146050"/>
                  </a:lnTo>
                  <a:lnTo>
                    <a:pt x="411035" y="142963"/>
                  </a:lnTo>
                  <a:lnTo>
                    <a:pt x="406920" y="138430"/>
                  </a:lnTo>
                  <a:lnTo>
                    <a:pt x="408317" y="137160"/>
                  </a:lnTo>
                  <a:lnTo>
                    <a:pt x="409600" y="135890"/>
                  </a:lnTo>
                  <a:lnTo>
                    <a:pt x="410781" y="134581"/>
                  </a:lnTo>
                  <a:lnTo>
                    <a:pt x="413435" y="130810"/>
                  </a:lnTo>
                  <a:lnTo>
                    <a:pt x="415658" y="128270"/>
                  </a:lnTo>
                  <a:lnTo>
                    <a:pt x="417626" y="124460"/>
                  </a:lnTo>
                  <a:lnTo>
                    <a:pt x="417626" y="121920"/>
                  </a:lnTo>
                  <a:lnTo>
                    <a:pt x="416979" y="121920"/>
                  </a:lnTo>
                  <a:lnTo>
                    <a:pt x="416979" y="123190"/>
                  </a:lnTo>
                  <a:lnTo>
                    <a:pt x="416801" y="123329"/>
                  </a:lnTo>
                  <a:lnTo>
                    <a:pt x="416801" y="124460"/>
                  </a:lnTo>
                  <a:lnTo>
                    <a:pt x="414972" y="128270"/>
                  </a:lnTo>
                  <a:lnTo>
                    <a:pt x="412902" y="130810"/>
                  </a:lnTo>
                  <a:lnTo>
                    <a:pt x="409308" y="135890"/>
                  </a:lnTo>
                  <a:lnTo>
                    <a:pt x="408051" y="137160"/>
                  </a:lnTo>
                  <a:lnTo>
                    <a:pt x="406666" y="137160"/>
                  </a:lnTo>
                  <a:lnTo>
                    <a:pt x="404749" y="134620"/>
                  </a:lnTo>
                  <a:lnTo>
                    <a:pt x="406260" y="133350"/>
                  </a:lnTo>
                  <a:lnTo>
                    <a:pt x="416801" y="124460"/>
                  </a:lnTo>
                  <a:lnTo>
                    <a:pt x="416801" y="123329"/>
                  </a:lnTo>
                  <a:lnTo>
                    <a:pt x="403898" y="133350"/>
                  </a:lnTo>
                  <a:lnTo>
                    <a:pt x="395719" y="123190"/>
                  </a:lnTo>
                  <a:lnTo>
                    <a:pt x="416979" y="123190"/>
                  </a:lnTo>
                  <a:lnTo>
                    <a:pt x="416979" y="121920"/>
                  </a:lnTo>
                  <a:lnTo>
                    <a:pt x="375361" y="121920"/>
                  </a:lnTo>
                  <a:lnTo>
                    <a:pt x="374802" y="120980"/>
                  </a:lnTo>
                  <a:lnTo>
                    <a:pt x="374802" y="121920"/>
                  </a:lnTo>
                  <a:lnTo>
                    <a:pt x="367461" y="121920"/>
                  </a:lnTo>
                  <a:lnTo>
                    <a:pt x="367461" y="153670"/>
                  </a:lnTo>
                  <a:lnTo>
                    <a:pt x="366204" y="160020"/>
                  </a:lnTo>
                  <a:lnTo>
                    <a:pt x="365975" y="159346"/>
                  </a:lnTo>
                  <a:lnTo>
                    <a:pt x="365975" y="161290"/>
                  </a:lnTo>
                  <a:lnTo>
                    <a:pt x="365277" y="165100"/>
                  </a:lnTo>
                  <a:lnTo>
                    <a:pt x="363766" y="173990"/>
                  </a:lnTo>
                  <a:lnTo>
                    <a:pt x="361823" y="172720"/>
                  </a:lnTo>
                  <a:lnTo>
                    <a:pt x="363715" y="173990"/>
                  </a:lnTo>
                  <a:lnTo>
                    <a:pt x="362483" y="180340"/>
                  </a:lnTo>
                  <a:lnTo>
                    <a:pt x="361188" y="185420"/>
                  </a:lnTo>
                  <a:lnTo>
                    <a:pt x="358978" y="195580"/>
                  </a:lnTo>
                  <a:lnTo>
                    <a:pt x="358178" y="198120"/>
                  </a:lnTo>
                  <a:lnTo>
                    <a:pt x="357352" y="201930"/>
                  </a:lnTo>
                  <a:lnTo>
                    <a:pt x="356946" y="201625"/>
                  </a:lnTo>
                  <a:lnTo>
                    <a:pt x="356946" y="203200"/>
                  </a:lnTo>
                  <a:lnTo>
                    <a:pt x="356374" y="203200"/>
                  </a:lnTo>
                  <a:lnTo>
                    <a:pt x="356374" y="205740"/>
                  </a:lnTo>
                  <a:lnTo>
                    <a:pt x="355638" y="208280"/>
                  </a:lnTo>
                  <a:lnTo>
                    <a:pt x="354799" y="209067"/>
                  </a:lnTo>
                  <a:lnTo>
                    <a:pt x="354799" y="210820"/>
                  </a:lnTo>
                  <a:lnTo>
                    <a:pt x="353707" y="214630"/>
                  </a:lnTo>
                  <a:lnTo>
                    <a:pt x="353123" y="215900"/>
                  </a:lnTo>
                  <a:lnTo>
                    <a:pt x="351205" y="214630"/>
                  </a:lnTo>
                  <a:lnTo>
                    <a:pt x="352399" y="213360"/>
                  </a:lnTo>
                  <a:lnTo>
                    <a:pt x="354799" y="210820"/>
                  </a:lnTo>
                  <a:lnTo>
                    <a:pt x="354799" y="209067"/>
                  </a:lnTo>
                  <a:lnTo>
                    <a:pt x="350151" y="213360"/>
                  </a:lnTo>
                  <a:lnTo>
                    <a:pt x="340728" y="205740"/>
                  </a:lnTo>
                  <a:lnTo>
                    <a:pt x="356374" y="205740"/>
                  </a:lnTo>
                  <a:lnTo>
                    <a:pt x="356374" y="203200"/>
                  </a:lnTo>
                  <a:lnTo>
                    <a:pt x="340169" y="203200"/>
                  </a:lnTo>
                  <a:lnTo>
                    <a:pt x="346240" y="194310"/>
                  </a:lnTo>
                  <a:lnTo>
                    <a:pt x="356946" y="203200"/>
                  </a:lnTo>
                  <a:lnTo>
                    <a:pt x="356946" y="201625"/>
                  </a:lnTo>
                  <a:lnTo>
                    <a:pt x="347459" y="194310"/>
                  </a:lnTo>
                  <a:lnTo>
                    <a:pt x="345135" y="192519"/>
                  </a:lnTo>
                  <a:lnTo>
                    <a:pt x="345135" y="194310"/>
                  </a:lnTo>
                  <a:lnTo>
                    <a:pt x="339077" y="203200"/>
                  </a:lnTo>
                  <a:lnTo>
                    <a:pt x="333362" y="185420"/>
                  </a:lnTo>
                  <a:lnTo>
                    <a:pt x="345135" y="194310"/>
                  </a:lnTo>
                  <a:lnTo>
                    <a:pt x="345135" y="192519"/>
                  </a:lnTo>
                  <a:lnTo>
                    <a:pt x="335927" y="185420"/>
                  </a:lnTo>
                  <a:lnTo>
                    <a:pt x="332625" y="182880"/>
                  </a:lnTo>
                  <a:lnTo>
                    <a:pt x="321081" y="146050"/>
                  </a:lnTo>
                  <a:lnTo>
                    <a:pt x="323202" y="143510"/>
                  </a:lnTo>
                  <a:lnTo>
                    <a:pt x="326390" y="139700"/>
                  </a:lnTo>
                  <a:lnTo>
                    <a:pt x="330276" y="144780"/>
                  </a:lnTo>
                  <a:lnTo>
                    <a:pt x="334391" y="149860"/>
                  </a:lnTo>
                  <a:lnTo>
                    <a:pt x="338937" y="154940"/>
                  </a:lnTo>
                  <a:lnTo>
                    <a:pt x="342646" y="160020"/>
                  </a:lnTo>
                  <a:lnTo>
                    <a:pt x="346621" y="163830"/>
                  </a:lnTo>
                  <a:lnTo>
                    <a:pt x="353250" y="168910"/>
                  </a:lnTo>
                  <a:lnTo>
                    <a:pt x="355587" y="170180"/>
                  </a:lnTo>
                  <a:lnTo>
                    <a:pt x="359867" y="172720"/>
                  </a:lnTo>
                  <a:lnTo>
                    <a:pt x="355727" y="170180"/>
                  </a:lnTo>
                  <a:lnTo>
                    <a:pt x="353415" y="168910"/>
                  </a:lnTo>
                  <a:lnTo>
                    <a:pt x="346811" y="163830"/>
                  </a:lnTo>
                  <a:lnTo>
                    <a:pt x="342849" y="158750"/>
                  </a:lnTo>
                  <a:lnTo>
                    <a:pt x="334619" y="149860"/>
                  </a:lnTo>
                  <a:lnTo>
                    <a:pt x="330492" y="144780"/>
                  </a:lnTo>
                  <a:lnTo>
                    <a:pt x="327393" y="139700"/>
                  </a:lnTo>
                  <a:lnTo>
                    <a:pt x="326618" y="138430"/>
                  </a:lnTo>
                  <a:lnTo>
                    <a:pt x="327660" y="137160"/>
                  </a:lnTo>
                  <a:lnTo>
                    <a:pt x="330796" y="133350"/>
                  </a:lnTo>
                  <a:lnTo>
                    <a:pt x="339166" y="123190"/>
                  </a:lnTo>
                  <a:lnTo>
                    <a:pt x="354266" y="123190"/>
                  </a:lnTo>
                  <a:lnTo>
                    <a:pt x="361099" y="146050"/>
                  </a:lnTo>
                  <a:lnTo>
                    <a:pt x="365975" y="161290"/>
                  </a:lnTo>
                  <a:lnTo>
                    <a:pt x="365975" y="159346"/>
                  </a:lnTo>
                  <a:lnTo>
                    <a:pt x="363194" y="151130"/>
                  </a:lnTo>
                  <a:lnTo>
                    <a:pt x="354952" y="123190"/>
                  </a:lnTo>
                  <a:lnTo>
                    <a:pt x="367322" y="123190"/>
                  </a:lnTo>
                  <a:lnTo>
                    <a:pt x="367322" y="124460"/>
                  </a:lnTo>
                  <a:lnTo>
                    <a:pt x="366610" y="124460"/>
                  </a:lnTo>
                  <a:lnTo>
                    <a:pt x="366560" y="125730"/>
                  </a:lnTo>
                  <a:lnTo>
                    <a:pt x="366090" y="125730"/>
                  </a:lnTo>
                  <a:lnTo>
                    <a:pt x="366090" y="127000"/>
                  </a:lnTo>
                  <a:lnTo>
                    <a:pt x="366699" y="127000"/>
                  </a:lnTo>
                  <a:lnTo>
                    <a:pt x="366585" y="128270"/>
                  </a:lnTo>
                  <a:lnTo>
                    <a:pt x="366090" y="128270"/>
                  </a:lnTo>
                  <a:lnTo>
                    <a:pt x="366090" y="129540"/>
                  </a:lnTo>
                  <a:lnTo>
                    <a:pt x="366699" y="129540"/>
                  </a:lnTo>
                  <a:lnTo>
                    <a:pt x="366585" y="130810"/>
                  </a:lnTo>
                  <a:lnTo>
                    <a:pt x="366280" y="130810"/>
                  </a:lnTo>
                  <a:lnTo>
                    <a:pt x="366090" y="132080"/>
                  </a:lnTo>
                  <a:lnTo>
                    <a:pt x="366915" y="132080"/>
                  </a:lnTo>
                  <a:lnTo>
                    <a:pt x="366699" y="133350"/>
                  </a:lnTo>
                  <a:lnTo>
                    <a:pt x="366280" y="133350"/>
                  </a:lnTo>
                  <a:lnTo>
                    <a:pt x="366090" y="134620"/>
                  </a:lnTo>
                  <a:lnTo>
                    <a:pt x="366915" y="134620"/>
                  </a:lnTo>
                  <a:lnTo>
                    <a:pt x="366699" y="135890"/>
                  </a:lnTo>
                  <a:lnTo>
                    <a:pt x="366560" y="135890"/>
                  </a:lnTo>
                  <a:lnTo>
                    <a:pt x="366280" y="137160"/>
                  </a:lnTo>
                  <a:lnTo>
                    <a:pt x="366915" y="137160"/>
                  </a:lnTo>
                  <a:lnTo>
                    <a:pt x="366699" y="138430"/>
                  </a:lnTo>
                  <a:lnTo>
                    <a:pt x="366560" y="139700"/>
                  </a:lnTo>
                  <a:lnTo>
                    <a:pt x="366090" y="139700"/>
                  </a:lnTo>
                  <a:lnTo>
                    <a:pt x="366293" y="140970"/>
                  </a:lnTo>
                  <a:lnTo>
                    <a:pt x="366585" y="140970"/>
                  </a:lnTo>
                  <a:lnTo>
                    <a:pt x="366560" y="142240"/>
                  </a:lnTo>
                  <a:lnTo>
                    <a:pt x="366090" y="142240"/>
                  </a:lnTo>
                  <a:lnTo>
                    <a:pt x="366293" y="143510"/>
                  </a:lnTo>
                  <a:lnTo>
                    <a:pt x="366585" y="143510"/>
                  </a:lnTo>
                  <a:lnTo>
                    <a:pt x="366560" y="144780"/>
                  </a:lnTo>
                  <a:lnTo>
                    <a:pt x="366090" y="144780"/>
                  </a:lnTo>
                  <a:lnTo>
                    <a:pt x="366090" y="146050"/>
                  </a:lnTo>
                  <a:lnTo>
                    <a:pt x="366585" y="146050"/>
                  </a:lnTo>
                  <a:lnTo>
                    <a:pt x="366560" y="147320"/>
                  </a:lnTo>
                  <a:lnTo>
                    <a:pt x="366090" y="147320"/>
                  </a:lnTo>
                  <a:lnTo>
                    <a:pt x="366090" y="148590"/>
                  </a:lnTo>
                  <a:lnTo>
                    <a:pt x="366699" y="148590"/>
                  </a:lnTo>
                  <a:lnTo>
                    <a:pt x="366585" y="149860"/>
                  </a:lnTo>
                  <a:lnTo>
                    <a:pt x="366090" y="149860"/>
                  </a:lnTo>
                  <a:lnTo>
                    <a:pt x="366090" y="151130"/>
                  </a:lnTo>
                  <a:lnTo>
                    <a:pt x="367322" y="151130"/>
                  </a:lnTo>
                  <a:lnTo>
                    <a:pt x="367322" y="153670"/>
                  </a:lnTo>
                  <a:lnTo>
                    <a:pt x="367461" y="153670"/>
                  </a:lnTo>
                  <a:lnTo>
                    <a:pt x="367461" y="121920"/>
                  </a:lnTo>
                  <a:lnTo>
                    <a:pt x="354507" y="121920"/>
                  </a:lnTo>
                  <a:lnTo>
                    <a:pt x="353822" y="119659"/>
                  </a:lnTo>
                  <a:lnTo>
                    <a:pt x="353822" y="121920"/>
                  </a:lnTo>
                  <a:lnTo>
                    <a:pt x="337375" y="121920"/>
                  </a:lnTo>
                  <a:lnTo>
                    <a:pt x="337375" y="123190"/>
                  </a:lnTo>
                  <a:lnTo>
                    <a:pt x="328701" y="133350"/>
                  </a:lnTo>
                  <a:lnTo>
                    <a:pt x="327825" y="132778"/>
                  </a:lnTo>
                  <a:lnTo>
                    <a:pt x="327825" y="134620"/>
                  </a:lnTo>
                  <a:lnTo>
                    <a:pt x="325793" y="137160"/>
                  </a:lnTo>
                  <a:lnTo>
                    <a:pt x="325577" y="136969"/>
                  </a:lnTo>
                  <a:lnTo>
                    <a:pt x="325577" y="138430"/>
                  </a:lnTo>
                  <a:lnTo>
                    <a:pt x="320776" y="143510"/>
                  </a:lnTo>
                  <a:lnTo>
                    <a:pt x="322681" y="138430"/>
                  </a:lnTo>
                  <a:lnTo>
                    <a:pt x="323596" y="134620"/>
                  </a:lnTo>
                  <a:lnTo>
                    <a:pt x="325577" y="138430"/>
                  </a:lnTo>
                  <a:lnTo>
                    <a:pt x="325577" y="136969"/>
                  </a:lnTo>
                  <a:lnTo>
                    <a:pt x="324408" y="135890"/>
                  </a:lnTo>
                  <a:lnTo>
                    <a:pt x="323735" y="134620"/>
                  </a:lnTo>
                  <a:lnTo>
                    <a:pt x="324065" y="133350"/>
                  </a:lnTo>
                  <a:lnTo>
                    <a:pt x="324396" y="132080"/>
                  </a:lnTo>
                  <a:lnTo>
                    <a:pt x="327825" y="134620"/>
                  </a:lnTo>
                  <a:lnTo>
                    <a:pt x="327825" y="132778"/>
                  </a:lnTo>
                  <a:lnTo>
                    <a:pt x="326771" y="132080"/>
                  </a:lnTo>
                  <a:lnTo>
                    <a:pt x="324827" y="130810"/>
                  </a:lnTo>
                  <a:lnTo>
                    <a:pt x="327113" y="123190"/>
                  </a:lnTo>
                  <a:lnTo>
                    <a:pt x="337375" y="123190"/>
                  </a:lnTo>
                  <a:lnTo>
                    <a:pt x="337375" y="121920"/>
                  </a:lnTo>
                  <a:lnTo>
                    <a:pt x="327533" y="121920"/>
                  </a:lnTo>
                  <a:lnTo>
                    <a:pt x="330606" y="110490"/>
                  </a:lnTo>
                  <a:lnTo>
                    <a:pt x="333514" y="99060"/>
                  </a:lnTo>
                  <a:lnTo>
                    <a:pt x="336270" y="88900"/>
                  </a:lnTo>
                  <a:lnTo>
                    <a:pt x="338912" y="77470"/>
                  </a:lnTo>
                  <a:lnTo>
                    <a:pt x="339864" y="77470"/>
                  </a:lnTo>
                  <a:lnTo>
                    <a:pt x="343484" y="88900"/>
                  </a:lnTo>
                  <a:lnTo>
                    <a:pt x="347014" y="99110"/>
                  </a:lnTo>
                  <a:lnTo>
                    <a:pt x="350431" y="110490"/>
                  </a:lnTo>
                  <a:lnTo>
                    <a:pt x="353822" y="121920"/>
                  </a:lnTo>
                  <a:lnTo>
                    <a:pt x="353822" y="119659"/>
                  </a:lnTo>
                  <a:lnTo>
                    <a:pt x="340639" y="77470"/>
                  </a:lnTo>
                  <a:lnTo>
                    <a:pt x="340220" y="76200"/>
                  </a:lnTo>
                  <a:lnTo>
                    <a:pt x="340220" y="73660"/>
                  </a:lnTo>
                  <a:lnTo>
                    <a:pt x="342087" y="73660"/>
                  </a:lnTo>
                  <a:lnTo>
                    <a:pt x="342087" y="72390"/>
                  </a:lnTo>
                  <a:lnTo>
                    <a:pt x="341363" y="72390"/>
                  </a:lnTo>
                  <a:lnTo>
                    <a:pt x="341312" y="71120"/>
                  </a:lnTo>
                  <a:lnTo>
                    <a:pt x="341172" y="71120"/>
                  </a:lnTo>
                  <a:lnTo>
                    <a:pt x="340944" y="69850"/>
                  </a:lnTo>
                  <a:lnTo>
                    <a:pt x="342087" y="69850"/>
                  </a:lnTo>
                  <a:lnTo>
                    <a:pt x="342087" y="68580"/>
                  </a:lnTo>
                  <a:lnTo>
                    <a:pt x="341782" y="68580"/>
                  </a:lnTo>
                  <a:lnTo>
                    <a:pt x="341363" y="67310"/>
                  </a:lnTo>
                  <a:lnTo>
                    <a:pt x="341172" y="66040"/>
                  </a:lnTo>
                  <a:lnTo>
                    <a:pt x="342087" y="66040"/>
                  </a:lnTo>
                  <a:lnTo>
                    <a:pt x="342087" y="64770"/>
                  </a:lnTo>
                  <a:lnTo>
                    <a:pt x="341782" y="63500"/>
                  </a:lnTo>
                  <a:lnTo>
                    <a:pt x="341312" y="63500"/>
                  </a:lnTo>
                  <a:lnTo>
                    <a:pt x="341172" y="62230"/>
                  </a:lnTo>
                  <a:lnTo>
                    <a:pt x="341706" y="62230"/>
                  </a:lnTo>
                  <a:lnTo>
                    <a:pt x="342087" y="60960"/>
                  </a:lnTo>
                  <a:lnTo>
                    <a:pt x="341782" y="59690"/>
                  </a:lnTo>
                  <a:lnTo>
                    <a:pt x="341312" y="59690"/>
                  </a:lnTo>
                  <a:lnTo>
                    <a:pt x="341172" y="58420"/>
                  </a:lnTo>
                  <a:lnTo>
                    <a:pt x="341706" y="58420"/>
                  </a:lnTo>
                  <a:lnTo>
                    <a:pt x="342087" y="57150"/>
                  </a:lnTo>
                  <a:lnTo>
                    <a:pt x="342087" y="55880"/>
                  </a:lnTo>
                  <a:lnTo>
                    <a:pt x="341363" y="55880"/>
                  </a:lnTo>
                  <a:lnTo>
                    <a:pt x="341312" y="54610"/>
                  </a:lnTo>
                  <a:lnTo>
                    <a:pt x="341172" y="54610"/>
                  </a:lnTo>
                  <a:lnTo>
                    <a:pt x="340944" y="53340"/>
                  </a:lnTo>
                  <a:lnTo>
                    <a:pt x="342087" y="53340"/>
                  </a:lnTo>
                  <a:lnTo>
                    <a:pt x="342087" y="52070"/>
                  </a:lnTo>
                  <a:lnTo>
                    <a:pt x="341363" y="52070"/>
                  </a:lnTo>
                  <a:lnTo>
                    <a:pt x="341312" y="50800"/>
                  </a:lnTo>
                  <a:lnTo>
                    <a:pt x="341172" y="50800"/>
                  </a:lnTo>
                  <a:lnTo>
                    <a:pt x="340944" y="49530"/>
                  </a:lnTo>
                  <a:lnTo>
                    <a:pt x="342049" y="49530"/>
                  </a:lnTo>
                  <a:lnTo>
                    <a:pt x="346875" y="62230"/>
                  </a:lnTo>
                  <a:lnTo>
                    <a:pt x="351904" y="74930"/>
                  </a:lnTo>
                  <a:lnTo>
                    <a:pt x="357225" y="87630"/>
                  </a:lnTo>
                  <a:lnTo>
                    <a:pt x="362915" y="100330"/>
                  </a:lnTo>
                  <a:lnTo>
                    <a:pt x="366471" y="107950"/>
                  </a:lnTo>
                  <a:lnTo>
                    <a:pt x="370332" y="114300"/>
                  </a:lnTo>
                  <a:lnTo>
                    <a:pt x="374802" y="121920"/>
                  </a:lnTo>
                  <a:lnTo>
                    <a:pt x="374802" y="120980"/>
                  </a:lnTo>
                  <a:lnTo>
                    <a:pt x="370840" y="114300"/>
                  </a:lnTo>
                  <a:lnTo>
                    <a:pt x="366953" y="106680"/>
                  </a:lnTo>
                  <a:lnTo>
                    <a:pt x="363359" y="100330"/>
                  </a:lnTo>
                  <a:lnTo>
                    <a:pt x="357555" y="86360"/>
                  </a:lnTo>
                  <a:lnTo>
                    <a:pt x="352132" y="73660"/>
                  </a:lnTo>
                  <a:lnTo>
                    <a:pt x="347027" y="60960"/>
                  </a:lnTo>
                  <a:lnTo>
                    <a:pt x="341718" y="46990"/>
                  </a:lnTo>
                  <a:lnTo>
                    <a:pt x="341528" y="45720"/>
                  </a:lnTo>
                  <a:lnTo>
                    <a:pt x="342087" y="45720"/>
                  </a:lnTo>
                  <a:lnTo>
                    <a:pt x="342087" y="44450"/>
                  </a:lnTo>
                  <a:lnTo>
                    <a:pt x="341782" y="44450"/>
                  </a:lnTo>
                  <a:lnTo>
                    <a:pt x="341363" y="43180"/>
                  </a:lnTo>
                  <a:lnTo>
                    <a:pt x="341172" y="41910"/>
                  </a:lnTo>
                  <a:lnTo>
                    <a:pt x="342087" y="41910"/>
                  </a:lnTo>
                  <a:lnTo>
                    <a:pt x="342087" y="40640"/>
                  </a:lnTo>
                  <a:lnTo>
                    <a:pt x="341782" y="39370"/>
                  </a:lnTo>
                  <a:lnTo>
                    <a:pt x="341312" y="39370"/>
                  </a:lnTo>
                  <a:lnTo>
                    <a:pt x="341172" y="38100"/>
                  </a:lnTo>
                  <a:lnTo>
                    <a:pt x="341706" y="38100"/>
                  </a:lnTo>
                  <a:lnTo>
                    <a:pt x="342087" y="36830"/>
                  </a:lnTo>
                  <a:lnTo>
                    <a:pt x="341782" y="35560"/>
                  </a:lnTo>
                  <a:lnTo>
                    <a:pt x="341312" y="35560"/>
                  </a:lnTo>
                  <a:lnTo>
                    <a:pt x="341109" y="34290"/>
                  </a:lnTo>
                  <a:lnTo>
                    <a:pt x="340779" y="33020"/>
                  </a:lnTo>
                  <a:lnTo>
                    <a:pt x="343242" y="33020"/>
                  </a:lnTo>
                  <a:lnTo>
                    <a:pt x="343242" y="31750"/>
                  </a:lnTo>
                  <a:lnTo>
                    <a:pt x="340220" y="31750"/>
                  </a:lnTo>
                  <a:lnTo>
                    <a:pt x="340220" y="30480"/>
                  </a:lnTo>
                  <a:lnTo>
                    <a:pt x="338683" y="30480"/>
                  </a:lnTo>
                  <a:lnTo>
                    <a:pt x="338683" y="31750"/>
                  </a:lnTo>
                  <a:lnTo>
                    <a:pt x="338683" y="73660"/>
                  </a:lnTo>
                  <a:lnTo>
                    <a:pt x="338683" y="74930"/>
                  </a:lnTo>
                  <a:lnTo>
                    <a:pt x="335915" y="86360"/>
                  </a:lnTo>
                  <a:lnTo>
                    <a:pt x="332994" y="99110"/>
                  </a:lnTo>
                  <a:lnTo>
                    <a:pt x="329958" y="110490"/>
                  </a:lnTo>
                  <a:lnTo>
                    <a:pt x="326720" y="121920"/>
                  </a:lnTo>
                  <a:lnTo>
                    <a:pt x="326301" y="121920"/>
                  </a:lnTo>
                  <a:lnTo>
                    <a:pt x="326301" y="123190"/>
                  </a:lnTo>
                  <a:lnTo>
                    <a:pt x="324167" y="130810"/>
                  </a:lnTo>
                  <a:lnTo>
                    <a:pt x="323723" y="130429"/>
                  </a:lnTo>
                  <a:lnTo>
                    <a:pt x="323723" y="132080"/>
                  </a:lnTo>
                  <a:lnTo>
                    <a:pt x="323189" y="133350"/>
                  </a:lnTo>
                  <a:lnTo>
                    <a:pt x="323049" y="133172"/>
                  </a:lnTo>
                  <a:lnTo>
                    <a:pt x="323049" y="134620"/>
                  </a:lnTo>
                  <a:lnTo>
                    <a:pt x="322135" y="137160"/>
                  </a:lnTo>
                  <a:lnTo>
                    <a:pt x="320217" y="143510"/>
                  </a:lnTo>
                  <a:lnTo>
                    <a:pt x="319481" y="141109"/>
                  </a:lnTo>
                  <a:lnTo>
                    <a:pt x="319481" y="144780"/>
                  </a:lnTo>
                  <a:lnTo>
                    <a:pt x="316915" y="152400"/>
                  </a:lnTo>
                  <a:lnTo>
                    <a:pt x="314185" y="161290"/>
                  </a:lnTo>
                  <a:lnTo>
                    <a:pt x="311238" y="168910"/>
                  </a:lnTo>
                  <a:lnTo>
                    <a:pt x="308787" y="173990"/>
                  </a:lnTo>
                  <a:lnTo>
                    <a:pt x="306209" y="180340"/>
                  </a:lnTo>
                  <a:lnTo>
                    <a:pt x="303403" y="186690"/>
                  </a:lnTo>
                  <a:lnTo>
                    <a:pt x="303022" y="185280"/>
                  </a:lnTo>
                  <a:lnTo>
                    <a:pt x="303022" y="187960"/>
                  </a:lnTo>
                  <a:lnTo>
                    <a:pt x="299986" y="194310"/>
                  </a:lnTo>
                  <a:lnTo>
                    <a:pt x="296773" y="200660"/>
                  </a:lnTo>
                  <a:lnTo>
                    <a:pt x="293357" y="205740"/>
                  </a:lnTo>
                  <a:lnTo>
                    <a:pt x="289712" y="212090"/>
                  </a:lnTo>
                  <a:lnTo>
                    <a:pt x="288378" y="214630"/>
                  </a:lnTo>
                  <a:lnTo>
                    <a:pt x="286969" y="215900"/>
                  </a:lnTo>
                  <a:lnTo>
                    <a:pt x="285521" y="218440"/>
                  </a:lnTo>
                  <a:lnTo>
                    <a:pt x="285140" y="217728"/>
                  </a:lnTo>
                  <a:lnTo>
                    <a:pt x="285140" y="218440"/>
                  </a:lnTo>
                  <a:lnTo>
                    <a:pt x="281940" y="223520"/>
                  </a:lnTo>
                  <a:lnTo>
                    <a:pt x="278485" y="227330"/>
                  </a:lnTo>
                  <a:lnTo>
                    <a:pt x="274624" y="231140"/>
                  </a:lnTo>
                  <a:lnTo>
                    <a:pt x="268846" y="237490"/>
                  </a:lnTo>
                  <a:lnTo>
                    <a:pt x="262153" y="242570"/>
                  </a:lnTo>
                  <a:lnTo>
                    <a:pt x="253060" y="245110"/>
                  </a:lnTo>
                  <a:lnTo>
                    <a:pt x="252006" y="245110"/>
                  </a:lnTo>
                  <a:lnTo>
                    <a:pt x="255727" y="242570"/>
                  </a:lnTo>
                  <a:lnTo>
                    <a:pt x="260248" y="236118"/>
                  </a:lnTo>
                  <a:lnTo>
                    <a:pt x="277596" y="204470"/>
                  </a:lnTo>
                  <a:lnTo>
                    <a:pt x="279984" y="209550"/>
                  </a:lnTo>
                  <a:lnTo>
                    <a:pt x="282498" y="214630"/>
                  </a:lnTo>
                  <a:lnTo>
                    <a:pt x="285140" y="218440"/>
                  </a:lnTo>
                  <a:lnTo>
                    <a:pt x="285140" y="217728"/>
                  </a:lnTo>
                  <a:lnTo>
                    <a:pt x="282841" y="213360"/>
                  </a:lnTo>
                  <a:lnTo>
                    <a:pt x="280314" y="208280"/>
                  </a:lnTo>
                  <a:lnTo>
                    <a:pt x="278511" y="204470"/>
                  </a:lnTo>
                  <a:lnTo>
                    <a:pt x="277901" y="203200"/>
                  </a:lnTo>
                  <a:lnTo>
                    <a:pt x="279387" y="199390"/>
                  </a:lnTo>
                  <a:lnTo>
                    <a:pt x="280784" y="195580"/>
                  </a:lnTo>
                  <a:lnTo>
                    <a:pt x="282105" y="193040"/>
                  </a:lnTo>
                  <a:lnTo>
                    <a:pt x="285356" y="182880"/>
                  </a:lnTo>
                  <a:lnTo>
                    <a:pt x="288404" y="172466"/>
                  </a:lnTo>
                  <a:lnTo>
                    <a:pt x="291084" y="162560"/>
                  </a:lnTo>
                  <a:lnTo>
                    <a:pt x="293649" y="153670"/>
                  </a:lnTo>
                  <a:lnTo>
                    <a:pt x="293827" y="153670"/>
                  </a:lnTo>
                  <a:lnTo>
                    <a:pt x="296037" y="161290"/>
                  </a:lnTo>
                  <a:lnTo>
                    <a:pt x="298297" y="170180"/>
                  </a:lnTo>
                  <a:lnTo>
                    <a:pt x="300621" y="179070"/>
                  </a:lnTo>
                  <a:lnTo>
                    <a:pt x="303022" y="187960"/>
                  </a:lnTo>
                  <a:lnTo>
                    <a:pt x="303022" y="185280"/>
                  </a:lnTo>
                  <a:lnTo>
                    <a:pt x="301002" y="177800"/>
                  </a:lnTo>
                  <a:lnTo>
                    <a:pt x="298691" y="168910"/>
                  </a:lnTo>
                  <a:lnTo>
                    <a:pt x="296430" y="161290"/>
                  </a:lnTo>
                  <a:lnTo>
                    <a:pt x="294551" y="153670"/>
                  </a:lnTo>
                  <a:lnTo>
                    <a:pt x="294233" y="152400"/>
                  </a:lnTo>
                  <a:lnTo>
                    <a:pt x="294233" y="151130"/>
                  </a:lnTo>
                  <a:lnTo>
                    <a:pt x="295478" y="151130"/>
                  </a:lnTo>
                  <a:lnTo>
                    <a:pt x="295478" y="149860"/>
                  </a:lnTo>
                  <a:lnTo>
                    <a:pt x="294957" y="149860"/>
                  </a:lnTo>
                  <a:lnTo>
                    <a:pt x="294855" y="148590"/>
                  </a:lnTo>
                  <a:lnTo>
                    <a:pt x="295478" y="148590"/>
                  </a:lnTo>
                  <a:lnTo>
                    <a:pt x="295478" y="147320"/>
                  </a:lnTo>
                  <a:lnTo>
                    <a:pt x="295008" y="147320"/>
                  </a:lnTo>
                  <a:lnTo>
                    <a:pt x="294957" y="146050"/>
                  </a:lnTo>
                  <a:lnTo>
                    <a:pt x="295478" y="146050"/>
                  </a:lnTo>
                  <a:lnTo>
                    <a:pt x="295478" y="144780"/>
                  </a:lnTo>
                  <a:lnTo>
                    <a:pt x="295008" y="144780"/>
                  </a:lnTo>
                  <a:lnTo>
                    <a:pt x="294957" y="143510"/>
                  </a:lnTo>
                  <a:lnTo>
                    <a:pt x="295249" y="143510"/>
                  </a:lnTo>
                  <a:lnTo>
                    <a:pt x="295478" y="142240"/>
                  </a:lnTo>
                  <a:lnTo>
                    <a:pt x="295008" y="142240"/>
                  </a:lnTo>
                  <a:lnTo>
                    <a:pt x="294957" y="140970"/>
                  </a:lnTo>
                  <a:lnTo>
                    <a:pt x="295249" y="140970"/>
                  </a:lnTo>
                  <a:lnTo>
                    <a:pt x="295478" y="139700"/>
                  </a:lnTo>
                  <a:lnTo>
                    <a:pt x="295008" y="139700"/>
                  </a:lnTo>
                  <a:lnTo>
                    <a:pt x="294957" y="138430"/>
                  </a:lnTo>
                  <a:lnTo>
                    <a:pt x="294652" y="137160"/>
                  </a:lnTo>
                  <a:lnTo>
                    <a:pt x="295262" y="137160"/>
                  </a:lnTo>
                  <a:lnTo>
                    <a:pt x="295008" y="135890"/>
                  </a:lnTo>
                  <a:lnTo>
                    <a:pt x="294855" y="135890"/>
                  </a:lnTo>
                  <a:lnTo>
                    <a:pt x="294652" y="134620"/>
                  </a:lnTo>
                  <a:lnTo>
                    <a:pt x="295478" y="134620"/>
                  </a:lnTo>
                  <a:lnTo>
                    <a:pt x="295262" y="133350"/>
                  </a:lnTo>
                  <a:lnTo>
                    <a:pt x="294855" y="133350"/>
                  </a:lnTo>
                  <a:lnTo>
                    <a:pt x="294652" y="132080"/>
                  </a:lnTo>
                  <a:lnTo>
                    <a:pt x="295478" y="132080"/>
                  </a:lnTo>
                  <a:lnTo>
                    <a:pt x="295262" y="130810"/>
                  </a:lnTo>
                  <a:lnTo>
                    <a:pt x="294957" y="130810"/>
                  </a:lnTo>
                  <a:lnTo>
                    <a:pt x="294855" y="129540"/>
                  </a:lnTo>
                  <a:lnTo>
                    <a:pt x="295478" y="129540"/>
                  </a:lnTo>
                  <a:lnTo>
                    <a:pt x="295478" y="128270"/>
                  </a:lnTo>
                  <a:lnTo>
                    <a:pt x="294957" y="128270"/>
                  </a:lnTo>
                  <a:lnTo>
                    <a:pt x="294855" y="127000"/>
                  </a:lnTo>
                  <a:lnTo>
                    <a:pt x="295478" y="127000"/>
                  </a:lnTo>
                  <a:lnTo>
                    <a:pt x="295478" y="125730"/>
                  </a:lnTo>
                  <a:lnTo>
                    <a:pt x="295008" y="125730"/>
                  </a:lnTo>
                  <a:lnTo>
                    <a:pt x="294957" y="124460"/>
                  </a:lnTo>
                  <a:lnTo>
                    <a:pt x="294233" y="124460"/>
                  </a:lnTo>
                  <a:lnTo>
                    <a:pt x="294233" y="123190"/>
                  </a:lnTo>
                  <a:lnTo>
                    <a:pt x="312521" y="123190"/>
                  </a:lnTo>
                  <a:lnTo>
                    <a:pt x="319481" y="144780"/>
                  </a:lnTo>
                  <a:lnTo>
                    <a:pt x="319481" y="141109"/>
                  </a:lnTo>
                  <a:lnTo>
                    <a:pt x="314375" y="124460"/>
                  </a:lnTo>
                  <a:lnTo>
                    <a:pt x="319544" y="128270"/>
                  </a:lnTo>
                  <a:lnTo>
                    <a:pt x="320687" y="130810"/>
                  </a:lnTo>
                  <a:lnTo>
                    <a:pt x="323049" y="134620"/>
                  </a:lnTo>
                  <a:lnTo>
                    <a:pt x="323049" y="133172"/>
                  </a:lnTo>
                  <a:lnTo>
                    <a:pt x="321297" y="130810"/>
                  </a:lnTo>
                  <a:lnTo>
                    <a:pt x="320382" y="129540"/>
                  </a:lnTo>
                  <a:lnTo>
                    <a:pt x="323723" y="132080"/>
                  </a:lnTo>
                  <a:lnTo>
                    <a:pt x="323723" y="130429"/>
                  </a:lnTo>
                  <a:lnTo>
                    <a:pt x="322707" y="129540"/>
                  </a:lnTo>
                  <a:lnTo>
                    <a:pt x="318338" y="125730"/>
                  </a:lnTo>
                  <a:lnTo>
                    <a:pt x="317550" y="124421"/>
                  </a:lnTo>
                  <a:lnTo>
                    <a:pt x="317550" y="125730"/>
                  </a:lnTo>
                  <a:lnTo>
                    <a:pt x="316306" y="124460"/>
                  </a:lnTo>
                  <a:lnTo>
                    <a:pt x="315061" y="123190"/>
                  </a:lnTo>
                  <a:lnTo>
                    <a:pt x="316395" y="123190"/>
                  </a:lnTo>
                  <a:lnTo>
                    <a:pt x="317550" y="125730"/>
                  </a:lnTo>
                  <a:lnTo>
                    <a:pt x="317550" y="124421"/>
                  </a:lnTo>
                  <a:lnTo>
                    <a:pt x="316814" y="123190"/>
                  </a:lnTo>
                  <a:lnTo>
                    <a:pt x="326301" y="123190"/>
                  </a:lnTo>
                  <a:lnTo>
                    <a:pt x="326301" y="121920"/>
                  </a:lnTo>
                  <a:lnTo>
                    <a:pt x="315976" y="121920"/>
                  </a:lnTo>
                  <a:lnTo>
                    <a:pt x="315556" y="121132"/>
                  </a:lnTo>
                  <a:lnTo>
                    <a:pt x="315556" y="121920"/>
                  </a:lnTo>
                  <a:lnTo>
                    <a:pt x="313537" y="121920"/>
                  </a:lnTo>
                  <a:lnTo>
                    <a:pt x="312077" y="117144"/>
                  </a:lnTo>
                  <a:lnTo>
                    <a:pt x="312077" y="121920"/>
                  </a:lnTo>
                  <a:lnTo>
                    <a:pt x="291363" y="121920"/>
                  </a:lnTo>
                  <a:lnTo>
                    <a:pt x="296227" y="114300"/>
                  </a:lnTo>
                  <a:lnTo>
                    <a:pt x="300177" y="106680"/>
                  </a:lnTo>
                  <a:lnTo>
                    <a:pt x="303707" y="99060"/>
                  </a:lnTo>
                  <a:lnTo>
                    <a:pt x="303758" y="100330"/>
                  </a:lnTo>
                  <a:lnTo>
                    <a:pt x="304165" y="100330"/>
                  </a:lnTo>
                  <a:lnTo>
                    <a:pt x="306095" y="104140"/>
                  </a:lnTo>
                  <a:lnTo>
                    <a:pt x="307073" y="105410"/>
                  </a:lnTo>
                  <a:lnTo>
                    <a:pt x="312077" y="121920"/>
                  </a:lnTo>
                  <a:lnTo>
                    <a:pt x="312077" y="117144"/>
                  </a:lnTo>
                  <a:lnTo>
                    <a:pt x="310819" y="113030"/>
                  </a:lnTo>
                  <a:lnTo>
                    <a:pt x="312343" y="115570"/>
                  </a:lnTo>
                  <a:lnTo>
                    <a:pt x="313931" y="119380"/>
                  </a:lnTo>
                  <a:lnTo>
                    <a:pt x="315556" y="121920"/>
                  </a:lnTo>
                  <a:lnTo>
                    <a:pt x="315556" y="121132"/>
                  </a:lnTo>
                  <a:lnTo>
                    <a:pt x="313956" y="118110"/>
                  </a:lnTo>
                  <a:lnTo>
                    <a:pt x="311404" y="113030"/>
                  </a:lnTo>
                  <a:lnTo>
                    <a:pt x="310146" y="110490"/>
                  </a:lnTo>
                  <a:lnTo>
                    <a:pt x="307670" y="102870"/>
                  </a:lnTo>
                  <a:lnTo>
                    <a:pt x="306438" y="99060"/>
                  </a:lnTo>
                  <a:lnTo>
                    <a:pt x="306285" y="98602"/>
                  </a:lnTo>
                  <a:lnTo>
                    <a:pt x="306285" y="102870"/>
                  </a:lnTo>
                  <a:lnTo>
                    <a:pt x="305130" y="100330"/>
                  </a:lnTo>
                  <a:lnTo>
                    <a:pt x="304571" y="100330"/>
                  </a:lnTo>
                  <a:lnTo>
                    <a:pt x="305092" y="99110"/>
                  </a:lnTo>
                  <a:lnTo>
                    <a:pt x="306285" y="102870"/>
                  </a:lnTo>
                  <a:lnTo>
                    <a:pt x="306285" y="98602"/>
                  </a:lnTo>
                  <a:lnTo>
                    <a:pt x="305193" y="95250"/>
                  </a:lnTo>
                  <a:lnTo>
                    <a:pt x="302945" y="95250"/>
                  </a:lnTo>
                  <a:lnTo>
                    <a:pt x="303580" y="99060"/>
                  </a:lnTo>
                  <a:lnTo>
                    <a:pt x="299999" y="106680"/>
                  </a:lnTo>
                  <a:lnTo>
                    <a:pt x="296062" y="113030"/>
                  </a:lnTo>
                  <a:lnTo>
                    <a:pt x="291655" y="120650"/>
                  </a:lnTo>
                  <a:lnTo>
                    <a:pt x="286689" y="127000"/>
                  </a:lnTo>
                  <a:lnTo>
                    <a:pt x="283933" y="130810"/>
                  </a:lnTo>
                  <a:lnTo>
                    <a:pt x="280847" y="133350"/>
                  </a:lnTo>
                  <a:lnTo>
                    <a:pt x="284137" y="130810"/>
                  </a:lnTo>
                  <a:lnTo>
                    <a:pt x="288391" y="125730"/>
                  </a:lnTo>
                  <a:lnTo>
                    <a:pt x="289636" y="124460"/>
                  </a:lnTo>
                  <a:lnTo>
                    <a:pt x="290855" y="121920"/>
                  </a:lnTo>
                  <a:lnTo>
                    <a:pt x="290677" y="123190"/>
                  </a:lnTo>
                  <a:lnTo>
                    <a:pt x="293420" y="123190"/>
                  </a:lnTo>
                  <a:lnTo>
                    <a:pt x="293420" y="124460"/>
                  </a:lnTo>
                  <a:lnTo>
                    <a:pt x="292709" y="124460"/>
                  </a:lnTo>
                  <a:lnTo>
                    <a:pt x="292658" y="125730"/>
                  </a:lnTo>
                  <a:lnTo>
                    <a:pt x="292188" y="125730"/>
                  </a:lnTo>
                  <a:lnTo>
                    <a:pt x="292188" y="127000"/>
                  </a:lnTo>
                  <a:lnTo>
                    <a:pt x="292811" y="127000"/>
                  </a:lnTo>
                  <a:lnTo>
                    <a:pt x="292696" y="128270"/>
                  </a:lnTo>
                  <a:lnTo>
                    <a:pt x="292188" y="128270"/>
                  </a:lnTo>
                  <a:lnTo>
                    <a:pt x="292188" y="129540"/>
                  </a:lnTo>
                  <a:lnTo>
                    <a:pt x="292811" y="129540"/>
                  </a:lnTo>
                  <a:lnTo>
                    <a:pt x="292696" y="130810"/>
                  </a:lnTo>
                  <a:lnTo>
                    <a:pt x="292392" y="130810"/>
                  </a:lnTo>
                  <a:lnTo>
                    <a:pt x="292188" y="132080"/>
                  </a:lnTo>
                  <a:lnTo>
                    <a:pt x="293014" y="132080"/>
                  </a:lnTo>
                  <a:lnTo>
                    <a:pt x="292811" y="133350"/>
                  </a:lnTo>
                  <a:lnTo>
                    <a:pt x="292392" y="133350"/>
                  </a:lnTo>
                  <a:lnTo>
                    <a:pt x="292188" y="134620"/>
                  </a:lnTo>
                  <a:lnTo>
                    <a:pt x="293014" y="134620"/>
                  </a:lnTo>
                  <a:lnTo>
                    <a:pt x="292811" y="135890"/>
                  </a:lnTo>
                  <a:lnTo>
                    <a:pt x="292658" y="135890"/>
                  </a:lnTo>
                  <a:lnTo>
                    <a:pt x="292392" y="137160"/>
                  </a:lnTo>
                  <a:lnTo>
                    <a:pt x="293014" y="137160"/>
                  </a:lnTo>
                  <a:lnTo>
                    <a:pt x="292811" y="138430"/>
                  </a:lnTo>
                  <a:lnTo>
                    <a:pt x="292658" y="139700"/>
                  </a:lnTo>
                  <a:lnTo>
                    <a:pt x="292188" y="139700"/>
                  </a:lnTo>
                  <a:lnTo>
                    <a:pt x="292404" y="140970"/>
                  </a:lnTo>
                  <a:lnTo>
                    <a:pt x="292696" y="140970"/>
                  </a:lnTo>
                  <a:lnTo>
                    <a:pt x="292658" y="142240"/>
                  </a:lnTo>
                  <a:lnTo>
                    <a:pt x="292188" y="142240"/>
                  </a:lnTo>
                  <a:lnTo>
                    <a:pt x="292404" y="143510"/>
                  </a:lnTo>
                  <a:lnTo>
                    <a:pt x="292696" y="143510"/>
                  </a:lnTo>
                  <a:lnTo>
                    <a:pt x="292658" y="144780"/>
                  </a:lnTo>
                  <a:lnTo>
                    <a:pt x="292188" y="144780"/>
                  </a:lnTo>
                  <a:lnTo>
                    <a:pt x="292188" y="146050"/>
                  </a:lnTo>
                  <a:lnTo>
                    <a:pt x="292696" y="146050"/>
                  </a:lnTo>
                  <a:lnTo>
                    <a:pt x="292658" y="147320"/>
                  </a:lnTo>
                  <a:lnTo>
                    <a:pt x="292188" y="147320"/>
                  </a:lnTo>
                  <a:lnTo>
                    <a:pt x="292188" y="148590"/>
                  </a:lnTo>
                  <a:lnTo>
                    <a:pt x="292811" y="148590"/>
                  </a:lnTo>
                  <a:lnTo>
                    <a:pt x="292696" y="149860"/>
                  </a:lnTo>
                  <a:lnTo>
                    <a:pt x="292188" y="149860"/>
                  </a:lnTo>
                  <a:lnTo>
                    <a:pt x="292188" y="151130"/>
                  </a:lnTo>
                  <a:lnTo>
                    <a:pt x="293420" y="151130"/>
                  </a:lnTo>
                  <a:lnTo>
                    <a:pt x="290779" y="161290"/>
                  </a:lnTo>
                  <a:lnTo>
                    <a:pt x="287921" y="171450"/>
                  </a:lnTo>
                  <a:lnTo>
                    <a:pt x="284835" y="181610"/>
                  </a:lnTo>
                  <a:lnTo>
                    <a:pt x="281457" y="191770"/>
                  </a:lnTo>
                  <a:lnTo>
                    <a:pt x="280212" y="195580"/>
                  </a:lnTo>
                  <a:lnTo>
                    <a:pt x="278879" y="199390"/>
                  </a:lnTo>
                  <a:lnTo>
                    <a:pt x="277482" y="203200"/>
                  </a:lnTo>
                  <a:lnTo>
                    <a:pt x="277177" y="202552"/>
                  </a:lnTo>
                  <a:lnTo>
                    <a:pt x="277177" y="203200"/>
                  </a:lnTo>
                  <a:lnTo>
                    <a:pt x="276021" y="205740"/>
                  </a:lnTo>
                  <a:lnTo>
                    <a:pt x="274840" y="209550"/>
                  </a:lnTo>
                  <a:lnTo>
                    <a:pt x="270611" y="218440"/>
                  </a:lnTo>
                  <a:lnTo>
                    <a:pt x="267309" y="224790"/>
                  </a:lnTo>
                  <a:lnTo>
                    <a:pt x="263385" y="229870"/>
                  </a:lnTo>
                  <a:lnTo>
                    <a:pt x="259435" y="236220"/>
                  </a:lnTo>
                  <a:lnTo>
                    <a:pt x="254850" y="241300"/>
                  </a:lnTo>
                  <a:lnTo>
                    <a:pt x="248831" y="246380"/>
                  </a:lnTo>
                  <a:lnTo>
                    <a:pt x="244436" y="246380"/>
                  </a:lnTo>
                  <a:lnTo>
                    <a:pt x="244436" y="335280"/>
                  </a:lnTo>
                  <a:lnTo>
                    <a:pt x="243497" y="334645"/>
                  </a:lnTo>
                  <a:lnTo>
                    <a:pt x="243497" y="337820"/>
                  </a:lnTo>
                  <a:lnTo>
                    <a:pt x="229069" y="346710"/>
                  </a:lnTo>
                  <a:lnTo>
                    <a:pt x="226733" y="345262"/>
                  </a:lnTo>
                  <a:lnTo>
                    <a:pt x="226733" y="347980"/>
                  </a:lnTo>
                  <a:lnTo>
                    <a:pt x="212509" y="356870"/>
                  </a:lnTo>
                  <a:lnTo>
                    <a:pt x="213156" y="340360"/>
                  </a:lnTo>
                  <a:lnTo>
                    <a:pt x="226733" y="347980"/>
                  </a:lnTo>
                  <a:lnTo>
                    <a:pt x="226733" y="345262"/>
                  </a:lnTo>
                  <a:lnTo>
                    <a:pt x="218897" y="340360"/>
                  </a:lnTo>
                  <a:lnTo>
                    <a:pt x="214833" y="337820"/>
                  </a:lnTo>
                  <a:lnTo>
                    <a:pt x="216903" y="336550"/>
                  </a:lnTo>
                  <a:lnTo>
                    <a:pt x="229349" y="328930"/>
                  </a:lnTo>
                  <a:lnTo>
                    <a:pt x="243497" y="337820"/>
                  </a:lnTo>
                  <a:lnTo>
                    <a:pt x="243497" y="334645"/>
                  </a:lnTo>
                  <a:lnTo>
                    <a:pt x="235204" y="328930"/>
                  </a:lnTo>
                  <a:lnTo>
                    <a:pt x="231508" y="326390"/>
                  </a:lnTo>
                  <a:lnTo>
                    <a:pt x="233591" y="325120"/>
                  </a:lnTo>
                  <a:lnTo>
                    <a:pt x="243979" y="318770"/>
                  </a:lnTo>
                  <a:lnTo>
                    <a:pt x="244436" y="335280"/>
                  </a:lnTo>
                  <a:lnTo>
                    <a:pt x="244436" y="246380"/>
                  </a:lnTo>
                  <a:lnTo>
                    <a:pt x="244055" y="232410"/>
                  </a:lnTo>
                  <a:lnTo>
                    <a:pt x="243852" y="225247"/>
                  </a:lnTo>
                  <a:lnTo>
                    <a:pt x="243852" y="313690"/>
                  </a:lnTo>
                  <a:lnTo>
                    <a:pt x="241211" y="311785"/>
                  </a:lnTo>
                  <a:lnTo>
                    <a:pt x="241211" y="314960"/>
                  </a:lnTo>
                  <a:lnTo>
                    <a:pt x="241134" y="317500"/>
                  </a:lnTo>
                  <a:lnTo>
                    <a:pt x="229349" y="325120"/>
                  </a:lnTo>
                  <a:lnTo>
                    <a:pt x="227177" y="323723"/>
                  </a:lnTo>
                  <a:lnTo>
                    <a:pt x="227177" y="326390"/>
                  </a:lnTo>
                  <a:lnTo>
                    <a:pt x="213296" y="336550"/>
                  </a:lnTo>
                  <a:lnTo>
                    <a:pt x="213995" y="317500"/>
                  </a:lnTo>
                  <a:lnTo>
                    <a:pt x="227177" y="326390"/>
                  </a:lnTo>
                  <a:lnTo>
                    <a:pt x="227177" y="323723"/>
                  </a:lnTo>
                  <a:lnTo>
                    <a:pt x="217538" y="317500"/>
                  </a:lnTo>
                  <a:lnTo>
                    <a:pt x="241134" y="317500"/>
                  </a:lnTo>
                  <a:lnTo>
                    <a:pt x="241134" y="314960"/>
                  </a:lnTo>
                  <a:lnTo>
                    <a:pt x="217512" y="314960"/>
                  </a:lnTo>
                  <a:lnTo>
                    <a:pt x="219214" y="313690"/>
                  </a:lnTo>
                  <a:lnTo>
                    <a:pt x="229425" y="306070"/>
                  </a:lnTo>
                  <a:lnTo>
                    <a:pt x="241211" y="314960"/>
                  </a:lnTo>
                  <a:lnTo>
                    <a:pt x="241211" y="311785"/>
                  </a:lnTo>
                  <a:lnTo>
                    <a:pt x="233324" y="306070"/>
                  </a:lnTo>
                  <a:lnTo>
                    <a:pt x="231571" y="304800"/>
                  </a:lnTo>
                  <a:lnTo>
                    <a:pt x="233540" y="303530"/>
                  </a:lnTo>
                  <a:lnTo>
                    <a:pt x="243395" y="297180"/>
                  </a:lnTo>
                  <a:lnTo>
                    <a:pt x="243852" y="313690"/>
                  </a:lnTo>
                  <a:lnTo>
                    <a:pt x="243852" y="225247"/>
                  </a:lnTo>
                  <a:lnTo>
                    <a:pt x="243840" y="224790"/>
                  </a:lnTo>
                  <a:lnTo>
                    <a:pt x="243357" y="207010"/>
                  </a:lnTo>
                  <a:lnTo>
                    <a:pt x="243255" y="203327"/>
                  </a:lnTo>
                  <a:lnTo>
                    <a:pt x="243255" y="292100"/>
                  </a:lnTo>
                  <a:lnTo>
                    <a:pt x="242506" y="291528"/>
                  </a:lnTo>
                  <a:lnTo>
                    <a:pt x="242506" y="294640"/>
                  </a:lnTo>
                  <a:lnTo>
                    <a:pt x="229438" y="303530"/>
                  </a:lnTo>
                  <a:lnTo>
                    <a:pt x="227291" y="302056"/>
                  </a:lnTo>
                  <a:lnTo>
                    <a:pt x="227291" y="304800"/>
                  </a:lnTo>
                  <a:lnTo>
                    <a:pt x="214147" y="313690"/>
                  </a:lnTo>
                  <a:lnTo>
                    <a:pt x="214807" y="295910"/>
                  </a:lnTo>
                  <a:lnTo>
                    <a:pt x="227291" y="304800"/>
                  </a:lnTo>
                  <a:lnTo>
                    <a:pt x="227291" y="302056"/>
                  </a:lnTo>
                  <a:lnTo>
                    <a:pt x="218414" y="295910"/>
                  </a:lnTo>
                  <a:lnTo>
                    <a:pt x="216573" y="294640"/>
                  </a:lnTo>
                  <a:lnTo>
                    <a:pt x="218211" y="293370"/>
                  </a:lnTo>
                  <a:lnTo>
                    <a:pt x="229641" y="284480"/>
                  </a:lnTo>
                  <a:lnTo>
                    <a:pt x="242506" y="294640"/>
                  </a:lnTo>
                  <a:lnTo>
                    <a:pt x="242506" y="291528"/>
                  </a:lnTo>
                  <a:lnTo>
                    <a:pt x="233286" y="284480"/>
                  </a:lnTo>
                  <a:lnTo>
                    <a:pt x="231622" y="283210"/>
                  </a:lnTo>
                  <a:lnTo>
                    <a:pt x="233222" y="281940"/>
                  </a:lnTo>
                  <a:lnTo>
                    <a:pt x="242773" y="274320"/>
                  </a:lnTo>
                  <a:lnTo>
                    <a:pt x="243255" y="292100"/>
                  </a:lnTo>
                  <a:lnTo>
                    <a:pt x="243255" y="203327"/>
                  </a:lnTo>
                  <a:lnTo>
                    <a:pt x="243217" y="201930"/>
                  </a:lnTo>
                  <a:lnTo>
                    <a:pt x="242760" y="185420"/>
                  </a:lnTo>
                  <a:lnTo>
                    <a:pt x="242735" y="184150"/>
                  </a:lnTo>
                  <a:lnTo>
                    <a:pt x="244030" y="182880"/>
                  </a:lnTo>
                  <a:lnTo>
                    <a:pt x="246659" y="180340"/>
                  </a:lnTo>
                  <a:lnTo>
                    <a:pt x="257162" y="170180"/>
                  </a:lnTo>
                  <a:lnTo>
                    <a:pt x="261099" y="166370"/>
                  </a:lnTo>
                  <a:lnTo>
                    <a:pt x="263842" y="172720"/>
                  </a:lnTo>
                  <a:lnTo>
                    <a:pt x="266649" y="180340"/>
                  </a:lnTo>
                  <a:lnTo>
                    <a:pt x="269544" y="186715"/>
                  </a:lnTo>
                  <a:lnTo>
                    <a:pt x="272503" y="193040"/>
                  </a:lnTo>
                  <a:lnTo>
                    <a:pt x="274015" y="196850"/>
                  </a:lnTo>
                  <a:lnTo>
                    <a:pt x="277177" y="203200"/>
                  </a:lnTo>
                  <a:lnTo>
                    <a:pt x="277177" y="202552"/>
                  </a:lnTo>
                  <a:lnTo>
                    <a:pt x="274497" y="196850"/>
                  </a:lnTo>
                  <a:lnTo>
                    <a:pt x="270078" y="186690"/>
                  </a:lnTo>
                  <a:lnTo>
                    <a:pt x="267182" y="179070"/>
                  </a:lnTo>
                  <a:lnTo>
                    <a:pt x="264261" y="172466"/>
                  </a:lnTo>
                  <a:lnTo>
                    <a:pt x="261620" y="166370"/>
                  </a:lnTo>
                  <a:lnTo>
                    <a:pt x="264223" y="163830"/>
                  </a:lnTo>
                  <a:lnTo>
                    <a:pt x="270725" y="157480"/>
                  </a:lnTo>
                  <a:lnTo>
                    <a:pt x="271589" y="154940"/>
                  </a:lnTo>
                  <a:lnTo>
                    <a:pt x="271983" y="153670"/>
                  </a:lnTo>
                  <a:lnTo>
                    <a:pt x="277152" y="137160"/>
                  </a:lnTo>
                  <a:lnTo>
                    <a:pt x="278384" y="135890"/>
                  </a:lnTo>
                  <a:lnTo>
                    <a:pt x="280847" y="133350"/>
                  </a:lnTo>
                  <a:lnTo>
                    <a:pt x="277380" y="135890"/>
                  </a:lnTo>
                  <a:lnTo>
                    <a:pt x="279755" y="128270"/>
                  </a:lnTo>
                  <a:lnTo>
                    <a:pt x="299504" y="64770"/>
                  </a:lnTo>
                  <a:lnTo>
                    <a:pt x="306603" y="41910"/>
                  </a:lnTo>
                  <a:lnTo>
                    <a:pt x="308305" y="35560"/>
                  </a:lnTo>
                  <a:lnTo>
                    <a:pt x="308991" y="33020"/>
                  </a:lnTo>
                  <a:lnTo>
                    <a:pt x="336511" y="33020"/>
                  </a:lnTo>
                  <a:lnTo>
                    <a:pt x="337337" y="35560"/>
                  </a:lnTo>
                  <a:lnTo>
                    <a:pt x="337045" y="35560"/>
                  </a:lnTo>
                  <a:lnTo>
                    <a:pt x="336829" y="36830"/>
                  </a:lnTo>
                  <a:lnTo>
                    <a:pt x="337210" y="38100"/>
                  </a:lnTo>
                  <a:lnTo>
                    <a:pt x="337731" y="38100"/>
                  </a:lnTo>
                  <a:lnTo>
                    <a:pt x="337591" y="39370"/>
                  </a:lnTo>
                  <a:lnTo>
                    <a:pt x="337121" y="39370"/>
                  </a:lnTo>
                  <a:lnTo>
                    <a:pt x="336829" y="40640"/>
                  </a:lnTo>
                  <a:lnTo>
                    <a:pt x="336829" y="41910"/>
                  </a:lnTo>
                  <a:lnTo>
                    <a:pt x="337731" y="41910"/>
                  </a:lnTo>
                  <a:lnTo>
                    <a:pt x="337591" y="43180"/>
                  </a:lnTo>
                  <a:lnTo>
                    <a:pt x="337121" y="44450"/>
                  </a:lnTo>
                  <a:lnTo>
                    <a:pt x="336829" y="44450"/>
                  </a:lnTo>
                  <a:lnTo>
                    <a:pt x="336829" y="45720"/>
                  </a:lnTo>
                  <a:lnTo>
                    <a:pt x="337972" y="45720"/>
                  </a:lnTo>
                  <a:lnTo>
                    <a:pt x="337731" y="46990"/>
                  </a:lnTo>
                  <a:lnTo>
                    <a:pt x="337591" y="46990"/>
                  </a:lnTo>
                  <a:lnTo>
                    <a:pt x="337540" y="48260"/>
                  </a:lnTo>
                  <a:lnTo>
                    <a:pt x="336829" y="48260"/>
                  </a:lnTo>
                  <a:lnTo>
                    <a:pt x="336829" y="49530"/>
                  </a:lnTo>
                  <a:lnTo>
                    <a:pt x="337972" y="49530"/>
                  </a:lnTo>
                  <a:lnTo>
                    <a:pt x="337731" y="50800"/>
                  </a:lnTo>
                  <a:lnTo>
                    <a:pt x="337591" y="50800"/>
                  </a:lnTo>
                  <a:lnTo>
                    <a:pt x="337540" y="52070"/>
                  </a:lnTo>
                  <a:lnTo>
                    <a:pt x="336829" y="52070"/>
                  </a:lnTo>
                  <a:lnTo>
                    <a:pt x="336829" y="53340"/>
                  </a:lnTo>
                  <a:lnTo>
                    <a:pt x="337972" y="53340"/>
                  </a:lnTo>
                  <a:lnTo>
                    <a:pt x="337731" y="54610"/>
                  </a:lnTo>
                  <a:lnTo>
                    <a:pt x="337591" y="54610"/>
                  </a:lnTo>
                  <a:lnTo>
                    <a:pt x="337540" y="55880"/>
                  </a:lnTo>
                  <a:lnTo>
                    <a:pt x="336829" y="55880"/>
                  </a:lnTo>
                  <a:lnTo>
                    <a:pt x="336829" y="57150"/>
                  </a:lnTo>
                  <a:lnTo>
                    <a:pt x="337210" y="58420"/>
                  </a:lnTo>
                  <a:lnTo>
                    <a:pt x="337731" y="58420"/>
                  </a:lnTo>
                  <a:lnTo>
                    <a:pt x="337591" y="59690"/>
                  </a:lnTo>
                  <a:lnTo>
                    <a:pt x="337121" y="59690"/>
                  </a:lnTo>
                  <a:lnTo>
                    <a:pt x="336829" y="60960"/>
                  </a:lnTo>
                  <a:lnTo>
                    <a:pt x="337210" y="62230"/>
                  </a:lnTo>
                  <a:lnTo>
                    <a:pt x="337731" y="62230"/>
                  </a:lnTo>
                  <a:lnTo>
                    <a:pt x="337591" y="63500"/>
                  </a:lnTo>
                  <a:lnTo>
                    <a:pt x="337121" y="63500"/>
                  </a:lnTo>
                  <a:lnTo>
                    <a:pt x="336829" y="64770"/>
                  </a:lnTo>
                  <a:lnTo>
                    <a:pt x="336829" y="66040"/>
                  </a:lnTo>
                  <a:lnTo>
                    <a:pt x="337731" y="66040"/>
                  </a:lnTo>
                  <a:lnTo>
                    <a:pt x="337591" y="67310"/>
                  </a:lnTo>
                  <a:lnTo>
                    <a:pt x="337121" y="68580"/>
                  </a:lnTo>
                  <a:lnTo>
                    <a:pt x="336829" y="68580"/>
                  </a:lnTo>
                  <a:lnTo>
                    <a:pt x="336829" y="69850"/>
                  </a:lnTo>
                  <a:lnTo>
                    <a:pt x="337972" y="69850"/>
                  </a:lnTo>
                  <a:lnTo>
                    <a:pt x="337731" y="71120"/>
                  </a:lnTo>
                  <a:lnTo>
                    <a:pt x="337591" y="71120"/>
                  </a:lnTo>
                  <a:lnTo>
                    <a:pt x="337540" y="72390"/>
                  </a:lnTo>
                  <a:lnTo>
                    <a:pt x="336829" y="72390"/>
                  </a:lnTo>
                  <a:lnTo>
                    <a:pt x="336829" y="73660"/>
                  </a:lnTo>
                  <a:lnTo>
                    <a:pt x="338683" y="73660"/>
                  </a:lnTo>
                  <a:lnTo>
                    <a:pt x="338683" y="31750"/>
                  </a:lnTo>
                  <a:lnTo>
                    <a:pt x="336296" y="31750"/>
                  </a:lnTo>
                  <a:lnTo>
                    <a:pt x="330212" y="13970"/>
                  </a:lnTo>
                  <a:lnTo>
                    <a:pt x="325729" y="0"/>
                  </a:lnTo>
                  <a:lnTo>
                    <a:pt x="325094" y="88"/>
                  </a:lnTo>
                  <a:lnTo>
                    <a:pt x="329628" y="13970"/>
                  </a:lnTo>
                  <a:lnTo>
                    <a:pt x="335648" y="31750"/>
                  </a:lnTo>
                  <a:lnTo>
                    <a:pt x="309765" y="31750"/>
                  </a:lnTo>
                  <a:lnTo>
                    <a:pt x="312826" y="21590"/>
                  </a:lnTo>
                  <a:lnTo>
                    <a:pt x="315874" y="11430"/>
                  </a:lnTo>
                  <a:lnTo>
                    <a:pt x="317804" y="7620"/>
                  </a:lnTo>
                  <a:lnTo>
                    <a:pt x="318452" y="6350"/>
                  </a:lnTo>
                  <a:lnTo>
                    <a:pt x="320814" y="1270"/>
                  </a:lnTo>
                  <a:lnTo>
                    <a:pt x="320954" y="660"/>
                  </a:lnTo>
                  <a:lnTo>
                    <a:pt x="320306" y="762"/>
                  </a:lnTo>
                  <a:lnTo>
                    <a:pt x="320306" y="1270"/>
                  </a:lnTo>
                  <a:lnTo>
                    <a:pt x="318960" y="3810"/>
                  </a:lnTo>
                  <a:lnTo>
                    <a:pt x="317093" y="7620"/>
                  </a:lnTo>
                  <a:lnTo>
                    <a:pt x="319138" y="1270"/>
                  </a:lnTo>
                  <a:lnTo>
                    <a:pt x="320306" y="1270"/>
                  </a:lnTo>
                  <a:lnTo>
                    <a:pt x="320306" y="762"/>
                  </a:lnTo>
                  <a:lnTo>
                    <a:pt x="316534" y="1270"/>
                  </a:lnTo>
                  <a:lnTo>
                    <a:pt x="311073" y="19050"/>
                  </a:lnTo>
                  <a:lnTo>
                    <a:pt x="310197" y="20421"/>
                  </a:lnTo>
                  <a:lnTo>
                    <a:pt x="310197" y="21590"/>
                  </a:lnTo>
                  <a:lnTo>
                    <a:pt x="307251" y="31750"/>
                  </a:lnTo>
                  <a:lnTo>
                    <a:pt x="305790" y="31750"/>
                  </a:lnTo>
                  <a:lnTo>
                    <a:pt x="305790" y="35560"/>
                  </a:lnTo>
                  <a:lnTo>
                    <a:pt x="304101" y="41910"/>
                  </a:lnTo>
                  <a:lnTo>
                    <a:pt x="296824" y="64770"/>
                  </a:lnTo>
                  <a:lnTo>
                    <a:pt x="295935" y="63639"/>
                  </a:lnTo>
                  <a:lnTo>
                    <a:pt x="295935" y="67310"/>
                  </a:lnTo>
                  <a:lnTo>
                    <a:pt x="278638" y="123190"/>
                  </a:lnTo>
                  <a:lnTo>
                    <a:pt x="277317" y="124320"/>
                  </a:lnTo>
                  <a:lnTo>
                    <a:pt x="277317" y="128270"/>
                  </a:lnTo>
                  <a:lnTo>
                    <a:pt x="274243" y="138430"/>
                  </a:lnTo>
                  <a:lnTo>
                    <a:pt x="274002" y="138518"/>
                  </a:lnTo>
                  <a:lnTo>
                    <a:pt x="269379" y="153670"/>
                  </a:lnTo>
                  <a:lnTo>
                    <a:pt x="267576" y="150914"/>
                  </a:lnTo>
                  <a:lnTo>
                    <a:pt x="267576" y="154940"/>
                  </a:lnTo>
                  <a:lnTo>
                    <a:pt x="266661" y="154940"/>
                  </a:lnTo>
                  <a:lnTo>
                    <a:pt x="266661" y="157480"/>
                  </a:lnTo>
                  <a:lnTo>
                    <a:pt x="260667" y="163830"/>
                  </a:lnTo>
                  <a:lnTo>
                    <a:pt x="260159" y="162509"/>
                  </a:lnTo>
                  <a:lnTo>
                    <a:pt x="260159" y="163830"/>
                  </a:lnTo>
                  <a:lnTo>
                    <a:pt x="253034" y="170180"/>
                  </a:lnTo>
                  <a:lnTo>
                    <a:pt x="251256" y="167881"/>
                  </a:lnTo>
                  <a:lnTo>
                    <a:pt x="251256" y="172720"/>
                  </a:lnTo>
                  <a:lnTo>
                    <a:pt x="242646" y="180327"/>
                  </a:lnTo>
                  <a:lnTo>
                    <a:pt x="242646" y="269240"/>
                  </a:lnTo>
                  <a:lnTo>
                    <a:pt x="240347" y="267373"/>
                  </a:lnTo>
                  <a:lnTo>
                    <a:pt x="240347" y="270510"/>
                  </a:lnTo>
                  <a:lnTo>
                    <a:pt x="240334" y="273050"/>
                  </a:lnTo>
                  <a:lnTo>
                    <a:pt x="229641" y="281940"/>
                  </a:lnTo>
                  <a:lnTo>
                    <a:pt x="227672" y="280289"/>
                  </a:lnTo>
                  <a:lnTo>
                    <a:pt x="227672" y="283210"/>
                  </a:lnTo>
                  <a:lnTo>
                    <a:pt x="214947" y="293370"/>
                  </a:lnTo>
                  <a:lnTo>
                    <a:pt x="215684" y="273050"/>
                  </a:lnTo>
                  <a:lnTo>
                    <a:pt x="227672" y="283210"/>
                  </a:lnTo>
                  <a:lnTo>
                    <a:pt x="227672" y="280289"/>
                  </a:lnTo>
                  <a:lnTo>
                    <a:pt x="219062" y="273050"/>
                  </a:lnTo>
                  <a:lnTo>
                    <a:pt x="240334" y="273050"/>
                  </a:lnTo>
                  <a:lnTo>
                    <a:pt x="240334" y="270510"/>
                  </a:lnTo>
                  <a:lnTo>
                    <a:pt x="219113" y="270510"/>
                  </a:lnTo>
                  <a:lnTo>
                    <a:pt x="229768" y="261620"/>
                  </a:lnTo>
                  <a:lnTo>
                    <a:pt x="240347" y="270510"/>
                  </a:lnTo>
                  <a:lnTo>
                    <a:pt x="240347" y="267373"/>
                  </a:lnTo>
                  <a:lnTo>
                    <a:pt x="233311" y="261620"/>
                  </a:lnTo>
                  <a:lnTo>
                    <a:pt x="231749" y="260350"/>
                  </a:lnTo>
                  <a:lnTo>
                    <a:pt x="233489" y="259080"/>
                  </a:lnTo>
                  <a:lnTo>
                    <a:pt x="242189" y="252730"/>
                  </a:lnTo>
                  <a:lnTo>
                    <a:pt x="242646" y="269240"/>
                  </a:lnTo>
                  <a:lnTo>
                    <a:pt x="242646" y="180327"/>
                  </a:lnTo>
                  <a:lnTo>
                    <a:pt x="242087" y="160020"/>
                  </a:lnTo>
                  <a:lnTo>
                    <a:pt x="251256" y="172720"/>
                  </a:lnTo>
                  <a:lnTo>
                    <a:pt x="251256" y="167881"/>
                  </a:lnTo>
                  <a:lnTo>
                    <a:pt x="245211" y="160020"/>
                  </a:lnTo>
                  <a:lnTo>
                    <a:pt x="244233" y="158750"/>
                  </a:lnTo>
                  <a:lnTo>
                    <a:pt x="243255" y="157480"/>
                  </a:lnTo>
                  <a:lnTo>
                    <a:pt x="257771" y="157480"/>
                  </a:lnTo>
                  <a:lnTo>
                    <a:pt x="260159" y="163830"/>
                  </a:lnTo>
                  <a:lnTo>
                    <a:pt x="260159" y="162509"/>
                  </a:lnTo>
                  <a:lnTo>
                    <a:pt x="259207" y="160020"/>
                  </a:lnTo>
                  <a:lnTo>
                    <a:pt x="258495" y="157480"/>
                  </a:lnTo>
                  <a:lnTo>
                    <a:pt x="266661" y="157480"/>
                  </a:lnTo>
                  <a:lnTo>
                    <a:pt x="266661" y="154940"/>
                  </a:lnTo>
                  <a:lnTo>
                    <a:pt x="257530" y="154940"/>
                  </a:lnTo>
                  <a:lnTo>
                    <a:pt x="256819" y="153238"/>
                  </a:lnTo>
                  <a:lnTo>
                    <a:pt x="256819" y="154940"/>
                  </a:lnTo>
                  <a:lnTo>
                    <a:pt x="244195" y="154940"/>
                  </a:lnTo>
                  <a:lnTo>
                    <a:pt x="253860" y="147320"/>
                  </a:lnTo>
                  <a:lnTo>
                    <a:pt x="255816" y="152400"/>
                  </a:lnTo>
                  <a:lnTo>
                    <a:pt x="256819" y="154940"/>
                  </a:lnTo>
                  <a:lnTo>
                    <a:pt x="256819" y="153238"/>
                  </a:lnTo>
                  <a:lnTo>
                    <a:pt x="256476" y="152400"/>
                  </a:lnTo>
                  <a:lnTo>
                    <a:pt x="254419" y="147320"/>
                  </a:lnTo>
                  <a:lnTo>
                    <a:pt x="257263" y="144780"/>
                  </a:lnTo>
                  <a:lnTo>
                    <a:pt x="258686" y="143510"/>
                  </a:lnTo>
                  <a:lnTo>
                    <a:pt x="260134" y="143510"/>
                  </a:lnTo>
                  <a:lnTo>
                    <a:pt x="267576" y="154940"/>
                  </a:lnTo>
                  <a:lnTo>
                    <a:pt x="267576" y="150914"/>
                  </a:lnTo>
                  <a:lnTo>
                    <a:pt x="262750" y="143510"/>
                  </a:lnTo>
                  <a:lnTo>
                    <a:pt x="266725" y="142240"/>
                  </a:lnTo>
                  <a:lnTo>
                    <a:pt x="270560" y="140970"/>
                  </a:lnTo>
                  <a:lnTo>
                    <a:pt x="273824" y="138582"/>
                  </a:lnTo>
                  <a:lnTo>
                    <a:pt x="270637" y="139700"/>
                  </a:lnTo>
                  <a:lnTo>
                    <a:pt x="266611" y="142240"/>
                  </a:lnTo>
                  <a:lnTo>
                    <a:pt x="262445" y="142240"/>
                  </a:lnTo>
                  <a:lnTo>
                    <a:pt x="261569" y="140970"/>
                  </a:lnTo>
                  <a:lnTo>
                    <a:pt x="277317" y="128270"/>
                  </a:lnTo>
                  <a:lnTo>
                    <a:pt x="277317" y="124320"/>
                  </a:lnTo>
                  <a:lnTo>
                    <a:pt x="259321" y="139700"/>
                  </a:lnTo>
                  <a:lnTo>
                    <a:pt x="258381" y="140970"/>
                  </a:lnTo>
                  <a:lnTo>
                    <a:pt x="255562" y="142240"/>
                  </a:lnTo>
                  <a:lnTo>
                    <a:pt x="254952" y="142240"/>
                  </a:lnTo>
                  <a:lnTo>
                    <a:pt x="254952" y="143510"/>
                  </a:lnTo>
                  <a:lnTo>
                    <a:pt x="253530" y="144780"/>
                  </a:lnTo>
                  <a:lnTo>
                    <a:pt x="253161" y="143510"/>
                  </a:lnTo>
                  <a:lnTo>
                    <a:pt x="254952" y="143510"/>
                  </a:lnTo>
                  <a:lnTo>
                    <a:pt x="254952" y="142240"/>
                  </a:lnTo>
                  <a:lnTo>
                    <a:pt x="252958" y="142240"/>
                  </a:lnTo>
                  <a:lnTo>
                    <a:pt x="252958" y="144780"/>
                  </a:lnTo>
                  <a:lnTo>
                    <a:pt x="242036" y="153581"/>
                  </a:lnTo>
                  <a:lnTo>
                    <a:pt x="242036" y="246380"/>
                  </a:lnTo>
                  <a:lnTo>
                    <a:pt x="241477" y="246380"/>
                  </a:lnTo>
                  <a:lnTo>
                    <a:pt x="241147" y="246113"/>
                  </a:lnTo>
                  <a:lnTo>
                    <a:pt x="241147" y="250190"/>
                  </a:lnTo>
                  <a:lnTo>
                    <a:pt x="237324" y="251460"/>
                  </a:lnTo>
                  <a:lnTo>
                    <a:pt x="240182" y="251460"/>
                  </a:lnTo>
                  <a:lnTo>
                    <a:pt x="229755" y="259080"/>
                  </a:lnTo>
                  <a:lnTo>
                    <a:pt x="227761" y="257619"/>
                  </a:lnTo>
                  <a:lnTo>
                    <a:pt x="227761" y="260350"/>
                  </a:lnTo>
                  <a:lnTo>
                    <a:pt x="215811" y="270510"/>
                  </a:lnTo>
                  <a:lnTo>
                    <a:pt x="216484" y="252730"/>
                  </a:lnTo>
                  <a:lnTo>
                    <a:pt x="219684" y="255270"/>
                  </a:lnTo>
                  <a:lnTo>
                    <a:pt x="227761" y="260350"/>
                  </a:lnTo>
                  <a:lnTo>
                    <a:pt x="227761" y="257619"/>
                  </a:lnTo>
                  <a:lnTo>
                    <a:pt x="221107" y="252730"/>
                  </a:lnTo>
                  <a:lnTo>
                    <a:pt x="217639" y="250190"/>
                  </a:lnTo>
                  <a:lnTo>
                    <a:pt x="219837" y="248920"/>
                  </a:lnTo>
                  <a:lnTo>
                    <a:pt x="222783" y="250190"/>
                  </a:lnTo>
                  <a:lnTo>
                    <a:pt x="225882" y="251460"/>
                  </a:lnTo>
                  <a:lnTo>
                    <a:pt x="229146" y="251460"/>
                  </a:lnTo>
                  <a:lnTo>
                    <a:pt x="232841" y="252730"/>
                  </a:lnTo>
                  <a:lnTo>
                    <a:pt x="236601" y="251460"/>
                  </a:lnTo>
                  <a:lnTo>
                    <a:pt x="229273" y="251460"/>
                  </a:lnTo>
                  <a:lnTo>
                    <a:pt x="226250" y="250190"/>
                  </a:lnTo>
                  <a:lnTo>
                    <a:pt x="223354" y="248920"/>
                  </a:lnTo>
                  <a:lnTo>
                    <a:pt x="220586" y="247650"/>
                  </a:lnTo>
                  <a:lnTo>
                    <a:pt x="222923" y="246380"/>
                  </a:lnTo>
                  <a:lnTo>
                    <a:pt x="225247" y="245110"/>
                  </a:lnTo>
                  <a:lnTo>
                    <a:pt x="226910" y="245110"/>
                  </a:lnTo>
                  <a:lnTo>
                    <a:pt x="228600" y="246380"/>
                  </a:lnTo>
                  <a:lnTo>
                    <a:pt x="233070" y="247650"/>
                  </a:lnTo>
                  <a:lnTo>
                    <a:pt x="238721" y="247650"/>
                  </a:lnTo>
                  <a:lnTo>
                    <a:pt x="241147" y="250190"/>
                  </a:lnTo>
                  <a:lnTo>
                    <a:pt x="241147" y="246113"/>
                  </a:lnTo>
                  <a:lnTo>
                    <a:pt x="237401" y="242963"/>
                  </a:lnTo>
                  <a:lnTo>
                    <a:pt x="237401" y="246380"/>
                  </a:lnTo>
                  <a:lnTo>
                    <a:pt x="232816" y="246380"/>
                  </a:lnTo>
                  <a:lnTo>
                    <a:pt x="229108" y="245110"/>
                  </a:lnTo>
                  <a:lnTo>
                    <a:pt x="227647" y="245110"/>
                  </a:lnTo>
                  <a:lnTo>
                    <a:pt x="226212" y="243840"/>
                  </a:lnTo>
                  <a:lnTo>
                    <a:pt x="228333" y="242570"/>
                  </a:lnTo>
                  <a:lnTo>
                    <a:pt x="230441" y="241300"/>
                  </a:lnTo>
                  <a:lnTo>
                    <a:pt x="237401" y="246380"/>
                  </a:lnTo>
                  <a:lnTo>
                    <a:pt x="237401" y="242963"/>
                  </a:lnTo>
                  <a:lnTo>
                    <a:pt x="235419" y="241300"/>
                  </a:lnTo>
                  <a:lnTo>
                    <a:pt x="232384" y="238760"/>
                  </a:lnTo>
                  <a:lnTo>
                    <a:pt x="234238" y="237490"/>
                  </a:lnTo>
                  <a:lnTo>
                    <a:pt x="241642" y="232410"/>
                  </a:lnTo>
                  <a:lnTo>
                    <a:pt x="242036" y="246380"/>
                  </a:lnTo>
                  <a:lnTo>
                    <a:pt x="242036" y="153581"/>
                  </a:lnTo>
                  <a:lnTo>
                    <a:pt x="241503" y="154012"/>
                  </a:lnTo>
                  <a:lnTo>
                    <a:pt x="241503" y="227330"/>
                  </a:lnTo>
                  <a:lnTo>
                    <a:pt x="241503" y="228600"/>
                  </a:lnTo>
                  <a:lnTo>
                    <a:pt x="230454" y="237490"/>
                  </a:lnTo>
                  <a:lnTo>
                    <a:pt x="228473" y="236143"/>
                  </a:lnTo>
                  <a:lnTo>
                    <a:pt x="228473" y="238760"/>
                  </a:lnTo>
                  <a:lnTo>
                    <a:pt x="223583" y="242570"/>
                  </a:lnTo>
                  <a:lnTo>
                    <a:pt x="222656" y="242570"/>
                  </a:lnTo>
                  <a:lnTo>
                    <a:pt x="222656" y="243840"/>
                  </a:lnTo>
                  <a:lnTo>
                    <a:pt x="218211" y="246380"/>
                  </a:lnTo>
                  <a:lnTo>
                    <a:pt x="216725" y="246380"/>
                  </a:lnTo>
                  <a:lnTo>
                    <a:pt x="216916" y="241300"/>
                  </a:lnTo>
                  <a:lnTo>
                    <a:pt x="218782" y="241300"/>
                  </a:lnTo>
                  <a:lnTo>
                    <a:pt x="222656" y="243840"/>
                  </a:lnTo>
                  <a:lnTo>
                    <a:pt x="222656" y="242570"/>
                  </a:lnTo>
                  <a:lnTo>
                    <a:pt x="221310" y="242570"/>
                  </a:lnTo>
                  <a:lnTo>
                    <a:pt x="219138" y="241300"/>
                  </a:lnTo>
                  <a:lnTo>
                    <a:pt x="216954" y="240030"/>
                  </a:lnTo>
                  <a:lnTo>
                    <a:pt x="217271" y="231140"/>
                  </a:lnTo>
                  <a:lnTo>
                    <a:pt x="220205" y="233680"/>
                  </a:lnTo>
                  <a:lnTo>
                    <a:pt x="228473" y="238760"/>
                  </a:lnTo>
                  <a:lnTo>
                    <a:pt x="228473" y="236143"/>
                  </a:lnTo>
                  <a:lnTo>
                    <a:pt x="221119" y="231140"/>
                  </a:lnTo>
                  <a:lnTo>
                    <a:pt x="217385" y="228600"/>
                  </a:lnTo>
                  <a:lnTo>
                    <a:pt x="217449" y="227330"/>
                  </a:lnTo>
                  <a:lnTo>
                    <a:pt x="221792" y="223520"/>
                  </a:lnTo>
                  <a:lnTo>
                    <a:pt x="229019" y="217170"/>
                  </a:lnTo>
                  <a:lnTo>
                    <a:pt x="241503" y="227330"/>
                  </a:lnTo>
                  <a:lnTo>
                    <a:pt x="241503" y="154012"/>
                  </a:lnTo>
                  <a:lnTo>
                    <a:pt x="241414" y="224790"/>
                  </a:lnTo>
                  <a:lnTo>
                    <a:pt x="232448" y="217170"/>
                  </a:lnTo>
                  <a:lnTo>
                    <a:pt x="230949" y="215900"/>
                  </a:lnTo>
                  <a:lnTo>
                    <a:pt x="233807" y="213360"/>
                  </a:lnTo>
                  <a:lnTo>
                    <a:pt x="240957" y="207010"/>
                  </a:lnTo>
                  <a:lnTo>
                    <a:pt x="241414" y="224790"/>
                  </a:lnTo>
                  <a:lnTo>
                    <a:pt x="241414" y="154089"/>
                  </a:lnTo>
                  <a:lnTo>
                    <a:pt x="240830" y="154559"/>
                  </a:lnTo>
                  <a:lnTo>
                    <a:pt x="240830" y="201930"/>
                  </a:lnTo>
                  <a:lnTo>
                    <a:pt x="240207" y="201371"/>
                  </a:lnTo>
                  <a:lnTo>
                    <a:pt x="240207" y="204470"/>
                  </a:lnTo>
                  <a:lnTo>
                    <a:pt x="229044" y="213360"/>
                  </a:lnTo>
                  <a:lnTo>
                    <a:pt x="227126" y="211785"/>
                  </a:lnTo>
                  <a:lnTo>
                    <a:pt x="227126" y="215900"/>
                  </a:lnTo>
                  <a:lnTo>
                    <a:pt x="217563" y="223520"/>
                  </a:lnTo>
                  <a:lnTo>
                    <a:pt x="218160" y="208280"/>
                  </a:lnTo>
                  <a:lnTo>
                    <a:pt x="227126" y="215900"/>
                  </a:lnTo>
                  <a:lnTo>
                    <a:pt x="227126" y="211785"/>
                  </a:lnTo>
                  <a:lnTo>
                    <a:pt x="222897" y="208280"/>
                  </a:lnTo>
                  <a:lnTo>
                    <a:pt x="218274" y="204470"/>
                  </a:lnTo>
                  <a:lnTo>
                    <a:pt x="222935" y="200660"/>
                  </a:lnTo>
                  <a:lnTo>
                    <a:pt x="229108" y="195580"/>
                  </a:lnTo>
                  <a:lnTo>
                    <a:pt x="240207" y="204470"/>
                  </a:lnTo>
                  <a:lnTo>
                    <a:pt x="240207" y="201371"/>
                  </a:lnTo>
                  <a:lnTo>
                    <a:pt x="233807" y="195580"/>
                  </a:lnTo>
                  <a:lnTo>
                    <a:pt x="230987" y="193040"/>
                  </a:lnTo>
                  <a:lnTo>
                    <a:pt x="232549" y="191770"/>
                  </a:lnTo>
                  <a:lnTo>
                    <a:pt x="240385" y="185420"/>
                  </a:lnTo>
                  <a:lnTo>
                    <a:pt x="240830" y="201930"/>
                  </a:lnTo>
                  <a:lnTo>
                    <a:pt x="240830" y="154559"/>
                  </a:lnTo>
                  <a:lnTo>
                    <a:pt x="240347" y="154940"/>
                  </a:lnTo>
                  <a:lnTo>
                    <a:pt x="240233" y="180340"/>
                  </a:lnTo>
                  <a:lnTo>
                    <a:pt x="238912" y="178676"/>
                  </a:lnTo>
                  <a:lnTo>
                    <a:pt x="238912" y="182880"/>
                  </a:lnTo>
                  <a:lnTo>
                    <a:pt x="237413" y="182880"/>
                  </a:lnTo>
                  <a:lnTo>
                    <a:pt x="237413" y="185420"/>
                  </a:lnTo>
                  <a:lnTo>
                    <a:pt x="229120" y="191770"/>
                  </a:lnTo>
                  <a:lnTo>
                    <a:pt x="227241" y="190284"/>
                  </a:lnTo>
                  <a:lnTo>
                    <a:pt x="227241" y="193040"/>
                  </a:lnTo>
                  <a:lnTo>
                    <a:pt x="218427" y="200660"/>
                  </a:lnTo>
                  <a:lnTo>
                    <a:pt x="219024" y="186690"/>
                  </a:lnTo>
                  <a:lnTo>
                    <a:pt x="227241" y="193040"/>
                  </a:lnTo>
                  <a:lnTo>
                    <a:pt x="227241" y="190284"/>
                  </a:lnTo>
                  <a:lnTo>
                    <a:pt x="222745" y="186690"/>
                  </a:lnTo>
                  <a:lnTo>
                    <a:pt x="221145" y="185420"/>
                  </a:lnTo>
                  <a:lnTo>
                    <a:pt x="237413" y="185420"/>
                  </a:lnTo>
                  <a:lnTo>
                    <a:pt x="237413" y="182880"/>
                  </a:lnTo>
                  <a:lnTo>
                    <a:pt x="220459" y="182880"/>
                  </a:lnTo>
                  <a:lnTo>
                    <a:pt x="221475" y="181610"/>
                  </a:lnTo>
                  <a:lnTo>
                    <a:pt x="222491" y="180340"/>
                  </a:lnTo>
                  <a:lnTo>
                    <a:pt x="229603" y="171450"/>
                  </a:lnTo>
                  <a:lnTo>
                    <a:pt x="238912" y="182880"/>
                  </a:lnTo>
                  <a:lnTo>
                    <a:pt x="238912" y="178676"/>
                  </a:lnTo>
                  <a:lnTo>
                    <a:pt x="233184" y="171450"/>
                  </a:lnTo>
                  <a:lnTo>
                    <a:pt x="231165" y="168910"/>
                  </a:lnTo>
                  <a:lnTo>
                    <a:pt x="232232" y="167640"/>
                  </a:lnTo>
                  <a:lnTo>
                    <a:pt x="239661" y="158750"/>
                  </a:lnTo>
                  <a:lnTo>
                    <a:pt x="240233" y="180340"/>
                  </a:lnTo>
                  <a:lnTo>
                    <a:pt x="240233" y="154940"/>
                  </a:lnTo>
                  <a:lnTo>
                    <a:pt x="237591" y="154940"/>
                  </a:lnTo>
                  <a:lnTo>
                    <a:pt x="237591" y="157480"/>
                  </a:lnTo>
                  <a:lnTo>
                    <a:pt x="229577" y="167640"/>
                  </a:lnTo>
                  <a:lnTo>
                    <a:pt x="228028" y="165709"/>
                  </a:lnTo>
                  <a:lnTo>
                    <a:pt x="228028" y="168910"/>
                  </a:lnTo>
                  <a:lnTo>
                    <a:pt x="219202" y="180340"/>
                  </a:lnTo>
                  <a:lnTo>
                    <a:pt x="219925" y="160020"/>
                  </a:lnTo>
                  <a:lnTo>
                    <a:pt x="228028" y="168910"/>
                  </a:lnTo>
                  <a:lnTo>
                    <a:pt x="228028" y="165709"/>
                  </a:lnTo>
                  <a:lnTo>
                    <a:pt x="223469" y="160020"/>
                  </a:lnTo>
                  <a:lnTo>
                    <a:pt x="221437" y="157480"/>
                  </a:lnTo>
                  <a:lnTo>
                    <a:pt x="237591" y="157480"/>
                  </a:lnTo>
                  <a:lnTo>
                    <a:pt x="237591" y="154940"/>
                  </a:lnTo>
                  <a:lnTo>
                    <a:pt x="219240" y="154940"/>
                  </a:lnTo>
                  <a:lnTo>
                    <a:pt x="217525" y="153593"/>
                  </a:lnTo>
                  <a:lnTo>
                    <a:pt x="217525" y="160020"/>
                  </a:lnTo>
                  <a:lnTo>
                    <a:pt x="216776" y="181610"/>
                  </a:lnTo>
                  <a:lnTo>
                    <a:pt x="205968" y="171450"/>
                  </a:lnTo>
                  <a:lnTo>
                    <a:pt x="207251" y="170180"/>
                  </a:lnTo>
                  <a:lnTo>
                    <a:pt x="217525" y="160020"/>
                  </a:lnTo>
                  <a:lnTo>
                    <a:pt x="217525" y="153593"/>
                  </a:lnTo>
                  <a:lnTo>
                    <a:pt x="215950" y="152361"/>
                  </a:lnTo>
                  <a:lnTo>
                    <a:pt x="215950" y="157480"/>
                  </a:lnTo>
                  <a:lnTo>
                    <a:pt x="204139" y="170180"/>
                  </a:lnTo>
                  <a:lnTo>
                    <a:pt x="200202" y="166370"/>
                  </a:lnTo>
                  <a:lnTo>
                    <a:pt x="197573" y="163830"/>
                  </a:lnTo>
                  <a:lnTo>
                    <a:pt x="199656" y="160020"/>
                  </a:lnTo>
                  <a:lnTo>
                    <a:pt x="200660" y="157480"/>
                  </a:lnTo>
                  <a:lnTo>
                    <a:pt x="215950" y="157480"/>
                  </a:lnTo>
                  <a:lnTo>
                    <a:pt x="215950" y="152361"/>
                  </a:lnTo>
                  <a:lnTo>
                    <a:pt x="215265" y="151815"/>
                  </a:lnTo>
                  <a:lnTo>
                    <a:pt x="215265" y="154940"/>
                  </a:lnTo>
                  <a:lnTo>
                    <a:pt x="201841" y="154940"/>
                  </a:lnTo>
                  <a:lnTo>
                    <a:pt x="203022" y="152400"/>
                  </a:lnTo>
                  <a:lnTo>
                    <a:pt x="205295" y="147320"/>
                  </a:lnTo>
                  <a:lnTo>
                    <a:pt x="215265" y="154940"/>
                  </a:lnTo>
                  <a:lnTo>
                    <a:pt x="215265" y="151815"/>
                  </a:lnTo>
                  <a:lnTo>
                    <a:pt x="209550" y="147320"/>
                  </a:lnTo>
                  <a:lnTo>
                    <a:pt x="206311" y="144780"/>
                  </a:lnTo>
                  <a:lnTo>
                    <a:pt x="208432" y="140970"/>
                  </a:lnTo>
                  <a:lnTo>
                    <a:pt x="210502" y="135890"/>
                  </a:lnTo>
                  <a:lnTo>
                    <a:pt x="213715" y="127000"/>
                  </a:lnTo>
                  <a:lnTo>
                    <a:pt x="216065" y="120650"/>
                  </a:lnTo>
                  <a:lnTo>
                    <a:pt x="219938" y="124460"/>
                  </a:lnTo>
                  <a:lnTo>
                    <a:pt x="224028" y="128270"/>
                  </a:lnTo>
                  <a:lnTo>
                    <a:pt x="232841" y="134620"/>
                  </a:lnTo>
                  <a:lnTo>
                    <a:pt x="237578" y="138430"/>
                  </a:lnTo>
                  <a:lnTo>
                    <a:pt x="245757" y="140970"/>
                  </a:lnTo>
                  <a:lnTo>
                    <a:pt x="247370" y="141605"/>
                  </a:lnTo>
                  <a:lnTo>
                    <a:pt x="245846" y="140970"/>
                  </a:lnTo>
                  <a:lnTo>
                    <a:pt x="216293" y="120650"/>
                  </a:lnTo>
                  <a:lnTo>
                    <a:pt x="216763" y="119380"/>
                  </a:lnTo>
                  <a:lnTo>
                    <a:pt x="220078" y="110490"/>
                  </a:lnTo>
                  <a:lnTo>
                    <a:pt x="223697" y="100330"/>
                  </a:lnTo>
                  <a:lnTo>
                    <a:pt x="227190" y="90170"/>
                  </a:lnTo>
                  <a:lnTo>
                    <a:pt x="230555" y="80010"/>
                  </a:lnTo>
                  <a:lnTo>
                    <a:pt x="235686" y="95250"/>
                  </a:lnTo>
                  <a:lnTo>
                    <a:pt x="240957" y="111760"/>
                  </a:lnTo>
                  <a:lnTo>
                    <a:pt x="246392" y="127000"/>
                  </a:lnTo>
                  <a:lnTo>
                    <a:pt x="252006" y="142240"/>
                  </a:lnTo>
                  <a:lnTo>
                    <a:pt x="248983" y="142240"/>
                  </a:lnTo>
                  <a:lnTo>
                    <a:pt x="252209" y="143510"/>
                  </a:lnTo>
                  <a:lnTo>
                    <a:pt x="252958" y="144780"/>
                  </a:lnTo>
                  <a:lnTo>
                    <a:pt x="252958" y="142240"/>
                  </a:lnTo>
                  <a:lnTo>
                    <a:pt x="252780" y="142240"/>
                  </a:lnTo>
                  <a:lnTo>
                    <a:pt x="247116" y="127000"/>
                  </a:lnTo>
                  <a:lnTo>
                    <a:pt x="241655" y="110490"/>
                  </a:lnTo>
                  <a:lnTo>
                    <a:pt x="236347" y="95250"/>
                  </a:lnTo>
                  <a:lnTo>
                    <a:pt x="231571" y="80010"/>
                  </a:lnTo>
                  <a:lnTo>
                    <a:pt x="231178" y="78740"/>
                  </a:lnTo>
                  <a:lnTo>
                    <a:pt x="231457" y="78740"/>
                  </a:lnTo>
                  <a:lnTo>
                    <a:pt x="231457" y="76200"/>
                  </a:lnTo>
                  <a:lnTo>
                    <a:pt x="232943" y="76200"/>
                  </a:lnTo>
                  <a:lnTo>
                    <a:pt x="233324" y="74930"/>
                  </a:lnTo>
                  <a:lnTo>
                    <a:pt x="233019" y="73660"/>
                  </a:lnTo>
                  <a:lnTo>
                    <a:pt x="232549" y="73660"/>
                  </a:lnTo>
                  <a:lnTo>
                    <a:pt x="232410" y="72390"/>
                  </a:lnTo>
                  <a:lnTo>
                    <a:pt x="232943" y="72390"/>
                  </a:lnTo>
                  <a:lnTo>
                    <a:pt x="233324" y="71120"/>
                  </a:lnTo>
                  <a:lnTo>
                    <a:pt x="233324" y="69850"/>
                  </a:lnTo>
                  <a:lnTo>
                    <a:pt x="232613" y="69850"/>
                  </a:lnTo>
                  <a:lnTo>
                    <a:pt x="232549" y="68580"/>
                  </a:lnTo>
                  <a:lnTo>
                    <a:pt x="232410" y="68580"/>
                  </a:lnTo>
                  <a:lnTo>
                    <a:pt x="232181" y="67310"/>
                  </a:lnTo>
                  <a:lnTo>
                    <a:pt x="233324" y="67310"/>
                  </a:lnTo>
                  <a:lnTo>
                    <a:pt x="233324" y="66040"/>
                  </a:lnTo>
                  <a:lnTo>
                    <a:pt x="232613" y="66040"/>
                  </a:lnTo>
                  <a:lnTo>
                    <a:pt x="232549" y="64770"/>
                  </a:lnTo>
                  <a:lnTo>
                    <a:pt x="232410" y="64770"/>
                  </a:lnTo>
                  <a:lnTo>
                    <a:pt x="232181" y="63500"/>
                  </a:lnTo>
                  <a:lnTo>
                    <a:pt x="233324" y="63500"/>
                  </a:lnTo>
                  <a:lnTo>
                    <a:pt x="233324" y="62230"/>
                  </a:lnTo>
                  <a:lnTo>
                    <a:pt x="232613" y="62230"/>
                  </a:lnTo>
                  <a:lnTo>
                    <a:pt x="232549" y="60960"/>
                  </a:lnTo>
                  <a:lnTo>
                    <a:pt x="232410" y="60960"/>
                  </a:lnTo>
                  <a:lnTo>
                    <a:pt x="232181" y="59690"/>
                  </a:lnTo>
                  <a:lnTo>
                    <a:pt x="233324" y="59690"/>
                  </a:lnTo>
                  <a:lnTo>
                    <a:pt x="233324" y="58420"/>
                  </a:lnTo>
                  <a:lnTo>
                    <a:pt x="233019" y="58420"/>
                  </a:lnTo>
                  <a:lnTo>
                    <a:pt x="232613" y="57150"/>
                  </a:lnTo>
                  <a:lnTo>
                    <a:pt x="232410" y="55880"/>
                  </a:lnTo>
                  <a:lnTo>
                    <a:pt x="233324" y="55880"/>
                  </a:lnTo>
                  <a:lnTo>
                    <a:pt x="233248" y="54610"/>
                  </a:lnTo>
                  <a:lnTo>
                    <a:pt x="237896" y="57150"/>
                  </a:lnTo>
                  <a:lnTo>
                    <a:pt x="242722" y="58420"/>
                  </a:lnTo>
                  <a:lnTo>
                    <a:pt x="254850" y="60960"/>
                  </a:lnTo>
                  <a:lnTo>
                    <a:pt x="262318" y="60960"/>
                  </a:lnTo>
                  <a:lnTo>
                    <a:pt x="265823" y="59690"/>
                  </a:lnTo>
                  <a:lnTo>
                    <a:pt x="269316" y="58420"/>
                  </a:lnTo>
                  <a:lnTo>
                    <a:pt x="274497" y="57150"/>
                  </a:lnTo>
                  <a:lnTo>
                    <a:pt x="279349" y="54610"/>
                  </a:lnTo>
                  <a:lnTo>
                    <a:pt x="283781" y="52070"/>
                  </a:lnTo>
                  <a:lnTo>
                    <a:pt x="295935" y="67310"/>
                  </a:lnTo>
                  <a:lnTo>
                    <a:pt x="295935" y="63639"/>
                  </a:lnTo>
                  <a:lnTo>
                    <a:pt x="286842" y="52070"/>
                  </a:lnTo>
                  <a:lnTo>
                    <a:pt x="289941" y="49530"/>
                  </a:lnTo>
                  <a:lnTo>
                    <a:pt x="299237" y="41910"/>
                  </a:lnTo>
                  <a:lnTo>
                    <a:pt x="300545" y="40640"/>
                  </a:lnTo>
                  <a:lnTo>
                    <a:pt x="305790" y="35560"/>
                  </a:lnTo>
                  <a:lnTo>
                    <a:pt x="305790" y="31750"/>
                  </a:lnTo>
                  <a:lnTo>
                    <a:pt x="304673" y="31750"/>
                  </a:lnTo>
                  <a:lnTo>
                    <a:pt x="304673" y="34290"/>
                  </a:lnTo>
                  <a:lnTo>
                    <a:pt x="296443" y="40640"/>
                  </a:lnTo>
                  <a:lnTo>
                    <a:pt x="298450" y="38100"/>
                  </a:lnTo>
                  <a:lnTo>
                    <a:pt x="300316" y="35560"/>
                  </a:lnTo>
                  <a:lnTo>
                    <a:pt x="302107" y="34290"/>
                  </a:lnTo>
                  <a:lnTo>
                    <a:pt x="304673" y="34290"/>
                  </a:lnTo>
                  <a:lnTo>
                    <a:pt x="304673" y="31750"/>
                  </a:lnTo>
                  <a:lnTo>
                    <a:pt x="303936" y="31750"/>
                  </a:lnTo>
                  <a:lnTo>
                    <a:pt x="306158" y="27940"/>
                  </a:lnTo>
                  <a:lnTo>
                    <a:pt x="308241" y="25400"/>
                  </a:lnTo>
                  <a:lnTo>
                    <a:pt x="310197" y="21590"/>
                  </a:lnTo>
                  <a:lnTo>
                    <a:pt x="310197" y="20421"/>
                  </a:lnTo>
                  <a:lnTo>
                    <a:pt x="308622" y="22860"/>
                  </a:lnTo>
                  <a:lnTo>
                    <a:pt x="305943" y="26670"/>
                  </a:lnTo>
                  <a:lnTo>
                    <a:pt x="303060" y="31750"/>
                  </a:lnTo>
                  <a:lnTo>
                    <a:pt x="301193" y="31750"/>
                  </a:lnTo>
                  <a:lnTo>
                    <a:pt x="301193" y="34290"/>
                  </a:lnTo>
                  <a:lnTo>
                    <a:pt x="297307" y="38100"/>
                  </a:lnTo>
                  <a:lnTo>
                    <a:pt x="294894" y="41910"/>
                  </a:lnTo>
                  <a:lnTo>
                    <a:pt x="293014" y="43180"/>
                  </a:lnTo>
                  <a:lnTo>
                    <a:pt x="286905" y="48260"/>
                  </a:lnTo>
                  <a:lnTo>
                    <a:pt x="285305" y="49530"/>
                  </a:lnTo>
                  <a:lnTo>
                    <a:pt x="283324" y="47117"/>
                  </a:lnTo>
                  <a:lnTo>
                    <a:pt x="283324" y="50800"/>
                  </a:lnTo>
                  <a:lnTo>
                    <a:pt x="278955" y="53340"/>
                  </a:lnTo>
                  <a:lnTo>
                    <a:pt x="274180" y="55880"/>
                  </a:lnTo>
                  <a:lnTo>
                    <a:pt x="269113" y="57150"/>
                  </a:lnTo>
                  <a:lnTo>
                    <a:pt x="262216" y="59690"/>
                  </a:lnTo>
                  <a:lnTo>
                    <a:pt x="254901" y="59690"/>
                  </a:lnTo>
                  <a:lnTo>
                    <a:pt x="242582" y="57150"/>
                  </a:lnTo>
                  <a:lnTo>
                    <a:pt x="237464" y="55880"/>
                  </a:lnTo>
                  <a:lnTo>
                    <a:pt x="235013" y="54610"/>
                  </a:lnTo>
                  <a:lnTo>
                    <a:pt x="232549" y="53340"/>
                  </a:lnTo>
                  <a:lnTo>
                    <a:pt x="232371" y="52070"/>
                  </a:lnTo>
                  <a:lnTo>
                    <a:pt x="232943" y="52070"/>
                  </a:lnTo>
                  <a:lnTo>
                    <a:pt x="233324" y="50800"/>
                  </a:lnTo>
                  <a:lnTo>
                    <a:pt x="233019" y="49530"/>
                  </a:lnTo>
                  <a:lnTo>
                    <a:pt x="232549" y="49530"/>
                  </a:lnTo>
                  <a:lnTo>
                    <a:pt x="232410" y="48260"/>
                  </a:lnTo>
                  <a:lnTo>
                    <a:pt x="232943" y="48260"/>
                  </a:lnTo>
                  <a:lnTo>
                    <a:pt x="233324" y="46990"/>
                  </a:lnTo>
                  <a:lnTo>
                    <a:pt x="233324" y="45720"/>
                  </a:lnTo>
                  <a:lnTo>
                    <a:pt x="232613" y="45720"/>
                  </a:lnTo>
                  <a:lnTo>
                    <a:pt x="232549" y="44450"/>
                  </a:lnTo>
                  <a:lnTo>
                    <a:pt x="232410" y="44450"/>
                  </a:lnTo>
                  <a:lnTo>
                    <a:pt x="232181" y="43180"/>
                  </a:lnTo>
                  <a:lnTo>
                    <a:pt x="233324" y="43180"/>
                  </a:lnTo>
                  <a:lnTo>
                    <a:pt x="233324" y="41910"/>
                  </a:lnTo>
                  <a:lnTo>
                    <a:pt x="232587" y="41910"/>
                  </a:lnTo>
                  <a:lnTo>
                    <a:pt x="232549" y="40640"/>
                  </a:lnTo>
                  <a:lnTo>
                    <a:pt x="232410" y="40640"/>
                  </a:lnTo>
                  <a:lnTo>
                    <a:pt x="232181" y="39370"/>
                  </a:lnTo>
                  <a:lnTo>
                    <a:pt x="233324" y="39370"/>
                  </a:lnTo>
                  <a:lnTo>
                    <a:pt x="233324" y="38100"/>
                  </a:lnTo>
                  <a:lnTo>
                    <a:pt x="232613" y="38100"/>
                  </a:lnTo>
                  <a:lnTo>
                    <a:pt x="232511" y="36830"/>
                  </a:lnTo>
                  <a:lnTo>
                    <a:pt x="232156" y="35560"/>
                  </a:lnTo>
                  <a:lnTo>
                    <a:pt x="231457" y="34290"/>
                  </a:lnTo>
                  <a:lnTo>
                    <a:pt x="270256" y="34290"/>
                  </a:lnTo>
                  <a:lnTo>
                    <a:pt x="276034" y="41910"/>
                  </a:lnTo>
                  <a:lnTo>
                    <a:pt x="283324" y="50800"/>
                  </a:lnTo>
                  <a:lnTo>
                    <a:pt x="283324" y="47117"/>
                  </a:lnTo>
                  <a:lnTo>
                    <a:pt x="279057" y="41910"/>
                  </a:lnTo>
                  <a:lnTo>
                    <a:pt x="273278" y="34290"/>
                  </a:lnTo>
                  <a:lnTo>
                    <a:pt x="301193" y="34290"/>
                  </a:lnTo>
                  <a:lnTo>
                    <a:pt x="301193" y="31750"/>
                  </a:lnTo>
                  <a:lnTo>
                    <a:pt x="229946" y="31750"/>
                  </a:lnTo>
                  <a:lnTo>
                    <a:pt x="229946" y="78740"/>
                  </a:lnTo>
                  <a:lnTo>
                    <a:pt x="226568" y="88900"/>
                  </a:lnTo>
                  <a:lnTo>
                    <a:pt x="223062" y="99110"/>
                  </a:lnTo>
                  <a:lnTo>
                    <a:pt x="219443" y="109220"/>
                  </a:lnTo>
                  <a:lnTo>
                    <a:pt x="215658" y="119380"/>
                  </a:lnTo>
                  <a:lnTo>
                    <a:pt x="215417" y="119214"/>
                  </a:lnTo>
                  <a:lnTo>
                    <a:pt x="215417" y="120650"/>
                  </a:lnTo>
                  <a:lnTo>
                    <a:pt x="212979" y="127000"/>
                  </a:lnTo>
                  <a:lnTo>
                    <a:pt x="211696" y="129540"/>
                  </a:lnTo>
                  <a:lnTo>
                    <a:pt x="209753" y="134620"/>
                  </a:lnTo>
                  <a:lnTo>
                    <a:pt x="207695" y="139700"/>
                  </a:lnTo>
                  <a:lnTo>
                    <a:pt x="205587" y="144780"/>
                  </a:lnTo>
                  <a:lnTo>
                    <a:pt x="204571" y="143992"/>
                  </a:lnTo>
                  <a:lnTo>
                    <a:pt x="204571" y="147320"/>
                  </a:lnTo>
                  <a:lnTo>
                    <a:pt x="202145" y="152400"/>
                  </a:lnTo>
                  <a:lnTo>
                    <a:pt x="200863" y="154940"/>
                  </a:lnTo>
                  <a:lnTo>
                    <a:pt x="199682" y="154940"/>
                  </a:lnTo>
                  <a:lnTo>
                    <a:pt x="199682" y="157480"/>
                  </a:lnTo>
                  <a:lnTo>
                    <a:pt x="198767" y="160020"/>
                  </a:lnTo>
                  <a:lnTo>
                    <a:pt x="196888" y="163830"/>
                  </a:lnTo>
                  <a:lnTo>
                    <a:pt x="195834" y="162814"/>
                  </a:lnTo>
                  <a:lnTo>
                    <a:pt x="195834" y="166370"/>
                  </a:lnTo>
                  <a:lnTo>
                    <a:pt x="193471" y="170180"/>
                  </a:lnTo>
                  <a:lnTo>
                    <a:pt x="191046" y="175260"/>
                  </a:lnTo>
                  <a:lnTo>
                    <a:pt x="184708" y="186715"/>
                  </a:lnTo>
                  <a:lnTo>
                    <a:pt x="180682" y="193040"/>
                  </a:lnTo>
                  <a:lnTo>
                    <a:pt x="176364" y="200660"/>
                  </a:lnTo>
                  <a:lnTo>
                    <a:pt x="175628" y="198996"/>
                  </a:lnTo>
                  <a:lnTo>
                    <a:pt x="175628" y="200660"/>
                  </a:lnTo>
                  <a:lnTo>
                    <a:pt x="171361" y="207010"/>
                  </a:lnTo>
                  <a:lnTo>
                    <a:pt x="166878" y="213360"/>
                  </a:lnTo>
                  <a:lnTo>
                    <a:pt x="162179" y="219710"/>
                  </a:lnTo>
                  <a:lnTo>
                    <a:pt x="157226" y="224790"/>
                  </a:lnTo>
                  <a:lnTo>
                    <a:pt x="152463" y="229870"/>
                  </a:lnTo>
                  <a:lnTo>
                    <a:pt x="118541" y="252730"/>
                  </a:lnTo>
                  <a:lnTo>
                    <a:pt x="98577" y="256540"/>
                  </a:lnTo>
                  <a:lnTo>
                    <a:pt x="84950" y="256540"/>
                  </a:lnTo>
                  <a:lnTo>
                    <a:pt x="78232" y="255270"/>
                  </a:lnTo>
                  <a:lnTo>
                    <a:pt x="71615" y="252730"/>
                  </a:lnTo>
                  <a:lnTo>
                    <a:pt x="65151" y="251460"/>
                  </a:lnTo>
                  <a:lnTo>
                    <a:pt x="31013" y="231140"/>
                  </a:lnTo>
                  <a:lnTo>
                    <a:pt x="22504" y="224790"/>
                  </a:lnTo>
                  <a:lnTo>
                    <a:pt x="23825" y="223520"/>
                  </a:lnTo>
                  <a:lnTo>
                    <a:pt x="33096" y="214630"/>
                  </a:lnTo>
                  <a:lnTo>
                    <a:pt x="42989" y="204470"/>
                  </a:lnTo>
                  <a:lnTo>
                    <a:pt x="69519" y="170180"/>
                  </a:lnTo>
                  <a:lnTo>
                    <a:pt x="92379" y="132080"/>
                  </a:lnTo>
                  <a:lnTo>
                    <a:pt x="107327" y="100330"/>
                  </a:lnTo>
                  <a:lnTo>
                    <a:pt x="111925" y="90170"/>
                  </a:lnTo>
                  <a:lnTo>
                    <a:pt x="117944" y="102870"/>
                  </a:lnTo>
                  <a:lnTo>
                    <a:pt x="121005" y="109220"/>
                  </a:lnTo>
                  <a:lnTo>
                    <a:pt x="124117" y="115570"/>
                  </a:lnTo>
                  <a:lnTo>
                    <a:pt x="129705" y="125730"/>
                  </a:lnTo>
                  <a:lnTo>
                    <a:pt x="135445" y="137160"/>
                  </a:lnTo>
                  <a:lnTo>
                    <a:pt x="141363" y="147320"/>
                  </a:lnTo>
                  <a:lnTo>
                    <a:pt x="147459" y="158750"/>
                  </a:lnTo>
                  <a:lnTo>
                    <a:pt x="153797" y="168910"/>
                  </a:lnTo>
                  <a:lnTo>
                    <a:pt x="160375" y="179070"/>
                  </a:lnTo>
                  <a:lnTo>
                    <a:pt x="167246" y="189230"/>
                  </a:lnTo>
                  <a:lnTo>
                    <a:pt x="174447" y="199390"/>
                  </a:lnTo>
                  <a:lnTo>
                    <a:pt x="175628" y="200660"/>
                  </a:lnTo>
                  <a:lnTo>
                    <a:pt x="175628" y="198996"/>
                  </a:lnTo>
                  <a:lnTo>
                    <a:pt x="174688" y="196850"/>
                  </a:lnTo>
                  <a:lnTo>
                    <a:pt x="172250" y="193040"/>
                  </a:lnTo>
                  <a:lnTo>
                    <a:pt x="171437" y="191770"/>
                  </a:lnTo>
                  <a:lnTo>
                    <a:pt x="169354" y="188252"/>
                  </a:lnTo>
                  <a:lnTo>
                    <a:pt x="169354" y="190284"/>
                  </a:lnTo>
                  <a:lnTo>
                    <a:pt x="165201" y="184150"/>
                  </a:lnTo>
                  <a:lnTo>
                    <a:pt x="159423" y="176530"/>
                  </a:lnTo>
                  <a:lnTo>
                    <a:pt x="153847" y="167640"/>
                  </a:lnTo>
                  <a:lnTo>
                    <a:pt x="148450" y="157480"/>
                  </a:lnTo>
                  <a:lnTo>
                    <a:pt x="142367" y="147320"/>
                  </a:lnTo>
                  <a:lnTo>
                    <a:pt x="136474" y="137160"/>
                  </a:lnTo>
                  <a:lnTo>
                    <a:pt x="130746" y="125730"/>
                  </a:lnTo>
                  <a:lnTo>
                    <a:pt x="125183" y="114300"/>
                  </a:lnTo>
                  <a:lnTo>
                    <a:pt x="121970" y="107950"/>
                  </a:lnTo>
                  <a:lnTo>
                    <a:pt x="115671" y="95250"/>
                  </a:lnTo>
                  <a:lnTo>
                    <a:pt x="113195" y="90170"/>
                  </a:lnTo>
                  <a:lnTo>
                    <a:pt x="112572" y="88900"/>
                  </a:lnTo>
                  <a:lnTo>
                    <a:pt x="113068" y="87630"/>
                  </a:lnTo>
                  <a:lnTo>
                    <a:pt x="115506" y="81280"/>
                  </a:lnTo>
                  <a:lnTo>
                    <a:pt x="116941" y="78740"/>
                  </a:lnTo>
                  <a:lnTo>
                    <a:pt x="124904" y="97790"/>
                  </a:lnTo>
                  <a:lnTo>
                    <a:pt x="133121" y="116840"/>
                  </a:lnTo>
                  <a:lnTo>
                    <a:pt x="141681" y="135890"/>
                  </a:lnTo>
                  <a:lnTo>
                    <a:pt x="150660" y="154940"/>
                  </a:lnTo>
                  <a:lnTo>
                    <a:pt x="155409" y="163830"/>
                  </a:lnTo>
                  <a:lnTo>
                    <a:pt x="160299" y="173990"/>
                  </a:lnTo>
                  <a:lnTo>
                    <a:pt x="165379" y="182880"/>
                  </a:lnTo>
                  <a:lnTo>
                    <a:pt x="169354" y="190284"/>
                  </a:lnTo>
                  <a:lnTo>
                    <a:pt x="169354" y="188252"/>
                  </a:lnTo>
                  <a:lnTo>
                    <a:pt x="166179" y="182880"/>
                  </a:lnTo>
                  <a:lnTo>
                    <a:pt x="161124" y="173990"/>
                  </a:lnTo>
                  <a:lnTo>
                    <a:pt x="156248" y="163830"/>
                  </a:lnTo>
                  <a:lnTo>
                    <a:pt x="151511" y="154940"/>
                  </a:lnTo>
                  <a:lnTo>
                    <a:pt x="142544" y="135890"/>
                  </a:lnTo>
                  <a:lnTo>
                    <a:pt x="133985" y="116840"/>
                  </a:lnTo>
                  <a:lnTo>
                    <a:pt x="125768" y="96520"/>
                  </a:lnTo>
                  <a:lnTo>
                    <a:pt x="118351" y="78740"/>
                  </a:lnTo>
                  <a:lnTo>
                    <a:pt x="117817" y="77470"/>
                  </a:lnTo>
                  <a:lnTo>
                    <a:pt x="117817" y="74930"/>
                  </a:lnTo>
                  <a:lnTo>
                    <a:pt x="119684" y="74930"/>
                  </a:lnTo>
                  <a:lnTo>
                    <a:pt x="119684" y="73660"/>
                  </a:lnTo>
                  <a:lnTo>
                    <a:pt x="119392" y="72390"/>
                  </a:lnTo>
                  <a:lnTo>
                    <a:pt x="118922" y="72390"/>
                  </a:lnTo>
                  <a:lnTo>
                    <a:pt x="118770" y="71120"/>
                  </a:lnTo>
                  <a:lnTo>
                    <a:pt x="119303" y="71120"/>
                  </a:lnTo>
                  <a:lnTo>
                    <a:pt x="119684" y="69850"/>
                  </a:lnTo>
                  <a:lnTo>
                    <a:pt x="119392" y="68580"/>
                  </a:lnTo>
                  <a:lnTo>
                    <a:pt x="118922" y="68580"/>
                  </a:lnTo>
                  <a:lnTo>
                    <a:pt x="118770" y="67310"/>
                  </a:lnTo>
                  <a:lnTo>
                    <a:pt x="119303" y="67310"/>
                  </a:lnTo>
                  <a:lnTo>
                    <a:pt x="119684" y="66040"/>
                  </a:lnTo>
                  <a:lnTo>
                    <a:pt x="119684" y="64770"/>
                  </a:lnTo>
                  <a:lnTo>
                    <a:pt x="118973" y="64770"/>
                  </a:lnTo>
                  <a:lnTo>
                    <a:pt x="118922" y="63500"/>
                  </a:lnTo>
                  <a:lnTo>
                    <a:pt x="119303" y="63500"/>
                  </a:lnTo>
                  <a:lnTo>
                    <a:pt x="119684" y="62230"/>
                  </a:lnTo>
                  <a:lnTo>
                    <a:pt x="119684" y="60960"/>
                  </a:lnTo>
                  <a:lnTo>
                    <a:pt x="118973" y="60960"/>
                  </a:lnTo>
                  <a:lnTo>
                    <a:pt x="118922" y="59690"/>
                  </a:lnTo>
                  <a:lnTo>
                    <a:pt x="118770" y="59690"/>
                  </a:lnTo>
                  <a:lnTo>
                    <a:pt x="118541" y="58420"/>
                  </a:lnTo>
                  <a:lnTo>
                    <a:pt x="119684" y="58420"/>
                  </a:lnTo>
                  <a:lnTo>
                    <a:pt x="119684" y="57150"/>
                  </a:lnTo>
                  <a:lnTo>
                    <a:pt x="118973" y="57150"/>
                  </a:lnTo>
                  <a:lnTo>
                    <a:pt x="118922" y="55880"/>
                  </a:lnTo>
                  <a:lnTo>
                    <a:pt x="118770" y="55880"/>
                  </a:lnTo>
                  <a:lnTo>
                    <a:pt x="118541" y="54610"/>
                  </a:lnTo>
                  <a:lnTo>
                    <a:pt x="119684" y="54610"/>
                  </a:lnTo>
                  <a:lnTo>
                    <a:pt x="119684" y="53340"/>
                  </a:lnTo>
                  <a:lnTo>
                    <a:pt x="118973" y="53340"/>
                  </a:lnTo>
                  <a:lnTo>
                    <a:pt x="118922" y="52070"/>
                  </a:lnTo>
                  <a:lnTo>
                    <a:pt x="118770" y="50800"/>
                  </a:lnTo>
                  <a:lnTo>
                    <a:pt x="119684" y="50800"/>
                  </a:lnTo>
                  <a:lnTo>
                    <a:pt x="119684" y="49530"/>
                  </a:lnTo>
                  <a:lnTo>
                    <a:pt x="119392" y="48260"/>
                  </a:lnTo>
                  <a:lnTo>
                    <a:pt x="118922" y="48260"/>
                  </a:lnTo>
                  <a:lnTo>
                    <a:pt x="118770" y="46990"/>
                  </a:lnTo>
                  <a:lnTo>
                    <a:pt x="119684" y="46990"/>
                  </a:lnTo>
                  <a:lnTo>
                    <a:pt x="119684" y="45720"/>
                  </a:lnTo>
                  <a:lnTo>
                    <a:pt x="119392" y="44450"/>
                  </a:lnTo>
                  <a:lnTo>
                    <a:pt x="118922" y="44450"/>
                  </a:lnTo>
                  <a:lnTo>
                    <a:pt x="118770" y="43180"/>
                  </a:lnTo>
                  <a:lnTo>
                    <a:pt x="119303" y="43180"/>
                  </a:lnTo>
                  <a:lnTo>
                    <a:pt x="119684" y="41910"/>
                  </a:lnTo>
                  <a:lnTo>
                    <a:pt x="119684" y="40640"/>
                  </a:lnTo>
                  <a:lnTo>
                    <a:pt x="118973" y="40640"/>
                  </a:lnTo>
                  <a:lnTo>
                    <a:pt x="118922" y="39370"/>
                  </a:lnTo>
                  <a:lnTo>
                    <a:pt x="119303" y="39370"/>
                  </a:lnTo>
                  <a:lnTo>
                    <a:pt x="119684" y="38100"/>
                  </a:lnTo>
                  <a:lnTo>
                    <a:pt x="119684" y="36830"/>
                  </a:lnTo>
                  <a:lnTo>
                    <a:pt x="118973" y="36830"/>
                  </a:lnTo>
                  <a:lnTo>
                    <a:pt x="118884" y="35560"/>
                  </a:lnTo>
                  <a:lnTo>
                    <a:pt x="118516" y="34290"/>
                  </a:lnTo>
                  <a:lnTo>
                    <a:pt x="117817" y="34290"/>
                  </a:lnTo>
                  <a:lnTo>
                    <a:pt x="117817" y="33020"/>
                  </a:lnTo>
                  <a:lnTo>
                    <a:pt x="134010" y="34290"/>
                  </a:lnTo>
                  <a:lnTo>
                    <a:pt x="147193" y="34290"/>
                  </a:lnTo>
                  <a:lnTo>
                    <a:pt x="185928" y="157480"/>
                  </a:lnTo>
                  <a:lnTo>
                    <a:pt x="195834" y="166370"/>
                  </a:lnTo>
                  <a:lnTo>
                    <a:pt x="195834" y="162814"/>
                  </a:lnTo>
                  <a:lnTo>
                    <a:pt x="190309" y="157480"/>
                  </a:lnTo>
                  <a:lnTo>
                    <a:pt x="199682" y="157480"/>
                  </a:lnTo>
                  <a:lnTo>
                    <a:pt x="199682" y="154940"/>
                  </a:lnTo>
                  <a:lnTo>
                    <a:pt x="189357" y="154940"/>
                  </a:lnTo>
                  <a:lnTo>
                    <a:pt x="190246" y="153670"/>
                  </a:lnTo>
                  <a:lnTo>
                    <a:pt x="198272" y="142240"/>
                  </a:lnTo>
                  <a:lnTo>
                    <a:pt x="204571" y="147320"/>
                  </a:lnTo>
                  <a:lnTo>
                    <a:pt x="204571" y="143992"/>
                  </a:lnTo>
                  <a:lnTo>
                    <a:pt x="202323" y="142240"/>
                  </a:lnTo>
                  <a:lnTo>
                    <a:pt x="196380" y="137629"/>
                  </a:lnTo>
                  <a:lnTo>
                    <a:pt x="196380" y="140970"/>
                  </a:lnTo>
                  <a:lnTo>
                    <a:pt x="187464" y="153670"/>
                  </a:lnTo>
                  <a:lnTo>
                    <a:pt x="179082" y="127000"/>
                  </a:lnTo>
                  <a:lnTo>
                    <a:pt x="196380" y="140970"/>
                  </a:lnTo>
                  <a:lnTo>
                    <a:pt x="196380" y="137629"/>
                  </a:lnTo>
                  <a:lnTo>
                    <a:pt x="182702" y="127000"/>
                  </a:lnTo>
                  <a:lnTo>
                    <a:pt x="177800" y="123190"/>
                  </a:lnTo>
                  <a:lnTo>
                    <a:pt x="160401" y="67310"/>
                  </a:lnTo>
                  <a:lnTo>
                    <a:pt x="162445" y="64770"/>
                  </a:lnTo>
                  <a:lnTo>
                    <a:pt x="168554" y="57150"/>
                  </a:lnTo>
                  <a:lnTo>
                    <a:pt x="194843" y="96520"/>
                  </a:lnTo>
                  <a:lnTo>
                    <a:pt x="215417" y="120650"/>
                  </a:lnTo>
                  <a:lnTo>
                    <a:pt x="215417" y="119214"/>
                  </a:lnTo>
                  <a:lnTo>
                    <a:pt x="211988" y="116840"/>
                  </a:lnTo>
                  <a:lnTo>
                    <a:pt x="208495" y="113030"/>
                  </a:lnTo>
                  <a:lnTo>
                    <a:pt x="205117" y="107950"/>
                  </a:lnTo>
                  <a:lnTo>
                    <a:pt x="195326" y="96520"/>
                  </a:lnTo>
                  <a:lnTo>
                    <a:pt x="186131" y="83820"/>
                  </a:lnTo>
                  <a:lnTo>
                    <a:pt x="177406" y="69850"/>
                  </a:lnTo>
                  <a:lnTo>
                    <a:pt x="169049" y="57150"/>
                  </a:lnTo>
                  <a:lnTo>
                    <a:pt x="171132" y="54610"/>
                  </a:lnTo>
                  <a:lnTo>
                    <a:pt x="175298" y="49530"/>
                  </a:lnTo>
                  <a:lnTo>
                    <a:pt x="181559" y="41910"/>
                  </a:lnTo>
                  <a:lnTo>
                    <a:pt x="187629" y="34290"/>
                  </a:lnTo>
                  <a:lnTo>
                    <a:pt x="202526" y="34290"/>
                  </a:lnTo>
                  <a:lnTo>
                    <a:pt x="208394" y="39370"/>
                  </a:lnTo>
                  <a:lnTo>
                    <a:pt x="211797" y="41910"/>
                  </a:lnTo>
                  <a:lnTo>
                    <a:pt x="214477" y="43180"/>
                  </a:lnTo>
                  <a:lnTo>
                    <a:pt x="220814" y="48260"/>
                  </a:lnTo>
                  <a:lnTo>
                    <a:pt x="227431" y="52070"/>
                  </a:lnTo>
                  <a:lnTo>
                    <a:pt x="229006" y="52070"/>
                  </a:lnTo>
                  <a:lnTo>
                    <a:pt x="228892" y="53340"/>
                  </a:lnTo>
                  <a:lnTo>
                    <a:pt x="228371" y="53340"/>
                  </a:lnTo>
                  <a:lnTo>
                    <a:pt x="228066" y="54610"/>
                  </a:lnTo>
                  <a:lnTo>
                    <a:pt x="228066" y="55880"/>
                  </a:lnTo>
                  <a:lnTo>
                    <a:pt x="228968" y="55880"/>
                  </a:lnTo>
                  <a:lnTo>
                    <a:pt x="228841" y="57150"/>
                  </a:lnTo>
                  <a:lnTo>
                    <a:pt x="228371" y="58420"/>
                  </a:lnTo>
                  <a:lnTo>
                    <a:pt x="228066" y="58420"/>
                  </a:lnTo>
                  <a:lnTo>
                    <a:pt x="228066" y="59690"/>
                  </a:lnTo>
                  <a:lnTo>
                    <a:pt x="229209" y="59690"/>
                  </a:lnTo>
                  <a:lnTo>
                    <a:pt x="228968" y="60960"/>
                  </a:lnTo>
                  <a:lnTo>
                    <a:pt x="228841" y="60960"/>
                  </a:lnTo>
                  <a:lnTo>
                    <a:pt x="228777" y="62230"/>
                  </a:lnTo>
                  <a:lnTo>
                    <a:pt x="228066" y="62230"/>
                  </a:lnTo>
                  <a:lnTo>
                    <a:pt x="228066" y="63500"/>
                  </a:lnTo>
                  <a:lnTo>
                    <a:pt x="229209" y="63500"/>
                  </a:lnTo>
                  <a:lnTo>
                    <a:pt x="228968" y="64770"/>
                  </a:lnTo>
                  <a:lnTo>
                    <a:pt x="228841" y="64770"/>
                  </a:lnTo>
                  <a:lnTo>
                    <a:pt x="228777" y="66040"/>
                  </a:lnTo>
                  <a:lnTo>
                    <a:pt x="228066" y="66040"/>
                  </a:lnTo>
                  <a:lnTo>
                    <a:pt x="228066" y="67310"/>
                  </a:lnTo>
                  <a:lnTo>
                    <a:pt x="229209" y="67310"/>
                  </a:lnTo>
                  <a:lnTo>
                    <a:pt x="228968" y="68580"/>
                  </a:lnTo>
                  <a:lnTo>
                    <a:pt x="228841" y="68580"/>
                  </a:lnTo>
                  <a:lnTo>
                    <a:pt x="228777" y="69850"/>
                  </a:lnTo>
                  <a:lnTo>
                    <a:pt x="228066" y="69850"/>
                  </a:lnTo>
                  <a:lnTo>
                    <a:pt x="228066" y="71120"/>
                  </a:lnTo>
                  <a:lnTo>
                    <a:pt x="228447" y="72390"/>
                  </a:lnTo>
                  <a:lnTo>
                    <a:pt x="228968" y="72390"/>
                  </a:lnTo>
                  <a:lnTo>
                    <a:pt x="228841" y="73660"/>
                  </a:lnTo>
                  <a:lnTo>
                    <a:pt x="228371" y="73660"/>
                  </a:lnTo>
                  <a:lnTo>
                    <a:pt x="228066" y="74930"/>
                  </a:lnTo>
                  <a:lnTo>
                    <a:pt x="228447" y="76200"/>
                  </a:lnTo>
                  <a:lnTo>
                    <a:pt x="229933" y="76200"/>
                  </a:lnTo>
                  <a:lnTo>
                    <a:pt x="229933" y="78740"/>
                  </a:lnTo>
                  <a:lnTo>
                    <a:pt x="229946" y="31750"/>
                  </a:lnTo>
                  <a:lnTo>
                    <a:pt x="229933" y="34290"/>
                  </a:lnTo>
                  <a:lnTo>
                    <a:pt x="229235" y="35560"/>
                  </a:lnTo>
                  <a:lnTo>
                    <a:pt x="228879" y="36830"/>
                  </a:lnTo>
                  <a:lnTo>
                    <a:pt x="228777" y="38100"/>
                  </a:lnTo>
                  <a:lnTo>
                    <a:pt x="228066" y="38100"/>
                  </a:lnTo>
                  <a:lnTo>
                    <a:pt x="228066" y="39370"/>
                  </a:lnTo>
                  <a:lnTo>
                    <a:pt x="229209" y="39370"/>
                  </a:lnTo>
                  <a:lnTo>
                    <a:pt x="228968" y="40640"/>
                  </a:lnTo>
                  <a:lnTo>
                    <a:pt x="228841" y="40640"/>
                  </a:lnTo>
                  <a:lnTo>
                    <a:pt x="228803" y="41910"/>
                  </a:lnTo>
                  <a:lnTo>
                    <a:pt x="228066" y="41910"/>
                  </a:lnTo>
                  <a:lnTo>
                    <a:pt x="228066" y="43180"/>
                  </a:lnTo>
                  <a:lnTo>
                    <a:pt x="229209" y="43180"/>
                  </a:lnTo>
                  <a:lnTo>
                    <a:pt x="228968" y="44450"/>
                  </a:lnTo>
                  <a:lnTo>
                    <a:pt x="228841" y="44450"/>
                  </a:lnTo>
                  <a:lnTo>
                    <a:pt x="228777" y="45720"/>
                  </a:lnTo>
                  <a:lnTo>
                    <a:pt x="228066" y="45720"/>
                  </a:lnTo>
                  <a:lnTo>
                    <a:pt x="228066" y="46990"/>
                  </a:lnTo>
                  <a:lnTo>
                    <a:pt x="228447" y="48260"/>
                  </a:lnTo>
                  <a:lnTo>
                    <a:pt x="228968" y="48260"/>
                  </a:lnTo>
                  <a:lnTo>
                    <a:pt x="228841" y="49530"/>
                  </a:lnTo>
                  <a:lnTo>
                    <a:pt x="228371" y="49530"/>
                  </a:lnTo>
                  <a:lnTo>
                    <a:pt x="228066" y="50800"/>
                  </a:lnTo>
                  <a:lnTo>
                    <a:pt x="227838" y="50800"/>
                  </a:lnTo>
                  <a:lnTo>
                    <a:pt x="221488" y="46990"/>
                  </a:lnTo>
                  <a:lnTo>
                    <a:pt x="215392" y="43180"/>
                  </a:lnTo>
                  <a:lnTo>
                    <a:pt x="213233" y="41910"/>
                  </a:lnTo>
                  <a:lnTo>
                    <a:pt x="209537" y="38100"/>
                  </a:lnTo>
                  <a:lnTo>
                    <a:pt x="203873" y="34290"/>
                  </a:lnTo>
                  <a:lnTo>
                    <a:pt x="229933" y="34290"/>
                  </a:lnTo>
                  <a:lnTo>
                    <a:pt x="229933" y="31750"/>
                  </a:lnTo>
                  <a:lnTo>
                    <a:pt x="201104" y="31750"/>
                  </a:lnTo>
                  <a:lnTo>
                    <a:pt x="198666" y="29210"/>
                  </a:lnTo>
                  <a:lnTo>
                    <a:pt x="196278" y="26670"/>
                  </a:lnTo>
                  <a:lnTo>
                    <a:pt x="193954" y="24130"/>
                  </a:lnTo>
                  <a:lnTo>
                    <a:pt x="186461" y="16510"/>
                  </a:lnTo>
                  <a:lnTo>
                    <a:pt x="185724" y="16510"/>
                  </a:lnTo>
                  <a:lnTo>
                    <a:pt x="184696" y="16624"/>
                  </a:lnTo>
                  <a:lnTo>
                    <a:pt x="185775" y="17780"/>
                  </a:lnTo>
                  <a:lnTo>
                    <a:pt x="193306" y="25400"/>
                  </a:lnTo>
                  <a:lnTo>
                    <a:pt x="195427" y="26670"/>
                  </a:lnTo>
                  <a:lnTo>
                    <a:pt x="197586" y="29210"/>
                  </a:lnTo>
                  <a:lnTo>
                    <a:pt x="199783" y="31750"/>
                  </a:lnTo>
                  <a:lnTo>
                    <a:pt x="184531" y="31750"/>
                  </a:lnTo>
                  <a:lnTo>
                    <a:pt x="184531" y="34290"/>
                  </a:lnTo>
                  <a:lnTo>
                    <a:pt x="178447" y="41910"/>
                  </a:lnTo>
                  <a:lnTo>
                    <a:pt x="171716" y="49530"/>
                  </a:lnTo>
                  <a:lnTo>
                    <a:pt x="170192" y="48437"/>
                  </a:lnTo>
                  <a:lnTo>
                    <a:pt x="170192" y="52070"/>
                  </a:lnTo>
                  <a:lnTo>
                    <a:pt x="167690" y="54610"/>
                  </a:lnTo>
                  <a:lnTo>
                    <a:pt x="167208" y="53771"/>
                  </a:lnTo>
                  <a:lnTo>
                    <a:pt x="167208" y="55880"/>
                  </a:lnTo>
                  <a:lnTo>
                    <a:pt x="159524" y="64770"/>
                  </a:lnTo>
                  <a:lnTo>
                    <a:pt x="152095" y="41910"/>
                  </a:lnTo>
                  <a:lnTo>
                    <a:pt x="150393" y="35560"/>
                  </a:lnTo>
                  <a:lnTo>
                    <a:pt x="157200" y="41910"/>
                  </a:lnTo>
                  <a:lnTo>
                    <a:pt x="160312" y="44450"/>
                  </a:lnTo>
                  <a:lnTo>
                    <a:pt x="164541" y="50800"/>
                  </a:lnTo>
                  <a:lnTo>
                    <a:pt x="167208" y="55880"/>
                  </a:lnTo>
                  <a:lnTo>
                    <a:pt x="167208" y="53771"/>
                  </a:lnTo>
                  <a:lnTo>
                    <a:pt x="165519" y="50800"/>
                  </a:lnTo>
                  <a:lnTo>
                    <a:pt x="161988" y="45720"/>
                  </a:lnTo>
                  <a:lnTo>
                    <a:pt x="170192" y="52070"/>
                  </a:lnTo>
                  <a:lnTo>
                    <a:pt x="170192" y="48437"/>
                  </a:lnTo>
                  <a:lnTo>
                    <a:pt x="166433" y="45720"/>
                  </a:lnTo>
                  <a:lnTo>
                    <a:pt x="161137" y="41910"/>
                  </a:lnTo>
                  <a:lnTo>
                    <a:pt x="158546" y="39370"/>
                  </a:lnTo>
                  <a:lnTo>
                    <a:pt x="157759" y="38100"/>
                  </a:lnTo>
                  <a:lnTo>
                    <a:pt x="156921" y="36753"/>
                  </a:lnTo>
                  <a:lnTo>
                    <a:pt x="156921" y="38100"/>
                  </a:lnTo>
                  <a:lnTo>
                    <a:pt x="153352" y="35560"/>
                  </a:lnTo>
                  <a:lnTo>
                    <a:pt x="151574" y="34290"/>
                  </a:lnTo>
                  <a:lnTo>
                    <a:pt x="154495" y="34290"/>
                  </a:lnTo>
                  <a:lnTo>
                    <a:pt x="156921" y="38100"/>
                  </a:lnTo>
                  <a:lnTo>
                    <a:pt x="156921" y="36753"/>
                  </a:lnTo>
                  <a:lnTo>
                    <a:pt x="155397" y="34290"/>
                  </a:lnTo>
                  <a:lnTo>
                    <a:pt x="184531" y="34290"/>
                  </a:lnTo>
                  <a:lnTo>
                    <a:pt x="184531" y="31750"/>
                  </a:lnTo>
                  <a:lnTo>
                    <a:pt x="153987" y="31750"/>
                  </a:lnTo>
                  <a:lnTo>
                    <a:pt x="150025" y="24130"/>
                  </a:lnTo>
                  <a:lnTo>
                    <a:pt x="147967" y="20650"/>
                  </a:lnTo>
                  <a:lnTo>
                    <a:pt x="147154" y="20739"/>
                  </a:lnTo>
                  <a:lnTo>
                    <a:pt x="149910" y="25476"/>
                  </a:lnTo>
                  <a:lnTo>
                    <a:pt x="153085" y="31750"/>
                  </a:lnTo>
                  <a:lnTo>
                    <a:pt x="148945" y="31750"/>
                  </a:lnTo>
                  <a:lnTo>
                    <a:pt x="145719" y="20891"/>
                  </a:lnTo>
                  <a:lnTo>
                    <a:pt x="143357" y="21145"/>
                  </a:lnTo>
                  <a:lnTo>
                    <a:pt x="146431" y="31750"/>
                  </a:lnTo>
                  <a:lnTo>
                    <a:pt x="115227" y="31750"/>
                  </a:lnTo>
                  <a:lnTo>
                    <a:pt x="114668" y="30480"/>
                  </a:lnTo>
                  <a:lnTo>
                    <a:pt x="114134" y="33020"/>
                  </a:lnTo>
                  <a:lnTo>
                    <a:pt x="116306" y="33020"/>
                  </a:lnTo>
                  <a:lnTo>
                    <a:pt x="116306" y="34290"/>
                  </a:lnTo>
                  <a:lnTo>
                    <a:pt x="115608" y="34290"/>
                  </a:lnTo>
                  <a:lnTo>
                    <a:pt x="115239" y="35560"/>
                  </a:lnTo>
                  <a:lnTo>
                    <a:pt x="115150" y="36830"/>
                  </a:lnTo>
                  <a:lnTo>
                    <a:pt x="114427" y="36830"/>
                  </a:lnTo>
                  <a:lnTo>
                    <a:pt x="114427" y="38100"/>
                  </a:lnTo>
                  <a:lnTo>
                    <a:pt x="114820" y="39370"/>
                  </a:lnTo>
                  <a:lnTo>
                    <a:pt x="115201" y="39370"/>
                  </a:lnTo>
                  <a:lnTo>
                    <a:pt x="115150" y="40640"/>
                  </a:lnTo>
                  <a:lnTo>
                    <a:pt x="114427" y="40640"/>
                  </a:lnTo>
                  <a:lnTo>
                    <a:pt x="114427" y="41910"/>
                  </a:lnTo>
                  <a:lnTo>
                    <a:pt x="114820" y="43180"/>
                  </a:lnTo>
                  <a:lnTo>
                    <a:pt x="115341" y="43180"/>
                  </a:lnTo>
                  <a:lnTo>
                    <a:pt x="115201" y="44450"/>
                  </a:lnTo>
                  <a:lnTo>
                    <a:pt x="114731" y="44450"/>
                  </a:lnTo>
                  <a:lnTo>
                    <a:pt x="114427" y="45720"/>
                  </a:lnTo>
                  <a:lnTo>
                    <a:pt x="114427" y="46990"/>
                  </a:lnTo>
                  <a:lnTo>
                    <a:pt x="115341" y="46990"/>
                  </a:lnTo>
                  <a:lnTo>
                    <a:pt x="115201" y="48260"/>
                  </a:lnTo>
                  <a:lnTo>
                    <a:pt x="114731" y="48260"/>
                  </a:lnTo>
                  <a:lnTo>
                    <a:pt x="114427" y="49530"/>
                  </a:lnTo>
                  <a:lnTo>
                    <a:pt x="114427" y="50800"/>
                  </a:lnTo>
                  <a:lnTo>
                    <a:pt x="115341" y="50800"/>
                  </a:lnTo>
                  <a:lnTo>
                    <a:pt x="115201" y="52070"/>
                  </a:lnTo>
                  <a:lnTo>
                    <a:pt x="115150" y="53340"/>
                  </a:lnTo>
                  <a:lnTo>
                    <a:pt x="114427" y="53340"/>
                  </a:lnTo>
                  <a:lnTo>
                    <a:pt x="114427" y="54610"/>
                  </a:lnTo>
                  <a:lnTo>
                    <a:pt x="115570" y="54610"/>
                  </a:lnTo>
                  <a:lnTo>
                    <a:pt x="115341" y="55880"/>
                  </a:lnTo>
                  <a:lnTo>
                    <a:pt x="115201" y="55880"/>
                  </a:lnTo>
                  <a:lnTo>
                    <a:pt x="115150" y="57150"/>
                  </a:lnTo>
                  <a:lnTo>
                    <a:pt x="114427" y="57150"/>
                  </a:lnTo>
                  <a:lnTo>
                    <a:pt x="114427" y="58420"/>
                  </a:lnTo>
                  <a:lnTo>
                    <a:pt x="115570" y="58420"/>
                  </a:lnTo>
                  <a:lnTo>
                    <a:pt x="115341" y="59690"/>
                  </a:lnTo>
                  <a:lnTo>
                    <a:pt x="115201" y="59690"/>
                  </a:lnTo>
                  <a:lnTo>
                    <a:pt x="115150" y="60960"/>
                  </a:lnTo>
                  <a:lnTo>
                    <a:pt x="114427" y="60960"/>
                  </a:lnTo>
                  <a:lnTo>
                    <a:pt x="114427" y="62230"/>
                  </a:lnTo>
                  <a:lnTo>
                    <a:pt x="114820" y="63500"/>
                  </a:lnTo>
                  <a:lnTo>
                    <a:pt x="115201" y="63500"/>
                  </a:lnTo>
                  <a:lnTo>
                    <a:pt x="115150" y="64770"/>
                  </a:lnTo>
                  <a:lnTo>
                    <a:pt x="114427" y="64770"/>
                  </a:lnTo>
                  <a:lnTo>
                    <a:pt x="114427" y="66040"/>
                  </a:lnTo>
                  <a:lnTo>
                    <a:pt x="114820" y="67310"/>
                  </a:lnTo>
                  <a:lnTo>
                    <a:pt x="115341" y="67310"/>
                  </a:lnTo>
                  <a:lnTo>
                    <a:pt x="115201" y="68580"/>
                  </a:lnTo>
                  <a:lnTo>
                    <a:pt x="114731" y="68580"/>
                  </a:lnTo>
                  <a:lnTo>
                    <a:pt x="114427" y="69850"/>
                  </a:lnTo>
                  <a:lnTo>
                    <a:pt x="114820" y="71120"/>
                  </a:lnTo>
                  <a:lnTo>
                    <a:pt x="115341" y="71120"/>
                  </a:lnTo>
                  <a:lnTo>
                    <a:pt x="115201" y="72390"/>
                  </a:lnTo>
                  <a:lnTo>
                    <a:pt x="114731" y="72390"/>
                  </a:lnTo>
                  <a:lnTo>
                    <a:pt x="114427" y="73660"/>
                  </a:lnTo>
                  <a:lnTo>
                    <a:pt x="114427" y="74930"/>
                  </a:lnTo>
                  <a:lnTo>
                    <a:pt x="116306" y="74930"/>
                  </a:lnTo>
                  <a:lnTo>
                    <a:pt x="116306" y="77470"/>
                  </a:lnTo>
                  <a:lnTo>
                    <a:pt x="114884" y="80010"/>
                  </a:lnTo>
                  <a:lnTo>
                    <a:pt x="111950" y="87630"/>
                  </a:lnTo>
                  <a:lnTo>
                    <a:pt x="106083" y="74930"/>
                  </a:lnTo>
                  <a:lnTo>
                    <a:pt x="100355" y="62230"/>
                  </a:lnTo>
                  <a:lnTo>
                    <a:pt x="94729" y="49530"/>
                  </a:lnTo>
                  <a:lnTo>
                    <a:pt x="91490" y="41910"/>
                  </a:lnTo>
                  <a:lnTo>
                    <a:pt x="89674" y="36830"/>
                  </a:lnTo>
                  <a:lnTo>
                    <a:pt x="89217" y="35560"/>
                  </a:lnTo>
                  <a:lnTo>
                    <a:pt x="94246" y="33020"/>
                  </a:lnTo>
                  <a:lnTo>
                    <a:pt x="96685" y="31750"/>
                  </a:lnTo>
                  <a:lnTo>
                    <a:pt x="105791" y="25400"/>
                  </a:lnTo>
                  <a:lnTo>
                    <a:pt x="111188" y="24663"/>
                  </a:lnTo>
                  <a:lnTo>
                    <a:pt x="103797" y="25476"/>
                  </a:lnTo>
                  <a:lnTo>
                    <a:pt x="96177" y="30480"/>
                  </a:lnTo>
                  <a:lnTo>
                    <a:pt x="93789" y="31750"/>
                  </a:lnTo>
                  <a:lnTo>
                    <a:pt x="91338" y="34290"/>
                  </a:lnTo>
                  <a:lnTo>
                    <a:pt x="88836" y="35560"/>
                  </a:lnTo>
                  <a:lnTo>
                    <a:pt x="87452" y="31750"/>
                  </a:lnTo>
                  <a:lnTo>
                    <a:pt x="86017" y="29210"/>
                  </a:lnTo>
                  <a:lnTo>
                    <a:pt x="85483" y="27940"/>
                  </a:lnTo>
                  <a:lnTo>
                    <a:pt x="101765" y="25704"/>
                  </a:lnTo>
                  <a:lnTo>
                    <a:pt x="0" y="36830"/>
                  </a:lnTo>
                  <a:lnTo>
                    <a:pt x="84137" y="27940"/>
                  </a:lnTo>
                  <a:lnTo>
                    <a:pt x="84836" y="29210"/>
                  </a:lnTo>
                  <a:lnTo>
                    <a:pt x="86283" y="33020"/>
                  </a:lnTo>
                  <a:lnTo>
                    <a:pt x="87693" y="35560"/>
                  </a:lnTo>
                  <a:lnTo>
                    <a:pt x="78409" y="40640"/>
                  </a:lnTo>
                  <a:lnTo>
                    <a:pt x="76161" y="41910"/>
                  </a:lnTo>
                  <a:lnTo>
                    <a:pt x="68783" y="44450"/>
                  </a:lnTo>
                  <a:lnTo>
                    <a:pt x="48704" y="49530"/>
                  </a:lnTo>
                  <a:lnTo>
                    <a:pt x="35941" y="50800"/>
                  </a:lnTo>
                  <a:lnTo>
                    <a:pt x="23088" y="50800"/>
                  </a:lnTo>
                  <a:lnTo>
                    <a:pt x="10299" y="49530"/>
                  </a:lnTo>
                  <a:lnTo>
                    <a:pt x="0" y="48260"/>
                  </a:lnTo>
                  <a:lnTo>
                    <a:pt x="10147" y="50800"/>
                  </a:lnTo>
                  <a:lnTo>
                    <a:pt x="23050" y="52070"/>
                  </a:lnTo>
                  <a:lnTo>
                    <a:pt x="35991" y="52070"/>
                  </a:lnTo>
                  <a:lnTo>
                    <a:pt x="48869" y="50800"/>
                  </a:lnTo>
                  <a:lnTo>
                    <a:pt x="69062" y="45720"/>
                  </a:lnTo>
                  <a:lnTo>
                    <a:pt x="78790" y="41910"/>
                  </a:lnTo>
                  <a:lnTo>
                    <a:pt x="88074" y="36830"/>
                  </a:lnTo>
                  <a:lnTo>
                    <a:pt x="90081" y="41910"/>
                  </a:lnTo>
                  <a:lnTo>
                    <a:pt x="93713" y="49530"/>
                  </a:lnTo>
                  <a:lnTo>
                    <a:pt x="99441" y="63500"/>
                  </a:lnTo>
                  <a:lnTo>
                    <a:pt x="105308" y="76200"/>
                  </a:lnTo>
                  <a:lnTo>
                    <a:pt x="111302" y="88900"/>
                  </a:lnTo>
                  <a:lnTo>
                    <a:pt x="106591" y="99110"/>
                  </a:lnTo>
                  <a:lnTo>
                    <a:pt x="101739" y="110490"/>
                  </a:lnTo>
                  <a:lnTo>
                    <a:pt x="96672" y="120650"/>
                  </a:lnTo>
                  <a:lnTo>
                    <a:pt x="91376" y="130810"/>
                  </a:lnTo>
                  <a:lnTo>
                    <a:pt x="84201" y="144780"/>
                  </a:lnTo>
                  <a:lnTo>
                    <a:pt x="76606" y="157480"/>
                  </a:lnTo>
                  <a:lnTo>
                    <a:pt x="68516" y="170180"/>
                  </a:lnTo>
                  <a:lnTo>
                    <a:pt x="59905" y="182880"/>
                  </a:lnTo>
                  <a:lnTo>
                    <a:pt x="51244" y="193040"/>
                  </a:lnTo>
                  <a:lnTo>
                    <a:pt x="41973" y="204470"/>
                  </a:lnTo>
                  <a:lnTo>
                    <a:pt x="32080" y="214630"/>
                  </a:lnTo>
                  <a:lnTo>
                    <a:pt x="21501" y="223520"/>
                  </a:lnTo>
                  <a:lnTo>
                    <a:pt x="18961" y="220980"/>
                  </a:lnTo>
                  <a:lnTo>
                    <a:pt x="16446" y="219710"/>
                  </a:lnTo>
                  <a:lnTo>
                    <a:pt x="14008" y="217170"/>
                  </a:lnTo>
                  <a:lnTo>
                    <a:pt x="4102" y="207010"/>
                  </a:lnTo>
                  <a:lnTo>
                    <a:pt x="0" y="203200"/>
                  </a:lnTo>
                  <a:lnTo>
                    <a:pt x="0" y="205740"/>
                  </a:lnTo>
                  <a:lnTo>
                    <a:pt x="3225" y="208280"/>
                  </a:lnTo>
                  <a:lnTo>
                    <a:pt x="13169" y="218440"/>
                  </a:lnTo>
                  <a:lnTo>
                    <a:pt x="15595" y="219710"/>
                  </a:lnTo>
                  <a:lnTo>
                    <a:pt x="20548" y="224790"/>
                  </a:lnTo>
                  <a:lnTo>
                    <a:pt x="19951" y="224790"/>
                  </a:lnTo>
                  <a:lnTo>
                    <a:pt x="19367" y="226060"/>
                  </a:lnTo>
                  <a:lnTo>
                    <a:pt x="18757" y="226060"/>
                  </a:lnTo>
                  <a:lnTo>
                    <a:pt x="6515" y="234950"/>
                  </a:lnTo>
                  <a:lnTo>
                    <a:pt x="25" y="238747"/>
                  </a:lnTo>
                  <a:lnTo>
                    <a:pt x="0" y="240030"/>
                  </a:lnTo>
                  <a:lnTo>
                    <a:pt x="7239" y="236220"/>
                  </a:lnTo>
                  <a:lnTo>
                    <a:pt x="19558" y="227330"/>
                  </a:lnTo>
                  <a:lnTo>
                    <a:pt x="20243" y="226060"/>
                  </a:lnTo>
                  <a:lnTo>
                    <a:pt x="21551" y="224790"/>
                  </a:lnTo>
                  <a:lnTo>
                    <a:pt x="58356" y="248920"/>
                  </a:lnTo>
                  <a:lnTo>
                    <a:pt x="84823" y="257810"/>
                  </a:lnTo>
                  <a:lnTo>
                    <a:pt x="98640" y="257810"/>
                  </a:lnTo>
                  <a:lnTo>
                    <a:pt x="105473" y="256540"/>
                  </a:lnTo>
                  <a:lnTo>
                    <a:pt x="118910" y="254000"/>
                  </a:lnTo>
                  <a:lnTo>
                    <a:pt x="125285" y="250190"/>
                  </a:lnTo>
                  <a:lnTo>
                    <a:pt x="131419" y="247650"/>
                  </a:lnTo>
                  <a:lnTo>
                    <a:pt x="137261" y="243840"/>
                  </a:lnTo>
                  <a:lnTo>
                    <a:pt x="142836" y="240030"/>
                  </a:lnTo>
                  <a:lnTo>
                    <a:pt x="148132" y="234950"/>
                  </a:lnTo>
                  <a:lnTo>
                    <a:pt x="153174" y="231140"/>
                  </a:lnTo>
                  <a:lnTo>
                    <a:pt x="157962" y="226060"/>
                  </a:lnTo>
                  <a:lnTo>
                    <a:pt x="162877" y="219710"/>
                  </a:lnTo>
                  <a:lnTo>
                    <a:pt x="167551" y="214630"/>
                  </a:lnTo>
                  <a:lnTo>
                    <a:pt x="172008" y="208280"/>
                  </a:lnTo>
                  <a:lnTo>
                    <a:pt x="176250" y="201930"/>
                  </a:lnTo>
                  <a:lnTo>
                    <a:pt x="177761" y="204470"/>
                  </a:lnTo>
                  <a:lnTo>
                    <a:pt x="181749" y="209550"/>
                  </a:lnTo>
                  <a:lnTo>
                    <a:pt x="185889" y="215900"/>
                  </a:lnTo>
                  <a:lnTo>
                    <a:pt x="190233" y="222250"/>
                  </a:lnTo>
                  <a:lnTo>
                    <a:pt x="199390" y="232410"/>
                  </a:lnTo>
                  <a:lnTo>
                    <a:pt x="204368" y="237490"/>
                  </a:lnTo>
                  <a:lnTo>
                    <a:pt x="211391" y="243840"/>
                  </a:lnTo>
                  <a:lnTo>
                    <a:pt x="212839" y="245110"/>
                  </a:lnTo>
                  <a:lnTo>
                    <a:pt x="214376" y="245110"/>
                  </a:lnTo>
                  <a:lnTo>
                    <a:pt x="213042" y="243840"/>
                  </a:lnTo>
                  <a:lnTo>
                    <a:pt x="211747" y="242570"/>
                  </a:lnTo>
                  <a:lnTo>
                    <a:pt x="210489" y="241300"/>
                  </a:lnTo>
                  <a:lnTo>
                    <a:pt x="204939" y="237490"/>
                  </a:lnTo>
                  <a:lnTo>
                    <a:pt x="199999" y="232410"/>
                  </a:lnTo>
                  <a:lnTo>
                    <a:pt x="191096" y="222250"/>
                  </a:lnTo>
                  <a:lnTo>
                    <a:pt x="187071" y="215900"/>
                  </a:lnTo>
                  <a:lnTo>
                    <a:pt x="183273" y="210820"/>
                  </a:lnTo>
                  <a:lnTo>
                    <a:pt x="212471" y="237490"/>
                  </a:lnTo>
                  <a:lnTo>
                    <a:pt x="214579" y="238760"/>
                  </a:lnTo>
                  <a:lnTo>
                    <a:pt x="210680" y="236118"/>
                  </a:lnTo>
                  <a:lnTo>
                    <a:pt x="209029" y="234950"/>
                  </a:lnTo>
                  <a:lnTo>
                    <a:pt x="200215" y="227330"/>
                  </a:lnTo>
                  <a:lnTo>
                    <a:pt x="192062" y="218440"/>
                  </a:lnTo>
                  <a:lnTo>
                    <a:pt x="184442" y="210820"/>
                  </a:lnTo>
                  <a:lnTo>
                    <a:pt x="177253" y="201930"/>
                  </a:lnTo>
                  <a:lnTo>
                    <a:pt x="176898" y="200660"/>
                  </a:lnTo>
                  <a:lnTo>
                    <a:pt x="181330" y="194310"/>
                  </a:lnTo>
                  <a:lnTo>
                    <a:pt x="185458" y="187960"/>
                  </a:lnTo>
                  <a:lnTo>
                    <a:pt x="191808" y="175260"/>
                  </a:lnTo>
                  <a:lnTo>
                    <a:pt x="194208" y="171450"/>
                  </a:lnTo>
                  <a:lnTo>
                    <a:pt x="196532" y="166370"/>
                  </a:lnTo>
                  <a:lnTo>
                    <a:pt x="216649" y="184150"/>
                  </a:lnTo>
                  <a:lnTo>
                    <a:pt x="214617" y="238760"/>
                  </a:lnTo>
                  <a:lnTo>
                    <a:pt x="214503" y="241300"/>
                  </a:lnTo>
                  <a:lnTo>
                    <a:pt x="214376" y="245110"/>
                  </a:lnTo>
                  <a:lnTo>
                    <a:pt x="214312" y="245960"/>
                  </a:lnTo>
                  <a:lnTo>
                    <a:pt x="209003" y="386080"/>
                  </a:lnTo>
                  <a:lnTo>
                    <a:pt x="211391" y="386080"/>
                  </a:lnTo>
                  <a:lnTo>
                    <a:pt x="211607" y="381000"/>
                  </a:lnTo>
                  <a:lnTo>
                    <a:pt x="213106" y="382270"/>
                  </a:lnTo>
                  <a:lnTo>
                    <a:pt x="222262" y="386080"/>
                  </a:lnTo>
                  <a:lnTo>
                    <a:pt x="227698" y="386080"/>
                  </a:lnTo>
                  <a:lnTo>
                    <a:pt x="220853" y="383540"/>
                  </a:lnTo>
                  <a:lnTo>
                    <a:pt x="216039" y="381000"/>
                  </a:lnTo>
                  <a:lnTo>
                    <a:pt x="213588" y="379730"/>
                  </a:lnTo>
                  <a:lnTo>
                    <a:pt x="216344" y="378460"/>
                  </a:lnTo>
                  <a:lnTo>
                    <a:pt x="218071" y="377190"/>
                  </a:lnTo>
                  <a:lnTo>
                    <a:pt x="221538" y="374650"/>
                  </a:lnTo>
                  <a:lnTo>
                    <a:pt x="229082" y="370840"/>
                  </a:lnTo>
                  <a:lnTo>
                    <a:pt x="244284" y="379730"/>
                  </a:lnTo>
                  <a:lnTo>
                    <a:pt x="229793" y="386080"/>
                  </a:lnTo>
                  <a:lnTo>
                    <a:pt x="235178" y="386080"/>
                  </a:lnTo>
                  <a:lnTo>
                    <a:pt x="245681" y="381000"/>
                  </a:lnTo>
                  <a:lnTo>
                    <a:pt x="245821" y="386080"/>
                  </a:lnTo>
                  <a:lnTo>
                    <a:pt x="248208" y="386080"/>
                  </a:lnTo>
                  <a:lnTo>
                    <a:pt x="248056" y="381000"/>
                  </a:lnTo>
                  <a:lnTo>
                    <a:pt x="247942" y="377190"/>
                  </a:lnTo>
                  <a:lnTo>
                    <a:pt x="247510" y="360680"/>
                  </a:lnTo>
                  <a:lnTo>
                    <a:pt x="247497" y="359410"/>
                  </a:lnTo>
                  <a:lnTo>
                    <a:pt x="247421" y="356870"/>
                  </a:lnTo>
                  <a:lnTo>
                    <a:pt x="246976" y="340360"/>
                  </a:lnTo>
                  <a:lnTo>
                    <a:pt x="246837" y="335280"/>
                  </a:lnTo>
                  <a:lnTo>
                    <a:pt x="246392" y="318770"/>
                  </a:lnTo>
                  <a:lnTo>
                    <a:pt x="246354" y="317500"/>
                  </a:lnTo>
                  <a:lnTo>
                    <a:pt x="246278" y="314960"/>
                  </a:lnTo>
                  <a:lnTo>
                    <a:pt x="246253" y="313690"/>
                  </a:lnTo>
                  <a:lnTo>
                    <a:pt x="245808" y="297180"/>
                  </a:lnTo>
                  <a:lnTo>
                    <a:pt x="245656" y="292100"/>
                  </a:lnTo>
                  <a:lnTo>
                    <a:pt x="245567" y="288836"/>
                  </a:lnTo>
                  <a:lnTo>
                    <a:pt x="245567" y="377190"/>
                  </a:lnTo>
                  <a:lnTo>
                    <a:pt x="233845" y="370840"/>
                  </a:lnTo>
                  <a:lnTo>
                    <a:pt x="231495" y="369570"/>
                  </a:lnTo>
                  <a:lnTo>
                    <a:pt x="233476" y="368300"/>
                  </a:lnTo>
                  <a:lnTo>
                    <a:pt x="241388" y="363220"/>
                  </a:lnTo>
                  <a:lnTo>
                    <a:pt x="245122" y="360680"/>
                  </a:lnTo>
                  <a:lnTo>
                    <a:pt x="245567" y="377190"/>
                  </a:lnTo>
                  <a:lnTo>
                    <a:pt x="245567" y="288836"/>
                  </a:lnTo>
                  <a:lnTo>
                    <a:pt x="245173" y="274320"/>
                  </a:lnTo>
                  <a:lnTo>
                    <a:pt x="245148" y="273050"/>
                  </a:lnTo>
                  <a:lnTo>
                    <a:pt x="245071" y="270510"/>
                  </a:lnTo>
                  <a:lnTo>
                    <a:pt x="245046" y="269240"/>
                  </a:lnTo>
                  <a:lnTo>
                    <a:pt x="245008" y="267830"/>
                  </a:lnTo>
                  <a:lnTo>
                    <a:pt x="245008" y="356870"/>
                  </a:lnTo>
                  <a:lnTo>
                    <a:pt x="243928" y="356171"/>
                  </a:lnTo>
                  <a:lnTo>
                    <a:pt x="243928" y="359410"/>
                  </a:lnTo>
                  <a:lnTo>
                    <a:pt x="234035" y="364490"/>
                  </a:lnTo>
                  <a:lnTo>
                    <a:pt x="229069" y="368300"/>
                  </a:lnTo>
                  <a:lnTo>
                    <a:pt x="226644" y="366864"/>
                  </a:lnTo>
                  <a:lnTo>
                    <a:pt x="226644" y="369570"/>
                  </a:lnTo>
                  <a:lnTo>
                    <a:pt x="216877" y="374650"/>
                  </a:lnTo>
                  <a:lnTo>
                    <a:pt x="213144" y="377190"/>
                  </a:lnTo>
                  <a:lnTo>
                    <a:pt x="211734" y="377190"/>
                  </a:lnTo>
                  <a:lnTo>
                    <a:pt x="212369" y="360680"/>
                  </a:lnTo>
                  <a:lnTo>
                    <a:pt x="226644" y="369570"/>
                  </a:lnTo>
                  <a:lnTo>
                    <a:pt x="226644" y="366864"/>
                  </a:lnTo>
                  <a:lnTo>
                    <a:pt x="216204" y="360680"/>
                  </a:lnTo>
                  <a:lnTo>
                    <a:pt x="214058" y="359410"/>
                  </a:lnTo>
                  <a:lnTo>
                    <a:pt x="217817" y="356870"/>
                  </a:lnTo>
                  <a:lnTo>
                    <a:pt x="229082" y="349250"/>
                  </a:lnTo>
                  <a:lnTo>
                    <a:pt x="243928" y="359410"/>
                  </a:lnTo>
                  <a:lnTo>
                    <a:pt x="243928" y="356171"/>
                  </a:lnTo>
                  <a:lnTo>
                    <a:pt x="233362" y="349250"/>
                  </a:lnTo>
                  <a:lnTo>
                    <a:pt x="231419" y="347980"/>
                  </a:lnTo>
                  <a:lnTo>
                    <a:pt x="233616" y="346710"/>
                  </a:lnTo>
                  <a:lnTo>
                    <a:pt x="244563" y="340360"/>
                  </a:lnTo>
                  <a:lnTo>
                    <a:pt x="245008" y="356870"/>
                  </a:lnTo>
                  <a:lnTo>
                    <a:pt x="245008" y="267830"/>
                  </a:lnTo>
                  <a:lnTo>
                    <a:pt x="244602" y="252730"/>
                  </a:lnTo>
                  <a:lnTo>
                    <a:pt x="244500" y="248920"/>
                  </a:lnTo>
                  <a:lnTo>
                    <a:pt x="245783" y="248920"/>
                  </a:lnTo>
                  <a:lnTo>
                    <a:pt x="247002" y="247650"/>
                  </a:lnTo>
                  <a:lnTo>
                    <a:pt x="250431" y="247650"/>
                  </a:lnTo>
                  <a:lnTo>
                    <a:pt x="252641" y="246380"/>
                  </a:lnTo>
                  <a:lnTo>
                    <a:pt x="262648" y="242570"/>
                  </a:lnTo>
                  <a:lnTo>
                    <a:pt x="285610" y="219710"/>
                  </a:lnTo>
                  <a:lnTo>
                    <a:pt x="287426" y="223520"/>
                  </a:lnTo>
                  <a:lnTo>
                    <a:pt x="289306" y="226060"/>
                  </a:lnTo>
                  <a:lnTo>
                    <a:pt x="298780" y="241300"/>
                  </a:lnTo>
                  <a:lnTo>
                    <a:pt x="305650" y="248920"/>
                  </a:lnTo>
                  <a:lnTo>
                    <a:pt x="308140" y="251460"/>
                  </a:lnTo>
                  <a:lnTo>
                    <a:pt x="313677" y="255270"/>
                  </a:lnTo>
                  <a:lnTo>
                    <a:pt x="316801" y="256540"/>
                  </a:lnTo>
                  <a:lnTo>
                    <a:pt x="320217" y="257810"/>
                  </a:lnTo>
                  <a:lnTo>
                    <a:pt x="323367" y="257810"/>
                  </a:lnTo>
                  <a:lnTo>
                    <a:pt x="320306" y="256540"/>
                  </a:lnTo>
                  <a:lnTo>
                    <a:pt x="317004" y="256540"/>
                  </a:lnTo>
                  <a:lnTo>
                    <a:pt x="313931" y="254000"/>
                  </a:lnTo>
                  <a:lnTo>
                    <a:pt x="308495" y="250190"/>
                  </a:lnTo>
                  <a:lnTo>
                    <a:pt x="306031" y="247650"/>
                  </a:lnTo>
                  <a:lnTo>
                    <a:pt x="299212" y="241300"/>
                  </a:lnTo>
                  <a:lnTo>
                    <a:pt x="295338" y="234950"/>
                  </a:lnTo>
                  <a:lnTo>
                    <a:pt x="289737" y="226060"/>
                  </a:lnTo>
                  <a:lnTo>
                    <a:pt x="287832" y="222250"/>
                  </a:lnTo>
                  <a:lnTo>
                    <a:pt x="285991" y="219710"/>
                  </a:lnTo>
                  <a:lnTo>
                    <a:pt x="286766" y="218440"/>
                  </a:lnTo>
                  <a:lnTo>
                    <a:pt x="289052" y="214630"/>
                  </a:lnTo>
                  <a:lnTo>
                    <a:pt x="290474" y="213360"/>
                  </a:lnTo>
                  <a:lnTo>
                    <a:pt x="294005" y="207010"/>
                  </a:lnTo>
                  <a:lnTo>
                    <a:pt x="297307" y="200660"/>
                  </a:lnTo>
                  <a:lnTo>
                    <a:pt x="300431" y="195580"/>
                  </a:lnTo>
                  <a:lnTo>
                    <a:pt x="303377" y="189230"/>
                  </a:lnTo>
                  <a:lnTo>
                    <a:pt x="304749" y="194310"/>
                  </a:lnTo>
                  <a:lnTo>
                    <a:pt x="306158" y="198120"/>
                  </a:lnTo>
                  <a:lnTo>
                    <a:pt x="318833" y="234950"/>
                  </a:lnTo>
                  <a:lnTo>
                    <a:pt x="328574" y="253733"/>
                  </a:lnTo>
                  <a:lnTo>
                    <a:pt x="328168" y="252730"/>
                  </a:lnTo>
                  <a:lnTo>
                    <a:pt x="324904" y="246380"/>
                  </a:lnTo>
                  <a:lnTo>
                    <a:pt x="321970" y="241300"/>
                  </a:lnTo>
                  <a:lnTo>
                    <a:pt x="319214" y="234696"/>
                  </a:lnTo>
                  <a:lnTo>
                    <a:pt x="306641" y="198120"/>
                  </a:lnTo>
                  <a:lnTo>
                    <a:pt x="303758" y="187960"/>
                  </a:lnTo>
                  <a:lnTo>
                    <a:pt x="304355" y="186690"/>
                  </a:lnTo>
                  <a:lnTo>
                    <a:pt x="306730" y="181610"/>
                  </a:lnTo>
                  <a:lnTo>
                    <a:pt x="309460" y="175260"/>
                  </a:lnTo>
                  <a:lnTo>
                    <a:pt x="314833" y="161290"/>
                  </a:lnTo>
                  <a:lnTo>
                    <a:pt x="317436" y="153670"/>
                  </a:lnTo>
                  <a:lnTo>
                    <a:pt x="319887" y="146050"/>
                  </a:lnTo>
                  <a:lnTo>
                    <a:pt x="338251" y="204470"/>
                  </a:lnTo>
                  <a:lnTo>
                    <a:pt x="352640" y="217170"/>
                  </a:lnTo>
                  <a:lnTo>
                    <a:pt x="351142" y="222250"/>
                  </a:lnTo>
                  <a:lnTo>
                    <a:pt x="349516" y="226060"/>
                  </a:lnTo>
                  <a:lnTo>
                    <a:pt x="347662" y="231140"/>
                  </a:lnTo>
                  <a:lnTo>
                    <a:pt x="329819" y="255270"/>
                  </a:lnTo>
                  <a:lnTo>
                    <a:pt x="328917" y="254254"/>
                  </a:lnTo>
                  <a:lnTo>
                    <a:pt x="329361" y="255270"/>
                  </a:lnTo>
                  <a:lnTo>
                    <a:pt x="326567" y="256540"/>
                  </a:lnTo>
                  <a:lnTo>
                    <a:pt x="323367" y="257810"/>
                  </a:lnTo>
                  <a:lnTo>
                    <a:pt x="326745" y="257810"/>
                  </a:lnTo>
                  <a:lnTo>
                    <a:pt x="329641" y="255270"/>
                  </a:lnTo>
                  <a:lnTo>
                    <a:pt x="331533" y="259080"/>
                  </a:lnTo>
                  <a:lnTo>
                    <a:pt x="333641" y="261620"/>
                  </a:lnTo>
                  <a:lnTo>
                    <a:pt x="338023" y="264210"/>
                  </a:lnTo>
                  <a:lnTo>
                    <a:pt x="339953" y="265430"/>
                  </a:lnTo>
                  <a:lnTo>
                    <a:pt x="342188" y="266700"/>
                  </a:lnTo>
                  <a:lnTo>
                    <a:pt x="344424" y="266700"/>
                  </a:lnTo>
                  <a:lnTo>
                    <a:pt x="340156" y="265430"/>
                  </a:lnTo>
                  <a:lnTo>
                    <a:pt x="338213" y="264160"/>
                  </a:lnTo>
                  <a:lnTo>
                    <a:pt x="334010" y="260350"/>
                  </a:lnTo>
                  <a:lnTo>
                    <a:pt x="331876" y="257733"/>
                  </a:lnTo>
                  <a:lnTo>
                    <a:pt x="330098" y="255270"/>
                  </a:lnTo>
                  <a:lnTo>
                    <a:pt x="330238" y="255270"/>
                  </a:lnTo>
                  <a:lnTo>
                    <a:pt x="333286" y="254000"/>
                  </a:lnTo>
                  <a:lnTo>
                    <a:pt x="335813" y="251460"/>
                  </a:lnTo>
                  <a:lnTo>
                    <a:pt x="342303" y="243840"/>
                  </a:lnTo>
                  <a:lnTo>
                    <a:pt x="345414" y="237426"/>
                  </a:lnTo>
                  <a:lnTo>
                    <a:pt x="348081" y="231140"/>
                  </a:lnTo>
                  <a:lnTo>
                    <a:pt x="349910" y="227330"/>
                  </a:lnTo>
                  <a:lnTo>
                    <a:pt x="351523" y="222250"/>
                  </a:lnTo>
                  <a:lnTo>
                    <a:pt x="352996" y="218440"/>
                  </a:lnTo>
                  <a:lnTo>
                    <a:pt x="358546" y="222250"/>
                  </a:lnTo>
                  <a:lnTo>
                    <a:pt x="354952" y="260350"/>
                  </a:lnTo>
                  <a:lnTo>
                    <a:pt x="346684" y="266700"/>
                  </a:lnTo>
                  <a:lnTo>
                    <a:pt x="346811" y="266700"/>
                  </a:lnTo>
                  <a:lnTo>
                    <a:pt x="348856" y="265430"/>
                  </a:lnTo>
                  <a:lnTo>
                    <a:pt x="352336" y="264160"/>
                  </a:lnTo>
                  <a:lnTo>
                    <a:pt x="355003" y="261594"/>
                  </a:lnTo>
                  <a:lnTo>
                    <a:pt x="357212" y="257810"/>
                  </a:lnTo>
                  <a:lnTo>
                    <a:pt x="352513" y="382270"/>
                  </a:lnTo>
                  <a:lnTo>
                    <a:pt x="353898" y="382270"/>
                  </a:lnTo>
                  <a:lnTo>
                    <a:pt x="354037" y="378460"/>
                  </a:lnTo>
                  <a:lnTo>
                    <a:pt x="356476" y="377190"/>
                  </a:lnTo>
                  <a:lnTo>
                    <a:pt x="366229" y="372110"/>
                  </a:lnTo>
                  <a:lnTo>
                    <a:pt x="378421" y="378460"/>
                  </a:lnTo>
                  <a:lnTo>
                    <a:pt x="378510" y="382270"/>
                  </a:lnTo>
                  <a:lnTo>
                    <a:pt x="379895" y="382270"/>
                  </a:lnTo>
                  <a:lnTo>
                    <a:pt x="379768" y="377190"/>
                  </a:lnTo>
                  <a:lnTo>
                    <a:pt x="379463" y="365760"/>
                  </a:lnTo>
                  <a:lnTo>
                    <a:pt x="379387" y="363220"/>
                  </a:lnTo>
                  <a:lnTo>
                    <a:pt x="379133" y="353060"/>
                  </a:lnTo>
                  <a:lnTo>
                    <a:pt x="379044" y="350520"/>
                  </a:lnTo>
                  <a:lnTo>
                    <a:pt x="378714" y="339090"/>
                  </a:lnTo>
                  <a:lnTo>
                    <a:pt x="378701" y="336550"/>
                  </a:lnTo>
                  <a:lnTo>
                    <a:pt x="378383" y="326390"/>
                  </a:lnTo>
                  <a:lnTo>
                    <a:pt x="378371" y="325970"/>
                  </a:lnTo>
                  <a:lnTo>
                    <a:pt x="378371" y="377190"/>
                  </a:lnTo>
                  <a:lnTo>
                    <a:pt x="369874" y="372110"/>
                  </a:lnTo>
                  <a:lnTo>
                    <a:pt x="367753" y="370840"/>
                  </a:lnTo>
                  <a:lnTo>
                    <a:pt x="378066" y="365760"/>
                  </a:lnTo>
                  <a:lnTo>
                    <a:pt x="378371" y="377190"/>
                  </a:lnTo>
                  <a:lnTo>
                    <a:pt x="378371" y="325970"/>
                  </a:lnTo>
                  <a:lnTo>
                    <a:pt x="378307" y="323850"/>
                  </a:lnTo>
                  <a:lnTo>
                    <a:pt x="378002" y="312127"/>
                  </a:lnTo>
                  <a:lnTo>
                    <a:pt x="378002" y="363220"/>
                  </a:lnTo>
                  <a:lnTo>
                    <a:pt x="377253" y="362839"/>
                  </a:lnTo>
                  <a:lnTo>
                    <a:pt x="377253" y="364490"/>
                  </a:lnTo>
                  <a:lnTo>
                    <a:pt x="366229" y="370840"/>
                  </a:lnTo>
                  <a:lnTo>
                    <a:pt x="364731" y="369963"/>
                  </a:lnTo>
                  <a:lnTo>
                    <a:pt x="364731" y="370840"/>
                  </a:lnTo>
                  <a:lnTo>
                    <a:pt x="354101" y="377190"/>
                  </a:lnTo>
                  <a:lnTo>
                    <a:pt x="354507" y="365760"/>
                  </a:lnTo>
                  <a:lnTo>
                    <a:pt x="364731" y="370840"/>
                  </a:lnTo>
                  <a:lnTo>
                    <a:pt x="364731" y="369963"/>
                  </a:lnTo>
                  <a:lnTo>
                    <a:pt x="357657" y="365760"/>
                  </a:lnTo>
                  <a:lnTo>
                    <a:pt x="355511" y="364490"/>
                  </a:lnTo>
                  <a:lnTo>
                    <a:pt x="358241" y="363220"/>
                  </a:lnTo>
                  <a:lnTo>
                    <a:pt x="366445" y="359410"/>
                  </a:lnTo>
                  <a:lnTo>
                    <a:pt x="377253" y="364490"/>
                  </a:lnTo>
                  <a:lnTo>
                    <a:pt x="377253" y="362839"/>
                  </a:lnTo>
                  <a:lnTo>
                    <a:pt x="370509" y="359410"/>
                  </a:lnTo>
                  <a:lnTo>
                    <a:pt x="368007" y="358140"/>
                  </a:lnTo>
                  <a:lnTo>
                    <a:pt x="370446" y="356870"/>
                  </a:lnTo>
                  <a:lnTo>
                    <a:pt x="377736" y="353060"/>
                  </a:lnTo>
                  <a:lnTo>
                    <a:pt x="378002" y="363220"/>
                  </a:lnTo>
                  <a:lnTo>
                    <a:pt x="378002" y="312127"/>
                  </a:lnTo>
                  <a:lnTo>
                    <a:pt x="377977" y="311150"/>
                  </a:lnTo>
                  <a:lnTo>
                    <a:pt x="377939" y="309880"/>
                  </a:lnTo>
                  <a:lnTo>
                    <a:pt x="377913" y="308610"/>
                  </a:lnTo>
                  <a:lnTo>
                    <a:pt x="377672" y="299567"/>
                  </a:lnTo>
                  <a:lnTo>
                    <a:pt x="377672" y="350520"/>
                  </a:lnTo>
                  <a:lnTo>
                    <a:pt x="376936" y="350139"/>
                  </a:lnTo>
                  <a:lnTo>
                    <a:pt x="376936" y="351790"/>
                  </a:lnTo>
                  <a:lnTo>
                    <a:pt x="366445" y="356870"/>
                  </a:lnTo>
                  <a:lnTo>
                    <a:pt x="364871" y="356082"/>
                  </a:lnTo>
                  <a:lnTo>
                    <a:pt x="364871" y="358140"/>
                  </a:lnTo>
                  <a:lnTo>
                    <a:pt x="354596" y="363220"/>
                  </a:lnTo>
                  <a:lnTo>
                    <a:pt x="354990" y="353060"/>
                  </a:lnTo>
                  <a:lnTo>
                    <a:pt x="356108" y="353060"/>
                  </a:lnTo>
                  <a:lnTo>
                    <a:pt x="358673" y="355600"/>
                  </a:lnTo>
                  <a:lnTo>
                    <a:pt x="364871" y="358140"/>
                  </a:lnTo>
                  <a:lnTo>
                    <a:pt x="364871" y="356082"/>
                  </a:lnTo>
                  <a:lnTo>
                    <a:pt x="361429" y="354330"/>
                  </a:lnTo>
                  <a:lnTo>
                    <a:pt x="357847" y="353060"/>
                  </a:lnTo>
                  <a:lnTo>
                    <a:pt x="356196" y="351790"/>
                  </a:lnTo>
                  <a:lnTo>
                    <a:pt x="357962" y="350520"/>
                  </a:lnTo>
                  <a:lnTo>
                    <a:pt x="361480" y="349250"/>
                  </a:lnTo>
                  <a:lnTo>
                    <a:pt x="366661" y="345440"/>
                  </a:lnTo>
                  <a:lnTo>
                    <a:pt x="376936" y="351790"/>
                  </a:lnTo>
                  <a:lnTo>
                    <a:pt x="376936" y="350139"/>
                  </a:lnTo>
                  <a:lnTo>
                    <a:pt x="368058" y="345440"/>
                  </a:lnTo>
                  <a:lnTo>
                    <a:pt x="369760" y="344170"/>
                  </a:lnTo>
                  <a:lnTo>
                    <a:pt x="371449" y="342900"/>
                  </a:lnTo>
                  <a:lnTo>
                    <a:pt x="377367" y="339090"/>
                  </a:lnTo>
                  <a:lnTo>
                    <a:pt x="377672" y="350520"/>
                  </a:lnTo>
                  <a:lnTo>
                    <a:pt x="377672" y="299567"/>
                  </a:lnTo>
                  <a:lnTo>
                    <a:pt x="377609" y="297180"/>
                  </a:lnTo>
                  <a:lnTo>
                    <a:pt x="377532" y="294640"/>
                  </a:lnTo>
                  <a:lnTo>
                    <a:pt x="377304" y="285851"/>
                  </a:lnTo>
                  <a:lnTo>
                    <a:pt x="377304" y="336550"/>
                  </a:lnTo>
                  <a:lnTo>
                    <a:pt x="376682" y="336219"/>
                  </a:lnTo>
                  <a:lnTo>
                    <a:pt x="376682" y="337820"/>
                  </a:lnTo>
                  <a:lnTo>
                    <a:pt x="366636" y="344170"/>
                  </a:lnTo>
                  <a:lnTo>
                    <a:pt x="365252" y="343484"/>
                  </a:lnTo>
                  <a:lnTo>
                    <a:pt x="365252" y="345440"/>
                  </a:lnTo>
                  <a:lnTo>
                    <a:pt x="358355" y="349250"/>
                  </a:lnTo>
                  <a:lnTo>
                    <a:pt x="355917" y="350520"/>
                  </a:lnTo>
                  <a:lnTo>
                    <a:pt x="355066" y="350520"/>
                  </a:lnTo>
                  <a:lnTo>
                    <a:pt x="355498" y="339090"/>
                  </a:lnTo>
                  <a:lnTo>
                    <a:pt x="365252" y="345440"/>
                  </a:lnTo>
                  <a:lnTo>
                    <a:pt x="365252" y="343484"/>
                  </a:lnTo>
                  <a:lnTo>
                    <a:pt x="356514" y="339090"/>
                  </a:lnTo>
                  <a:lnTo>
                    <a:pt x="358546" y="337820"/>
                  </a:lnTo>
                  <a:lnTo>
                    <a:pt x="366661" y="332740"/>
                  </a:lnTo>
                  <a:lnTo>
                    <a:pt x="376682" y="337820"/>
                  </a:lnTo>
                  <a:lnTo>
                    <a:pt x="376682" y="336219"/>
                  </a:lnTo>
                  <a:lnTo>
                    <a:pt x="370332" y="332740"/>
                  </a:lnTo>
                  <a:lnTo>
                    <a:pt x="368007" y="331470"/>
                  </a:lnTo>
                  <a:lnTo>
                    <a:pt x="370255" y="330200"/>
                  </a:lnTo>
                  <a:lnTo>
                    <a:pt x="376999" y="326390"/>
                  </a:lnTo>
                  <a:lnTo>
                    <a:pt x="377304" y="336550"/>
                  </a:lnTo>
                  <a:lnTo>
                    <a:pt x="377304" y="285851"/>
                  </a:lnTo>
                  <a:lnTo>
                    <a:pt x="377202" y="281940"/>
                  </a:lnTo>
                  <a:lnTo>
                    <a:pt x="377164" y="280670"/>
                  </a:lnTo>
                  <a:lnTo>
                    <a:pt x="377126" y="279400"/>
                  </a:lnTo>
                  <a:lnTo>
                    <a:pt x="376923" y="271780"/>
                  </a:lnTo>
                  <a:lnTo>
                    <a:pt x="376923" y="323850"/>
                  </a:lnTo>
                  <a:lnTo>
                    <a:pt x="376389" y="323469"/>
                  </a:lnTo>
                  <a:lnTo>
                    <a:pt x="376389" y="325120"/>
                  </a:lnTo>
                  <a:lnTo>
                    <a:pt x="366661" y="330200"/>
                  </a:lnTo>
                  <a:lnTo>
                    <a:pt x="365302" y="329488"/>
                  </a:lnTo>
                  <a:lnTo>
                    <a:pt x="365302" y="331470"/>
                  </a:lnTo>
                  <a:lnTo>
                    <a:pt x="355587" y="337820"/>
                  </a:lnTo>
                  <a:lnTo>
                    <a:pt x="356019" y="326390"/>
                  </a:lnTo>
                  <a:lnTo>
                    <a:pt x="365302" y="331470"/>
                  </a:lnTo>
                  <a:lnTo>
                    <a:pt x="365302" y="329488"/>
                  </a:lnTo>
                  <a:lnTo>
                    <a:pt x="359448" y="326390"/>
                  </a:lnTo>
                  <a:lnTo>
                    <a:pt x="357047" y="325120"/>
                  </a:lnTo>
                  <a:lnTo>
                    <a:pt x="358686" y="323850"/>
                  </a:lnTo>
                  <a:lnTo>
                    <a:pt x="366839" y="317500"/>
                  </a:lnTo>
                  <a:lnTo>
                    <a:pt x="376389" y="325120"/>
                  </a:lnTo>
                  <a:lnTo>
                    <a:pt x="376389" y="323469"/>
                  </a:lnTo>
                  <a:lnTo>
                    <a:pt x="368084" y="317500"/>
                  </a:lnTo>
                  <a:lnTo>
                    <a:pt x="369785" y="316230"/>
                  </a:lnTo>
                  <a:lnTo>
                    <a:pt x="376605" y="311150"/>
                  </a:lnTo>
                  <a:lnTo>
                    <a:pt x="376923" y="323850"/>
                  </a:lnTo>
                  <a:lnTo>
                    <a:pt x="376923" y="271780"/>
                  </a:lnTo>
                  <a:lnTo>
                    <a:pt x="376821" y="267970"/>
                  </a:lnTo>
                  <a:lnTo>
                    <a:pt x="376758" y="265430"/>
                  </a:lnTo>
                  <a:lnTo>
                    <a:pt x="376529" y="257200"/>
                  </a:lnTo>
                  <a:lnTo>
                    <a:pt x="376529" y="308610"/>
                  </a:lnTo>
                  <a:lnTo>
                    <a:pt x="375005" y="307467"/>
                  </a:lnTo>
                  <a:lnTo>
                    <a:pt x="375005" y="309880"/>
                  </a:lnTo>
                  <a:lnTo>
                    <a:pt x="374967" y="311150"/>
                  </a:lnTo>
                  <a:lnTo>
                    <a:pt x="366839" y="316230"/>
                  </a:lnTo>
                  <a:lnTo>
                    <a:pt x="365582" y="315455"/>
                  </a:lnTo>
                  <a:lnTo>
                    <a:pt x="365582" y="317500"/>
                  </a:lnTo>
                  <a:lnTo>
                    <a:pt x="356108" y="323850"/>
                  </a:lnTo>
                  <a:lnTo>
                    <a:pt x="356577" y="311150"/>
                  </a:lnTo>
                  <a:lnTo>
                    <a:pt x="365582" y="317500"/>
                  </a:lnTo>
                  <a:lnTo>
                    <a:pt x="365582" y="315455"/>
                  </a:lnTo>
                  <a:lnTo>
                    <a:pt x="358686" y="311150"/>
                  </a:lnTo>
                  <a:lnTo>
                    <a:pt x="374967" y="311150"/>
                  </a:lnTo>
                  <a:lnTo>
                    <a:pt x="374967" y="309880"/>
                  </a:lnTo>
                  <a:lnTo>
                    <a:pt x="358673" y="309880"/>
                  </a:lnTo>
                  <a:lnTo>
                    <a:pt x="360324" y="308610"/>
                  </a:lnTo>
                  <a:lnTo>
                    <a:pt x="366890" y="303530"/>
                  </a:lnTo>
                  <a:lnTo>
                    <a:pt x="375005" y="309880"/>
                  </a:lnTo>
                  <a:lnTo>
                    <a:pt x="375005" y="307467"/>
                  </a:lnTo>
                  <a:lnTo>
                    <a:pt x="369811" y="303530"/>
                  </a:lnTo>
                  <a:lnTo>
                    <a:pt x="368122" y="302260"/>
                  </a:lnTo>
                  <a:lnTo>
                    <a:pt x="376224" y="297180"/>
                  </a:lnTo>
                  <a:lnTo>
                    <a:pt x="376529" y="308610"/>
                  </a:lnTo>
                  <a:lnTo>
                    <a:pt x="376529" y="257200"/>
                  </a:lnTo>
                  <a:lnTo>
                    <a:pt x="376440" y="254000"/>
                  </a:lnTo>
                  <a:lnTo>
                    <a:pt x="376339" y="250190"/>
                  </a:lnTo>
                  <a:lnTo>
                    <a:pt x="376148" y="243141"/>
                  </a:lnTo>
                  <a:lnTo>
                    <a:pt x="376148" y="294640"/>
                  </a:lnTo>
                  <a:lnTo>
                    <a:pt x="375716" y="294297"/>
                  </a:lnTo>
                  <a:lnTo>
                    <a:pt x="375716" y="295910"/>
                  </a:lnTo>
                  <a:lnTo>
                    <a:pt x="366890" y="302260"/>
                  </a:lnTo>
                  <a:lnTo>
                    <a:pt x="365658" y="301358"/>
                  </a:lnTo>
                  <a:lnTo>
                    <a:pt x="365658" y="302260"/>
                  </a:lnTo>
                  <a:lnTo>
                    <a:pt x="356654" y="308610"/>
                  </a:lnTo>
                  <a:lnTo>
                    <a:pt x="357124" y="297180"/>
                  </a:lnTo>
                  <a:lnTo>
                    <a:pt x="365658" y="302260"/>
                  </a:lnTo>
                  <a:lnTo>
                    <a:pt x="365658" y="301358"/>
                  </a:lnTo>
                  <a:lnTo>
                    <a:pt x="359956" y="297180"/>
                  </a:lnTo>
                  <a:lnTo>
                    <a:pt x="358216" y="295910"/>
                  </a:lnTo>
                  <a:lnTo>
                    <a:pt x="359981" y="294640"/>
                  </a:lnTo>
                  <a:lnTo>
                    <a:pt x="367030" y="289560"/>
                  </a:lnTo>
                  <a:lnTo>
                    <a:pt x="375716" y="295910"/>
                  </a:lnTo>
                  <a:lnTo>
                    <a:pt x="375716" y="294297"/>
                  </a:lnTo>
                  <a:lnTo>
                    <a:pt x="369773" y="289560"/>
                  </a:lnTo>
                  <a:lnTo>
                    <a:pt x="368173" y="288290"/>
                  </a:lnTo>
                  <a:lnTo>
                    <a:pt x="369709" y="287020"/>
                  </a:lnTo>
                  <a:lnTo>
                    <a:pt x="375818" y="281940"/>
                  </a:lnTo>
                  <a:lnTo>
                    <a:pt x="376148" y="294640"/>
                  </a:lnTo>
                  <a:lnTo>
                    <a:pt x="376148" y="243141"/>
                  </a:lnTo>
                  <a:lnTo>
                    <a:pt x="375996" y="237490"/>
                  </a:lnTo>
                  <a:lnTo>
                    <a:pt x="375932" y="234950"/>
                  </a:lnTo>
                  <a:lnTo>
                    <a:pt x="375742" y="227812"/>
                  </a:lnTo>
                  <a:lnTo>
                    <a:pt x="375742" y="279400"/>
                  </a:lnTo>
                  <a:lnTo>
                    <a:pt x="374408" y="278269"/>
                  </a:lnTo>
                  <a:lnTo>
                    <a:pt x="374408" y="280670"/>
                  </a:lnTo>
                  <a:lnTo>
                    <a:pt x="374396" y="281940"/>
                  </a:lnTo>
                  <a:lnTo>
                    <a:pt x="367030" y="287020"/>
                  </a:lnTo>
                  <a:lnTo>
                    <a:pt x="365887" y="286232"/>
                  </a:lnTo>
                  <a:lnTo>
                    <a:pt x="365887" y="288290"/>
                  </a:lnTo>
                  <a:lnTo>
                    <a:pt x="357200" y="294640"/>
                  </a:lnTo>
                  <a:lnTo>
                    <a:pt x="357695" y="281940"/>
                  </a:lnTo>
                  <a:lnTo>
                    <a:pt x="365887" y="288290"/>
                  </a:lnTo>
                  <a:lnTo>
                    <a:pt x="365887" y="286232"/>
                  </a:lnTo>
                  <a:lnTo>
                    <a:pt x="359740" y="281940"/>
                  </a:lnTo>
                  <a:lnTo>
                    <a:pt x="374396" y="281940"/>
                  </a:lnTo>
                  <a:lnTo>
                    <a:pt x="374396" y="280670"/>
                  </a:lnTo>
                  <a:lnTo>
                    <a:pt x="359765" y="280670"/>
                  </a:lnTo>
                  <a:lnTo>
                    <a:pt x="361238" y="279400"/>
                  </a:lnTo>
                  <a:lnTo>
                    <a:pt x="367106" y="274320"/>
                  </a:lnTo>
                  <a:lnTo>
                    <a:pt x="374408" y="280670"/>
                  </a:lnTo>
                  <a:lnTo>
                    <a:pt x="374408" y="278269"/>
                  </a:lnTo>
                  <a:lnTo>
                    <a:pt x="369760" y="274320"/>
                  </a:lnTo>
                  <a:lnTo>
                    <a:pt x="368261" y="273050"/>
                  </a:lnTo>
                  <a:lnTo>
                    <a:pt x="375424" y="267970"/>
                  </a:lnTo>
                  <a:lnTo>
                    <a:pt x="375742" y="279400"/>
                  </a:lnTo>
                  <a:lnTo>
                    <a:pt x="375742" y="227812"/>
                  </a:lnTo>
                  <a:lnTo>
                    <a:pt x="375627" y="223520"/>
                  </a:lnTo>
                  <a:lnTo>
                    <a:pt x="375589" y="222250"/>
                  </a:lnTo>
                  <a:lnTo>
                    <a:pt x="376999" y="220980"/>
                  </a:lnTo>
                  <a:lnTo>
                    <a:pt x="384022" y="214630"/>
                  </a:lnTo>
                  <a:lnTo>
                    <a:pt x="384911" y="217170"/>
                  </a:lnTo>
                  <a:lnTo>
                    <a:pt x="385787" y="218440"/>
                  </a:lnTo>
                  <a:lnTo>
                    <a:pt x="386689" y="220980"/>
                  </a:lnTo>
                  <a:lnTo>
                    <a:pt x="387629" y="223520"/>
                  </a:lnTo>
                  <a:lnTo>
                    <a:pt x="388315" y="226060"/>
                  </a:lnTo>
                  <a:lnTo>
                    <a:pt x="391020" y="234950"/>
                  </a:lnTo>
                  <a:lnTo>
                    <a:pt x="393547" y="243840"/>
                  </a:lnTo>
                  <a:lnTo>
                    <a:pt x="396367" y="251460"/>
                  </a:lnTo>
                  <a:lnTo>
                    <a:pt x="407289" y="273519"/>
                  </a:lnTo>
                  <a:lnTo>
                    <a:pt x="406717" y="273050"/>
                  </a:lnTo>
                  <a:lnTo>
                    <a:pt x="405079" y="270471"/>
                  </a:lnTo>
                  <a:lnTo>
                    <a:pt x="402221" y="265430"/>
                  </a:lnTo>
                  <a:lnTo>
                    <a:pt x="400977" y="262890"/>
                  </a:lnTo>
                  <a:lnTo>
                    <a:pt x="399821" y="260350"/>
                  </a:lnTo>
                  <a:lnTo>
                    <a:pt x="396621" y="251460"/>
                  </a:lnTo>
                  <a:lnTo>
                    <a:pt x="393814" y="243840"/>
                  </a:lnTo>
                  <a:lnTo>
                    <a:pt x="388772" y="226060"/>
                  </a:lnTo>
                  <a:lnTo>
                    <a:pt x="388391" y="224790"/>
                  </a:lnTo>
                  <a:lnTo>
                    <a:pt x="389775" y="227330"/>
                  </a:lnTo>
                  <a:lnTo>
                    <a:pt x="404926" y="248691"/>
                  </a:lnTo>
                  <a:lnTo>
                    <a:pt x="402043" y="246380"/>
                  </a:lnTo>
                  <a:lnTo>
                    <a:pt x="399999" y="243840"/>
                  </a:lnTo>
                  <a:lnTo>
                    <a:pt x="388759" y="224790"/>
                  </a:lnTo>
                  <a:lnTo>
                    <a:pt x="387604" y="222250"/>
                  </a:lnTo>
                  <a:lnTo>
                    <a:pt x="386765" y="218440"/>
                  </a:lnTo>
                  <a:lnTo>
                    <a:pt x="389915" y="226060"/>
                  </a:lnTo>
                  <a:lnTo>
                    <a:pt x="393484" y="232410"/>
                  </a:lnTo>
                  <a:lnTo>
                    <a:pt x="400456" y="242570"/>
                  </a:lnTo>
                  <a:lnTo>
                    <a:pt x="403313" y="246380"/>
                  </a:lnTo>
                  <a:lnTo>
                    <a:pt x="406552" y="248920"/>
                  </a:lnTo>
                  <a:lnTo>
                    <a:pt x="406273" y="248920"/>
                  </a:lnTo>
                  <a:lnTo>
                    <a:pt x="407327" y="250190"/>
                  </a:lnTo>
                  <a:lnTo>
                    <a:pt x="409422" y="251460"/>
                  </a:lnTo>
                  <a:lnTo>
                    <a:pt x="411645" y="254000"/>
                  </a:lnTo>
                  <a:lnTo>
                    <a:pt x="417309" y="256540"/>
                  </a:lnTo>
                  <a:lnTo>
                    <a:pt x="420865" y="259080"/>
                  </a:lnTo>
                  <a:lnTo>
                    <a:pt x="425538" y="260350"/>
                  </a:lnTo>
                  <a:lnTo>
                    <a:pt x="426542" y="260350"/>
                  </a:lnTo>
                  <a:lnTo>
                    <a:pt x="425589" y="259080"/>
                  </a:lnTo>
                  <a:lnTo>
                    <a:pt x="420916" y="257810"/>
                  </a:lnTo>
                  <a:lnTo>
                    <a:pt x="417385" y="256540"/>
                  </a:lnTo>
                  <a:lnTo>
                    <a:pt x="411873" y="252730"/>
                  </a:lnTo>
                  <a:lnTo>
                    <a:pt x="409752" y="251460"/>
                  </a:lnTo>
                  <a:lnTo>
                    <a:pt x="407771" y="250190"/>
                  </a:lnTo>
                  <a:lnTo>
                    <a:pt x="410349" y="250190"/>
                  </a:lnTo>
                  <a:lnTo>
                    <a:pt x="408851" y="248920"/>
                  </a:lnTo>
                  <a:lnTo>
                    <a:pt x="406996" y="248920"/>
                  </a:lnTo>
                  <a:lnTo>
                    <a:pt x="403656" y="246380"/>
                  </a:lnTo>
                  <a:lnTo>
                    <a:pt x="400710" y="242570"/>
                  </a:lnTo>
                  <a:lnTo>
                    <a:pt x="393700" y="232410"/>
                  </a:lnTo>
                  <a:lnTo>
                    <a:pt x="390131" y="224790"/>
                  </a:lnTo>
                  <a:lnTo>
                    <a:pt x="386803" y="218440"/>
                  </a:lnTo>
                  <a:lnTo>
                    <a:pt x="386397" y="217170"/>
                  </a:lnTo>
                  <a:lnTo>
                    <a:pt x="385787" y="214630"/>
                  </a:lnTo>
                  <a:lnTo>
                    <a:pt x="385483" y="213360"/>
                  </a:lnTo>
                  <a:lnTo>
                    <a:pt x="386715" y="212090"/>
                  </a:lnTo>
                  <a:lnTo>
                    <a:pt x="392874" y="205740"/>
                  </a:lnTo>
                  <a:lnTo>
                    <a:pt x="394106" y="204470"/>
                  </a:lnTo>
                  <a:lnTo>
                    <a:pt x="394589" y="203200"/>
                  </a:lnTo>
                  <a:lnTo>
                    <a:pt x="399643" y="186690"/>
                  </a:lnTo>
                  <a:lnTo>
                    <a:pt x="413448" y="231140"/>
                  </a:lnTo>
                  <a:lnTo>
                    <a:pt x="421271" y="237490"/>
                  </a:lnTo>
                  <a:lnTo>
                    <a:pt x="413169" y="248920"/>
                  </a:lnTo>
                  <a:lnTo>
                    <a:pt x="411861" y="248920"/>
                  </a:lnTo>
                  <a:lnTo>
                    <a:pt x="410349" y="250190"/>
                  </a:lnTo>
                  <a:lnTo>
                    <a:pt x="412038" y="250190"/>
                  </a:lnTo>
                  <a:lnTo>
                    <a:pt x="413423" y="248920"/>
                  </a:lnTo>
                  <a:lnTo>
                    <a:pt x="416166" y="247650"/>
                  </a:lnTo>
                  <a:lnTo>
                    <a:pt x="418084" y="245110"/>
                  </a:lnTo>
                  <a:lnTo>
                    <a:pt x="419735" y="241300"/>
                  </a:lnTo>
                  <a:lnTo>
                    <a:pt x="420420" y="241300"/>
                  </a:lnTo>
                  <a:lnTo>
                    <a:pt x="421640" y="238760"/>
                  </a:lnTo>
                  <a:lnTo>
                    <a:pt x="428244" y="243840"/>
                  </a:lnTo>
                  <a:lnTo>
                    <a:pt x="427659" y="259194"/>
                  </a:lnTo>
                  <a:lnTo>
                    <a:pt x="427494" y="260350"/>
                  </a:lnTo>
                  <a:lnTo>
                    <a:pt x="426085" y="264210"/>
                  </a:lnTo>
                  <a:lnTo>
                    <a:pt x="424573" y="267970"/>
                  </a:lnTo>
                  <a:lnTo>
                    <a:pt x="422516" y="270510"/>
                  </a:lnTo>
                  <a:lnTo>
                    <a:pt x="420992" y="273050"/>
                  </a:lnTo>
                  <a:lnTo>
                    <a:pt x="419176" y="275590"/>
                  </a:lnTo>
                  <a:lnTo>
                    <a:pt x="416521" y="276860"/>
                  </a:lnTo>
                  <a:lnTo>
                    <a:pt x="419341" y="275590"/>
                  </a:lnTo>
                  <a:lnTo>
                    <a:pt x="421170" y="273050"/>
                  </a:lnTo>
                  <a:lnTo>
                    <a:pt x="422744" y="270471"/>
                  </a:lnTo>
                  <a:lnTo>
                    <a:pt x="424764" y="267970"/>
                  </a:lnTo>
                  <a:lnTo>
                    <a:pt x="426300" y="264160"/>
                  </a:lnTo>
                  <a:lnTo>
                    <a:pt x="427647" y="260350"/>
                  </a:lnTo>
                  <a:lnTo>
                    <a:pt x="423875" y="359410"/>
                  </a:lnTo>
                  <a:lnTo>
                    <a:pt x="424421" y="359410"/>
                  </a:lnTo>
                  <a:lnTo>
                    <a:pt x="424878" y="347980"/>
                  </a:lnTo>
                  <a:lnTo>
                    <a:pt x="433006" y="351790"/>
                  </a:lnTo>
                  <a:lnTo>
                    <a:pt x="424611" y="356844"/>
                  </a:lnTo>
                  <a:lnTo>
                    <a:pt x="433616" y="353060"/>
                  </a:lnTo>
                  <a:lnTo>
                    <a:pt x="442671" y="356857"/>
                  </a:lnTo>
                  <a:lnTo>
                    <a:pt x="436359" y="353060"/>
                  </a:lnTo>
                  <a:lnTo>
                    <a:pt x="434238" y="351790"/>
                  </a:lnTo>
                  <a:lnTo>
                    <a:pt x="442455" y="347980"/>
                  </a:lnTo>
                  <a:lnTo>
                    <a:pt x="442772" y="359410"/>
                  </a:lnTo>
                  <a:lnTo>
                    <a:pt x="443318" y="359410"/>
                  </a:lnTo>
                  <a:lnTo>
                    <a:pt x="442988" y="347980"/>
                  </a:lnTo>
                  <a:lnTo>
                    <a:pt x="443039" y="346710"/>
                  </a:lnTo>
                  <a:lnTo>
                    <a:pt x="442785" y="339090"/>
                  </a:lnTo>
                  <a:lnTo>
                    <a:pt x="442747" y="337820"/>
                  </a:lnTo>
                  <a:lnTo>
                    <a:pt x="442468" y="328930"/>
                  </a:lnTo>
                  <a:lnTo>
                    <a:pt x="442442" y="327660"/>
                  </a:lnTo>
                  <a:lnTo>
                    <a:pt x="442417" y="326682"/>
                  </a:lnTo>
                  <a:lnTo>
                    <a:pt x="442417" y="346710"/>
                  </a:lnTo>
                  <a:lnTo>
                    <a:pt x="442125" y="346583"/>
                  </a:lnTo>
                  <a:lnTo>
                    <a:pt x="442125" y="346710"/>
                  </a:lnTo>
                  <a:lnTo>
                    <a:pt x="433616" y="351790"/>
                  </a:lnTo>
                  <a:lnTo>
                    <a:pt x="425323" y="347980"/>
                  </a:lnTo>
                  <a:lnTo>
                    <a:pt x="427443" y="346710"/>
                  </a:lnTo>
                  <a:lnTo>
                    <a:pt x="433781" y="342900"/>
                  </a:lnTo>
                  <a:lnTo>
                    <a:pt x="433133" y="342544"/>
                  </a:lnTo>
                  <a:lnTo>
                    <a:pt x="433133" y="342900"/>
                  </a:lnTo>
                  <a:lnTo>
                    <a:pt x="424916" y="346710"/>
                  </a:lnTo>
                  <a:lnTo>
                    <a:pt x="425221" y="339090"/>
                  </a:lnTo>
                  <a:lnTo>
                    <a:pt x="425818" y="339090"/>
                  </a:lnTo>
                  <a:lnTo>
                    <a:pt x="427647" y="340360"/>
                  </a:lnTo>
                  <a:lnTo>
                    <a:pt x="433133" y="342900"/>
                  </a:lnTo>
                  <a:lnTo>
                    <a:pt x="433133" y="342544"/>
                  </a:lnTo>
                  <a:lnTo>
                    <a:pt x="426935" y="339090"/>
                  </a:lnTo>
                  <a:lnTo>
                    <a:pt x="425831" y="337820"/>
                  </a:lnTo>
                  <a:lnTo>
                    <a:pt x="427151" y="337820"/>
                  </a:lnTo>
                  <a:lnTo>
                    <a:pt x="430453" y="335280"/>
                  </a:lnTo>
                  <a:lnTo>
                    <a:pt x="433920" y="334010"/>
                  </a:lnTo>
                  <a:lnTo>
                    <a:pt x="441883" y="337820"/>
                  </a:lnTo>
                  <a:lnTo>
                    <a:pt x="433781" y="342900"/>
                  </a:lnTo>
                  <a:lnTo>
                    <a:pt x="442125" y="346710"/>
                  </a:lnTo>
                  <a:lnTo>
                    <a:pt x="442125" y="346583"/>
                  </a:lnTo>
                  <a:lnTo>
                    <a:pt x="434403" y="342900"/>
                  </a:lnTo>
                  <a:lnTo>
                    <a:pt x="442201" y="339090"/>
                  </a:lnTo>
                  <a:lnTo>
                    <a:pt x="442417" y="346710"/>
                  </a:lnTo>
                  <a:lnTo>
                    <a:pt x="442417" y="326682"/>
                  </a:lnTo>
                  <a:lnTo>
                    <a:pt x="442214" y="318770"/>
                  </a:lnTo>
                  <a:lnTo>
                    <a:pt x="442175" y="317500"/>
                  </a:lnTo>
                  <a:lnTo>
                    <a:pt x="442175" y="337820"/>
                  </a:lnTo>
                  <a:lnTo>
                    <a:pt x="436410" y="334010"/>
                  </a:lnTo>
                  <a:lnTo>
                    <a:pt x="434492" y="332740"/>
                  </a:lnTo>
                  <a:lnTo>
                    <a:pt x="441947" y="328930"/>
                  </a:lnTo>
                  <a:lnTo>
                    <a:pt x="442175" y="337820"/>
                  </a:lnTo>
                  <a:lnTo>
                    <a:pt x="442175" y="317500"/>
                  </a:lnTo>
                  <a:lnTo>
                    <a:pt x="441934" y="308610"/>
                  </a:lnTo>
                  <a:lnTo>
                    <a:pt x="441909" y="307340"/>
                  </a:lnTo>
                  <a:lnTo>
                    <a:pt x="441909" y="327660"/>
                  </a:lnTo>
                  <a:lnTo>
                    <a:pt x="441667" y="327545"/>
                  </a:lnTo>
                  <a:lnTo>
                    <a:pt x="441667" y="328930"/>
                  </a:lnTo>
                  <a:lnTo>
                    <a:pt x="433920" y="332740"/>
                  </a:lnTo>
                  <a:lnTo>
                    <a:pt x="433349" y="332473"/>
                  </a:lnTo>
                  <a:lnTo>
                    <a:pt x="433349" y="332740"/>
                  </a:lnTo>
                  <a:lnTo>
                    <a:pt x="429171" y="335280"/>
                  </a:lnTo>
                  <a:lnTo>
                    <a:pt x="425615" y="337820"/>
                  </a:lnTo>
                  <a:lnTo>
                    <a:pt x="425259" y="337820"/>
                  </a:lnTo>
                  <a:lnTo>
                    <a:pt x="425602" y="328930"/>
                  </a:lnTo>
                  <a:lnTo>
                    <a:pt x="433349" y="332740"/>
                  </a:lnTo>
                  <a:lnTo>
                    <a:pt x="433349" y="332473"/>
                  </a:lnTo>
                  <a:lnTo>
                    <a:pt x="426110" y="328930"/>
                  </a:lnTo>
                  <a:lnTo>
                    <a:pt x="428066" y="327660"/>
                  </a:lnTo>
                  <a:lnTo>
                    <a:pt x="433933" y="323850"/>
                  </a:lnTo>
                  <a:lnTo>
                    <a:pt x="441667" y="328930"/>
                  </a:lnTo>
                  <a:lnTo>
                    <a:pt x="441667" y="327545"/>
                  </a:lnTo>
                  <a:lnTo>
                    <a:pt x="434479" y="323850"/>
                  </a:lnTo>
                  <a:lnTo>
                    <a:pt x="436283" y="322580"/>
                  </a:lnTo>
                  <a:lnTo>
                    <a:pt x="441667" y="318770"/>
                  </a:lnTo>
                  <a:lnTo>
                    <a:pt x="441909" y="327660"/>
                  </a:lnTo>
                  <a:lnTo>
                    <a:pt x="441909" y="307340"/>
                  </a:lnTo>
                  <a:lnTo>
                    <a:pt x="441680" y="298450"/>
                  </a:lnTo>
                  <a:lnTo>
                    <a:pt x="441642" y="297180"/>
                  </a:lnTo>
                  <a:lnTo>
                    <a:pt x="441642" y="317500"/>
                  </a:lnTo>
                  <a:lnTo>
                    <a:pt x="441426" y="317347"/>
                  </a:lnTo>
                  <a:lnTo>
                    <a:pt x="441426" y="318770"/>
                  </a:lnTo>
                  <a:lnTo>
                    <a:pt x="433933" y="322580"/>
                  </a:lnTo>
                  <a:lnTo>
                    <a:pt x="433374" y="322300"/>
                  </a:lnTo>
                  <a:lnTo>
                    <a:pt x="433374" y="323850"/>
                  </a:lnTo>
                  <a:lnTo>
                    <a:pt x="425627" y="327660"/>
                  </a:lnTo>
                  <a:lnTo>
                    <a:pt x="425970" y="318770"/>
                  </a:lnTo>
                  <a:lnTo>
                    <a:pt x="433374" y="323850"/>
                  </a:lnTo>
                  <a:lnTo>
                    <a:pt x="433374" y="322300"/>
                  </a:lnTo>
                  <a:lnTo>
                    <a:pt x="426516" y="318770"/>
                  </a:lnTo>
                  <a:lnTo>
                    <a:pt x="434060" y="313690"/>
                  </a:lnTo>
                  <a:lnTo>
                    <a:pt x="441426" y="318770"/>
                  </a:lnTo>
                  <a:lnTo>
                    <a:pt x="441426" y="317347"/>
                  </a:lnTo>
                  <a:lnTo>
                    <a:pt x="436333" y="313690"/>
                  </a:lnTo>
                  <a:lnTo>
                    <a:pt x="434568" y="312420"/>
                  </a:lnTo>
                  <a:lnTo>
                    <a:pt x="441375" y="308610"/>
                  </a:lnTo>
                  <a:lnTo>
                    <a:pt x="441642" y="317500"/>
                  </a:lnTo>
                  <a:lnTo>
                    <a:pt x="441642" y="297180"/>
                  </a:lnTo>
                  <a:lnTo>
                    <a:pt x="441363" y="287020"/>
                  </a:lnTo>
                  <a:lnTo>
                    <a:pt x="441350" y="286600"/>
                  </a:lnTo>
                  <a:lnTo>
                    <a:pt x="441350" y="307340"/>
                  </a:lnTo>
                  <a:lnTo>
                    <a:pt x="434594" y="302260"/>
                  </a:lnTo>
                  <a:lnTo>
                    <a:pt x="441096" y="298450"/>
                  </a:lnTo>
                  <a:lnTo>
                    <a:pt x="441350" y="307340"/>
                  </a:lnTo>
                  <a:lnTo>
                    <a:pt x="441350" y="286600"/>
                  </a:lnTo>
                  <a:lnTo>
                    <a:pt x="441325" y="285750"/>
                  </a:lnTo>
                  <a:lnTo>
                    <a:pt x="441083" y="276860"/>
                  </a:lnTo>
                  <a:lnTo>
                    <a:pt x="441071" y="276440"/>
                  </a:lnTo>
                  <a:lnTo>
                    <a:pt x="441071" y="297180"/>
                  </a:lnTo>
                  <a:lnTo>
                    <a:pt x="440905" y="297053"/>
                  </a:lnTo>
                  <a:lnTo>
                    <a:pt x="440905" y="297180"/>
                  </a:lnTo>
                  <a:lnTo>
                    <a:pt x="434098" y="302260"/>
                  </a:lnTo>
                  <a:lnTo>
                    <a:pt x="440728" y="307340"/>
                  </a:lnTo>
                  <a:lnTo>
                    <a:pt x="440702" y="308610"/>
                  </a:lnTo>
                  <a:lnTo>
                    <a:pt x="434060" y="312420"/>
                  </a:lnTo>
                  <a:lnTo>
                    <a:pt x="433552" y="312140"/>
                  </a:lnTo>
                  <a:lnTo>
                    <a:pt x="433552" y="312420"/>
                  </a:lnTo>
                  <a:lnTo>
                    <a:pt x="426008" y="318770"/>
                  </a:lnTo>
                  <a:lnTo>
                    <a:pt x="426389" y="308610"/>
                  </a:lnTo>
                  <a:lnTo>
                    <a:pt x="433552" y="312420"/>
                  </a:lnTo>
                  <a:lnTo>
                    <a:pt x="433552" y="312140"/>
                  </a:lnTo>
                  <a:lnTo>
                    <a:pt x="427393" y="308610"/>
                  </a:lnTo>
                  <a:lnTo>
                    <a:pt x="440702" y="308610"/>
                  </a:lnTo>
                  <a:lnTo>
                    <a:pt x="440702" y="307340"/>
                  </a:lnTo>
                  <a:lnTo>
                    <a:pt x="427380" y="307340"/>
                  </a:lnTo>
                  <a:lnTo>
                    <a:pt x="434098" y="302260"/>
                  </a:lnTo>
                  <a:lnTo>
                    <a:pt x="433590" y="301879"/>
                  </a:lnTo>
                  <a:lnTo>
                    <a:pt x="433590" y="302260"/>
                  </a:lnTo>
                  <a:lnTo>
                    <a:pt x="426402" y="307340"/>
                  </a:lnTo>
                  <a:lnTo>
                    <a:pt x="426720" y="298450"/>
                  </a:lnTo>
                  <a:lnTo>
                    <a:pt x="426783" y="297205"/>
                  </a:lnTo>
                  <a:lnTo>
                    <a:pt x="433590" y="302260"/>
                  </a:lnTo>
                  <a:lnTo>
                    <a:pt x="433590" y="301879"/>
                  </a:lnTo>
                  <a:lnTo>
                    <a:pt x="427393" y="297180"/>
                  </a:lnTo>
                  <a:lnTo>
                    <a:pt x="434200" y="292100"/>
                  </a:lnTo>
                  <a:lnTo>
                    <a:pt x="440905" y="297180"/>
                  </a:lnTo>
                  <a:lnTo>
                    <a:pt x="440905" y="297053"/>
                  </a:lnTo>
                  <a:lnTo>
                    <a:pt x="434657" y="292100"/>
                  </a:lnTo>
                  <a:lnTo>
                    <a:pt x="436194" y="290830"/>
                  </a:lnTo>
                  <a:lnTo>
                    <a:pt x="440804" y="287020"/>
                  </a:lnTo>
                  <a:lnTo>
                    <a:pt x="441071" y="297180"/>
                  </a:lnTo>
                  <a:lnTo>
                    <a:pt x="441071" y="276440"/>
                  </a:lnTo>
                  <a:lnTo>
                    <a:pt x="441045" y="275590"/>
                  </a:lnTo>
                  <a:lnTo>
                    <a:pt x="440791" y="266700"/>
                  </a:lnTo>
                  <a:lnTo>
                    <a:pt x="440778" y="266192"/>
                  </a:lnTo>
                  <a:lnTo>
                    <a:pt x="440778" y="285750"/>
                  </a:lnTo>
                  <a:lnTo>
                    <a:pt x="440232" y="285292"/>
                  </a:lnTo>
                  <a:lnTo>
                    <a:pt x="440232" y="285750"/>
                  </a:lnTo>
                  <a:lnTo>
                    <a:pt x="440220" y="287020"/>
                  </a:lnTo>
                  <a:lnTo>
                    <a:pt x="434200" y="290830"/>
                  </a:lnTo>
                  <a:lnTo>
                    <a:pt x="433730" y="290537"/>
                  </a:lnTo>
                  <a:lnTo>
                    <a:pt x="433730" y="292100"/>
                  </a:lnTo>
                  <a:lnTo>
                    <a:pt x="426796" y="297180"/>
                  </a:lnTo>
                  <a:lnTo>
                    <a:pt x="427202" y="287020"/>
                  </a:lnTo>
                  <a:lnTo>
                    <a:pt x="433730" y="292100"/>
                  </a:lnTo>
                  <a:lnTo>
                    <a:pt x="433730" y="290537"/>
                  </a:lnTo>
                  <a:lnTo>
                    <a:pt x="428231" y="287020"/>
                  </a:lnTo>
                  <a:lnTo>
                    <a:pt x="440220" y="287020"/>
                  </a:lnTo>
                  <a:lnTo>
                    <a:pt x="440220" y="285750"/>
                  </a:lnTo>
                  <a:lnTo>
                    <a:pt x="428244" y="285750"/>
                  </a:lnTo>
                  <a:lnTo>
                    <a:pt x="434251" y="281940"/>
                  </a:lnTo>
                  <a:lnTo>
                    <a:pt x="440232" y="285750"/>
                  </a:lnTo>
                  <a:lnTo>
                    <a:pt x="440232" y="285292"/>
                  </a:lnTo>
                  <a:lnTo>
                    <a:pt x="436232" y="281940"/>
                  </a:lnTo>
                  <a:lnTo>
                    <a:pt x="434721" y="280670"/>
                  </a:lnTo>
                  <a:lnTo>
                    <a:pt x="440524" y="276860"/>
                  </a:lnTo>
                  <a:lnTo>
                    <a:pt x="440778" y="285750"/>
                  </a:lnTo>
                  <a:lnTo>
                    <a:pt x="440778" y="266192"/>
                  </a:lnTo>
                  <a:lnTo>
                    <a:pt x="440728" y="264160"/>
                  </a:lnTo>
                  <a:lnTo>
                    <a:pt x="440690" y="262890"/>
                  </a:lnTo>
                  <a:lnTo>
                    <a:pt x="441972" y="266700"/>
                  </a:lnTo>
                  <a:lnTo>
                    <a:pt x="456907" y="292100"/>
                  </a:lnTo>
                  <a:lnTo>
                    <a:pt x="458419" y="292100"/>
                  </a:lnTo>
                  <a:lnTo>
                    <a:pt x="456958" y="290830"/>
                  </a:lnTo>
                  <a:lnTo>
                    <a:pt x="455676" y="290830"/>
                  </a:lnTo>
                  <a:lnTo>
                    <a:pt x="452297" y="287020"/>
                  </a:lnTo>
                  <a:lnTo>
                    <a:pt x="450570" y="284480"/>
                  </a:lnTo>
                  <a:lnTo>
                    <a:pt x="447497" y="279400"/>
                  </a:lnTo>
                  <a:lnTo>
                    <a:pt x="446189" y="276860"/>
                  </a:lnTo>
                  <a:lnTo>
                    <a:pt x="444982" y="273050"/>
                  </a:lnTo>
                  <a:lnTo>
                    <a:pt x="443382" y="269240"/>
                  </a:lnTo>
                  <a:lnTo>
                    <a:pt x="441998" y="265430"/>
                  </a:lnTo>
                  <a:lnTo>
                    <a:pt x="441121" y="262890"/>
                  </a:lnTo>
                  <a:lnTo>
                    <a:pt x="440677" y="261620"/>
                  </a:lnTo>
                  <a:lnTo>
                    <a:pt x="440613" y="259080"/>
                  </a:lnTo>
                  <a:lnTo>
                    <a:pt x="440486" y="254469"/>
                  </a:lnTo>
                  <a:lnTo>
                    <a:pt x="440486" y="275590"/>
                  </a:lnTo>
                  <a:lnTo>
                    <a:pt x="440334" y="275450"/>
                  </a:lnTo>
                  <a:lnTo>
                    <a:pt x="440334" y="275590"/>
                  </a:lnTo>
                  <a:lnTo>
                    <a:pt x="434251" y="280670"/>
                  </a:lnTo>
                  <a:lnTo>
                    <a:pt x="428409" y="275590"/>
                  </a:lnTo>
                  <a:lnTo>
                    <a:pt x="434594" y="271780"/>
                  </a:lnTo>
                  <a:lnTo>
                    <a:pt x="440334" y="275590"/>
                  </a:lnTo>
                  <a:lnTo>
                    <a:pt x="440334" y="275450"/>
                  </a:lnTo>
                  <a:lnTo>
                    <a:pt x="436397" y="271780"/>
                  </a:lnTo>
                  <a:lnTo>
                    <a:pt x="435038" y="270510"/>
                  </a:lnTo>
                  <a:lnTo>
                    <a:pt x="440258" y="266700"/>
                  </a:lnTo>
                  <a:lnTo>
                    <a:pt x="440486" y="275590"/>
                  </a:lnTo>
                  <a:lnTo>
                    <a:pt x="440486" y="254469"/>
                  </a:lnTo>
                  <a:lnTo>
                    <a:pt x="440474" y="254000"/>
                  </a:lnTo>
                  <a:lnTo>
                    <a:pt x="440207" y="244729"/>
                  </a:lnTo>
                  <a:lnTo>
                    <a:pt x="440207" y="265430"/>
                  </a:lnTo>
                  <a:lnTo>
                    <a:pt x="434594" y="270510"/>
                  </a:lnTo>
                  <a:lnTo>
                    <a:pt x="434149" y="270141"/>
                  </a:lnTo>
                  <a:lnTo>
                    <a:pt x="434149" y="270510"/>
                  </a:lnTo>
                  <a:lnTo>
                    <a:pt x="427774" y="275590"/>
                  </a:lnTo>
                  <a:lnTo>
                    <a:pt x="427672" y="276860"/>
                  </a:lnTo>
                  <a:lnTo>
                    <a:pt x="433793" y="280670"/>
                  </a:lnTo>
                  <a:lnTo>
                    <a:pt x="427202" y="285750"/>
                  </a:lnTo>
                  <a:lnTo>
                    <a:pt x="428193" y="260350"/>
                  </a:lnTo>
                  <a:lnTo>
                    <a:pt x="428790" y="245110"/>
                  </a:lnTo>
                  <a:lnTo>
                    <a:pt x="431482" y="247650"/>
                  </a:lnTo>
                  <a:lnTo>
                    <a:pt x="431076" y="248920"/>
                  </a:lnTo>
                  <a:lnTo>
                    <a:pt x="430174" y="251460"/>
                  </a:lnTo>
                  <a:lnTo>
                    <a:pt x="428637" y="252730"/>
                  </a:lnTo>
                  <a:lnTo>
                    <a:pt x="428498" y="255270"/>
                  </a:lnTo>
                  <a:lnTo>
                    <a:pt x="428993" y="255270"/>
                  </a:lnTo>
                  <a:lnTo>
                    <a:pt x="428383" y="257479"/>
                  </a:lnTo>
                  <a:lnTo>
                    <a:pt x="429158" y="255270"/>
                  </a:lnTo>
                  <a:lnTo>
                    <a:pt x="433349" y="258991"/>
                  </a:lnTo>
                  <a:lnTo>
                    <a:pt x="433349" y="259194"/>
                  </a:lnTo>
                  <a:lnTo>
                    <a:pt x="432269" y="260350"/>
                  </a:lnTo>
                  <a:lnTo>
                    <a:pt x="432066" y="260350"/>
                  </a:lnTo>
                  <a:lnTo>
                    <a:pt x="428180" y="264160"/>
                  </a:lnTo>
                  <a:lnTo>
                    <a:pt x="428053" y="265430"/>
                  </a:lnTo>
                  <a:lnTo>
                    <a:pt x="434149" y="270510"/>
                  </a:lnTo>
                  <a:lnTo>
                    <a:pt x="434149" y="270141"/>
                  </a:lnTo>
                  <a:lnTo>
                    <a:pt x="428612" y="265430"/>
                  </a:lnTo>
                  <a:lnTo>
                    <a:pt x="428688" y="264160"/>
                  </a:lnTo>
                  <a:lnTo>
                    <a:pt x="432955" y="260350"/>
                  </a:lnTo>
                  <a:lnTo>
                    <a:pt x="434695" y="260350"/>
                  </a:lnTo>
                  <a:lnTo>
                    <a:pt x="440207" y="265430"/>
                  </a:lnTo>
                  <a:lnTo>
                    <a:pt x="440207" y="244729"/>
                  </a:lnTo>
                  <a:lnTo>
                    <a:pt x="440182" y="243840"/>
                  </a:lnTo>
                  <a:lnTo>
                    <a:pt x="440182" y="264160"/>
                  </a:lnTo>
                  <a:lnTo>
                    <a:pt x="435533" y="260350"/>
                  </a:lnTo>
                  <a:lnTo>
                    <a:pt x="435356" y="260350"/>
                  </a:lnTo>
                  <a:lnTo>
                    <a:pt x="434352" y="259080"/>
                  </a:lnTo>
                  <a:lnTo>
                    <a:pt x="438581" y="256540"/>
                  </a:lnTo>
                  <a:lnTo>
                    <a:pt x="438950" y="256540"/>
                  </a:lnTo>
                  <a:lnTo>
                    <a:pt x="439381" y="257810"/>
                  </a:lnTo>
                  <a:lnTo>
                    <a:pt x="439737" y="258991"/>
                  </a:lnTo>
                  <a:lnTo>
                    <a:pt x="439661" y="259194"/>
                  </a:lnTo>
                  <a:lnTo>
                    <a:pt x="438531" y="260350"/>
                  </a:lnTo>
                  <a:lnTo>
                    <a:pt x="440093" y="260350"/>
                  </a:lnTo>
                  <a:lnTo>
                    <a:pt x="440182" y="264160"/>
                  </a:lnTo>
                  <a:lnTo>
                    <a:pt x="440182" y="243840"/>
                  </a:lnTo>
                  <a:lnTo>
                    <a:pt x="441439" y="242570"/>
                  </a:lnTo>
                  <a:lnTo>
                    <a:pt x="445338" y="238633"/>
                  </a:lnTo>
                  <a:lnTo>
                    <a:pt x="445020" y="238175"/>
                  </a:lnTo>
                  <a:lnTo>
                    <a:pt x="445020" y="238760"/>
                  </a:lnTo>
                  <a:lnTo>
                    <a:pt x="440169" y="242570"/>
                  </a:lnTo>
                  <a:lnTo>
                    <a:pt x="440055" y="238760"/>
                  </a:lnTo>
                  <a:lnTo>
                    <a:pt x="440055" y="259029"/>
                  </a:lnTo>
                  <a:lnTo>
                    <a:pt x="439902" y="259080"/>
                  </a:lnTo>
                  <a:lnTo>
                    <a:pt x="439089" y="256540"/>
                  </a:lnTo>
                  <a:lnTo>
                    <a:pt x="438708" y="255270"/>
                  </a:lnTo>
                  <a:lnTo>
                    <a:pt x="439940" y="255270"/>
                  </a:lnTo>
                  <a:lnTo>
                    <a:pt x="440055" y="259029"/>
                  </a:lnTo>
                  <a:lnTo>
                    <a:pt x="440055" y="238760"/>
                  </a:lnTo>
                  <a:lnTo>
                    <a:pt x="439902" y="233680"/>
                  </a:lnTo>
                  <a:lnTo>
                    <a:pt x="439902" y="254000"/>
                  </a:lnTo>
                  <a:lnTo>
                    <a:pt x="439750" y="253847"/>
                  </a:lnTo>
                  <a:lnTo>
                    <a:pt x="439750" y="254000"/>
                  </a:lnTo>
                  <a:lnTo>
                    <a:pt x="438531" y="255270"/>
                  </a:lnTo>
                  <a:lnTo>
                    <a:pt x="437756" y="252730"/>
                  </a:lnTo>
                  <a:lnTo>
                    <a:pt x="439750" y="254000"/>
                  </a:lnTo>
                  <a:lnTo>
                    <a:pt x="439750" y="253847"/>
                  </a:lnTo>
                  <a:lnTo>
                    <a:pt x="438683" y="252730"/>
                  </a:lnTo>
                  <a:lnTo>
                    <a:pt x="437464" y="251460"/>
                  </a:lnTo>
                  <a:lnTo>
                    <a:pt x="437248" y="250786"/>
                  </a:lnTo>
                  <a:lnTo>
                    <a:pt x="437248" y="251460"/>
                  </a:lnTo>
                  <a:lnTo>
                    <a:pt x="434390" y="248920"/>
                  </a:lnTo>
                  <a:lnTo>
                    <a:pt x="436118" y="247650"/>
                  </a:lnTo>
                  <a:lnTo>
                    <a:pt x="436460" y="248920"/>
                  </a:lnTo>
                  <a:lnTo>
                    <a:pt x="437248" y="251460"/>
                  </a:lnTo>
                  <a:lnTo>
                    <a:pt x="437248" y="250786"/>
                  </a:lnTo>
                  <a:lnTo>
                    <a:pt x="436245" y="247650"/>
                  </a:lnTo>
                  <a:lnTo>
                    <a:pt x="439661" y="243840"/>
                  </a:lnTo>
                  <a:lnTo>
                    <a:pt x="439902" y="254000"/>
                  </a:lnTo>
                  <a:lnTo>
                    <a:pt x="439902" y="233680"/>
                  </a:lnTo>
                  <a:lnTo>
                    <a:pt x="439864" y="232410"/>
                  </a:lnTo>
                  <a:lnTo>
                    <a:pt x="445020" y="238760"/>
                  </a:lnTo>
                  <a:lnTo>
                    <a:pt x="445020" y="238175"/>
                  </a:lnTo>
                  <a:lnTo>
                    <a:pt x="441020" y="232410"/>
                  </a:lnTo>
                  <a:lnTo>
                    <a:pt x="440143" y="231140"/>
                  </a:lnTo>
                  <a:lnTo>
                    <a:pt x="440372" y="231140"/>
                  </a:lnTo>
                  <a:lnTo>
                    <a:pt x="444804" y="227330"/>
                  </a:lnTo>
                  <a:lnTo>
                    <a:pt x="445871" y="231140"/>
                  </a:lnTo>
                  <a:lnTo>
                    <a:pt x="445211" y="228600"/>
                  </a:lnTo>
                  <a:lnTo>
                    <a:pt x="444868" y="227330"/>
                  </a:lnTo>
                  <a:lnTo>
                    <a:pt x="446265" y="226060"/>
                  </a:lnTo>
                  <a:lnTo>
                    <a:pt x="447840" y="231140"/>
                  </a:lnTo>
                  <a:lnTo>
                    <a:pt x="448030" y="231140"/>
                  </a:lnTo>
                  <a:lnTo>
                    <a:pt x="449148" y="234950"/>
                  </a:lnTo>
                  <a:lnTo>
                    <a:pt x="447560" y="236220"/>
                  </a:lnTo>
                  <a:lnTo>
                    <a:pt x="447052" y="234950"/>
                  </a:lnTo>
                  <a:lnTo>
                    <a:pt x="446125" y="231140"/>
                  </a:lnTo>
                  <a:lnTo>
                    <a:pt x="446989" y="234950"/>
                  </a:lnTo>
                  <a:lnTo>
                    <a:pt x="447509" y="236220"/>
                  </a:lnTo>
                  <a:lnTo>
                    <a:pt x="446519" y="237426"/>
                  </a:lnTo>
                  <a:lnTo>
                    <a:pt x="447713" y="236220"/>
                  </a:lnTo>
                  <a:lnTo>
                    <a:pt x="448602" y="240030"/>
                  </a:lnTo>
                  <a:lnTo>
                    <a:pt x="449516" y="242570"/>
                  </a:lnTo>
                  <a:lnTo>
                    <a:pt x="450227" y="244271"/>
                  </a:lnTo>
                  <a:lnTo>
                    <a:pt x="449554" y="242570"/>
                  </a:lnTo>
                  <a:lnTo>
                    <a:pt x="448640" y="240030"/>
                  </a:lnTo>
                  <a:lnTo>
                    <a:pt x="447763" y="236220"/>
                  </a:lnTo>
                  <a:lnTo>
                    <a:pt x="449326" y="234950"/>
                  </a:lnTo>
                  <a:lnTo>
                    <a:pt x="455231" y="254000"/>
                  </a:lnTo>
                  <a:lnTo>
                    <a:pt x="455358" y="254254"/>
                  </a:lnTo>
                  <a:lnTo>
                    <a:pt x="456895" y="258991"/>
                  </a:lnTo>
                  <a:lnTo>
                    <a:pt x="456996" y="259194"/>
                  </a:lnTo>
                  <a:lnTo>
                    <a:pt x="459968" y="267970"/>
                  </a:lnTo>
                  <a:lnTo>
                    <a:pt x="462229" y="270471"/>
                  </a:lnTo>
                  <a:lnTo>
                    <a:pt x="462292" y="269240"/>
                  </a:lnTo>
                  <a:lnTo>
                    <a:pt x="460768" y="267970"/>
                  </a:lnTo>
                  <a:lnTo>
                    <a:pt x="460590" y="267970"/>
                  </a:lnTo>
                  <a:lnTo>
                    <a:pt x="462470" y="265430"/>
                  </a:lnTo>
                  <a:lnTo>
                    <a:pt x="462597" y="264210"/>
                  </a:lnTo>
                  <a:lnTo>
                    <a:pt x="462127" y="265430"/>
                  </a:lnTo>
                  <a:lnTo>
                    <a:pt x="460235" y="267970"/>
                  </a:lnTo>
                  <a:lnTo>
                    <a:pt x="457923" y="260438"/>
                  </a:lnTo>
                  <a:lnTo>
                    <a:pt x="456615" y="256540"/>
                  </a:lnTo>
                  <a:lnTo>
                    <a:pt x="462749" y="261594"/>
                  </a:lnTo>
                  <a:lnTo>
                    <a:pt x="462813" y="260350"/>
                  </a:lnTo>
                  <a:lnTo>
                    <a:pt x="457987" y="256540"/>
                  </a:lnTo>
                  <a:lnTo>
                    <a:pt x="456374" y="255270"/>
                  </a:lnTo>
                  <a:lnTo>
                    <a:pt x="455663" y="254000"/>
                  </a:lnTo>
                  <a:lnTo>
                    <a:pt x="457517" y="252730"/>
                  </a:lnTo>
                  <a:lnTo>
                    <a:pt x="461213" y="250190"/>
                  </a:lnTo>
                  <a:lnTo>
                    <a:pt x="463232" y="247980"/>
                  </a:lnTo>
                  <a:lnTo>
                    <a:pt x="461149" y="250190"/>
                  </a:lnTo>
                  <a:lnTo>
                    <a:pt x="456844" y="252730"/>
                  </a:lnTo>
                  <a:lnTo>
                    <a:pt x="455612" y="252730"/>
                  </a:lnTo>
                  <a:lnTo>
                    <a:pt x="449694" y="234950"/>
                  </a:lnTo>
                  <a:lnTo>
                    <a:pt x="451027" y="233680"/>
                  </a:lnTo>
                  <a:lnTo>
                    <a:pt x="453694" y="231140"/>
                  </a:lnTo>
                  <a:lnTo>
                    <a:pt x="454152" y="229870"/>
                  </a:lnTo>
                  <a:lnTo>
                    <a:pt x="454507" y="228600"/>
                  </a:lnTo>
                  <a:lnTo>
                    <a:pt x="455472" y="227330"/>
                  </a:lnTo>
                  <a:lnTo>
                    <a:pt x="458368" y="223520"/>
                  </a:lnTo>
                  <a:lnTo>
                    <a:pt x="459333" y="227330"/>
                  </a:lnTo>
                  <a:lnTo>
                    <a:pt x="460362" y="229870"/>
                  </a:lnTo>
                  <a:lnTo>
                    <a:pt x="462851" y="236220"/>
                  </a:lnTo>
                  <a:lnTo>
                    <a:pt x="464070" y="238747"/>
                  </a:lnTo>
                  <a:lnTo>
                    <a:pt x="464108" y="237490"/>
                  </a:lnTo>
                  <a:lnTo>
                    <a:pt x="463080" y="236220"/>
                  </a:lnTo>
                  <a:lnTo>
                    <a:pt x="460590" y="229870"/>
                  </a:lnTo>
                  <a:lnTo>
                    <a:pt x="459549" y="227330"/>
                  </a:lnTo>
                  <a:lnTo>
                    <a:pt x="458584" y="223520"/>
                  </a:lnTo>
                  <a:lnTo>
                    <a:pt x="460260" y="222250"/>
                  </a:lnTo>
                  <a:lnTo>
                    <a:pt x="465023" y="222250"/>
                  </a:lnTo>
                  <a:lnTo>
                    <a:pt x="465099" y="220980"/>
                  </a:lnTo>
                  <a:lnTo>
                    <a:pt x="467080" y="186715"/>
                  </a:lnTo>
                  <a:lnTo>
                    <a:pt x="466953" y="187109"/>
                  </a:lnTo>
                  <a:lnTo>
                    <a:pt x="466953" y="187960"/>
                  </a:lnTo>
                  <a:lnTo>
                    <a:pt x="465074" y="220980"/>
                  </a:lnTo>
                  <a:lnTo>
                    <a:pt x="459676" y="220980"/>
                  </a:lnTo>
                  <a:lnTo>
                    <a:pt x="459676" y="222250"/>
                  </a:lnTo>
                  <a:lnTo>
                    <a:pt x="458406" y="223520"/>
                  </a:lnTo>
                  <a:lnTo>
                    <a:pt x="458203" y="223012"/>
                  </a:lnTo>
                  <a:lnTo>
                    <a:pt x="458203" y="223520"/>
                  </a:lnTo>
                  <a:lnTo>
                    <a:pt x="454863" y="227330"/>
                  </a:lnTo>
                  <a:lnTo>
                    <a:pt x="456666" y="222250"/>
                  </a:lnTo>
                  <a:lnTo>
                    <a:pt x="457619" y="222250"/>
                  </a:lnTo>
                  <a:lnTo>
                    <a:pt x="458203" y="223520"/>
                  </a:lnTo>
                  <a:lnTo>
                    <a:pt x="458203" y="223012"/>
                  </a:lnTo>
                  <a:lnTo>
                    <a:pt x="457898" y="222250"/>
                  </a:lnTo>
                  <a:lnTo>
                    <a:pt x="459676" y="222250"/>
                  </a:lnTo>
                  <a:lnTo>
                    <a:pt x="459676" y="220980"/>
                  </a:lnTo>
                  <a:lnTo>
                    <a:pt x="457771" y="220980"/>
                  </a:lnTo>
                  <a:lnTo>
                    <a:pt x="457288" y="219710"/>
                  </a:lnTo>
                  <a:lnTo>
                    <a:pt x="466953" y="187960"/>
                  </a:lnTo>
                  <a:lnTo>
                    <a:pt x="466953" y="187109"/>
                  </a:lnTo>
                  <a:lnTo>
                    <a:pt x="466674" y="187960"/>
                  </a:lnTo>
                  <a:lnTo>
                    <a:pt x="461327" y="180340"/>
                  </a:lnTo>
                  <a:lnTo>
                    <a:pt x="467715" y="175260"/>
                  </a:lnTo>
                  <a:lnTo>
                    <a:pt x="467220" y="184150"/>
                  </a:lnTo>
                  <a:lnTo>
                    <a:pt x="467741" y="175260"/>
                  </a:lnTo>
                  <a:lnTo>
                    <a:pt x="467956" y="171450"/>
                  </a:lnTo>
                  <a:close/>
                </a:path>
              </a:pathLst>
            </a:custGeom>
            <a:solidFill>
              <a:srgbClr val="00364C"/>
            </a:solidFill>
          </p:spPr>
          <p:txBody>
            <a:bodyPr wrap="square" lIns="0" tIns="0" rIns="0" bIns="0" rtlCol="0"/>
            <a:lstStyle/>
            <a:p>
              <a:endParaRPr/>
            </a:p>
          </p:txBody>
        </p:sp>
        <p:pic>
          <p:nvPicPr>
            <p:cNvPr id="7" name="object 7"/>
            <p:cNvPicPr/>
            <p:nvPr/>
          </p:nvPicPr>
          <p:blipFill>
            <a:blip r:embed="rId3" cstate="print"/>
            <a:stretch>
              <a:fillRect/>
            </a:stretch>
          </p:blipFill>
          <p:spPr>
            <a:xfrm>
              <a:off x="0" y="4490277"/>
              <a:ext cx="226604" cy="251462"/>
            </a:xfrm>
            <a:prstGeom prst="rect">
              <a:avLst/>
            </a:prstGeom>
          </p:spPr>
        </p:pic>
        <p:sp>
          <p:nvSpPr>
            <p:cNvPr id="8" name="object 8"/>
            <p:cNvSpPr/>
            <p:nvPr/>
          </p:nvSpPr>
          <p:spPr>
            <a:xfrm>
              <a:off x="0" y="4153915"/>
              <a:ext cx="5760085" cy="742315"/>
            </a:xfrm>
            <a:custGeom>
              <a:avLst/>
              <a:gdLst/>
              <a:ahLst/>
              <a:cxnLst/>
              <a:rect l="l" t="t" r="r" b="b"/>
              <a:pathLst>
                <a:path w="5760085" h="742314">
                  <a:moveTo>
                    <a:pt x="3131693" y="90487"/>
                  </a:moveTo>
                  <a:lnTo>
                    <a:pt x="3128581" y="87947"/>
                  </a:lnTo>
                  <a:lnTo>
                    <a:pt x="3125647" y="87947"/>
                  </a:lnTo>
                  <a:lnTo>
                    <a:pt x="3127311" y="86677"/>
                  </a:lnTo>
                  <a:lnTo>
                    <a:pt x="3122218" y="86677"/>
                  </a:lnTo>
                  <a:lnTo>
                    <a:pt x="3121380" y="85407"/>
                  </a:lnTo>
                  <a:lnTo>
                    <a:pt x="3129254" y="84137"/>
                  </a:lnTo>
                  <a:lnTo>
                    <a:pt x="3123996" y="81597"/>
                  </a:lnTo>
                  <a:lnTo>
                    <a:pt x="3127857" y="76517"/>
                  </a:lnTo>
                  <a:lnTo>
                    <a:pt x="3128822" y="75247"/>
                  </a:lnTo>
                  <a:lnTo>
                    <a:pt x="3123171" y="76517"/>
                  </a:lnTo>
                  <a:lnTo>
                    <a:pt x="3119742" y="75247"/>
                  </a:lnTo>
                  <a:lnTo>
                    <a:pt x="3120301" y="75247"/>
                  </a:lnTo>
                  <a:lnTo>
                    <a:pt x="3122231" y="73977"/>
                  </a:lnTo>
                  <a:lnTo>
                    <a:pt x="3121583" y="73977"/>
                  </a:lnTo>
                  <a:lnTo>
                    <a:pt x="3122180" y="72707"/>
                  </a:lnTo>
                  <a:lnTo>
                    <a:pt x="3123044" y="71437"/>
                  </a:lnTo>
                  <a:lnTo>
                    <a:pt x="3118802" y="72707"/>
                  </a:lnTo>
                  <a:lnTo>
                    <a:pt x="3117037" y="71437"/>
                  </a:lnTo>
                  <a:lnTo>
                    <a:pt x="3115830" y="71437"/>
                  </a:lnTo>
                  <a:lnTo>
                    <a:pt x="3119805" y="67627"/>
                  </a:lnTo>
                  <a:lnTo>
                    <a:pt x="3113836" y="65087"/>
                  </a:lnTo>
                  <a:lnTo>
                    <a:pt x="3113316" y="58737"/>
                  </a:lnTo>
                  <a:lnTo>
                    <a:pt x="3112579" y="49847"/>
                  </a:lnTo>
                  <a:lnTo>
                    <a:pt x="3111436" y="44767"/>
                  </a:lnTo>
                  <a:lnTo>
                    <a:pt x="3109836" y="47307"/>
                  </a:lnTo>
                  <a:lnTo>
                    <a:pt x="3109531" y="58737"/>
                  </a:lnTo>
                  <a:lnTo>
                    <a:pt x="3109201" y="58737"/>
                  </a:lnTo>
                  <a:lnTo>
                    <a:pt x="3108883" y="47307"/>
                  </a:lnTo>
                  <a:lnTo>
                    <a:pt x="3107296" y="44767"/>
                  </a:lnTo>
                  <a:lnTo>
                    <a:pt x="3106140" y="49847"/>
                  </a:lnTo>
                  <a:lnTo>
                    <a:pt x="3104883" y="65087"/>
                  </a:lnTo>
                  <a:lnTo>
                    <a:pt x="3098914" y="67627"/>
                  </a:lnTo>
                  <a:lnTo>
                    <a:pt x="3102889" y="71437"/>
                  </a:lnTo>
                  <a:lnTo>
                    <a:pt x="3099917" y="72707"/>
                  </a:lnTo>
                  <a:lnTo>
                    <a:pt x="3095675" y="71437"/>
                  </a:lnTo>
                  <a:lnTo>
                    <a:pt x="3097149" y="73977"/>
                  </a:lnTo>
                  <a:lnTo>
                    <a:pt x="3096501" y="73977"/>
                  </a:lnTo>
                  <a:lnTo>
                    <a:pt x="3098419" y="75247"/>
                  </a:lnTo>
                  <a:lnTo>
                    <a:pt x="3098977" y="75247"/>
                  </a:lnTo>
                  <a:lnTo>
                    <a:pt x="3095548" y="76517"/>
                  </a:lnTo>
                  <a:lnTo>
                    <a:pt x="3089897" y="75247"/>
                  </a:lnTo>
                  <a:lnTo>
                    <a:pt x="3094736" y="81597"/>
                  </a:lnTo>
                  <a:lnTo>
                    <a:pt x="3089478" y="84137"/>
                  </a:lnTo>
                  <a:lnTo>
                    <a:pt x="3097339" y="85407"/>
                  </a:lnTo>
                  <a:lnTo>
                    <a:pt x="3096514" y="86677"/>
                  </a:lnTo>
                  <a:lnTo>
                    <a:pt x="3091421" y="86677"/>
                  </a:lnTo>
                  <a:lnTo>
                    <a:pt x="3093085" y="87947"/>
                  </a:lnTo>
                  <a:lnTo>
                    <a:pt x="3090151" y="87947"/>
                  </a:lnTo>
                  <a:lnTo>
                    <a:pt x="3085719" y="90487"/>
                  </a:lnTo>
                  <a:lnTo>
                    <a:pt x="3092056" y="91757"/>
                  </a:lnTo>
                  <a:lnTo>
                    <a:pt x="3089579" y="95567"/>
                  </a:lnTo>
                  <a:lnTo>
                    <a:pt x="3096641" y="95567"/>
                  </a:lnTo>
                  <a:lnTo>
                    <a:pt x="3096666" y="99377"/>
                  </a:lnTo>
                  <a:lnTo>
                    <a:pt x="3098800" y="98107"/>
                  </a:lnTo>
                  <a:lnTo>
                    <a:pt x="3099854" y="96837"/>
                  </a:lnTo>
                  <a:lnTo>
                    <a:pt x="3101987" y="95567"/>
                  </a:lnTo>
                  <a:lnTo>
                    <a:pt x="3101937" y="98107"/>
                  </a:lnTo>
                  <a:lnTo>
                    <a:pt x="3099968" y="100647"/>
                  </a:lnTo>
                  <a:lnTo>
                    <a:pt x="3099638" y="101917"/>
                  </a:lnTo>
                  <a:lnTo>
                    <a:pt x="3081045" y="95567"/>
                  </a:lnTo>
                  <a:lnTo>
                    <a:pt x="3082658" y="96837"/>
                  </a:lnTo>
                  <a:lnTo>
                    <a:pt x="3082658" y="100647"/>
                  </a:lnTo>
                  <a:lnTo>
                    <a:pt x="3079623" y="100647"/>
                  </a:lnTo>
                  <a:lnTo>
                    <a:pt x="3083191" y="103187"/>
                  </a:lnTo>
                  <a:lnTo>
                    <a:pt x="3082658" y="103187"/>
                  </a:lnTo>
                  <a:lnTo>
                    <a:pt x="3082658" y="106997"/>
                  </a:lnTo>
                  <a:lnTo>
                    <a:pt x="3077476" y="108267"/>
                  </a:lnTo>
                  <a:lnTo>
                    <a:pt x="3082658" y="112077"/>
                  </a:lnTo>
                  <a:lnTo>
                    <a:pt x="3082658" y="114617"/>
                  </a:lnTo>
                  <a:lnTo>
                    <a:pt x="3082975" y="114617"/>
                  </a:lnTo>
                  <a:lnTo>
                    <a:pt x="3082734" y="118427"/>
                  </a:lnTo>
                  <a:lnTo>
                    <a:pt x="3084995" y="115887"/>
                  </a:lnTo>
                  <a:lnTo>
                    <a:pt x="3086684" y="118427"/>
                  </a:lnTo>
                  <a:lnTo>
                    <a:pt x="3090062" y="115887"/>
                  </a:lnTo>
                  <a:lnTo>
                    <a:pt x="3091383" y="115887"/>
                  </a:lnTo>
                  <a:lnTo>
                    <a:pt x="3090075" y="118427"/>
                  </a:lnTo>
                  <a:lnTo>
                    <a:pt x="3076105" y="122237"/>
                  </a:lnTo>
                  <a:lnTo>
                    <a:pt x="3079712" y="126047"/>
                  </a:lnTo>
                  <a:lnTo>
                    <a:pt x="3077908" y="129857"/>
                  </a:lnTo>
                  <a:lnTo>
                    <a:pt x="3091967" y="126047"/>
                  </a:lnTo>
                  <a:lnTo>
                    <a:pt x="3089491" y="128587"/>
                  </a:lnTo>
                  <a:lnTo>
                    <a:pt x="3082658" y="129857"/>
                  </a:lnTo>
                  <a:lnTo>
                    <a:pt x="3082658" y="132397"/>
                  </a:lnTo>
                  <a:lnTo>
                    <a:pt x="3062960" y="136207"/>
                  </a:lnTo>
                  <a:lnTo>
                    <a:pt x="3070796" y="141287"/>
                  </a:lnTo>
                  <a:lnTo>
                    <a:pt x="3070656" y="145097"/>
                  </a:lnTo>
                  <a:lnTo>
                    <a:pt x="3073806" y="143827"/>
                  </a:lnTo>
                  <a:lnTo>
                    <a:pt x="3069056" y="150177"/>
                  </a:lnTo>
                  <a:lnTo>
                    <a:pt x="3075648" y="146367"/>
                  </a:lnTo>
                  <a:lnTo>
                    <a:pt x="3076308" y="151447"/>
                  </a:lnTo>
                  <a:lnTo>
                    <a:pt x="3079191" y="146367"/>
                  </a:lnTo>
                  <a:lnTo>
                    <a:pt x="3083268" y="145262"/>
                  </a:lnTo>
                  <a:lnTo>
                    <a:pt x="3082937" y="146367"/>
                  </a:lnTo>
                  <a:lnTo>
                    <a:pt x="3082658" y="146367"/>
                  </a:lnTo>
                  <a:lnTo>
                    <a:pt x="3079623" y="150177"/>
                  </a:lnTo>
                  <a:lnTo>
                    <a:pt x="3081591" y="151447"/>
                  </a:lnTo>
                  <a:lnTo>
                    <a:pt x="3072536" y="157797"/>
                  </a:lnTo>
                  <a:lnTo>
                    <a:pt x="3080512" y="159067"/>
                  </a:lnTo>
                  <a:lnTo>
                    <a:pt x="3079762" y="162877"/>
                  </a:lnTo>
                  <a:lnTo>
                    <a:pt x="3092907" y="155257"/>
                  </a:lnTo>
                  <a:lnTo>
                    <a:pt x="3089275" y="159067"/>
                  </a:lnTo>
                  <a:lnTo>
                    <a:pt x="3091281" y="159067"/>
                  </a:lnTo>
                  <a:lnTo>
                    <a:pt x="3090710" y="160337"/>
                  </a:lnTo>
                  <a:lnTo>
                    <a:pt x="3081731" y="165417"/>
                  </a:lnTo>
                  <a:lnTo>
                    <a:pt x="3078226" y="166649"/>
                  </a:lnTo>
                  <a:lnTo>
                    <a:pt x="3078226" y="192087"/>
                  </a:lnTo>
                  <a:lnTo>
                    <a:pt x="3075914" y="197167"/>
                  </a:lnTo>
                  <a:lnTo>
                    <a:pt x="3072371" y="200977"/>
                  </a:lnTo>
                  <a:lnTo>
                    <a:pt x="3070834" y="200977"/>
                  </a:lnTo>
                  <a:lnTo>
                    <a:pt x="3069132" y="200063"/>
                  </a:lnTo>
                  <a:lnTo>
                    <a:pt x="3069132" y="253047"/>
                  </a:lnTo>
                  <a:lnTo>
                    <a:pt x="3065970" y="258127"/>
                  </a:lnTo>
                  <a:lnTo>
                    <a:pt x="3055493" y="251777"/>
                  </a:lnTo>
                  <a:lnTo>
                    <a:pt x="3054566" y="249237"/>
                  </a:lnTo>
                  <a:lnTo>
                    <a:pt x="3056394" y="247967"/>
                  </a:lnTo>
                  <a:lnTo>
                    <a:pt x="3060738" y="254317"/>
                  </a:lnTo>
                  <a:lnTo>
                    <a:pt x="3064853" y="250507"/>
                  </a:lnTo>
                  <a:lnTo>
                    <a:pt x="3067012" y="251777"/>
                  </a:lnTo>
                  <a:lnTo>
                    <a:pt x="3067507" y="250507"/>
                  </a:lnTo>
                  <a:lnTo>
                    <a:pt x="3068345" y="253047"/>
                  </a:lnTo>
                  <a:lnTo>
                    <a:pt x="3069132" y="253047"/>
                  </a:lnTo>
                  <a:lnTo>
                    <a:pt x="3069132" y="200063"/>
                  </a:lnTo>
                  <a:lnTo>
                    <a:pt x="3066123" y="198437"/>
                  </a:lnTo>
                  <a:lnTo>
                    <a:pt x="3063989" y="197294"/>
                  </a:lnTo>
                  <a:lnTo>
                    <a:pt x="3063989" y="212407"/>
                  </a:lnTo>
                  <a:lnTo>
                    <a:pt x="3060179" y="217487"/>
                  </a:lnTo>
                  <a:lnTo>
                    <a:pt x="3058414" y="216217"/>
                  </a:lnTo>
                  <a:lnTo>
                    <a:pt x="3056648" y="214947"/>
                  </a:lnTo>
                  <a:lnTo>
                    <a:pt x="3055366" y="213677"/>
                  </a:lnTo>
                  <a:lnTo>
                    <a:pt x="3063989" y="212407"/>
                  </a:lnTo>
                  <a:lnTo>
                    <a:pt x="3063989" y="197294"/>
                  </a:lnTo>
                  <a:lnTo>
                    <a:pt x="3061424" y="195897"/>
                  </a:lnTo>
                  <a:lnTo>
                    <a:pt x="3063316" y="194627"/>
                  </a:lnTo>
                  <a:lnTo>
                    <a:pt x="3068993" y="190817"/>
                  </a:lnTo>
                  <a:lnTo>
                    <a:pt x="3070301" y="198437"/>
                  </a:lnTo>
                  <a:lnTo>
                    <a:pt x="3078226" y="192087"/>
                  </a:lnTo>
                  <a:lnTo>
                    <a:pt x="3078226" y="166649"/>
                  </a:lnTo>
                  <a:lnTo>
                    <a:pt x="3074479" y="167957"/>
                  </a:lnTo>
                  <a:lnTo>
                    <a:pt x="3077921" y="170497"/>
                  </a:lnTo>
                  <a:lnTo>
                    <a:pt x="3075902" y="173037"/>
                  </a:lnTo>
                  <a:lnTo>
                    <a:pt x="3065145" y="174599"/>
                  </a:lnTo>
                  <a:lnTo>
                    <a:pt x="3065145" y="185737"/>
                  </a:lnTo>
                  <a:lnTo>
                    <a:pt x="3055137" y="192062"/>
                  </a:lnTo>
                  <a:lnTo>
                    <a:pt x="3055137" y="207327"/>
                  </a:lnTo>
                  <a:lnTo>
                    <a:pt x="3050857" y="208597"/>
                  </a:lnTo>
                  <a:lnTo>
                    <a:pt x="3046882" y="204787"/>
                  </a:lnTo>
                  <a:lnTo>
                    <a:pt x="3044240" y="202247"/>
                  </a:lnTo>
                  <a:lnTo>
                    <a:pt x="3043644" y="198437"/>
                  </a:lnTo>
                  <a:lnTo>
                    <a:pt x="3046831" y="198437"/>
                  </a:lnTo>
                  <a:lnTo>
                    <a:pt x="3048406" y="204787"/>
                  </a:lnTo>
                  <a:lnTo>
                    <a:pt x="3053829" y="200977"/>
                  </a:lnTo>
                  <a:lnTo>
                    <a:pt x="3055137" y="207327"/>
                  </a:lnTo>
                  <a:lnTo>
                    <a:pt x="3055137" y="192062"/>
                  </a:lnTo>
                  <a:lnTo>
                    <a:pt x="3054680" y="192087"/>
                  </a:lnTo>
                  <a:lnTo>
                    <a:pt x="3053892" y="190817"/>
                  </a:lnTo>
                  <a:lnTo>
                    <a:pt x="3056940" y="190817"/>
                  </a:lnTo>
                  <a:lnTo>
                    <a:pt x="3051124" y="185737"/>
                  </a:lnTo>
                  <a:lnTo>
                    <a:pt x="3043847" y="179387"/>
                  </a:lnTo>
                  <a:lnTo>
                    <a:pt x="3047415" y="179387"/>
                  </a:lnTo>
                  <a:lnTo>
                    <a:pt x="3051378" y="181927"/>
                  </a:lnTo>
                  <a:lnTo>
                    <a:pt x="3050895" y="179387"/>
                  </a:lnTo>
                  <a:lnTo>
                    <a:pt x="3049714" y="173037"/>
                  </a:lnTo>
                  <a:lnTo>
                    <a:pt x="3053257" y="175577"/>
                  </a:lnTo>
                  <a:lnTo>
                    <a:pt x="3052521" y="175577"/>
                  </a:lnTo>
                  <a:lnTo>
                    <a:pt x="3057169" y="179387"/>
                  </a:lnTo>
                  <a:lnTo>
                    <a:pt x="3054070" y="183197"/>
                  </a:lnTo>
                  <a:lnTo>
                    <a:pt x="3061601" y="183197"/>
                  </a:lnTo>
                  <a:lnTo>
                    <a:pt x="3065145" y="185737"/>
                  </a:lnTo>
                  <a:lnTo>
                    <a:pt x="3065145" y="174599"/>
                  </a:lnTo>
                  <a:lnTo>
                    <a:pt x="3058325" y="175577"/>
                  </a:lnTo>
                  <a:lnTo>
                    <a:pt x="3058058" y="173037"/>
                  </a:lnTo>
                  <a:lnTo>
                    <a:pt x="3063341" y="171767"/>
                  </a:lnTo>
                  <a:lnTo>
                    <a:pt x="3058236" y="169227"/>
                  </a:lnTo>
                  <a:lnTo>
                    <a:pt x="3049574" y="166687"/>
                  </a:lnTo>
                  <a:lnTo>
                    <a:pt x="3042920" y="162877"/>
                  </a:lnTo>
                  <a:lnTo>
                    <a:pt x="3040697" y="161607"/>
                  </a:lnTo>
                  <a:lnTo>
                    <a:pt x="3042577" y="157797"/>
                  </a:lnTo>
                  <a:lnTo>
                    <a:pt x="3049308" y="162877"/>
                  </a:lnTo>
                  <a:lnTo>
                    <a:pt x="3050222" y="157797"/>
                  </a:lnTo>
                  <a:lnTo>
                    <a:pt x="3050451" y="156527"/>
                  </a:lnTo>
                  <a:lnTo>
                    <a:pt x="3056344" y="164147"/>
                  </a:lnTo>
                  <a:lnTo>
                    <a:pt x="3054337" y="156527"/>
                  </a:lnTo>
                  <a:lnTo>
                    <a:pt x="3063481" y="159067"/>
                  </a:lnTo>
                  <a:lnTo>
                    <a:pt x="3061792" y="156527"/>
                  </a:lnTo>
                  <a:lnTo>
                    <a:pt x="3060115" y="153987"/>
                  </a:lnTo>
                  <a:lnTo>
                    <a:pt x="3065716" y="153987"/>
                  </a:lnTo>
                  <a:lnTo>
                    <a:pt x="3054972" y="150177"/>
                  </a:lnTo>
                  <a:lnTo>
                    <a:pt x="3046349" y="146367"/>
                  </a:lnTo>
                  <a:lnTo>
                    <a:pt x="3040596" y="143827"/>
                  </a:lnTo>
                  <a:lnTo>
                    <a:pt x="3046819" y="141287"/>
                  </a:lnTo>
                  <a:lnTo>
                    <a:pt x="3038284" y="134937"/>
                  </a:lnTo>
                  <a:lnTo>
                    <a:pt x="3036582" y="133667"/>
                  </a:lnTo>
                  <a:lnTo>
                    <a:pt x="3050514" y="138747"/>
                  </a:lnTo>
                  <a:lnTo>
                    <a:pt x="3048000" y="133667"/>
                  </a:lnTo>
                  <a:lnTo>
                    <a:pt x="3052635" y="132397"/>
                  </a:lnTo>
                  <a:lnTo>
                    <a:pt x="3038741" y="126047"/>
                  </a:lnTo>
                  <a:lnTo>
                    <a:pt x="3043478" y="120967"/>
                  </a:lnTo>
                  <a:lnTo>
                    <a:pt x="3037141" y="117157"/>
                  </a:lnTo>
                  <a:lnTo>
                    <a:pt x="3038017" y="113347"/>
                  </a:lnTo>
                  <a:lnTo>
                    <a:pt x="3033941" y="110807"/>
                  </a:lnTo>
                  <a:lnTo>
                    <a:pt x="3035300" y="109537"/>
                  </a:lnTo>
                  <a:lnTo>
                    <a:pt x="3033115" y="106997"/>
                  </a:lnTo>
                  <a:lnTo>
                    <a:pt x="3031769" y="95567"/>
                  </a:lnTo>
                  <a:lnTo>
                    <a:pt x="3029889" y="108267"/>
                  </a:lnTo>
                  <a:lnTo>
                    <a:pt x="3027426" y="110807"/>
                  </a:lnTo>
                  <a:lnTo>
                    <a:pt x="3028810" y="114617"/>
                  </a:lnTo>
                  <a:lnTo>
                    <a:pt x="3023044" y="115887"/>
                  </a:lnTo>
                  <a:lnTo>
                    <a:pt x="3023755" y="119697"/>
                  </a:lnTo>
                  <a:lnTo>
                    <a:pt x="3015805" y="122237"/>
                  </a:lnTo>
                  <a:lnTo>
                    <a:pt x="3027540" y="124777"/>
                  </a:lnTo>
                  <a:lnTo>
                    <a:pt x="3011652" y="131127"/>
                  </a:lnTo>
                  <a:lnTo>
                    <a:pt x="3017736" y="134937"/>
                  </a:lnTo>
                  <a:lnTo>
                    <a:pt x="3014281" y="138747"/>
                  </a:lnTo>
                  <a:lnTo>
                    <a:pt x="3020288" y="136207"/>
                  </a:lnTo>
                  <a:lnTo>
                    <a:pt x="3025876" y="134937"/>
                  </a:lnTo>
                  <a:lnTo>
                    <a:pt x="3021038" y="138747"/>
                  </a:lnTo>
                  <a:lnTo>
                    <a:pt x="3014611" y="141287"/>
                  </a:lnTo>
                  <a:lnTo>
                    <a:pt x="3011487" y="143827"/>
                  </a:lnTo>
                  <a:lnTo>
                    <a:pt x="3018777" y="143827"/>
                  </a:lnTo>
                  <a:lnTo>
                    <a:pt x="3015831" y="148907"/>
                  </a:lnTo>
                  <a:lnTo>
                    <a:pt x="3021304" y="146367"/>
                  </a:lnTo>
                  <a:lnTo>
                    <a:pt x="3023158" y="148907"/>
                  </a:lnTo>
                  <a:lnTo>
                    <a:pt x="3019412" y="151345"/>
                  </a:lnTo>
                  <a:lnTo>
                    <a:pt x="3019412" y="162877"/>
                  </a:lnTo>
                  <a:lnTo>
                    <a:pt x="3017329" y="167957"/>
                  </a:lnTo>
                  <a:lnTo>
                    <a:pt x="3010420" y="171754"/>
                  </a:lnTo>
                  <a:lnTo>
                    <a:pt x="3010420" y="235267"/>
                  </a:lnTo>
                  <a:lnTo>
                    <a:pt x="3005963" y="240576"/>
                  </a:lnTo>
                  <a:lnTo>
                    <a:pt x="3005963" y="272097"/>
                  </a:lnTo>
                  <a:lnTo>
                    <a:pt x="3004108" y="274637"/>
                  </a:lnTo>
                  <a:lnTo>
                    <a:pt x="3002889" y="275907"/>
                  </a:lnTo>
                  <a:lnTo>
                    <a:pt x="3002584" y="275907"/>
                  </a:lnTo>
                  <a:lnTo>
                    <a:pt x="2999740" y="274637"/>
                  </a:lnTo>
                  <a:lnTo>
                    <a:pt x="3000730" y="273367"/>
                  </a:lnTo>
                  <a:lnTo>
                    <a:pt x="3001251" y="272097"/>
                  </a:lnTo>
                  <a:lnTo>
                    <a:pt x="3002242" y="270827"/>
                  </a:lnTo>
                  <a:lnTo>
                    <a:pt x="3005074" y="270827"/>
                  </a:lnTo>
                  <a:lnTo>
                    <a:pt x="3005963" y="272097"/>
                  </a:lnTo>
                  <a:lnTo>
                    <a:pt x="3005963" y="240576"/>
                  </a:lnTo>
                  <a:lnTo>
                    <a:pt x="3001873" y="245427"/>
                  </a:lnTo>
                  <a:lnTo>
                    <a:pt x="2999473" y="244157"/>
                  </a:lnTo>
                  <a:lnTo>
                    <a:pt x="2994672" y="241617"/>
                  </a:lnTo>
                  <a:lnTo>
                    <a:pt x="2996450" y="237807"/>
                  </a:lnTo>
                  <a:lnTo>
                    <a:pt x="3004972" y="239077"/>
                  </a:lnTo>
                  <a:lnTo>
                    <a:pt x="3003499" y="237807"/>
                  </a:lnTo>
                  <a:lnTo>
                    <a:pt x="3000552" y="235267"/>
                  </a:lnTo>
                  <a:lnTo>
                    <a:pt x="2998051" y="231457"/>
                  </a:lnTo>
                  <a:lnTo>
                    <a:pt x="2999511" y="230187"/>
                  </a:lnTo>
                  <a:lnTo>
                    <a:pt x="3001949" y="235267"/>
                  </a:lnTo>
                  <a:lnTo>
                    <a:pt x="3005137" y="231457"/>
                  </a:lnTo>
                  <a:lnTo>
                    <a:pt x="3005988" y="230187"/>
                  </a:lnTo>
                  <a:lnTo>
                    <a:pt x="3005544" y="232727"/>
                  </a:lnTo>
                  <a:lnTo>
                    <a:pt x="3007601" y="232727"/>
                  </a:lnTo>
                  <a:lnTo>
                    <a:pt x="3006610" y="236537"/>
                  </a:lnTo>
                  <a:lnTo>
                    <a:pt x="3010420" y="235267"/>
                  </a:lnTo>
                  <a:lnTo>
                    <a:pt x="3010420" y="171754"/>
                  </a:lnTo>
                  <a:lnTo>
                    <a:pt x="3009595" y="172212"/>
                  </a:lnTo>
                  <a:lnTo>
                    <a:pt x="3009595" y="199707"/>
                  </a:lnTo>
                  <a:lnTo>
                    <a:pt x="3009455" y="199707"/>
                  </a:lnTo>
                  <a:lnTo>
                    <a:pt x="3008172" y="203517"/>
                  </a:lnTo>
                  <a:lnTo>
                    <a:pt x="3007068" y="204787"/>
                  </a:lnTo>
                  <a:lnTo>
                    <a:pt x="3003207" y="202247"/>
                  </a:lnTo>
                  <a:lnTo>
                    <a:pt x="2997416" y="198437"/>
                  </a:lnTo>
                  <a:lnTo>
                    <a:pt x="3001822" y="194627"/>
                  </a:lnTo>
                  <a:lnTo>
                    <a:pt x="3003016" y="197167"/>
                  </a:lnTo>
                  <a:lnTo>
                    <a:pt x="3003473" y="195897"/>
                  </a:lnTo>
                  <a:lnTo>
                    <a:pt x="3003702" y="198437"/>
                  </a:lnTo>
                  <a:lnTo>
                    <a:pt x="3006902" y="195897"/>
                  </a:lnTo>
                  <a:lnTo>
                    <a:pt x="3007588" y="198437"/>
                  </a:lnTo>
                  <a:lnTo>
                    <a:pt x="3009595" y="199707"/>
                  </a:lnTo>
                  <a:lnTo>
                    <a:pt x="3009595" y="172212"/>
                  </a:lnTo>
                  <a:lnTo>
                    <a:pt x="3008071" y="173037"/>
                  </a:lnTo>
                  <a:lnTo>
                    <a:pt x="3003016" y="174307"/>
                  </a:lnTo>
                  <a:lnTo>
                    <a:pt x="3006788" y="178117"/>
                  </a:lnTo>
                  <a:lnTo>
                    <a:pt x="3002737" y="180657"/>
                  </a:lnTo>
                  <a:lnTo>
                    <a:pt x="2995879" y="175577"/>
                  </a:lnTo>
                  <a:lnTo>
                    <a:pt x="2993021" y="169227"/>
                  </a:lnTo>
                  <a:lnTo>
                    <a:pt x="2999917" y="173037"/>
                  </a:lnTo>
                  <a:lnTo>
                    <a:pt x="3003816" y="170497"/>
                  </a:lnTo>
                  <a:lnTo>
                    <a:pt x="3009188" y="171767"/>
                  </a:lnTo>
                  <a:lnTo>
                    <a:pt x="3008236" y="170497"/>
                  </a:lnTo>
                  <a:lnTo>
                    <a:pt x="3007283" y="169227"/>
                  </a:lnTo>
                  <a:lnTo>
                    <a:pt x="3004439" y="165417"/>
                  </a:lnTo>
                  <a:lnTo>
                    <a:pt x="3010458" y="162877"/>
                  </a:lnTo>
                  <a:lnTo>
                    <a:pt x="3010001" y="166687"/>
                  </a:lnTo>
                  <a:lnTo>
                    <a:pt x="3009709" y="167957"/>
                  </a:lnTo>
                  <a:lnTo>
                    <a:pt x="3014853" y="162877"/>
                  </a:lnTo>
                  <a:lnTo>
                    <a:pt x="3019412" y="162877"/>
                  </a:lnTo>
                  <a:lnTo>
                    <a:pt x="3019412" y="151345"/>
                  </a:lnTo>
                  <a:lnTo>
                    <a:pt x="3015323" y="153987"/>
                  </a:lnTo>
                  <a:lnTo>
                    <a:pt x="3005683" y="158419"/>
                  </a:lnTo>
                  <a:lnTo>
                    <a:pt x="3005683" y="161607"/>
                  </a:lnTo>
                  <a:lnTo>
                    <a:pt x="3004959" y="162877"/>
                  </a:lnTo>
                  <a:lnTo>
                    <a:pt x="3003905" y="165417"/>
                  </a:lnTo>
                  <a:lnTo>
                    <a:pt x="2999333" y="161607"/>
                  </a:lnTo>
                  <a:lnTo>
                    <a:pt x="3005683" y="161607"/>
                  </a:lnTo>
                  <a:lnTo>
                    <a:pt x="3005683" y="158419"/>
                  </a:lnTo>
                  <a:lnTo>
                    <a:pt x="2998724" y="161607"/>
                  </a:lnTo>
                  <a:lnTo>
                    <a:pt x="2995892" y="160337"/>
                  </a:lnTo>
                  <a:lnTo>
                    <a:pt x="2993415" y="157797"/>
                  </a:lnTo>
                  <a:lnTo>
                    <a:pt x="2983484" y="147637"/>
                  </a:lnTo>
                  <a:lnTo>
                    <a:pt x="2982887" y="143827"/>
                  </a:lnTo>
                  <a:lnTo>
                    <a:pt x="2986074" y="143827"/>
                  </a:lnTo>
                  <a:lnTo>
                    <a:pt x="2987649" y="150177"/>
                  </a:lnTo>
                  <a:lnTo>
                    <a:pt x="2993059" y="146367"/>
                  </a:lnTo>
                  <a:lnTo>
                    <a:pt x="2993694" y="148907"/>
                  </a:lnTo>
                  <a:lnTo>
                    <a:pt x="2993987" y="150177"/>
                  </a:lnTo>
                  <a:lnTo>
                    <a:pt x="2994622" y="153987"/>
                  </a:lnTo>
                  <a:lnTo>
                    <a:pt x="2996946" y="150177"/>
                  </a:lnTo>
                  <a:lnTo>
                    <a:pt x="3003778" y="153987"/>
                  </a:lnTo>
                  <a:lnTo>
                    <a:pt x="3003473" y="151447"/>
                  </a:lnTo>
                  <a:lnTo>
                    <a:pt x="3004337" y="150177"/>
                  </a:lnTo>
                  <a:lnTo>
                    <a:pt x="3005201" y="148907"/>
                  </a:lnTo>
                  <a:lnTo>
                    <a:pt x="3010382" y="150177"/>
                  </a:lnTo>
                  <a:lnTo>
                    <a:pt x="3008731" y="148907"/>
                  </a:lnTo>
                  <a:lnTo>
                    <a:pt x="3005442" y="146367"/>
                  </a:lnTo>
                  <a:lnTo>
                    <a:pt x="3002153" y="143827"/>
                  </a:lnTo>
                  <a:lnTo>
                    <a:pt x="2993936" y="137477"/>
                  </a:lnTo>
                  <a:lnTo>
                    <a:pt x="2993136" y="136207"/>
                  </a:lnTo>
                  <a:lnTo>
                    <a:pt x="2996184" y="136207"/>
                  </a:lnTo>
                  <a:lnTo>
                    <a:pt x="2983090" y="124777"/>
                  </a:lnTo>
                  <a:lnTo>
                    <a:pt x="2986659" y="124777"/>
                  </a:lnTo>
                  <a:lnTo>
                    <a:pt x="2990621" y="126047"/>
                  </a:lnTo>
                  <a:lnTo>
                    <a:pt x="2990342" y="124777"/>
                  </a:lnTo>
                  <a:lnTo>
                    <a:pt x="2988957" y="118427"/>
                  </a:lnTo>
                  <a:lnTo>
                    <a:pt x="2997974" y="123507"/>
                  </a:lnTo>
                  <a:lnTo>
                    <a:pt x="2997301" y="118427"/>
                  </a:lnTo>
                  <a:lnTo>
                    <a:pt x="3002584" y="117157"/>
                  </a:lnTo>
                  <a:lnTo>
                    <a:pt x="2988818" y="112077"/>
                  </a:lnTo>
                  <a:lnTo>
                    <a:pt x="2979940" y="106997"/>
                  </a:lnTo>
                  <a:lnTo>
                    <a:pt x="2981820" y="103187"/>
                  </a:lnTo>
                  <a:lnTo>
                    <a:pt x="2988564" y="108267"/>
                  </a:lnTo>
                  <a:lnTo>
                    <a:pt x="2989478" y="103187"/>
                  </a:lnTo>
                  <a:lnTo>
                    <a:pt x="2989707" y="101917"/>
                  </a:lnTo>
                  <a:lnTo>
                    <a:pt x="2995587" y="109537"/>
                  </a:lnTo>
                  <a:lnTo>
                    <a:pt x="2993593" y="101917"/>
                  </a:lnTo>
                  <a:lnTo>
                    <a:pt x="3002724" y="104457"/>
                  </a:lnTo>
                  <a:lnTo>
                    <a:pt x="3001035" y="101917"/>
                  </a:lnTo>
                  <a:lnTo>
                    <a:pt x="2999359" y="99377"/>
                  </a:lnTo>
                  <a:lnTo>
                    <a:pt x="3004959" y="99377"/>
                  </a:lnTo>
                  <a:lnTo>
                    <a:pt x="2986113" y="91757"/>
                  </a:lnTo>
                  <a:lnTo>
                    <a:pt x="2979839" y="89217"/>
                  </a:lnTo>
                  <a:lnTo>
                    <a:pt x="2986062" y="86677"/>
                  </a:lnTo>
                  <a:lnTo>
                    <a:pt x="2977527" y="80327"/>
                  </a:lnTo>
                  <a:lnTo>
                    <a:pt x="2975826" y="79057"/>
                  </a:lnTo>
                  <a:lnTo>
                    <a:pt x="2989770" y="84137"/>
                  </a:lnTo>
                  <a:lnTo>
                    <a:pt x="2987243" y="79057"/>
                  </a:lnTo>
                  <a:lnTo>
                    <a:pt x="2991878" y="77787"/>
                  </a:lnTo>
                  <a:lnTo>
                    <a:pt x="2977985" y="71437"/>
                  </a:lnTo>
                  <a:lnTo>
                    <a:pt x="2982722" y="66357"/>
                  </a:lnTo>
                  <a:lnTo>
                    <a:pt x="2978912" y="63817"/>
                  </a:lnTo>
                  <a:lnTo>
                    <a:pt x="2976384" y="62547"/>
                  </a:lnTo>
                  <a:lnTo>
                    <a:pt x="2977261" y="58737"/>
                  </a:lnTo>
                  <a:lnTo>
                    <a:pt x="2973184" y="56197"/>
                  </a:lnTo>
                  <a:lnTo>
                    <a:pt x="2974543" y="54927"/>
                  </a:lnTo>
                  <a:lnTo>
                    <a:pt x="2972358" y="52387"/>
                  </a:lnTo>
                  <a:lnTo>
                    <a:pt x="2971012" y="40957"/>
                  </a:lnTo>
                  <a:lnTo>
                    <a:pt x="2969133" y="52387"/>
                  </a:lnTo>
                  <a:lnTo>
                    <a:pt x="2967659" y="54927"/>
                  </a:lnTo>
                  <a:lnTo>
                    <a:pt x="2966669" y="56197"/>
                  </a:lnTo>
                  <a:lnTo>
                    <a:pt x="2968053" y="60007"/>
                  </a:lnTo>
                  <a:lnTo>
                    <a:pt x="2962287" y="61277"/>
                  </a:lnTo>
                  <a:lnTo>
                    <a:pt x="2962986" y="65087"/>
                  </a:lnTo>
                  <a:lnTo>
                    <a:pt x="2955048" y="67627"/>
                  </a:lnTo>
                  <a:lnTo>
                    <a:pt x="2966783" y="70167"/>
                  </a:lnTo>
                  <a:lnTo>
                    <a:pt x="2950895" y="76517"/>
                  </a:lnTo>
                  <a:lnTo>
                    <a:pt x="2956979" y="80327"/>
                  </a:lnTo>
                  <a:lnTo>
                    <a:pt x="2953524" y="84137"/>
                  </a:lnTo>
                  <a:lnTo>
                    <a:pt x="2959531" y="81597"/>
                  </a:lnTo>
                  <a:lnTo>
                    <a:pt x="2965119" y="80327"/>
                  </a:lnTo>
                  <a:lnTo>
                    <a:pt x="2960281" y="84137"/>
                  </a:lnTo>
                  <a:lnTo>
                    <a:pt x="2953855" y="86677"/>
                  </a:lnTo>
                  <a:lnTo>
                    <a:pt x="2950730" y="89217"/>
                  </a:lnTo>
                  <a:lnTo>
                    <a:pt x="2958020" y="89217"/>
                  </a:lnTo>
                  <a:lnTo>
                    <a:pt x="2955074" y="94297"/>
                  </a:lnTo>
                  <a:lnTo>
                    <a:pt x="2960547" y="91757"/>
                  </a:lnTo>
                  <a:lnTo>
                    <a:pt x="2962402" y="94297"/>
                  </a:lnTo>
                  <a:lnTo>
                    <a:pt x="2954566" y="99377"/>
                  </a:lnTo>
                  <a:lnTo>
                    <a:pt x="2937294" y="106997"/>
                  </a:lnTo>
                  <a:lnTo>
                    <a:pt x="2944926" y="106997"/>
                  </a:lnTo>
                  <a:lnTo>
                    <a:pt x="2942501" y="112077"/>
                  </a:lnTo>
                  <a:lnTo>
                    <a:pt x="2949702" y="108267"/>
                  </a:lnTo>
                  <a:lnTo>
                    <a:pt x="2948952" y="113347"/>
                  </a:lnTo>
                  <a:lnTo>
                    <a:pt x="2954083" y="108267"/>
                  </a:lnTo>
                  <a:lnTo>
                    <a:pt x="2958655" y="106997"/>
                  </a:lnTo>
                  <a:lnTo>
                    <a:pt x="2956572" y="113347"/>
                  </a:lnTo>
                  <a:lnTo>
                    <a:pt x="2954388" y="114554"/>
                  </a:lnTo>
                  <a:lnTo>
                    <a:pt x="2954388" y="136207"/>
                  </a:lnTo>
                  <a:lnTo>
                    <a:pt x="2949664" y="143598"/>
                  </a:lnTo>
                  <a:lnTo>
                    <a:pt x="2949664" y="180657"/>
                  </a:lnTo>
                  <a:lnTo>
                    <a:pt x="2945079" y="185737"/>
                  </a:lnTo>
                  <a:lnTo>
                    <a:pt x="2944850" y="185470"/>
                  </a:lnTo>
                  <a:lnTo>
                    <a:pt x="2944850" y="185737"/>
                  </a:lnTo>
                  <a:lnTo>
                    <a:pt x="2940951" y="190817"/>
                  </a:lnTo>
                  <a:lnTo>
                    <a:pt x="2938792" y="192087"/>
                  </a:lnTo>
                  <a:lnTo>
                    <a:pt x="2933966" y="188887"/>
                  </a:lnTo>
                  <a:lnTo>
                    <a:pt x="2933966" y="198437"/>
                  </a:lnTo>
                  <a:lnTo>
                    <a:pt x="2933382" y="202247"/>
                  </a:lnTo>
                  <a:lnTo>
                    <a:pt x="2932900" y="202247"/>
                  </a:lnTo>
                  <a:lnTo>
                    <a:pt x="2927921" y="199707"/>
                  </a:lnTo>
                  <a:lnTo>
                    <a:pt x="2933966" y="198437"/>
                  </a:lnTo>
                  <a:lnTo>
                    <a:pt x="2933966" y="188887"/>
                  </a:lnTo>
                  <a:lnTo>
                    <a:pt x="2933065" y="188277"/>
                  </a:lnTo>
                  <a:lnTo>
                    <a:pt x="2935008" y="187007"/>
                  </a:lnTo>
                  <a:lnTo>
                    <a:pt x="2932785" y="184467"/>
                  </a:lnTo>
                  <a:lnTo>
                    <a:pt x="2933522" y="183197"/>
                  </a:lnTo>
                  <a:lnTo>
                    <a:pt x="2933992" y="181927"/>
                  </a:lnTo>
                  <a:lnTo>
                    <a:pt x="2935452" y="181927"/>
                  </a:lnTo>
                  <a:lnTo>
                    <a:pt x="2938322" y="188277"/>
                  </a:lnTo>
                  <a:lnTo>
                    <a:pt x="2938996" y="183197"/>
                  </a:lnTo>
                  <a:lnTo>
                    <a:pt x="2944850" y="185737"/>
                  </a:lnTo>
                  <a:lnTo>
                    <a:pt x="2944850" y="185470"/>
                  </a:lnTo>
                  <a:lnTo>
                    <a:pt x="2942958" y="183197"/>
                  </a:lnTo>
                  <a:lnTo>
                    <a:pt x="2941891" y="181927"/>
                  </a:lnTo>
                  <a:lnTo>
                    <a:pt x="2940837" y="180657"/>
                  </a:lnTo>
                  <a:lnTo>
                    <a:pt x="2943987" y="180657"/>
                  </a:lnTo>
                  <a:lnTo>
                    <a:pt x="2943847" y="178117"/>
                  </a:lnTo>
                  <a:lnTo>
                    <a:pt x="2945536" y="176847"/>
                  </a:lnTo>
                  <a:lnTo>
                    <a:pt x="2947225" y="175577"/>
                  </a:lnTo>
                  <a:lnTo>
                    <a:pt x="2945854" y="181927"/>
                  </a:lnTo>
                  <a:lnTo>
                    <a:pt x="2949664" y="180657"/>
                  </a:lnTo>
                  <a:lnTo>
                    <a:pt x="2949664" y="143598"/>
                  </a:lnTo>
                  <a:lnTo>
                    <a:pt x="2948698" y="145097"/>
                  </a:lnTo>
                  <a:lnTo>
                    <a:pt x="2947416" y="148907"/>
                  </a:lnTo>
                  <a:lnTo>
                    <a:pt x="2945130" y="151447"/>
                  </a:lnTo>
                  <a:lnTo>
                    <a:pt x="2943580" y="152717"/>
                  </a:lnTo>
                  <a:lnTo>
                    <a:pt x="2936189" y="157797"/>
                  </a:lnTo>
                  <a:lnTo>
                    <a:pt x="2930461" y="156692"/>
                  </a:lnTo>
                  <a:lnTo>
                    <a:pt x="2930461" y="197167"/>
                  </a:lnTo>
                  <a:lnTo>
                    <a:pt x="2926842" y="198437"/>
                  </a:lnTo>
                  <a:lnTo>
                    <a:pt x="2923921" y="197167"/>
                  </a:lnTo>
                  <a:lnTo>
                    <a:pt x="2923527" y="196265"/>
                  </a:lnTo>
                  <a:lnTo>
                    <a:pt x="2923527" y="335597"/>
                  </a:lnTo>
                  <a:lnTo>
                    <a:pt x="2918726" y="336867"/>
                  </a:lnTo>
                  <a:lnTo>
                    <a:pt x="2914777" y="329247"/>
                  </a:lnTo>
                  <a:lnTo>
                    <a:pt x="2923527" y="335597"/>
                  </a:lnTo>
                  <a:lnTo>
                    <a:pt x="2923527" y="196265"/>
                  </a:lnTo>
                  <a:lnTo>
                    <a:pt x="2921711" y="192087"/>
                  </a:lnTo>
                  <a:lnTo>
                    <a:pt x="2930461" y="197167"/>
                  </a:lnTo>
                  <a:lnTo>
                    <a:pt x="2930461" y="156692"/>
                  </a:lnTo>
                  <a:lnTo>
                    <a:pt x="2916555" y="153987"/>
                  </a:lnTo>
                  <a:lnTo>
                    <a:pt x="2924581" y="152717"/>
                  </a:lnTo>
                  <a:lnTo>
                    <a:pt x="2924518" y="150177"/>
                  </a:lnTo>
                  <a:lnTo>
                    <a:pt x="2924492" y="148907"/>
                  </a:lnTo>
                  <a:lnTo>
                    <a:pt x="2931909" y="155257"/>
                  </a:lnTo>
                  <a:lnTo>
                    <a:pt x="2931528" y="148907"/>
                  </a:lnTo>
                  <a:lnTo>
                    <a:pt x="2937179" y="143827"/>
                  </a:lnTo>
                  <a:lnTo>
                    <a:pt x="2936087" y="143827"/>
                  </a:lnTo>
                  <a:lnTo>
                    <a:pt x="2942450" y="138747"/>
                  </a:lnTo>
                  <a:lnTo>
                    <a:pt x="2942958" y="143827"/>
                  </a:lnTo>
                  <a:lnTo>
                    <a:pt x="2954388" y="136207"/>
                  </a:lnTo>
                  <a:lnTo>
                    <a:pt x="2954388" y="114554"/>
                  </a:lnTo>
                  <a:lnTo>
                    <a:pt x="2947314" y="118427"/>
                  </a:lnTo>
                  <a:lnTo>
                    <a:pt x="2942259" y="119697"/>
                  </a:lnTo>
                  <a:lnTo>
                    <a:pt x="2946044" y="123507"/>
                  </a:lnTo>
                  <a:lnTo>
                    <a:pt x="2937802" y="127317"/>
                  </a:lnTo>
                  <a:lnTo>
                    <a:pt x="2946209" y="127317"/>
                  </a:lnTo>
                  <a:lnTo>
                    <a:pt x="2943923" y="131127"/>
                  </a:lnTo>
                  <a:lnTo>
                    <a:pt x="2934551" y="134188"/>
                  </a:lnTo>
                  <a:lnTo>
                    <a:pt x="2934551" y="143827"/>
                  </a:lnTo>
                  <a:lnTo>
                    <a:pt x="2929102" y="143827"/>
                  </a:lnTo>
                  <a:lnTo>
                    <a:pt x="2930601" y="140017"/>
                  </a:lnTo>
                  <a:lnTo>
                    <a:pt x="2932468" y="138747"/>
                  </a:lnTo>
                  <a:lnTo>
                    <a:pt x="2934525" y="138747"/>
                  </a:lnTo>
                  <a:lnTo>
                    <a:pt x="2934551" y="143827"/>
                  </a:lnTo>
                  <a:lnTo>
                    <a:pt x="2934551" y="134188"/>
                  </a:lnTo>
                  <a:lnTo>
                    <a:pt x="2932226" y="134937"/>
                  </a:lnTo>
                  <a:lnTo>
                    <a:pt x="2929966" y="136207"/>
                  </a:lnTo>
                  <a:lnTo>
                    <a:pt x="2932150" y="133667"/>
                  </a:lnTo>
                  <a:lnTo>
                    <a:pt x="2933585" y="131127"/>
                  </a:lnTo>
                  <a:lnTo>
                    <a:pt x="2915005" y="138747"/>
                  </a:lnTo>
                  <a:lnTo>
                    <a:pt x="2911348" y="132397"/>
                  </a:lnTo>
                  <a:lnTo>
                    <a:pt x="2910611" y="131127"/>
                  </a:lnTo>
                  <a:lnTo>
                    <a:pt x="2917977" y="136207"/>
                  </a:lnTo>
                  <a:lnTo>
                    <a:pt x="2917990" y="132397"/>
                  </a:lnTo>
                  <a:lnTo>
                    <a:pt x="2925064" y="132397"/>
                  </a:lnTo>
                  <a:lnTo>
                    <a:pt x="2924238" y="131127"/>
                  </a:lnTo>
                  <a:lnTo>
                    <a:pt x="2923400" y="129857"/>
                  </a:lnTo>
                  <a:lnTo>
                    <a:pt x="2922574" y="128587"/>
                  </a:lnTo>
                  <a:lnTo>
                    <a:pt x="2928912" y="127317"/>
                  </a:lnTo>
                  <a:lnTo>
                    <a:pt x="2924492" y="124777"/>
                  </a:lnTo>
                  <a:lnTo>
                    <a:pt x="2917291" y="122237"/>
                  </a:lnTo>
                  <a:lnTo>
                    <a:pt x="2925165" y="120967"/>
                  </a:lnTo>
                  <a:lnTo>
                    <a:pt x="2919907" y="117157"/>
                  </a:lnTo>
                  <a:lnTo>
                    <a:pt x="2923527" y="113347"/>
                  </a:lnTo>
                  <a:lnTo>
                    <a:pt x="2924733" y="112077"/>
                  </a:lnTo>
                  <a:lnTo>
                    <a:pt x="2919082" y="113347"/>
                  </a:lnTo>
                  <a:lnTo>
                    <a:pt x="2915653" y="112077"/>
                  </a:lnTo>
                  <a:lnTo>
                    <a:pt x="2917850" y="109537"/>
                  </a:lnTo>
                  <a:lnTo>
                    <a:pt x="2918955" y="108267"/>
                  </a:lnTo>
                  <a:lnTo>
                    <a:pt x="2909595" y="109537"/>
                  </a:lnTo>
                  <a:lnTo>
                    <a:pt x="2915716" y="104457"/>
                  </a:lnTo>
                  <a:lnTo>
                    <a:pt x="2913342" y="103187"/>
                  </a:lnTo>
                  <a:lnTo>
                    <a:pt x="2909747" y="101917"/>
                  </a:lnTo>
                  <a:lnTo>
                    <a:pt x="2908490" y="86677"/>
                  </a:lnTo>
                  <a:lnTo>
                    <a:pt x="2907347" y="81597"/>
                  </a:lnTo>
                  <a:lnTo>
                    <a:pt x="2905747" y="84137"/>
                  </a:lnTo>
                  <a:lnTo>
                    <a:pt x="2905442" y="95567"/>
                  </a:lnTo>
                  <a:lnTo>
                    <a:pt x="2903296" y="100647"/>
                  </a:lnTo>
                  <a:lnTo>
                    <a:pt x="2898965" y="103187"/>
                  </a:lnTo>
                  <a:lnTo>
                    <a:pt x="2902839" y="105727"/>
                  </a:lnTo>
                  <a:lnTo>
                    <a:pt x="2892412" y="110807"/>
                  </a:lnTo>
                  <a:lnTo>
                    <a:pt x="2896324" y="113347"/>
                  </a:lnTo>
                  <a:lnTo>
                    <a:pt x="2893428" y="115887"/>
                  </a:lnTo>
                  <a:lnTo>
                    <a:pt x="2902267" y="118427"/>
                  </a:lnTo>
                  <a:lnTo>
                    <a:pt x="2894723" y="122237"/>
                  </a:lnTo>
                  <a:lnTo>
                    <a:pt x="2887332" y="123507"/>
                  </a:lnTo>
                  <a:lnTo>
                    <a:pt x="2894431" y="126047"/>
                  </a:lnTo>
                  <a:lnTo>
                    <a:pt x="2893288" y="132397"/>
                  </a:lnTo>
                  <a:lnTo>
                    <a:pt x="2897962" y="129857"/>
                  </a:lnTo>
                  <a:lnTo>
                    <a:pt x="2897848" y="134937"/>
                  </a:lnTo>
                  <a:lnTo>
                    <a:pt x="2902089" y="132397"/>
                  </a:lnTo>
                  <a:lnTo>
                    <a:pt x="2895549" y="138747"/>
                  </a:lnTo>
                  <a:lnTo>
                    <a:pt x="2891383" y="137477"/>
                  </a:lnTo>
                  <a:lnTo>
                    <a:pt x="2874746" y="132397"/>
                  </a:lnTo>
                  <a:lnTo>
                    <a:pt x="2877667" y="136207"/>
                  </a:lnTo>
                  <a:lnTo>
                    <a:pt x="2873552" y="138747"/>
                  </a:lnTo>
                  <a:lnTo>
                    <a:pt x="2881896" y="137477"/>
                  </a:lnTo>
                  <a:lnTo>
                    <a:pt x="2875165" y="142557"/>
                  </a:lnTo>
                  <a:lnTo>
                    <a:pt x="2881515" y="145097"/>
                  </a:lnTo>
                  <a:lnTo>
                    <a:pt x="2873349" y="152717"/>
                  </a:lnTo>
                  <a:lnTo>
                    <a:pt x="2879636" y="151447"/>
                  </a:lnTo>
                  <a:lnTo>
                    <a:pt x="2882595" y="155257"/>
                  </a:lnTo>
                  <a:lnTo>
                    <a:pt x="2887129" y="151447"/>
                  </a:lnTo>
                  <a:lnTo>
                    <a:pt x="2888640" y="150177"/>
                  </a:lnTo>
                  <a:lnTo>
                    <a:pt x="2883001" y="161607"/>
                  </a:lnTo>
                  <a:lnTo>
                    <a:pt x="2888323" y="157797"/>
                  </a:lnTo>
                  <a:lnTo>
                    <a:pt x="2892793" y="160337"/>
                  </a:lnTo>
                  <a:lnTo>
                    <a:pt x="2894330" y="157797"/>
                  </a:lnTo>
                  <a:lnTo>
                    <a:pt x="2897403" y="152717"/>
                  </a:lnTo>
                  <a:lnTo>
                    <a:pt x="2898876" y="157797"/>
                  </a:lnTo>
                  <a:lnTo>
                    <a:pt x="2888170" y="165417"/>
                  </a:lnTo>
                  <a:lnTo>
                    <a:pt x="2869590" y="169227"/>
                  </a:lnTo>
                  <a:lnTo>
                    <a:pt x="2870466" y="170497"/>
                  </a:lnTo>
                  <a:lnTo>
                    <a:pt x="2871063" y="171767"/>
                  </a:lnTo>
                  <a:lnTo>
                    <a:pt x="2862249" y="171767"/>
                  </a:lnTo>
                  <a:lnTo>
                    <a:pt x="2871381" y="178117"/>
                  </a:lnTo>
                  <a:lnTo>
                    <a:pt x="2867634" y="181927"/>
                  </a:lnTo>
                  <a:lnTo>
                    <a:pt x="2882303" y="176847"/>
                  </a:lnTo>
                  <a:lnTo>
                    <a:pt x="2871749" y="189547"/>
                  </a:lnTo>
                  <a:lnTo>
                    <a:pt x="2878734" y="188277"/>
                  </a:lnTo>
                  <a:lnTo>
                    <a:pt x="2879369" y="193357"/>
                  </a:lnTo>
                  <a:lnTo>
                    <a:pt x="2882773" y="188277"/>
                  </a:lnTo>
                  <a:lnTo>
                    <a:pt x="2884474" y="185737"/>
                  </a:lnTo>
                  <a:lnTo>
                    <a:pt x="2887637" y="190817"/>
                  </a:lnTo>
                  <a:lnTo>
                    <a:pt x="2888450" y="185737"/>
                  </a:lnTo>
                  <a:lnTo>
                    <a:pt x="2888856" y="183197"/>
                  </a:lnTo>
                  <a:lnTo>
                    <a:pt x="2891840" y="183197"/>
                  </a:lnTo>
                  <a:lnTo>
                    <a:pt x="2893809" y="188277"/>
                  </a:lnTo>
                  <a:lnTo>
                    <a:pt x="2885186" y="194627"/>
                  </a:lnTo>
                  <a:lnTo>
                    <a:pt x="2892082" y="197167"/>
                  </a:lnTo>
                  <a:lnTo>
                    <a:pt x="2889707" y="202247"/>
                  </a:lnTo>
                  <a:lnTo>
                    <a:pt x="2889516" y="202298"/>
                  </a:lnTo>
                  <a:lnTo>
                    <a:pt x="2889516" y="218757"/>
                  </a:lnTo>
                  <a:lnTo>
                    <a:pt x="2887802" y="221297"/>
                  </a:lnTo>
                  <a:lnTo>
                    <a:pt x="2885275" y="225107"/>
                  </a:lnTo>
                  <a:lnTo>
                    <a:pt x="2876550" y="229235"/>
                  </a:lnTo>
                  <a:lnTo>
                    <a:pt x="2876550" y="268287"/>
                  </a:lnTo>
                  <a:lnTo>
                    <a:pt x="2874200" y="272097"/>
                  </a:lnTo>
                  <a:lnTo>
                    <a:pt x="2872498" y="272097"/>
                  </a:lnTo>
                  <a:lnTo>
                    <a:pt x="2872498" y="283527"/>
                  </a:lnTo>
                  <a:lnTo>
                    <a:pt x="2871228" y="284797"/>
                  </a:lnTo>
                  <a:lnTo>
                    <a:pt x="2868752" y="286067"/>
                  </a:lnTo>
                  <a:lnTo>
                    <a:pt x="2863291" y="282257"/>
                  </a:lnTo>
                  <a:lnTo>
                    <a:pt x="2864256" y="279717"/>
                  </a:lnTo>
                  <a:lnTo>
                    <a:pt x="2870377" y="282257"/>
                  </a:lnTo>
                  <a:lnTo>
                    <a:pt x="2872498" y="283527"/>
                  </a:lnTo>
                  <a:lnTo>
                    <a:pt x="2872498" y="272097"/>
                  </a:lnTo>
                  <a:lnTo>
                    <a:pt x="2871178" y="272097"/>
                  </a:lnTo>
                  <a:lnTo>
                    <a:pt x="2871800" y="269557"/>
                  </a:lnTo>
                  <a:lnTo>
                    <a:pt x="2873972" y="260667"/>
                  </a:lnTo>
                  <a:lnTo>
                    <a:pt x="2874276" y="259397"/>
                  </a:lnTo>
                  <a:lnTo>
                    <a:pt x="2874441" y="268287"/>
                  </a:lnTo>
                  <a:lnTo>
                    <a:pt x="2876550" y="268287"/>
                  </a:lnTo>
                  <a:lnTo>
                    <a:pt x="2876550" y="229235"/>
                  </a:lnTo>
                  <a:lnTo>
                    <a:pt x="2871851" y="231457"/>
                  </a:lnTo>
                  <a:lnTo>
                    <a:pt x="2863329" y="228917"/>
                  </a:lnTo>
                  <a:lnTo>
                    <a:pt x="2862656" y="227647"/>
                  </a:lnTo>
                  <a:lnTo>
                    <a:pt x="2865767" y="226377"/>
                  </a:lnTo>
                  <a:lnTo>
                    <a:pt x="2863761" y="225729"/>
                  </a:lnTo>
                  <a:lnTo>
                    <a:pt x="2869577" y="218757"/>
                  </a:lnTo>
                  <a:lnTo>
                    <a:pt x="2867990" y="227647"/>
                  </a:lnTo>
                  <a:lnTo>
                    <a:pt x="2874327" y="223837"/>
                  </a:lnTo>
                  <a:lnTo>
                    <a:pt x="2877515" y="227647"/>
                  </a:lnTo>
                  <a:lnTo>
                    <a:pt x="2878023" y="223837"/>
                  </a:lnTo>
                  <a:lnTo>
                    <a:pt x="2878696" y="218757"/>
                  </a:lnTo>
                  <a:lnTo>
                    <a:pt x="2878861" y="217487"/>
                  </a:lnTo>
                  <a:lnTo>
                    <a:pt x="2882379" y="221297"/>
                  </a:lnTo>
                  <a:lnTo>
                    <a:pt x="2889516" y="218757"/>
                  </a:lnTo>
                  <a:lnTo>
                    <a:pt x="2889516" y="202298"/>
                  </a:lnTo>
                  <a:lnTo>
                    <a:pt x="2865577" y="208013"/>
                  </a:lnTo>
                  <a:lnTo>
                    <a:pt x="2865577" y="216217"/>
                  </a:lnTo>
                  <a:lnTo>
                    <a:pt x="2863405" y="225615"/>
                  </a:lnTo>
                  <a:lnTo>
                    <a:pt x="2859494" y="224370"/>
                  </a:lnTo>
                  <a:lnTo>
                    <a:pt x="2859494" y="242887"/>
                  </a:lnTo>
                  <a:lnTo>
                    <a:pt x="2858160" y="243205"/>
                  </a:lnTo>
                  <a:lnTo>
                    <a:pt x="2858160" y="291147"/>
                  </a:lnTo>
                  <a:lnTo>
                    <a:pt x="2853436" y="292417"/>
                  </a:lnTo>
                  <a:lnTo>
                    <a:pt x="2852890" y="291147"/>
                  </a:lnTo>
                  <a:lnTo>
                    <a:pt x="2852712" y="289877"/>
                  </a:lnTo>
                  <a:lnTo>
                    <a:pt x="2852547" y="288607"/>
                  </a:lnTo>
                  <a:lnTo>
                    <a:pt x="2851785" y="288010"/>
                  </a:lnTo>
                  <a:lnTo>
                    <a:pt x="2851785" y="293687"/>
                  </a:lnTo>
                  <a:lnTo>
                    <a:pt x="2849486" y="293687"/>
                  </a:lnTo>
                  <a:lnTo>
                    <a:pt x="2848343" y="294957"/>
                  </a:lnTo>
                  <a:lnTo>
                    <a:pt x="2846044" y="294957"/>
                  </a:lnTo>
                  <a:lnTo>
                    <a:pt x="2844368" y="293687"/>
                  </a:lnTo>
                  <a:lnTo>
                    <a:pt x="2838564" y="286067"/>
                  </a:lnTo>
                  <a:lnTo>
                    <a:pt x="2837218" y="282257"/>
                  </a:lnTo>
                  <a:lnTo>
                    <a:pt x="2837383" y="282257"/>
                  </a:lnTo>
                  <a:lnTo>
                    <a:pt x="2843555" y="289877"/>
                  </a:lnTo>
                  <a:lnTo>
                    <a:pt x="2846565" y="292417"/>
                  </a:lnTo>
                  <a:lnTo>
                    <a:pt x="2847543" y="289877"/>
                  </a:lnTo>
                  <a:lnTo>
                    <a:pt x="2851785" y="293687"/>
                  </a:lnTo>
                  <a:lnTo>
                    <a:pt x="2851785" y="288010"/>
                  </a:lnTo>
                  <a:lnTo>
                    <a:pt x="2849308" y="286067"/>
                  </a:lnTo>
                  <a:lnTo>
                    <a:pt x="2850210" y="282257"/>
                  </a:lnTo>
                  <a:lnTo>
                    <a:pt x="2852978" y="283527"/>
                  </a:lnTo>
                  <a:lnTo>
                    <a:pt x="2852242" y="287337"/>
                  </a:lnTo>
                  <a:lnTo>
                    <a:pt x="2856242" y="286067"/>
                  </a:lnTo>
                  <a:lnTo>
                    <a:pt x="2858160" y="291147"/>
                  </a:lnTo>
                  <a:lnTo>
                    <a:pt x="2858160" y="243205"/>
                  </a:lnTo>
                  <a:lnTo>
                    <a:pt x="2854121" y="244157"/>
                  </a:lnTo>
                  <a:lnTo>
                    <a:pt x="2853194" y="242887"/>
                  </a:lnTo>
                  <a:lnTo>
                    <a:pt x="2855811" y="237807"/>
                  </a:lnTo>
                  <a:lnTo>
                    <a:pt x="2858020" y="241617"/>
                  </a:lnTo>
                  <a:lnTo>
                    <a:pt x="2859494" y="242887"/>
                  </a:lnTo>
                  <a:lnTo>
                    <a:pt x="2859494" y="224370"/>
                  </a:lnTo>
                  <a:lnTo>
                    <a:pt x="2857855" y="223837"/>
                  </a:lnTo>
                  <a:lnTo>
                    <a:pt x="2853906" y="222567"/>
                  </a:lnTo>
                  <a:lnTo>
                    <a:pt x="2850197" y="221386"/>
                  </a:lnTo>
                  <a:lnTo>
                    <a:pt x="2850197" y="255587"/>
                  </a:lnTo>
                  <a:lnTo>
                    <a:pt x="2847289" y="259397"/>
                  </a:lnTo>
                  <a:lnTo>
                    <a:pt x="2843657" y="260667"/>
                  </a:lnTo>
                  <a:lnTo>
                    <a:pt x="2838881" y="256857"/>
                  </a:lnTo>
                  <a:lnTo>
                    <a:pt x="2837484" y="253047"/>
                  </a:lnTo>
                  <a:lnTo>
                    <a:pt x="2836545" y="250507"/>
                  </a:lnTo>
                  <a:lnTo>
                    <a:pt x="2837103" y="246697"/>
                  </a:lnTo>
                  <a:lnTo>
                    <a:pt x="2843644" y="254317"/>
                  </a:lnTo>
                  <a:lnTo>
                    <a:pt x="2843631" y="255587"/>
                  </a:lnTo>
                  <a:lnTo>
                    <a:pt x="2845587" y="256857"/>
                  </a:lnTo>
                  <a:lnTo>
                    <a:pt x="2845168" y="254317"/>
                  </a:lnTo>
                  <a:lnTo>
                    <a:pt x="2846032" y="253047"/>
                  </a:lnTo>
                  <a:lnTo>
                    <a:pt x="2847302" y="251777"/>
                  </a:lnTo>
                  <a:lnTo>
                    <a:pt x="2847733" y="255587"/>
                  </a:lnTo>
                  <a:lnTo>
                    <a:pt x="2850197" y="255587"/>
                  </a:lnTo>
                  <a:lnTo>
                    <a:pt x="2850197" y="221386"/>
                  </a:lnTo>
                  <a:lnTo>
                    <a:pt x="2845993" y="220027"/>
                  </a:lnTo>
                  <a:lnTo>
                    <a:pt x="2843022" y="216217"/>
                  </a:lnTo>
                  <a:lnTo>
                    <a:pt x="2838081" y="209867"/>
                  </a:lnTo>
                  <a:lnTo>
                    <a:pt x="2837002" y="204787"/>
                  </a:lnTo>
                  <a:lnTo>
                    <a:pt x="2839656" y="204787"/>
                  </a:lnTo>
                  <a:lnTo>
                    <a:pt x="2848165" y="216217"/>
                  </a:lnTo>
                  <a:lnTo>
                    <a:pt x="2848495" y="213677"/>
                  </a:lnTo>
                  <a:lnTo>
                    <a:pt x="2847949" y="209867"/>
                  </a:lnTo>
                  <a:lnTo>
                    <a:pt x="2849219" y="208597"/>
                  </a:lnTo>
                  <a:lnTo>
                    <a:pt x="2850375" y="211137"/>
                  </a:lnTo>
                  <a:lnTo>
                    <a:pt x="2851162" y="212407"/>
                  </a:lnTo>
                  <a:lnTo>
                    <a:pt x="2851632" y="212407"/>
                  </a:lnTo>
                  <a:lnTo>
                    <a:pt x="2856090" y="217487"/>
                  </a:lnTo>
                  <a:lnTo>
                    <a:pt x="2855887" y="214947"/>
                  </a:lnTo>
                  <a:lnTo>
                    <a:pt x="2857627" y="214947"/>
                  </a:lnTo>
                  <a:lnTo>
                    <a:pt x="2854198" y="222567"/>
                  </a:lnTo>
                  <a:lnTo>
                    <a:pt x="2865577" y="216217"/>
                  </a:lnTo>
                  <a:lnTo>
                    <a:pt x="2865577" y="208013"/>
                  </a:lnTo>
                  <a:lnTo>
                    <a:pt x="2863075" y="208597"/>
                  </a:lnTo>
                  <a:lnTo>
                    <a:pt x="2862643" y="208597"/>
                  </a:lnTo>
                  <a:lnTo>
                    <a:pt x="2871520" y="206057"/>
                  </a:lnTo>
                  <a:lnTo>
                    <a:pt x="2859824" y="204787"/>
                  </a:lnTo>
                  <a:lnTo>
                    <a:pt x="2853575" y="203517"/>
                  </a:lnTo>
                  <a:lnTo>
                    <a:pt x="2855976" y="202247"/>
                  </a:lnTo>
                  <a:lnTo>
                    <a:pt x="2857601" y="200977"/>
                  </a:lnTo>
                  <a:lnTo>
                    <a:pt x="2843542" y="197167"/>
                  </a:lnTo>
                  <a:lnTo>
                    <a:pt x="2839974" y="194627"/>
                  </a:lnTo>
                  <a:lnTo>
                    <a:pt x="2837611" y="192087"/>
                  </a:lnTo>
                  <a:lnTo>
                    <a:pt x="2837738" y="190817"/>
                  </a:lnTo>
                  <a:lnTo>
                    <a:pt x="2837878" y="189547"/>
                  </a:lnTo>
                  <a:lnTo>
                    <a:pt x="2845168" y="190817"/>
                  </a:lnTo>
                  <a:lnTo>
                    <a:pt x="2843873" y="189547"/>
                  </a:lnTo>
                  <a:lnTo>
                    <a:pt x="2838678" y="184467"/>
                  </a:lnTo>
                  <a:lnTo>
                    <a:pt x="2834792" y="180657"/>
                  </a:lnTo>
                  <a:lnTo>
                    <a:pt x="2840710" y="180657"/>
                  </a:lnTo>
                  <a:lnTo>
                    <a:pt x="2848610" y="184467"/>
                  </a:lnTo>
                  <a:lnTo>
                    <a:pt x="2848635" y="180657"/>
                  </a:lnTo>
                  <a:lnTo>
                    <a:pt x="2848660" y="176847"/>
                  </a:lnTo>
                  <a:lnTo>
                    <a:pt x="2854833" y="173037"/>
                  </a:lnTo>
                  <a:lnTo>
                    <a:pt x="2838856" y="173037"/>
                  </a:lnTo>
                  <a:lnTo>
                    <a:pt x="2836024" y="171767"/>
                  </a:lnTo>
                  <a:lnTo>
                    <a:pt x="2834602" y="170497"/>
                  </a:lnTo>
                  <a:lnTo>
                    <a:pt x="2831782" y="169227"/>
                  </a:lnTo>
                  <a:lnTo>
                    <a:pt x="2832112" y="167957"/>
                  </a:lnTo>
                  <a:lnTo>
                    <a:pt x="2832443" y="166687"/>
                  </a:lnTo>
                  <a:lnTo>
                    <a:pt x="2842323" y="170497"/>
                  </a:lnTo>
                  <a:lnTo>
                    <a:pt x="2841447" y="165417"/>
                  </a:lnTo>
                  <a:lnTo>
                    <a:pt x="2849118" y="166687"/>
                  </a:lnTo>
                  <a:lnTo>
                    <a:pt x="2848699" y="165417"/>
                  </a:lnTo>
                  <a:lnTo>
                    <a:pt x="2847441" y="161607"/>
                  </a:lnTo>
                  <a:lnTo>
                    <a:pt x="2848292" y="160337"/>
                  </a:lnTo>
                  <a:lnTo>
                    <a:pt x="2852585" y="153987"/>
                  </a:lnTo>
                  <a:lnTo>
                    <a:pt x="2837230" y="160337"/>
                  </a:lnTo>
                  <a:lnTo>
                    <a:pt x="2830906" y="157797"/>
                  </a:lnTo>
                  <a:lnTo>
                    <a:pt x="2832316" y="153987"/>
                  </a:lnTo>
                  <a:lnTo>
                    <a:pt x="2833230" y="152717"/>
                  </a:lnTo>
                  <a:lnTo>
                    <a:pt x="2839643" y="152717"/>
                  </a:lnTo>
                  <a:lnTo>
                    <a:pt x="2838094" y="150177"/>
                  </a:lnTo>
                  <a:lnTo>
                    <a:pt x="2840774" y="146367"/>
                  </a:lnTo>
                  <a:lnTo>
                    <a:pt x="2842552" y="143827"/>
                  </a:lnTo>
                  <a:lnTo>
                    <a:pt x="2832811" y="146367"/>
                  </a:lnTo>
                  <a:lnTo>
                    <a:pt x="2830995" y="142557"/>
                  </a:lnTo>
                  <a:lnTo>
                    <a:pt x="2832608" y="140017"/>
                  </a:lnTo>
                  <a:lnTo>
                    <a:pt x="2834221" y="137477"/>
                  </a:lnTo>
                  <a:lnTo>
                    <a:pt x="2831935" y="140017"/>
                  </a:lnTo>
                  <a:lnTo>
                    <a:pt x="2828620" y="136207"/>
                  </a:lnTo>
                  <a:lnTo>
                    <a:pt x="2828848" y="119697"/>
                  </a:lnTo>
                  <a:lnTo>
                    <a:pt x="2826893" y="118427"/>
                  </a:lnTo>
                  <a:lnTo>
                    <a:pt x="2825737" y="122237"/>
                  </a:lnTo>
                  <a:lnTo>
                    <a:pt x="2825559" y="132397"/>
                  </a:lnTo>
                  <a:lnTo>
                    <a:pt x="2822384" y="137477"/>
                  </a:lnTo>
                  <a:lnTo>
                    <a:pt x="2817291" y="137477"/>
                  </a:lnTo>
                  <a:lnTo>
                    <a:pt x="2822283" y="141287"/>
                  </a:lnTo>
                  <a:lnTo>
                    <a:pt x="2823286" y="146367"/>
                  </a:lnTo>
                  <a:lnTo>
                    <a:pt x="2809176" y="142557"/>
                  </a:lnTo>
                  <a:lnTo>
                    <a:pt x="2814828" y="148907"/>
                  </a:lnTo>
                  <a:lnTo>
                    <a:pt x="2813266" y="153987"/>
                  </a:lnTo>
                  <a:lnTo>
                    <a:pt x="2818523" y="152717"/>
                  </a:lnTo>
                  <a:lnTo>
                    <a:pt x="2822257" y="152717"/>
                  </a:lnTo>
                  <a:lnTo>
                    <a:pt x="2821914" y="155257"/>
                  </a:lnTo>
                  <a:lnTo>
                    <a:pt x="2821660" y="156527"/>
                  </a:lnTo>
                  <a:lnTo>
                    <a:pt x="2815183" y="156527"/>
                  </a:lnTo>
                  <a:lnTo>
                    <a:pt x="2816720" y="160337"/>
                  </a:lnTo>
                  <a:lnTo>
                    <a:pt x="2819908" y="161607"/>
                  </a:lnTo>
                  <a:lnTo>
                    <a:pt x="2816212" y="161607"/>
                  </a:lnTo>
                  <a:lnTo>
                    <a:pt x="2807068" y="159067"/>
                  </a:lnTo>
                  <a:lnTo>
                    <a:pt x="2798838" y="155257"/>
                  </a:lnTo>
                  <a:lnTo>
                    <a:pt x="2800769" y="160337"/>
                  </a:lnTo>
                  <a:lnTo>
                    <a:pt x="2802077" y="164147"/>
                  </a:lnTo>
                  <a:lnTo>
                    <a:pt x="2798508" y="166687"/>
                  </a:lnTo>
                  <a:lnTo>
                    <a:pt x="2802051" y="166687"/>
                  </a:lnTo>
                  <a:lnTo>
                    <a:pt x="2799283" y="173037"/>
                  </a:lnTo>
                  <a:lnTo>
                    <a:pt x="2809163" y="167957"/>
                  </a:lnTo>
                  <a:lnTo>
                    <a:pt x="2809151" y="173037"/>
                  </a:lnTo>
                  <a:lnTo>
                    <a:pt x="2816504" y="170497"/>
                  </a:lnTo>
                  <a:lnTo>
                    <a:pt x="2818092" y="175577"/>
                  </a:lnTo>
                  <a:lnTo>
                    <a:pt x="2811957" y="178117"/>
                  </a:lnTo>
                  <a:lnTo>
                    <a:pt x="2798597" y="178117"/>
                  </a:lnTo>
                  <a:lnTo>
                    <a:pt x="2802940" y="181927"/>
                  </a:lnTo>
                  <a:lnTo>
                    <a:pt x="2800007" y="188277"/>
                  </a:lnTo>
                  <a:lnTo>
                    <a:pt x="2809341" y="184467"/>
                  </a:lnTo>
                  <a:lnTo>
                    <a:pt x="2809405" y="188277"/>
                  </a:lnTo>
                  <a:lnTo>
                    <a:pt x="2803728" y="193357"/>
                  </a:lnTo>
                  <a:lnTo>
                    <a:pt x="2814307" y="190817"/>
                  </a:lnTo>
                  <a:lnTo>
                    <a:pt x="2816872" y="193357"/>
                  </a:lnTo>
                  <a:lnTo>
                    <a:pt x="2811780" y="199707"/>
                  </a:lnTo>
                  <a:lnTo>
                    <a:pt x="2795155" y="207327"/>
                  </a:lnTo>
                  <a:lnTo>
                    <a:pt x="2779649" y="207327"/>
                  </a:lnTo>
                  <a:lnTo>
                    <a:pt x="2784386" y="213677"/>
                  </a:lnTo>
                  <a:lnTo>
                    <a:pt x="2778379" y="221297"/>
                  </a:lnTo>
                  <a:lnTo>
                    <a:pt x="2790482" y="216217"/>
                  </a:lnTo>
                  <a:lnTo>
                    <a:pt x="2790063" y="220027"/>
                  </a:lnTo>
                  <a:lnTo>
                    <a:pt x="2783332" y="230187"/>
                  </a:lnTo>
                  <a:lnTo>
                    <a:pt x="2789428" y="225107"/>
                  </a:lnTo>
                  <a:lnTo>
                    <a:pt x="2791295" y="230187"/>
                  </a:lnTo>
                  <a:lnTo>
                    <a:pt x="2798127" y="225107"/>
                  </a:lnTo>
                  <a:lnTo>
                    <a:pt x="2799829" y="223837"/>
                  </a:lnTo>
                  <a:lnTo>
                    <a:pt x="2800858" y="227647"/>
                  </a:lnTo>
                  <a:lnTo>
                    <a:pt x="2802877" y="226377"/>
                  </a:lnTo>
                  <a:lnTo>
                    <a:pt x="2804884" y="223837"/>
                  </a:lnTo>
                  <a:lnTo>
                    <a:pt x="2805887" y="222567"/>
                  </a:lnTo>
                  <a:lnTo>
                    <a:pt x="2806192" y="226377"/>
                  </a:lnTo>
                  <a:lnTo>
                    <a:pt x="2806369" y="227647"/>
                  </a:lnTo>
                  <a:lnTo>
                    <a:pt x="2806674" y="231457"/>
                  </a:lnTo>
                  <a:lnTo>
                    <a:pt x="2814015" y="223837"/>
                  </a:lnTo>
                  <a:lnTo>
                    <a:pt x="2813177" y="227647"/>
                  </a:lnTo>
                  <a:lnTo>
                    <a:pt x="2811475" y="231457"/>
                  </a:lnTo>
                  <a:lnTo>
                    <a:pt x="2810433" y="232283"/>
                  </a:lnTo>
                  <a:lnTo>
                    <a:pt x="2810433" y="245427"/>
                  </a:lnTo>
                  <a:lnTo>
                    <a:pt x="2805226" y="251777"/>
                  </a:lnTo>
                  <a:lnTo>
                    <a:pt x="2805938" y="254317"/>
                  </a:lnTo>
                  <a:lnTo>
                    <a:pt x="2808186" y="253047"/>
                  </a:lnTo>
                  <a:lnTo>
                    <a:pt x="2807665" y="253631"/>
                  </a:lnTo>
                  <a:lnTo>
                    <a:pt x="2807665" y="293687"/>
                  </a:lnTo>
                  <a:lnTo>
                    <a:pt x="2806992" y="296227"/>
                  </a:lnTo>
                  <a:lnTo>
                    <a:pt x="2802432" y="303847"/>
                  </a:lnTo>
                  <a:lnTo>
                    <a:pt x="2796489" y="310197"/>
                  </a:lnTo>
                  <a:lnTo>
                    <a:pt x="2794355" y="315277"/>
                  </a:lnTo>
                  <a:lnTo>
                    <a:pt x="2791358" y="314007"/>
                  </a:lnTo>
                  <a:lnTo>
                    <a:pt x="2790685" y="314007"/>
                  </a:lnTo>
                  <a:lnTo>
                    <a:pt x="2791383" y="310197"/>
                  </a:lnTo>
                  <a:lnTo>
                    <a:pt x="2792145" y="308927"/>
                  </a:lnTo>
                  <a:lnTo>
                    <a:pt x="2795574" y="308927"/>
                  </a:lnTo>
                  <a:lnTo>
                    <a:pt x="2795105" y="306387"/>
                  </a:lnTo>
                  <a:lnTo>
                    <a:pt x="2797822" y="306387"/>
                  </a:lnTo>
                  <a:lnTo>
                    <a:pt x="2800439" y="305117"/>
                  </a:lnTo>
                  <a:lnTo>
                    <a:pt x="2798762" y="305117"/>
                  </a:lnTo>
                  <a:lnTo>
                    <a:pt x="2803169" y="298767"/>
                  </a:lnTo>
                  <a:lnTo>
                    <a:pt x="2805823" y="294957"/>
                  </a:lnTo>
                  <a:lnTo>
                    <a:pt x="2807665" y="293687"/>
                  </a:lnTo>
                  <a:lnTo>
                    <a:pt x="2807665" y="253631"/>
                  </a:lnTo>
                  <a:lnTo>
                    <a:pt x="2804744" y="256857"/>
                  </a:lnTo>
                  <a:lnTo>
                    <a:pt x="2798445" y="261937"/>
                  </a:lnTo>
                  <a:lnTo>
                    <a:pt x="2798445" y="282257"/>
                  </a:lnTo>
                  <a:lnTo>
                    <a:pt x="2794787" y="287337"/>
                  </a:lnTo>
                  <a:lnTo>
                    <a:pt x="2790152" y="284797"/>
                  </a:lnTo>
                  <a:lnTo>
                    <a:pt x="2794406" y="279717"/>
                  </a:lnTo>
                  <a:lnTo>
                    <a:pt x="2797035" y="278447"/>
                  </a:lnTo>
                  <a:lnTo>
                    <a:pt x="2798445" y="282257"/>
                  </a:lnTo>
                  <a:lnTo>
                    <a:pt x="2798445" y="261937"/>
                  </a:lnTo>
                  <a:lnTo>
                    <a:pt x="2796857" y="263207"/>
                  </a:lnTo>
                  <a:lnTo>
                    <a:pt x="2790113" y="266903"/>
                  </a:lnTo>
                  <a:lnTo>
                    <a:pt x="2790113" y="292417"/>
                  </a:lnTo>
                  <a:lnTo>
                    <a:pt x="2787573" y="294957"/>
                  </a:lnTo>
                  <a:lnTo>
                    <a:pt x="2782024" y="298767"/>
                  </a:lnTo>
                  <a:lnTo>
                    <a:pt x="2777871" y="296227"/>
                  </a:lnTo>
                  <a:lnTo>
                    <a:pt x="2774340" y="292417"/>
                  </a:lnTo>
                  <a:lnTo>
                    <a:pt x="2772029" y="287337"/>
                  </a:lnTo>
                  <a:lnTo>
                    <a:pt x="2779953" y="293687"/>
                  </a:lnTo>
                  <a:lnTo>
                    <a:pt x="2781033" y="287337"/>
                  </a:lnTo>
                  <a:lnTo>
                    <a:pt x="2782138" y="287337"/>
                  </a:lnTo>
                  <a:lnTo>
                    <a:pt x="2790113" y="292417"/>
                  </a:lnTo>
                  <a:lnTo>
                    <a:pt x="2790113" y="266903"/>
                  </a:lnTo>
                  <a:lnTo>
                    <a:pt x="2785237" y="269557"/>
                  </a:lnTo>
                  <a:lnTo>
                    <a:pt x="2774353" y="268287"/>
                  </a:lnTo>
                  <a:lnTo>
                    <a:pt x="2772333" y="267017"/>
                  </a:lnTo>
                  <a:lnTo>
                    <a:pt x="2775775" y="263207"/>
                  </a:lnTo>
                  <a:lnTo>
                    <a:pt x="2774899" y="262902"/>
                  </a:lnTo>
                  <a:lnTo>
                    <a:pt x="2780474" y="260667"/>
                  </a:lnTo>
                  <a:lnTo>
                    <a:pt x="2783636" y="258127"/>
                  </a:lnTo>
                  <a:lnTo>
                    <a:pt x="2789974" y="255587"/>
                  </a:lnTo>
                  <a:lnTo>
                    <a:pt x="2791053" y="261937"/>
                  </a:lnTo>
                  <a:lnTo>
                    <a:pt x="2793657" y="258127"/>
                  </a:lnTo>
                  <a:lnTo>
                    <a:pt x="2793822" y="255587"/>
                  </a:lnTo>
                  <a:lnTo>
                    <a:pt x="2793987" y="253047"/>
                  </a:lnTo>
                  <a:lnTo>
                    <a:pt x="2795041" y="249237"/>
                  </a:lnTo>
                  <a:lnTo>
                    <a:pt x="2797886" y="253047"/>
                  </a:lnTo>
                  <a:lnTo>
                    <a:pt x="2798292" y="256857"/>
                  </a:lnTo>
                  <a:lnTo>
                    <a:pt x="2801112" y="256857"/>
                  </a:lnTo>
                  <a:lnTo>
                    <a:pt x="2806090" y="249237"/>
                  </a:lnTo>
                  <a:lnTo>
                    <a:pt x="2810433" y="245427"/>
                  </a:lnTo>
                  <a:lnTo>
                    <a:pt x="2810433" y="232283"/>
                  </a:lnTo>
                  <a:lnTo>
                    <a:pt x="2805049" y="236537"/>
                  </a:lnTo>
                  <a:lnTo>
                    <a:pt x="2796235" y="240347"/>
                  </a:lnTo>
                  <a:lnTo>
                    <a:pt x="2787015" y="242887"/>
                  </a:lnTo>
                  <a:lnTo>
                    <a:pt x="2784221" y="243992"/>
                  </a:lnTo>
                  <a:lnTo>
                    <a:pt x="2784221" y="253047"/>
                  </a:lnTo>
                  <a:lnTo>
                    <a:pt x="2774556" y="262775"/>
                  </a:lnTo>
                  <a:lnTo>
                    <a:pt x="2768523" y="260667"/>
                  </a:lnTo>
                  <a:lnTo>
                    <a:pt x="2759545" y="256857"/>
                  </a:lnTo>
                  <a:lnTo>
                    <a:pt x="2757335" y="251777"/>
                  </a:lnTo>
                  <a:lnTo>
                    <a:pt x="2770492" y="258127"/>
                  </a:lnTo>
                  <a:lnTo>
                    <a:pt x="2769743" y="254317"/>
                  </a:lnTo>
                  <a:lnTo>
                    <a:pt x="2775750" y="254317"/>
                  </a:lnTo>
                  <a:lnTo>
                    <a:pt x="2775508" y="256857"/>
                  </a:lnTo>
                  <a:lnTo>
                    <a:pt x="2781312" y="254317"/>
                  </a:lnTo>
                  <a:lnTo>
                    <a:pt x="2784221" y="253047"/>
                  </a:lnTo>
                  <a:lnTo>
                    <a:pt x="2784221" y="243992"/>
                  </a:lnTo>
                  <a:lnTo>
                    <a:pt x="2780563" y="245427"/>
                  </a:lnTo>
                  <a:lnTo>
                    <a:pt x="2779992" y="244551"/>
                  </a:lnTo>
                  <a:lnTo>
                    <a:pt x="2779992" y="245427"/>
                  </a:lnTo>
                  <a:lnTo>
                    <a:pt x="2770936" y="247967"/>
                  </a:lnTo>
                  <a:lnTo>
                    <a:pt x="2776067" y="250507"/>
                  </a:lnTo>
                  <a:lnTo>
                    <a:pt x="2775877" y="251777"/>
                  </a:lnTo>
                  <a:lnTo>
                    <a:pt x="2768663" y="246697"/>
                  </a:lnTo>
                  <a:lnTo>
                    <a:pt x="2770632" y="245427"/>
                  </a:lnTo>
                  <a:lnTo>
                    <a:pt x="2767419" y="241617"/>
                  </a:lnTo>
                  <a:lnTo>
                    <a:pt x="2766352" y="240347"/>
                  </a:lnTo>
                  <a:lnTo>
                    <a:pt x="2771051" y="241617"/>
                  </a:lnTo>
                  <a:lnTo>
                    <a:pt x="2773934" y="246697"/>
                  </a:lnTo>
                  <a:lnTo>
                    <a:pt x="2774607" y="241617"/>
                  </a:lnTo>
                  <a:lnTo>
                    <a:pt x="2779992" y="245427"/>
                  </a:lnTo>
                  <a:lnTo>
                    <a:pt x="2779992" y="244551"/>
                  </a:lnTo>
                  <a:lnTo>
                    <a:pt x="2778099" y="241617"/>
                  </a:lnTo>
                  <a:lnTo>
                    <a:pt x="2777274" y="240347"/>
                  </a:lnTo>
                  <a:lnTo>
                    <a:pt x="2776448" y="239077"/>
                  </a:lnTo>
                  <a:lnTo>
                    <a:pt x="2779585" y="240347"/>
                  </a:lnTo>
                  <a:lnTo>
                    <a:pt x="2779547" y="239077"/>
                  </a:lnTo>
                  <a:lnTo>
                    <a:pt x="2779458" y="236537"/>
                  </a:lnTo>
                  <a:lnTo>
                    <a:pt x="2787294" y="232727"/>
                  </a:lnTo>
                  <a:lnTo>
                    <a:pt x="2761538" y="227647"/>
                  </a:lnTo>
                  <a:lnTo>
                    <a:pt x="2758503" y="226377"/>
                  </a:lnTo>
                  <a:lnTo>
                    <a:pt x="2761272" y="225107"/>
                  </a:lnTo>
                  <a:lnTo>
                    <a:pt x="2758287" y="221297"/>
                  </a:lnTo>
                  <a:lnTo>
                    <a:pt x="2772346" y="225107"/>
                  </a:lnTo>
                  <a:lnTo>
                    <a:pt x="2770530" y="221297"/>
                  </a:lnTo>
                  <a:lnTo>
                    <a:pt x="2774137" y="217487"/>
                  </a:lnTo>
                  <a:lnTo>
                    <a:pt x="2752179" y="212407"/>
                  </a:lnTo>
                  <a:lnTo>
                    <a:pt x="2760192" y="212407"/>
                  </a:lnTo>
                  <a:lnTo>
                    <a:pt x="2760167" y="211137"/>
                  </a:lnTo>
                  <a:lnTo>
                    <a:pt x="2760129" y="209867"/>
                  </a:lnTo>
                  <a:lnTo>
                    <a:pt x="2760103" y="208597"/>
                  </a:lnTo>
                  <a:lnTo>
                    <a:pt x="2767520" y="213677"/>
                  </a:lnTo>
                  <a:lnTo>
                    <a:pt x="2767126" y="208597"/>
                  </a:lnTo>
                  <a:lnTo>
                    <a:pt x="2772778" y="203517"/>
                  </a:lnTo>
                  <a:lnTo>
                    <a:pt x="2764713" y="202247"/>
                  </a:lnTo>
                  <a:lnTo>
                    <a:pt x="2766212" y="199707"/>
                  </a:lnTo>
                  <a:lnTo>
                    <a:pt x="2770632" y="195897"/>
                  </a:lnTo>
                  <a:lnTo>
                    <a:pt x="2765056" y="195897"/>
                  </a:lnTo>
                  <a:lnTo>
                    <a:pt x="2769209" y="190817"/>
                  </a:lnTo>
                  <a:lnTo>
                    <a:pt x="2750616" y="197167"/>
                  </a:lnTo>
                  <a:lnTo>
                    <a:pt x="2747683" y="192087"/>
                  </a:lnTo>
                  <a:lnTo>
                    <a:pt x="2746210" y="189547"/>
                  </a:lnTo>
                  <a:lnTo>
                    <a:pt x="2753588" y="195897"/>
                  </a:lnTo>
                  <a:lnTo>
                    <a:pt x="2753614" y="190817"/>
                  </a:lnTo>
                  <a:lnTo>
                    <a:pt x="2760675" y="192087"/>
                  </a:lnTo>
                  <a:lnTo>
                    <a:pt x="2759849" y="190817"/>
                  </a:lnTo>
                  <a:lnTo>
                    <a:pt x="2759011" y="189547"/>
                  </a:lnTo>
                  <a:lnTo>
                    <a:pt x="2758186" y="188277"/>
                  </a:lnTo>
                  <a:lnTo>
                    <a:pt x="2764536" y="187007"/>
                  </a:lnTo>
                  <a:lnTo>
                    <a:pt x="2760091" y="184467"/>
                  </a:lnTo>
                  <a:lnTo>
                    <a:pt x="2752915" y="181927"/>
                  </a:lnTo>
                  <a:lnTo>
                    <a:pt x="2760776" y="180657"/>
                  </a:lnTo>
                  <a:lnTo>
                    <a:pt x="2755519" y="176847"/>
                  </a:lnTo>
                  <a:lnTo>
                    <a:pt x="2758427" y="173037"/>
                  </a:lnTo>
                  <a:lnTo>
                    <a:pt x="2760357" y="170497"/>
                  </a:lnTo>
                  <a:lnTo>
                    <a:pt x="2754706" y="173037"/>
                  </a:lnTo>
                  <a:lnTo>
                    <a:pt x="2751277" y="171767"/>
                  </a:lnTo>
                  <a:lnTo>
                    <a:pt x="2753474" y="169227"/>
                  </a:lnTo>
                  <a:lnTo>
                    <a:pt x="2754579" y="167957"/>
                  </a:lnTo>
                  <a:lnTo>
                    <a:pt x="2745206" y="169227"/>
                  </a:lnTo>
                  <a:lnTo>
                    <a:pt x="2751328" y="162877"/>
                  </a:lnTo>
                  <a:lnTo>
                    <a:pt x="2745371" y="160337"/>
                  </a:lnTo>
                  <a:lnTo>
                    <a:pt x="2744101" y="146367"/>
                  </a:lnTo>
                  <a:lnTo>
                    <a:pt x="2742958" y="140017"/>
                  </a:lnTo>
                  <a:lnTo>
                    <a:pt x="2742311" y="141287"/>
                  </a:lnTo>
                  <a:lnTo>
                    <a:pt x="2742006" y="141287"/>
                  </a:lnTo>
                  <a:lnTo>
                    <a:pt x="2741358" y="142557"/>
                  </a:lnTo>
                  <a:lnTo>
                    <a:pt x="2741053" y="153987"/>
                  </a:lnTo>
                  <a:lnTo>
                    <a:pt x="2738920" y="160337"/>
                  </a:lnTo>
                  <a:lnTo>
                    <a:pt x="2736304" y="161607"/>
                  </a:lnTo>
                  <a:lnTo>
                    <a:pt x="2734589" y="162877"/>
                  </a:lnTo>
                  <a:lnTo>
                    <a:pt x="2738450" y="165417"/>
                  </a:lnTo>
                  <a:lnTo>
                    <a:pt x="2728023" y="169227"/>
                  </a:lnTo>
                  <a:lnTo>
                    <a:pt x="2731935" y="173037"/>
                  </a:lnTo>
                  <a:lnTo>
                    <a:pt x="2729039" y="175577"/>
                  </a:lnTo>
                  <a:lnTo>
                    <a:pt x="2737891" y="178117"/>
                  </a:lnTo>
                  <a:lnTo>
                    <a:pt x="2730347" y="181927"/>
                  </a:lnTo>
                  <a:lnTo>
                    <a:pt x="2722943" y="183197"/>
                  </a:lnTo>
                  <a:lnTo>
                    <a:pt x="2730042" y="185737"/>
                  </a:lnTo>
                  <a:lnTo>
                    <a:pt x="2728887" y="190817"/>
                  </a:lnTo>
                  <a:lnTo>
                    <a:pt x="2733560" y="188277"/>
                  </a:lnTo>
                  <a:lnTo>
                    <a:pt x="2733459" y="193357"/>
                  </a:lnTo>
                  <a:lnTo>
                    <a:pt x="2737701" y="192087"/>
                  </a:lnTo>
                  <a:lnTo>
                    <a:pt x="2731160" y="197167"/>
                  </a:lnTo>
                  <a:lnTo>
                    <a:pt x="2710357" y="192087"/>
                  </a:lnTo>
                  <a:lnTo>
                    <a:pt x="2713266" y="194627"/>
                  </a:lnTo>
                  <a:lnTo>
                    <a:pt x="2709164" y="198437"/>
                  </a:lnTo>
                  <a:lnTo>
                    <a:pt x="2717495" y="197167"/>
                  </a:lnTo>
                  <a:lnTo>
                    <a:pt x="2710777" y="202247"/>
                  </a:lnTo>
                  <a:lnTo>
                    <a:pt x="2717127" y="204787"/>
                  </a:lnTo>
                  <a:lnTo>
                    <a:pt x="2708948" y="212407"/>
                  </a:lnTo>
                  <a:lnTo>
                    <a:pt x="2715247" y="209867"/>
                  </a:lnTo>
                  <a:lnTo>
                    <a:pt x="2718206" y="214947"/>
                  </a:lnTo>
                  <a:lnTo>
                    <a:pt x="2724239" y="209867"/>
                  </a:lnTo>
                  <a:lnTo>
                    <a:pt x="2720873" y="216217"/>
                  </a:lnTo>
                  <a:lnTo>
                    <a:pt x="2718600" y="220027"/>
                  </a:lnTo>
                  <a:lnTo>
                    <a:pt x="2723921" y="216217"/>
                  </a:lnTo>
                  <a:lnTo>
                    <a:pt x="2728417" y="220027"/>
                  </a:lnTo>
                  <a:lnTo>
                    <a:pt x="2730385" y="216217"/>
                  </a:lnTo>
                  <a:lnTo>
                    <a:pt x="2733014" y="211137"/>
                  </a:lnTo>
                  <a:lnTo>
                    <a:pt x="2734487" y="217487"/>
                  </a:lnTo>
                  <a:lnTo>
                    <a:pt x="2723781" y="223837"/>
                  </a:lnTo>
                  <a:lnTo>
                    <a:pt x="2705201" y="227647"/>
                  </a:lnTo>
                  <a:lnTo>
                    <a:pt x="2706662" y="230187"/>
                  </a:lnTo>
                  <a:lnTo>
                    <a:pt x="2697861" y="230187"/>
                  </a:lnTo>
                  <a:lnTo>
                    <a:pt x="2706979" y="236537"/>
                  </a:lnTo>
                  <a:lnTo>
                    <a:pt x="2703233" y="240347"/>
                  </a:lnTo>
                  <a:lnTo>
                    <a:pt x="2715679" y="236537"/>
                  </a:lnTo>
                  <a:lnTo>
                    <a:pt x="2717901" y="236537"/>
                  </a:lnTo>
                  <a:lnTo>
                    <a:pt x="2716263" y="240347"/>
                  </a:lnTo>
                  <a:lnTo>
                    <a:pt x="2707360" y="247967"/>
                  </a:lnTo>
                  <a:lnTo>
                    <a:pt x="2714358" y="247967"/>
                  </a:lnTo>
                  <a:lnTo>
                    <a:pt x="2714980" y="253047"/>
                  </a:lnTo>
                  <a:lnTo>
                    <a:pt x="2720086" y="245427"/>
                  </a:lnTo>
                  <a:lnTo>
                    <a:pt x="2723235" y="249237"/>
                  </a:lnTo>
                  <a:lnTo>
                    <a:pt x="2723845" y="245427"/>
                  </a:lnTo>
                  <a:lnTo>
                    <a:pt x="2724467" y="241617"/>
                  </a:lnTo>
                  <a:lnTo>
                    <a:pt x="2727439" y="242887"/>
                  </a:lnTo>
                  <a:lnTo>
                    <a:pt x="2729407" y="246697"/>
                  </a:lnTo>
                  <a:lnTo>
                    <a:pt x="2720810" y="254317"/>
                  </a:lnTo>
                  <a:lnTo>
                    <a:pt x="2727693" y="256857"/>
                  </a:lnTo>
                  <a:lnTo>
                    <a:pt x="2725318" y="260667"/>
                  </a:lnTo>
                  <a:lnTo>
                    <a:pt x="2725115" y="260731"/>
                  </a:lnTo>
                  <a:lnTo>
                    <a:pt x="2725115" y="278447"/>
                  </a:lnTo>
                  <a:lnTo>
                    <a:pt x="2720873" y="284797"/>
                  </a:lnTo>
                  <a:lnTo>
                    <a:pt x="2715247" y="287185"/>
                  </a:lnTo>
                  <a:lnTo>
                    <a:pt x="2715247" y="390207"/>
                  </a:lnTo>
                  <a:lnTo>
                    <a:pt x="2711602" y="391477"/>
                  </a:lnTo>
                  <a:lnTo>
                    <a:pt x="2713520" y="386397"/>
                  </a:lnTo>
                  <a:lnTo>
                    <a:pt x="2715247" y="390207"/>
                  </a:lnTo>
                  <a:lnTo>
                    <a:pt x="2715247" y="287185"/>
                  </a:lnTo>
                  <a:lnTo>
                    <a:pt x="2712174" y="288493"/>
                  </a:lnTo>
                  <a:lnTo>
                    <a:pt x="2712174" y="326707"/>
                  </a:lnTo>
                  <a:lnTo>
                    <a:pt x="2705087" y="341947"/>
                  </a:lnTo>
                  <a:lnTo>
                    <a:pt x="2708173" y="341947"/>
                  </a:lnTo>
                  <a:lnTo>
                    <a:pt x="2706840" y="344487"/>
                  </a:lnTo>
                  <a:lnTo>
                    <a:pt x="2703360" y="345757"/>
                  </a:lnTo>
                  <a:lnTo>
                    <a:pt x="2699372" y="345757"/>
                  </a:lnTo>
                  <a:lnTo>
                    <a:pt x="2692641" y="344487"/>
                  </a:lnTo>
                  <a:lnTo>
                    <a:pt x="2693428" y="343217"/>
                  </a:lnTo>
                  <a:lnTo>
                    <a:pt x="2695003" y="340677"/>
                  </a:lnTo>
                  <a:lnTo>
                    <a:pt x="2697188" y="344487"/>
                  </a:lnTo>
                  <a:lnTo>
                    <a:pt x="2698800" y="340677"/>
                  </a:lnTo>
                  <a:lnTo>
                    <a:pt x="2699867" y="338137"/>
                  </a:lnTo>
                  <a:lnTo>
                    <a:pt x="2700299" y="334327"/>
                  </a:lnTo>
                  <a:lnTo>
                    <a:pt x="2700439" y="333057"/>
                  </a:lnTo>
                  <a:lnTo>
                    <a:pt x="2701912" y="334327"/>
                  </a:lnTo>
                  <a:lnTo>
                    <a:pt x="2706014" y="334327"/>
                  </a:lnTo>
                  <a:lnTo>
                    <a:pt x="2706357" y="333057"/>
                  </a:lnTo>
                  <a:lnTo>
                    <a:pt x="2707729" y="327977"/>
                  </a:lnTo>
                  <a:lnTo>
                    <a:pt x="2708287" y="325437"/>
                  </a:lnTo>
                  <a:lnTo>
                    <a:pt x="2708846" y="322897"/>
                  </a:lnTo>
                  <a:lnTo>
                    <a:pt x="2709976" y="322897"/>
                  </a:lnTo>
                  <a:lnTo>
                    <a:pt x="2710053" y="327977"/>
                  </a:lnTo>
                  <a:lnTo>
                    <a:pt x="2712174" y="326707"/>
                  </a:lnTo>
                  <a:lnTo>
                    <a:pt x="2712174" y="288493"/>
                  </a:lnTo>
                  <a:lnTo>
                    <a:pt x="2702915" y="292417"/>
                  </a:lnTo>
                  <a:lnTo>
                    <a:pt x="2707144" y="294957"/>
                  </a:lnTo>
                  <a:lnTo>
                    <a:pt x="2697200" y="301307"/>
                  </a:lnTo>
                  <a:lnTo>
                    <a:pt x="2689860" y="303479"/>
                  </a:lnTo>
                  <a:lnTo>
                    <a:pt x="2689860" y="335597"/>
                  </a:lnTo>
                  <a:lnTo>
                    <a:pt x="2689606" y="336867"/>
                  </a:lnTo>
                  <a:lnTo>
                    <a:pt x="2688552" y="343217"/>
                  </a:lnTo>
                  <a:lnTo>
                    <a:pt x="2682570" y="339407"/>
                  </a:lnTo>
                  <a:lnTo>
                    <a:pt x="2683611" y="338137"/>
                  </a:lnTo>
                  <a:lnTo>
                    <a:pt x="2685681" y="335597"/>
                  </a:lnTo>
                  <a:lnTo>
                    <a:pt x="2686723" y="334327"/>
                  </a:lnTo>
                  <a:lnTo>
                    <a:pt x="2689860" y="335597"/>
                  </a:lnTo>
                  <a:lnTo>
                    <a:pt x="2689860" y="303479"/>
                  </a:lnTo>
                  <a:lnTo>
                    <a:pt x="2684272" y="305117"/>
                  </a:lnTo>
                  <a:lnTo>
                    <a:pt x="2677528" y="301307"/>
                  </a:lnTo>
                  <a:lnTo>
                    <a:pt x="2672981" y="298424"/>
                  </a:lnTo>
                  <a:lnTo>
                    <a:pt x="2672981" y="324167"/>
                  </a:lnTo>
                  <a:lnTo>
                    <a:pt x="2670733" y="325437"/>
                  </a:lnTo>
                  <a:lnTo>
                    <a:pt x="2669971" y="321627"/>
                  </a:lnTo>
                  <a:lnTo>
                    <a:pt x="2671445" y="319087"/>
                  </a:lnTo>
                  <a:lnTo>
                    <a:pt x="2672981" y="324167"/>
                  </a:lnTo>
                  <a:lnTo>
                    <a:pt x="2672981" y="298424"/>
                  </a:lnTo>
                  <a:lnTo>
                    <a:pt x="2669527" y="296227"/>
                  </a:lnTo>
                  <a:lnTo>
                    <a:pt x="2668701" y="294957"/>
                  </a:lnTo>
                  <a:lnTo>
                    <a:pt x="2663723" y="287337"/>
                  </a:lnTo>
                  <a:lnTo>
                    <a:pt x="2662110" y="283527"/>
                  </a:lnTo>
                  <a:lnTo>
                    <a:pt x="2668701" y="291147"/>
                  </a:lnTo>
                  <a:lnTo>
                    <a:pt x="2671724" y="293687"/>
                  </a:lnTo>
                  <a:lnTo>
                    <a:pt x="2672689" y="291147"/>
                  </a:lnTo>
                  <a:lnTo>
                    <a:pt x="2679281" y="297497"/>
                  </a:lnTo>
                  <a:lnTo>
                    <a:pt x="2678341" y="293687"/>
                  </a:lnTo>
                  <a:lnTo>
                    <a:pt x="2677909" y="291147"/>
                  </a:lnTo>
                  <a:lnTo>
                    <a:pt x="2677693" y="289877"/>
                  </a:lnTo>
                  <a:lnTo>
                    <a:pt x="2674467" y="287337"/>
                  </a:lnTo>
                  <a:lnTo>
                    <a:pt x="2675369" y="283527"/>
                  </a:lnTo>
                  <a:lnTo>
                    <a:pt x="2681465" y="287337"/>
                  </a:lnTo>
                  <a:lnTo>
                    <a:pt x="2684284" y="294957"/>
                  </a:lnTo>
                  <a:lnTo>
                    <a:pt x="2686875" y="291147"/>
                  </a:lnTo>
                  <a:lnTo>
                    <a:pt x="2691155" y="298767"/>
                  </a:lnTo>
                  <a:lnTo>
                    <a:pt x="2693974" y="293687"/>
                  </a:lnTo>
                  <a:lnTo>
                    <a:pt x="2698127" y="296227"/>
                  </a:lnTo>
                  <a:lnTo>
                    <a:pt x="2697530" y="293687"/>
                  </a:lnTo>
                  <a:lnTo>
                    <a:pt x="2696934" y="291147"/>
                  </a:lnTo>
                  <a:lnTo>
                    <a:pt x="2696629" y="289877"/>
                  </a:lnTo>
                  <a:lnTo>
                    <a:pt x="2688450" y="283527"/>
                  </a:lnTo>
                  <a:lnTo>
                    <a:pt x="2687688" y="279717"/>
                  </a:lnTo>
                  <a:lnTo>
                    <a:pt x="2689974" y="280987"/>
                  </a:lnTo>
                  <a:lnTo>
                    <a:pt x="2690215" y="280987"/>
                  </a:lnTo>
                  <a:lnTo>
                    <a:pt x="2695524" y="284797"/>
                  </a:lnTo>
                  <a:lnTo>
                    <a:pt x="2701594" y="284797"/>
                  </a:lnTo>
                  <a:lnTo>
                    <a:pt x="2700731" y="282257"/>
                  </a:lnTo>
                  <a:lnTo>
                    <a:pt x="2705189" y="278447"/>
                  </a:lnTo>
                  <a:lnTo>
                    <a:pt x="2703614" y="287337"/>
                  </a:lnTo>
                  <a:lnTo>
                    <a:pt x="2709951" y="283527"/>
                  </a:lnTo>
                  <a:lnTo>
                    <a:pt x="2713126" y="286067"/>
                  </a:lnTo>
                  <a:lnTo>
                    <a:pt x="2713456" y="283527"/>
                  </a:lnTo>
                  <a:lnTo>
                    <a:pt x="2714129" y="278447"/>
                  </a:lnTo>
                  <a:lnTo>
                    <a:pt x="2714472" y="275907"/>
                  </a:lnTo>
                  <a:lnTo>
                    <a:pt x="2717990" y="279717"/>
                  </a:lnTo>
                  <a:lnTo>
                    <a:pt x="2725115" y="278447"/>
                  </a:lnTo>
                  <a:lnTo>
                    <a:pt x="2725115" y="260731"/>
                  </a:lnTo>
                  <a:lnTo>
                    <a:pt x="2686393" y="272097"/>
                  </a:lnTo>
                  <a:lnTo>
                    <a:pt x="2682697" y="270827"/>
                  </a:lnTo>
                  <a:lnTo>
                    <a:pt x="2671876" y="265747"/>
                  </a:lnTo>
                  <a:lnTo>
                    <a:pt x="2664028" y="258127"/>
                  </a:lnTo>
                  <a:lnTo>
                    <a:pt x="2662631" y="254317"/>
                  </a:lnTo>
                  <a:lnTo>
                    <a:pt x="2661704" y="251777"/>
                  </a:lnTo>
                  <a:lnTo>
                    <a:pt x="2662250" y="247967"/>
                  </a:lnTo>
                  <a:lnTo>
                    <a:pt x="2670746" y="259397"/>
                  </a:lnTo>
                  <a:lnTo>
                    <a:pt x="2670022" y="253047"/>
                  </a:lnTo>
                  <a:lnTo>
                    <a:pt x="2668689" y="247967"/>
                  </a:lnTo>
                  <a:lnTo>
                    <a:pt x="2668028" y="245427"/>
                  </a:lnTo>
                  <a:lnTo>
                    <a:pt x="2677795" y="261937"/>
                  </a:lnTo>
                  <a:lnTo>
                    <a:pt x="2679636" y="255587"/>
                  </a:lnTo>
                  <a:lnTo>
                    <a:pt x="2686354" y="265747"/>
                  </a:lnTo>
                  <a:lnTo>
                    <a:pt x="2685783" y="260667"/>
                  </a:lnTo>
                  <a:lnTo>
                    <a:pt x="2687155" y="259397"/>
                  </a:lnTo>
                  <a:lnTo>
                    <a:pt x="2691955" y="261937"/>
                  </a:lnTo>
                  <a:lnTo>
                    <a:pt x="2694698" y="259397"/>
                  </a:lnTo>
                  <a:lnTo>
                    <a:pt x="2696070" y="258127"/>
                  </a:lnTo>
                  <a:lnTo>
                    <a:pt x="2690190" y="255587"/>
                  </a:lnTo>
                  <a:lnTo>
                    <a:pt x="2687256" y="254317"/>
                  </a:lnTo>
                  <a:lnTo>
                    <a:pt x="2680068" y="247967"/>
                  </a:lnTo>
                  <a:lnTo>
                    <a:pt x="2678925" y="245427"/>
                  </a:lnTo>
                  <a:lnTo>
                    <a:pt x="2678353" y="244157"/>
                  </a:lnTo>
                  <a:lnTo>
                    <a:pt x="2680970" y="239077"/>
                  </a:lnTo>
                  <a:lnTo>
                    <a:pt x="2683167" y="242887"/>
                  </a:lnTo>
                  <a:lnTo>
                    <a:pt x="2689212" y="249237"/>
                  </a:lnTo>
                  <a:lnTo>
                    <a:pt x="2687904" y="239077"/>
                  </a:lnTo>
                  <a:lnTo>
                    <a:pt x="2695321" y="245427"/>
                  </a:lnTo>
                  <a:lnTo>
                    <a:pt x="2694000" y="239077"/>
                  </a:lnTo>
                  <a:lnTo>
                    <a:pt x="2693479" y="236537"/>
                  </a:lnTo>
                  <a:lnTo>
                    <a:pt x="2704363" y="235267"/>
                  </a:lnTo>
                  <a:lnTo>
                    <a:pt x="2688488" y="230187"/>
                  </a:lnTo>
                  <a:lnTo>
                    <a:pt x="2687802" y="228917"/>
                  </a:lnTo>
                  <a:lnTo>
                    <a:pt x="2690926" y="227647"/>
                  </a:lnTo>
                  <a:lnTo>
                    <a:pt x="2683014" y="225107"/>
                  </a:lnTo>
                  <a:lnTo>
                    <a:pt x="2679065" y="223837"/>
                  </a:lnTo>
                  <a:lnTo>
                    <a:pt x="2671153" y="221297"/>
                  </a:lnTo>
                  <a:lnTo>
                    <a:pt x="2668181" y="217487"/>
                  </a:lnTo>
                  <a:lnTo>
                    <a:pt x="2663240" y="211137"/>
                  </a:lnTo>
                  <a:lnTo>
                    <a:pt x="2662148" y="206057"/>
                  </a:lnTo>
                  <a:lnTo>
                    <a:pt x="2664803" y="207327"/>
                  </a:lnTo>
                  <a:lnTo>
                    <a:pt x="2673324" y="217487"/>
                  </a:lnTo>
                  <a:lnTo>
                    <a:pt x="2673667" y="214947"/>
                  </a:lnTo>
                  <a:lnTo>
                    <a:pt x="2673108" y="211137"/>
                  </a:lnTo>
                  <a:lnTo>
                    <a:pt x="2674366" y="211137"/>
                  </a:lnTo>
                  <a:lnTo>
                    <a:pt x="2676474" y="213677"/>
                  </a:lnTo>
                  <a:lnTo>
                    <a:pt x="2681236" y="218757"/>
                  </a:lnTo>
                  <a:lnTo>
                    <a:pt x="2680868" y="212407"/>
                  </a:lnTo>
                  <a:lnTo>
                    <a:pt x="2683243" y="212407"/>
                  </a:lnTo>
                  <a:lnTo>
                    <a:pt x="2690126" y="216217"/>
                  </a:lnTo>
                  <a:lnTo>
                    <a:pt x="2688374" y="212407"/>
                  </a:lnTo>
                  <a:lnTo>
                    <a:pt x="2687790" y="211137"/>
                  </a:lnTo>
                  <a:lnTo>
                    <a:pt x="2696680" y="207327"/>
                  </a:lnTo>
                  <a:lnTo>
                    <a:pt x="2684983" y="206057"/>
                  </a:lnTo>
                  <a:lnTo>
                    <a:pt x="2678722" y="204787"/>
                  </a:lnTo>
                  <a:lnTo>
                    <a:pt x="2682748" y="202247"/>
                  </a:lnTo>
                  <a:lnTo>
                    <a:pt x="2668689" y="198437"/>
                  </a:lnTo>
                  <a:lnTo>
                    <a:pt x="2662758" y="193357"/>
                  </a:lnTo>
                  <a:lnTo>
                    <a:pt x="2663037" y="190817"/>
                  </a:lnTo>
                  <a:lnTo>
                    <a:pt x="2670340" y="192087"/>
                  </a:lnTo>
                  <a:lnTo>
                    <a:pt x="2669044" y="190817"/>
                  </a:lnTo>
                  <a:lnTo>
                    <a:pt x="2663850" y="185737"/>
                  </a:lnTo>
                  <a:lnTo>
                    <a:pt x="2659951" y="181927"/>
                  </a:lnTo>
                  <a:lnTo>
                    <a:pt x="2665882" y="181927"/>
                  </a:lnTo>
                  <a:lnTo>
                    <a:pt x="2673769" y="185737"/>
                  </a:lnTo>
                  <a:lnTo>
                    <a:pt x="2673794" y="181927"/>
                  </a:lnTo>
                  <a:lnTo>
                    <a:pt x="2673832" y="178117"/>
                  </a:lnTo>
                  <a:lnTo>
                    <a:pt x="2679992" y="174307"/>
                  </a:lnTo>
                  <a:lnTo>
                    <a:pt x="2664015" y="174307"/>
                  </a:lnTo>
                  <a:lnTo>
                    <a:pt x="2659291" y="171767"/>
                  </a:lnTo>
                  <a:lnTo>
                    <a:pt x="2656929" y="170497"/>
                  </a:lnTo>
                  <a:lnTo>
                    <a:pt x="2657208" y="170497"/>
                  </a:lnTo>
                  <a:lnTo>
                    <a:pt x="2657322" y="169227"/>
                  </a:lnTo>
                  <a:lnTo>
                    <a:pt x="2657602" y="167957"/>
                  </a:lnTo>
                  <a:lnTo>
                    <a:pt x="2667482" y="171767"/>
                  </a:lnTo>
                  <a:lnTo>
                    <a:pt x="2666593" y="166687"/>
                  </a:lnTo>
                  <a:lnTo>
                    <a:pt x="2674289" y="169227"/>
                  </a:lnTo>
                  <a:lnTo>
                    <a:pt x="2673439" y="166687"/>
                  </a:lnTo>
                  <a:lnTo>
                    <a:pt x="2672588" y="164147"/>
                  </a:lnTo>
                  <a:lnTo>
                    <a:pt x="2674061" y="161607"/>
                  </a:lnTo>
                  <a:lnTo>
                    <a:pt x="2677731" y="155257"/>
                  </a:lnTo>
                  <a:lnTo>
                    <a:pt x="2662377" y="161607"/>
                  </a:lnTo>
                  <a:lnTo>
                    <a:pt x="2656065" y="159067"/>
                  </a:lnTo>
                  <a:lnTo>
                    <a:pt x="2658402" y="153987"/>
                  </a:lnTo>
                  <a:lnTo>
                    <a:pt x="2664803" y="153987"/>
                  </a:lnTo>
                  <a:lnTo>
                    <a:pt x="2663266" y="151447"/>
                  </a:lnTo>
                  <a:lnTo>
                    <a:pt x="2665933" y="147637"/>
                  </a:lnTo>
                  <a:lnTo>
                    <a:pt x="2667724" y="145097"/>
                  </a:lnTo>
                  <a:lnTo>
                    <a:pt x="2657970" y="147637"/>
                  </a:lnTo>
                  <a:lnTo>
                    <a:pt x="2656167" y="145097"/>
                  </a:lnTo>
                  <a:lnTo>
                    <a:pt x="2658097" y="141287"/>
                  </a:lnTo>
                  <a:lnTo>
                    <a:pt x="2659380" y="138747"/>
                  </a:lnTo>
                  <a:lnTo>
                    <a:pt x="2657094" y="141287"/>
                  </a:lnTo>
                  <a:lnTo>
                    <a:pt x="2653779" y="137477"/>
                  </a:lnTo>
                  <a:lnTo>
                    <a:pt x="2654008" y="120967"/>
                  </a:lnTo>
                  <a:lnTo>
                    <a:pt x="2652064" y="119697"/>
                  </a:lnTo>
                  <a:lnTo>
                    <a:pt x="2650896" y="123507"/>
                  </a:lnTo>
                  <a:lnTo>
                    <a:pt x="2650718" y="133667"/>
                  </a:lnTo>
                  <a:lnTo>
                    <a:pt x="2647543" y="138747"/>
                  </a:lnTo>
                  <a:lnTo>
                    <a:pt x="2642463" y="138747"/>
                  </a:lnTo>
                  <a:lnTo>
                    <a:pt x="2647429" y="142557"/>
                  </a:lnTo>
                  <a:lnTo>
                    <a:pt x="2648458" y="147637"/>
                  </a:lnTo>
                  <a:lnTo>
                    <a:pt x="2634335" y="143827"/>
                  </a:lnTo>
                  <a:lnTo>
                    <a:pt x="2639987" y="150177"/>
                  </a:lnTo>
                  <a:lnTo>
                    <a:pt x="2638412" y="155257"/>
                  </a:lnTo>
                  <a:lnTo>
                    <a:pt x="2643682" y="153987"/>
                  </a:lnTo>
                  <a:lnTo>
                    <a:pt x="2647416" y="153987"/>
                  </a:lnTo>
                  <a:lnTo>
                    <a:pt x="2646819" y="157797"/>
                  </a:lnTo>
                  <a:lnTo>
                    <a:pt x="2642908" y="159067"/>
                  </a:lnTo>
                  <a:lnTo>
                    <a:pt x="2640342" y="157797"/>
                  </a:lnTo>
                  <a:lnTo>
                    <a:pt x="2641892" y="161607"/>
                  </a:lnTo>
                  <a:lnTo>
                    <a:pt x="2645067" y="162877"/>
                  </a:lnTo>
                  <a:lnTo>
                    <a:pt x="2641371" y="164147"/>
                  </a:lnTo>
                  <a:lnTo>
                    <a:pt x="2632227" y="160337"/>
                  </a:lnTo>
                  <a:lnTo>
                    <a:pt x="2623997" y="156527"/>
                  </a:lnTo>
                  <a:lnTo>
                    <a:pt x="2627223" y="165417"/>
                  </a:lnTo>
                  <a:lnTo>
                    <a:pt x="2623667" y="167957"/>
                  </a:lnTo>
                  <a:lnTo>
                    <a:pt x="2627211" y="167957"/>
                  </a:lnTo>
                  <a:lnTo>
                    <a:pt x="2624442" y="174307"/>
                  </a:lnTo>
                  <a:lnTo>
                    <a:pt x="2634323" y="169227"/>
                  </a:lnTo>
                  <a:lnTo>
                    <a:pt x="2634297" y="174307"/>
                  </a:lnTo>
                  <a:lnTo>
                    <a:pt x="2641663" y="171767"/>
                  </a:lnTo>
                  <a:lnTo>
                    <a:pt x="2642285" y="174307"/>
                  </a:lnTo>
                  <a:lnTo>
                    <a:pt x="2643251" y="176847"/>
                  </a:lnTo>
                  <a:lnTo>
                    <a:pt x="2637117" y="179387"/>
                  </a:lnTo>
                  <a:lnTo>
                    <a:pt x="2623743" y="179387"/>
                  </a:lnTo>
                  <a:lnTo>
                    <a:pt x="2628087" y="183197"/>
                  </a:lnTo>
                  <a:lnTo>
                    <a:pt x="2625153" y="189547"/>
                  </a:lnTo>
                  <a:lnTo>
                    <a:pt x="2634500" y="185737"/>
                  </a:lnTo>
                  <a:lnTo>
                    <a:pt x="2634577" y="190817"/>
                  </a:lnTo>
                  <a:lnTo>
                    <a:pt x="2628887" y="194627"/>
                  </a:lnTo>
                  <a:lnTo>
                    <a:pt x="2639199" y="193357"/>
                  </a:lnTo>
                  <a:lnTo>
                    <a:pt x="2642031" y="194627"/>
                  </a:lnTo>
                  <a:lnTo>
                    <a:pt x="2636926" y="200977"/>
                  </a:lnTo>
                  <a:lnTo>
                    <a:pt x="2620302" y="208597"/>
                  </a:lnTo>
                  <a:lnTo>
                    <a:pt x="2604795" y="208597"/>
                  </a:lnTo>
                  <a:lnTo>
                    <a:pt x="2609545" y="214947"/>
                  </a:lnTo>
                  <a:lnTo>
                    <a:pt x="2603538" y="222567"/>
                  </a:lnTo>
                  <a:lnTo>
                    <a:pt x="2615628" y="217487"/>
                  </a:lnTo>
                  <a:lnTo>
                    <a:pt x="2615209" y="221297"/>
                  </a:lnTo>
                  <a:lnTo>
                    <a:pt x="2608491" y="231457"/>
                  </a:lnTo>
                  <a:lnTo>
                    <a:pt x="2614574" y="226377"/>
                  </a:lnTo>
                  <a:lnTo>
                    <a:pt x="2624988" y="217487"/>
                  </a:lnTo>
                  <a:lnTo>
                    <a:pt x="2625598" y="225107"/>
                  </a:lnTo>
                  <a:lnTo>
                    <a:pt x="2626017" y="228917"/>
                  </a:lnTo>
                  <a:lnTo>
                    <a:pt x="2631033" y="223837"/>
                  </a:lnTo>
                  <a:lnTo>
                    <a:pt x="2631833" y="232727"/>
                  </a:lnTo>
                  <a:lnTo>
                    <a:pt x="2639161" y="225107"/>
                  </a:lnTo>
                  <a:lnTo>
                    <a:pt x="2638336" y="228917"/>
                  </a:lnTo>
                  <a:lnTo>
                    <a:pt x="2636634" y="232727"/>
                  </a:lnTo>
                  <a:lnTo>
                    <a:pt x="2630208" y="237807"/>
                  </a:lnTo>
                  <a:lnTo>
                    <a:pt x="2621394" y="241617"/>
                  </a:lnTo>
                  <a:lnTo>
                    <a:pt x="2615857" y="242887"/>
                  </a:lnTo>
                  <a:lnTo>
                    <a:pt x="2612174" y="244157"/>
                  </a:lnTo>
                  <a:lnTo>
                    <a:pt x="2596096" y="249237"/>
                  </a:lnTo>
                  <a:lnTo>
                    <a:pt x="2601214" y="251777"/>
                  </a:lnTo>
                  <a:lnTo>
                    <a:pt x="2600668" y="258127"/>
                  </a:lnTo>
                  <a:lnTo>
                    <a:pt x="2609367" y="254317"/>
                  </a:lnTo>
                  <a:lnTo>
                    <a:pt x="2599296" y="264477"/>
                  </a:lnTo>
                  <a:lnTo>
                    <a:pt x="2605633" y="261937"/>
                  </a:lnTo>
                  <a:lnTo>
                    <a:pt x="2608796" y="259397"/>
                  </a:lnTo>
                  <a:lnTo>
                    <a:pt x="2615133" y="256857"/>
                  </a:lnTo>
                  <a:lnTo>
                    <a:pt x="2616200" y="263207"/>
                  </a:lnTo>
                  <a:lnTo>
                    <a:pt x="2618194" y="256857"/>
                  </a:lnTo>
                  <a:lnTo>
                    <a:pt x="2618994" y="254317"/>
                  </a:lnTo>
                  <a:lnTo>
                    <a:pt x="2620200" y="250507"/>
                  </a:lnTo>
                  <a:lnTo>
                    <a:pt x="2623045" y="254317"/>
                  </a:lnTo>
                  <a:lnTo>
                    <a:pt x="2623439" y="258127"/>
                  </a:lnTo>
                  <a:lnTo>
                    <a:pt x="2626258" y="258127"/>
                  </a:lnTo>
                  <a:lnTo>
                    <a:pt x="2631249" y="250507"/>
                  </a:lnTo>
                  <a:lnTo>
                    <a:pt x="2632976" y="249237"/>
                  </a:lnTo>
                  <a:lnTo>
                    <a:pt x="2635605" y="247967"/>
                  </a:lnTo>
                  <a:lnTo>
                    <a:pt x="2630386" y="253047"/>
                  </a:lnTo>
                  <a:lnTo>
                    <a:pt x="2631084" y="255587"/>
                  </a:lnTo>
                  <a:lnTo>
                    <a:pt x="2632443" y="254317"/>
                  </a:lnTo>
                  <a:lnTo>
                    <a:pt x="2633332" y="254317"/>
                  </a:lnTo>
                  <a:lnTo>
                    <a:pt x="2632824" y="255079"/>
                  </a:lnTo>
                  <a:lnTo>
                    <a:pt x="2632824" y="294957"/>
                  </a:lnTo>
                  <a:lnTo>
                    <a:pt x="2632151" y="297497"/>
                  </a:lnTo>
                  <a:lnTo>
                    <a:pt x="2627592" y="305117"/>
                  </a:lnTo>
                  <a:lnTo>
                    <a:pt x="2621648" y="311467"/>
                  </a:lnTo>
                  <a:lnTo>
                    <a:pt x="2619400" y="316547"/>
                  </a:lnTo>
                  <a:lnTo>
                    <a:pt x="2622956" y="316547"/>
                  </a:lnTo>
                  <a:lnTo>
                    <a:pt x="2622270" y="320014"/>
                  </a:lnTo>
                  <a:lnTo>
                    <a:pt x="2622270" y="338137"/>
                  </a:lnTo>
                  <a:lnTo>
                    <a:pt x="2617990" y="344487"/>
                  </a:lnTo>
                  <a:lnTo>
                    <a:pt x="2616289" y="346113"/>
                  </a:lnTo>
                  <a:lnTo>
                    <a:pt x="2616289" y="407987"/>
                  </a:lnTo>
                  <a:lnTo>
                    <a:pt x="2614193" y="411797"/>
                  </a:lnTo>
                  <a:lnTo>
                    <a:pt x="2609113" y="410527"/>
                  </a:lnTo>
                  <a:lnTo>
                    <a:pt x="2616289" y="407987"/>
                  </a:lnTo>
                  <a:lnTo>
                    <a:pt x="2616289" y="346113"/>
                  </a:lnTo>
                  <a:lnTo>
                    <a:pt x="2611323" y="350837"/>
                  </a:lnTo>
                  <a:lnTo>
                    <a:pt x="2608834" y="352082"/>
                  </a:lnTo>
                  <a:lnTo>
                    <a:pt x="2608834" y="402907"/>
                  </a:lnTo>
                  <a:lnTo>
                    <a:pt x="2608046" y="410527"/>
                  </a:lnTo>
                  <a:lnTo>
                    <a:pt x="2606357" y="409257"/>
                  </a:lnTo>
                  <a:lnTo>
                    <a:pt x="2608834" y="402907"/>
                  </a:lnTo>
                  <a:lnTo>
                    <a:pt x="2608834" y="352082"/>
                  </a:lnTo>
                  <a:lnTo>
                    <a:pt x="2606205" y="353377"/>
                  </a:lnTo>
                  <a:lnTo>
                    <a:pt x="2604605" y="352691"/>
                  </a:lnTo>
                  <a:lnTo>
                    <a:pt x="2604605" y="385127"/>
                  </a:lnTo>
                  <a:lnTo>
                    <a:pt x="2597594" y="391477"/>
                  </a:lnTo>
                  <a:lnTo>
                    <a:pt x="2593606" y="392747"/>
                  </a:lnTo>
                  <a:lnTo>
                    <a:pt x="2589352" y="388937"/>
                  </a:lnTo>
                  <a:lnTo>
                    <a:pt x="2588984" y="387667"/>
                  </a:lnTo>
                  <a:lnTo>
                    <a:pt x="2588260" y="385127"/>
                  </a:lnTo>
                  <a:lnTo>
                    <a:pt x="2587523" y="382587"/>
                  </a:lnTo>
                  <a:lnTo>
                    <a:pt x="2586431" y="378777"/>
                  </a:lnTo>
                  <a:lnTo>
                    <a:pt x="2586063" y="377507"/>
                  </a:lnTo>
                  <a:lnTo>
                    <a:pt x="2589250" y="376237"/>
                  </a:lnTo>
                  <a:lnTo>
                    <a:pt x="2589276" y="377507"/>
                  </a:lnTo>
                  <a:lnTo>
                    <a:pt x="2589834" y="376237"/>
                  </a:lnTo>
                  <a:lnTo>
                    <a:pt x="2593378" y="382587"/>
                  </a:lnTo>
                  <a:lnTo>
                    <a:pt x="2591320" y="383857"/>
                  </a:lnTo>
                  <a:lnTo>
                    <a:pt x="2593797" y="382587"/>
                  </a:lnTo>
                  <a:lnTo>
                    <a:pt x="2598013" y="388937"/>
                  </a:lnTo>
                  <a:lnTo>
                    <a:pt x="2598623" y="382587"/>
                  </a:lnTo>
                  <a:lnTo>
                    <a:pt x="2598877" y="380047"/>
                  </a:lnTo>
                  <a:lnTo>
                    <a:pt x="2599321" y="380047"/>
                  </a:lnTo>
                  <a:lnTo>
                    <a:pt x="2601620" y="386397"/>
                  </a:lnTo>
                  <a:lnTo>
                    <a:pt x="2603716" y="382587"/>
                  </a:lnTo>
                  <a:lnTo>
                    <a:pt x="2604605" y="385127"/>
                  </a:lnTo>
                  <a:lnTo>
                    <a:pt x="2604605" y="352691"/>
                  </a:lnTo>
                  <a:lnTo>
                    <a:pt x="2603258" y="352107"/>
                  </a:lnTo>
                  <a:lnTo>
                    <a:pt x="2591447" y="347027"/>
                  </a:lnTo>
                  <a:lnTo>
                    <a:pt x="2577376" y="331787"/>
                  </a:lnTo>
                  <a:lnTo>
                    <a:pt x="2581249" y="329247"/>
                  </a:lnTo>
                  <a:lnTo>
                    <a:pt x="2586355" y="335597"/>
                  </a:lnTo>
                  <a:lnTo>
                    <a:pt x="2585618" y="329247"/>
                  </a:lnTo>
                  <a:lnTo>
                    <a:pt x="2585326" y="326707"/>
                  </a:lnTo>
                  <a:lnTo>
                    <a:pt x="2586278" y="321627"/>
                  </a:lnTo>
                  <a:lnTo>
                    <a:pt x="2588857" y="324167"/>
                  </a:lnTo>
                  <a:lnTo>
                    <a:pt x="2592679" y="331787"/>
                  </a:lnTo>
                  <a:lnTo>
                    <a:pt x="2595257" y="336867"/>
                  </a:lnTo>
                  <a:lnTo>
                    <a:pt x="2598445" y="327977"/>
                  </a:lnTo>
                  <a:lnTo>
                    <a:pt x="2598966" y="325437"/>
                  </a:lnTo>
                  <a:lnTo>
                    <a:pt x="2599486" y="326707"/>
                  </a:lnTo>
                  <a:lnTo>
                    <a:pt x="2600287" y="326707"/>
                  </a:lnTo>
                  <a:lnTo>
                    <a:pt x="2603677" y="330517"/>
                  </a:lnTo>
                  <a:lnTo>
                    <a:pt x="2603208" y="331787"/>
                  </a:lnTo>
                  <a:lnTo>
                    <a:pt x="2605125" y="331787"/>
                  </a:lnTo>
                  <a:lnTo>
                    <a:pt x="2609888" y="335597"/>
                  </a:lnTo>
                  <a:lnTo>
                    <a:pt x="2592971" y="343217"/>
                  </a:lnTo>
                  <a:lnTo>
                    <a:pt x="2599944" y="343217"/>
                  </a:lnTo>
                  <a:lnTo>
                    <a:pt x="2599575" y="349567"/>
                  </a:lnTo>
                  <a:lnTo>
                    <a:pt x="2603931" y="344487"/>
                  </a:lnTo>
                  <a:lnTo>
                    <a:pt x="2607932" y="341947"/>
                  </a:lnTo>
                  <a:lnTo>
                    <a:pt x="2607424" y="348297"/>
                  </a:lnTo>
                  <a:lnTo>
                    <a:pt x="2610993" y="347027"/>
                  </a:lnTo>
                  <a:lnTo>
                    <a:pt x="2617432" y="341947"/>
                  </a:lnTo>
                  <a:lnTo>
                    <a:pt x="2622270" y="338137"/>
                  </a:lnTo>
                  <a:lnTo>
                    <a:pt x="2622270" y="320014"/>
                  </a:lnTo>
                  <a:lnTo>
                    <a:pt x="2621699" y="322897"/>
                  </a:lnTo>
                  <a:lnTo>
                    <a:pt x="2612936" y="334327"/>
                  </a:lnTo>
                  <a:lnTo>
                    <a:pt x="2610739" y="335597"/>
                  </a:lnTo>
                  <a:lnTo>
                    <a:pt x="2607894" y="327977"/>
                  </a:lnTo>
                  <a:lnTo>
                    <a:pt x="2609291" y="325437"/>
                  </a:lnTo>
                  <a:lnTo>
                    <a:pt x="2610688" y="322897"/>
                  </a:lnTo>
                  <a:lnTo>
                    <a:pt x="2615311" y="325437"/>
                  </a:lnTo>
                  <a:lnTo>
                    <a:pt x="2615196" y="322897"/>
                  </a:lnTo>
                  <a:lnTo>
                    <a:pt x="2618803" y="325437"/>
                  </a:lnTo>
                  <a:lnTo>
                    <a:pt x="2618321" y="322897"/>
                  </a:lnTo>
                  <a:lnTo>
                    <a:pt x="2618079" y="321627"/>
                  </a:lnTo>
                  <a:lnTo>
                    <a:pt x="2616885" y="315277"/>
                  </a:lnTo>
                  <a:lnTo>
                    <a:pt x="2619718" y="312737"/>
                  </a:lnTo>
                  <a:lnTo>
                    <a:pt x="2622550" y="310197"/>
                  </a:lnTo>
                  <a:lnTo>
                    <a:pt x="2617978" y="308927"/>
                  </a:lnTo>
                  <a:lnTo>
                    <a:pt x="2619540" y="306387"/>
                  </a:lnTo>
                  <a:lnTo>
                    <a:pt x="2620607" y="305117"/>
                  </a:lnTo>
                  <a:lnTo>
                    <a:pt x="2622677" y="307657"/>
                  </a:lnTo>
                  <a:lnTo>
                    <a:pt x="2624518" y="305117"/>
                  </a:lnTo>
                  <a:lnTo>
                    <a:pt x="2625445" y="303847"/>
                  </a:lnTo>
                  <a:lnTo>
                    <a:pt x="2630982" y="296227"/>
                  </a:lnTo>
                  <a:lnTo>
                    <a:pt x="2632824" y="294957"/>
                  </a:lnTo>
                  <a:lnTo>
                    <a:pt x="2632824" y="255079"/>
                  </a:lnTo>
                  <a:lnTo>
                    <a:pt x="2629890" y="259397"/>
                  </a:lnTo>
                  <a:lnTo>
                    <a:pt x="2623604" y="263448"/>
                  </a:lnTo>
                  <a:lnTo>
                    <a:pt x="2623604" y="283527"/>
                  </a:lnTo>
                  <a:lnTo>
                    <a:pt x="2619044" y="291147"/>
                  </a:lnTo>
                  <a:lnTo>
                    <a:pt x="2612733" y="296227"/>
                  </a:lnTo>
                  <a:lnTo>
                    <a:pt x="2604960" y="301307"/>
                  </a:lnTo>
                  <a:lnTo>
                    <a:pt x="2598966" y="303847"/>
                  </a:lnTo>
                  <a:lnTo>
                    <a:pt x="2584970" y="302577"/>
                  </a:lnTo>
                  <a:lnTo>
                    <a:pt x="2577198" y="298767"/>
                  </a:lnTo>
                  <a:lnTo>
                    <a:pt x="2576652" y="296227"/>
                  </a:lnTo>
                  <a:lnTo>
                    <a:pt x="2577427" y="294957"/>
                  </a:lnTo>
                  <a:lnTo>
                    <a:pt x="2584577" y="294957"/>
                  </a:lnTo>
                  <a:lnTo>
                    <a:pt x="2582202" y="292417"/>
                  </a:lnTo>
                  <a:lnTo>
                    <a:pt x="2579827" y="289877"/>
                  </a:lnTo>
                  <a:lnTo>
                    <a:pt x="2578519" y="288607"/>
                  </a:lnTo>
                  <a:lnTo>
                    <a:pt x="2579535" y="286067"/>
                  </a:lnTo>
                  <a:lnTo>
                    <a:pt x="2591320" y="287337"/>
                  </a:lnTo>
                  <a:lnTo>
                    <a:pt x="2590088" y="286067"/>
                  </a:lnTo>
                  <a:lnTo>
                    <a:pt x="2586380" y="282257"/>
                  </a:lnTo>
                  <a:lnTo>
                    <a:pt x="2585364" y="279717"/>
                  </a:lnTo>
                  <a:lnTo>
                    <a:pt x="2587828" y="278447"/>
                  </a:lnTo>
                  <a:lnTo>
                    <a:pt x="2594546" y="280987"/>
                  </a:lnTo>
                  <a:lnTo>
                    <a:pt x="2599309" y="283527"/>
                  </a:lnTo>
                  <a:lnTo>
                    <a:pt x="2597975" y="280987"/>
                  </a:lnTo>
                  <a:lnTo>
                    <a:pt x="2600134" y="280987"/>
                  </a:lnTo>
                  <a:lnTo>
                    <a:pt x="2598509" y="288607"/>
                  </a:lnTo>
                  <a:lnTo>
                    <a:pt x="2603601" y="283527"/>
                  </a:lnTo>
                  <a:lnTo>
                    <a:pt x="2606586" y="282257"/>
                  </a:lnTo>
                  <a:lnTo>
                    <a:pt x="2604859" y="289877"/>
                  </a:lnTo>
                  <a:lnTo>
                    <a:pt x="2608542" y="287337"/>
                  </a:lnTo>
                  <a:lnTo>
                    <a:pt x="2610815" y="282257"/>
                  </a:lnTo>
                  <a:lnTo>
                    <a:pt x="2611945" y="279717"/>
                  </a:lnTo>
                  <a:lnTo>
                    <a:pt x="2613672" y="288607"/>
                  </a:lnTo>
                  <a:lnTo>
                    <a:pt x="2619552" y="280987"/>
                  </a:lnTo>
                  <a:lnTo>
                    <a:pt x="2622181" y="279717"/>
                  </a:lnTo>
                  <a:lnTo>
                    <a:pt x="2623604" y="283527"/>
                  </a:lnTo>
                  <a:lnTo>
                    <a:pt x="2623604" y="263448"/>
                  </a:lnTo>
                  <a:lnTo>
                    <a:pt x="2622004" y="264477"/>
                  </a:lnTo>
                  <a:lnTo>
                    <a:pt x="2596908" y="279717"/>
                  </a:lnTo>
                  <a:lnTo>
                    <a:pt x="2595956" y="278447"/>
                  </a:lnTo>
                  <a:lnTo>
                    <a:pt x="2594051" y="275907"/>
                  </a:lnTo>
                  <a:lnTo>
                    <a:pt x="2593098" y="274637"/>
                  </a:lnTo>
                  <a:lnTo>
                    <a:pt x="2592146" y="273367"/>
                  </a:lnTo>
                  <a:lnTo>
                    <a:pt x="2603436" y="269557"/>
                  </a:lnTo>
                  <a:lnTo>
                    <a:pt x="2588120" y="267017"/>
                  </a:lnTo>
                  <a:lnTo>
                    <a:pt x="2578404" y="263207"/>
                  </a:lnTo>
                  <a:lnTo>
                    <a:pt x="2576284" y="261937"/>
                  </a:lnTo>
                  <a:lnTo>
                    <a:pt x="2576207" y="260667"/>
                  </a:lnTo>
                  <a:lnTo>
                    <a:pt x="2577604" y="259397"/>
                  </a:lnTo>
                  <a:lnTo>
                    <a:pt x="2578316" y="259397"/>
                  </a:lnTo>
                  <a:lnTo>
                    <a:pt x="2579713" y="258127"/>
                  </a:lnTo>
                  <a:lnTo>
                    <a:pt x="2585885" y="258127"/>
                  </a:lnTo>
                  <a:lnTo>
                    <a:pt x="2590342" y="259397"/>
                  </a:lnTo>
                  <a:lnTo>
                    <a:pt x="2589809" y="258127"/>
                  </a:lnTo>
                  <a:lnTo>
                    <a:pt x="2588742" y="255587"/>
                  </a:lnTo>
                  <a:lnTo>
                    <a:pt x="2586609" y="250507"/>
                  </a:lnTo>
                  <a:lnTo>
                    <a:pt x="2594216" y="250507"/>
                  </a:lnTo>
                  <a:lnTo>
                    <a:pt x="2593492" y="249237"/>
                  </a:lnTo>
                  <a:lnTo>
                    <a:pt x="2591333" y="245427"/>
                  </a:lnTo>
                  <a:lnTo>
                    <a:pt x="2591854" y="244157"/>
                  </a:lnTo>
                  <a:lnTo>
                    <a:pt x="2593924" y="239077"/>
                  </a:lnTo>
                  <a:lnTo>
                    <a:pt x="2587828" y="241617"/>
                  </a:lnTo>
                  <a:lnTo>
                    <a:pt x="2583764" y="244157"/>
                  </a:lnTo>
                  <a:lnTo>
                    <a:pt x="2581148" y="242887"/>
                  </a:lnTo>
                  <a:lnTo>
                    <a:pt x="2578544" y="241617"/>
                  </a:lnTo>
                  <a:lnTo>
                    <a:pt x="2574226" y="242887"/>
                  </a:lnTo>
                  <a:lnTo>
                    <a:pt x="2572512" y="240347"/>
                  </a:lnTo>
                  <a:lnTo>
                    <a:pt x="2575737" y="236537"/>
                  </a:lnTo>
                  <a:lnTo>
                    <a:pt x="2581846" y="236537"/>
                  </a:lnTo>
                  <a:lnTo>
                    <a:pt x="2581313" y="235267"/>
                  </a:lnTo>
                  <a:lnTo>
                    <a:pt x="2580538" y="233997"/>
                  </a:lnTo>
                  <a:lnTo>
                    <a:pt x="2580665" y="231457"/>
                  </a:lnTo>
                  <a:lnTo>
                    <a:pt x="2582329" y="228917"/>
                  </a:lnTo>
                  <a:lnTo>
                    <a:pt x="2583154" y="227647"/>
                  </a:lnTo>
                  <a:lnTo>
                    <a:pt x="2576830" y="228917"/>
                  </a:lnTo>
                  <a:lnTo>
                    <a:pt x="2572016" y="228917"/>
                  </a:lnTo>
                  <a:lnTo>
                    <a:pt x="2571165" y="226377"/>
                  </a:lnTo>
                  <a:lnTo>
                    <a:pt x="2571597" y="221297"/>
                  </a:lnTo>
                  <a:lnTo>
                    <a:pt x="2576309" y="212407"/>
                  </a:lnTo>
                  <a:lnTo>
                    <a:pt x="2573832" y="212407"/>
                  </a:lnTo>
                  <a:lnTo>
                    <a:pt x="2570505" y="209867"/>
                  </a:lnTo>
                  <a:lnTo>
                    <a:pt x="2570569" y="197167"/>
                  </a:lnTo>
                  <a:lnTo>
                    <a:pt x="2569426" y="194627"/>
                  </a:lnTo>
                  <a:lnTo>
                    <a:pt x="2567241" y="195897"/>
                  </a:lnTo>
                  <a:lnTo>
                    <a:pt x="2567635" y="207327"/>
                  </a:lnTo>
                  <a:lnTo>
                    <a:pt x="2566517" y="211137"/>
                  </a:lnTo>
                  <a:lnTo>
                    <a:pt x="2561488" y="211137"/>
                  </a:lnTo>
                  <a:lnTo>
                    <a:pt x="2566924" y="225107"/>
                  </a:lnTo>
                  <a:lnTo>
                    <a:pt x="2565882" y="228917"/>
                  </a:lnTo>
                  <a:lnTo>
                    <a:pt x="2551734" y="226377"/>
                  </a:lnTo>
                  <a:lnTo>
                    <a:pt x="2558846" y="232727"/>
                  </a:lnTo>
                  <a:lnTo>
                    <a:pt x="2558389" y="235267"/>
                  </a:lnTo>
                  <a:lnTo>
                    <a:pt x="2558110" y="237807"/>
                  </a:lnTo>
                  <a:lnTo>
                    <a:pt x="2561780" y="236537"/>
                  </a:lnTo>
                  <a:lnTo>
                    <a:pt x="2564688" y="236537"/>
                  </a:lnTo>
                  <a:lnTo>
                    <a:pt x="2565806" y="240347"/>
                  </a:lnTo>
                  <a:lnTo>
                    <a:pt x="2560917" y="244157"/>
                  </a:lnTo>
                  <a:lnTo>
                    <a:pt x="2541117" y="239077"/>
                  </a:lnTo>
                  <a:lnTo>
                    <a:pt x="2544559" y="242887"/>
                  </a:lnTo>
                  <a:lnTo>
                    <a:pt x="2542502" y="247967"/>
                  </a:lnTo>
                  <a:lnTo>
                    <a:pt x="2548699" y="245427"/>
                  </a:lnTo>
                  <a:lnTo>
                    <a:pt x="2543492" y="254317"/>
                  </a:lnTo>
                  <a:lnTo>
                    <a:pt x="2550452" y="251777"/>
                  </a:lnTo>
                  <a:lnTo>
                    <a:pt x="2555075" y="249237"/>
                  </a:lnTo>
                  <a:lnTo>
                    <a:pt x="2551138" y="258127"/>
                  </a:lnTo>
                  <a:lnTo>
                    <a:pt x="2557589" y="255587"/>
                  </a:lnTo>
                  <a:lnTo>
                    <a:pt x="2561679" y="255587"/>
                  </a:lnTo>
                  <a:lnTo>
                    <a:pt x="2559710" y="259397"/>
                  </a:lnTo>
                  <a:lnTo>
                    <a:pt x="2557411" y="261937"/>
                  </a:lnTo>
                  <a:lnTo>
                    <a:pt x="2547518" y="264477"/>
                  </a:lnTo>
                  <a:lnTo>
                    <a:pt x="2534272" y="264477"/>
                  </a:lnTo>
                  <a:lnTo>
                    <a:pt x="2542298" y="270827"/>
                  </a:lnTo>
                  <a:lnTo>
                    <a:pt x="2538044" y="277177"/>
                  </a:lnTo>
                  <a:lnTo>
                    <a:pt x="2548191" y="274637"/>
                  </a:lnTo>
                  <a:lnTo>
                    <a:pt x="2544686" y="283527"/>
                  </a:lnTo>
                  <a:lnTo>
                    <a:pt x="2559304" y="275907"/>
                  </a:lnTo>
                  <a:lnTo>
                    <a:pt x="2561094" y="275907"/>
                  </a:lnTo>
                  <a:lnTo>
                    <a:pt x="2561285" y="278447"/>
                  </a:lnTo>
                  <a:lnTo>
                    <a:pt x="2557818" y="282257"/>
                  </a:lnTo>
                  <a:lnTo>
                    <a:pt x="2555494" y="286067"/>
                  </a:lnTo>
                  <a:lnTo>
                    <a:pt x="2545753" y="293687"/>
                  </a:lnTo>
                  <a:lnTo>
                    <a:pt x="2552789" y="292417"/>
                  </a:lnTo>
                  <a:lnTo>
                    <a:pt x="2551138" y="298767"/>
                  </a:lnTo>
                  <a:lnTo>
                    <a:pt x="2557157" y="294957"/>
                  </a:lnTo>
                  <a:lnTo>
                    <a:pt x="2559608" y="294957"/>
                  </a:lnTo>
                  <a:lnTo>
                    <a:pt x="2559189" y="298767"/>
                  </a:lnTo>
                  <a:lnTo>
                    <a:pt x="2556332" y="300939"/>
                  </a:lnTo>
                  <a:lnTo>
                    <a:pt x="2556332" y="322897"/>
                  </a:lnTo>
                  <a:lnTo>
                    <a:pt x="2556192" y="330517"/>
                  </a:lnTo>
                  <a:lnTo>
                    <a:pt x="2553017" y="337566"/>
                  </a:lnTo>
                  <a:lnTo>
                    <a:pt x="2553017" y="382587"/>
                  </a:lnTo>
                  <a:lnTo>
                    <a:pt x="2551747" y="382282"/>
                  </a:lnTo>
                  <a:lnTo>
                    <a:pt x="2551747" y="388937"/>
                  </a:lnTo>
                  <a:lnTo>
                    <a:pt x="2551315" y="391477"/>
                  </a:lnTo>
                  <a:lnTo>
                    <a:pt x="2549093" y="394017"/>
                  </a:lnTo>
                  <a:lnTo>
                    <a:pt x="2546058" y="390207"/>
                  </a:lnTo>
                  <a:lnTo>
                    <a:pt x="2549309" y="390207"/>
                  </a:lnTo>
                  <a:lnTo>
                    <a:pt x="2549728" y="387667"/>
                  </a:lnTo>
                  <a:lnTo>
                    <a:pt x="2551747" y="388937"/>
                  </a:lnTo>
                  <a:lnTo>
                    <a:pt x="2551747" y="382282"/>
                  </a:lnTo>
                  <a:lnTo>
                    <a:pt x="2547785" y="381317"/>
                  </a:lnTo>
                  <a:lnTo>
                    <a:pt x="2549194" y="378777"/>
                  </a:lnTo>
                  <a:lnTo>
                    <a:pt x="2552331" y="380047"/>
                  </a:lnTo>
                  <a:lnTo>
                    <a:pt x="2553017" y="382587"/>
                  </a:lnTo>
                  <a:lnTo>
                    <a:pt x="2553017" y="337566"/>
                  </a:lnTo>
                  <a:lnTo>
                    <a:pt x="2551036" y="341947"/>
                  </a:lnTo>
                  <a:lnTo>
                    <a:pt x="2543759" y="347027"/>
                  </a:lnTo>
                  <a:lnTo>
                    <a:pt x="2532888" y="344004"/>
                  </a:lnTo>
                  <a:lnTo>
                    <a:pt x="2532888" y="416877"/>
                  </a:lnTo>
                  <a:lnTo>
                    <a:pt x="2524849" y="419417"/>
                  </a:lnTo>
                  <a:lnTo>
                    <a:pt x="2524480" y="418147"/>
                  </a:lnTo>
                  <a:lnTo>
                    <a:pt x="2527554" y="418147"/>
                  </a:lnTo>
                  <a:lnTo>
                    <a:pt x="2523413" y="409257"/>
                  </a:lnTo>
                  <a:lnTo>
                    <a:pt x="2522829" y="407987"/>
                  </a:lnTo>
                  <a:lnTo>
                    <a:pt x="2436609" y="407987"/>
                  </a:lnTo>
                  <a:lnTo>
                    <a:pt x="2436609" y="437197"/>
                  </a:lnTo>
                  <a:lnTo>
                    <a:pt x="2433345" y="438467"/>
                  </a:lnTo>
                  <a:lnTo>
                    <a:pt x="2432786" y="438467"/>
                  </a:lnTo>
                  <a:lnTo>
                    <a:pt x="2432037" y="437197"/>
                  </a:lnTo>
                  <a:lnTo>
                    <a:pt x="2431300" y="435927"/>
                  </a:lnTo>
                  <a:lnTo>
                    <a:pt x="2431580" y="434657"/>
                  </a:lnTo>
                  <a:lnTo>
                    <a:pt x="2431694" y="433387"/>
                  </a:lnTo>
                  <a:lnTo>
                    <a:pt x="2431973" y="432117"/>
                  </a:lnTo>
                  <a:lnTo>
                    <a:pt x="2433751" y="432117"/>
                  </a:lnTo>
                  <a:lnTo>
                    <a:pt x="2436609" y="437197"/>
                  </a:lnTo>
                  <a:lnTo>
                    <a:pt x="2436609" y="407987"/>
                  </a:lnTo>
                  <a:lnTo>
                    <a:pt x="2363813" y="407987"/>
                  </a:lnTo>
                  <a:lnTo>
                    <a:pt x="2362289" y="407987"/>
                  </a:lnTo>
                  <a:lnTo>
                    <a:pt x="2360587" y="409257"/>
                  </a:lnTo>
                  <a:lnTo>
                    <a:pt x="2357945" y="406717"/>
                  </a:lnTo>
                  <a:lnTo>
                    <a:pt x="2352675" y="401637"/>
                  </a:lnTo>
                  <a:lnTo>
                    <a:pt x="2352078" y="397827"/>
                  </a:lnTo>
                  <a:lnTo>
                    <a:pt x="2355278" y="397827"/>
                  </a:lnTo>
                  <a:lnTo>
                    <a:pt x="2356853" y="402907"/>
                  </a:lnTo>
                  <a:lnTo>
                    <a:pt x="2362250" y="400367"/>
                  </a:lnTo>
                  <a:lnTo>
                    <a:pt x="2362403" y="400367"/>
                  </a:lnTo>
                  <a:lnTo>
                    <a:pt x="2358110" y="404177"/>
                  </a:lnTo>
                  <a:lnTo>
                    <a:pt x="2362949" y="402907"/>
                  </a:lnTo>
                  <a:lnTo>
                    <a:pt x="2363025" y="404177"/>
                  </a:lnTo>
                  <a:lnTo>
                    <a:pt x="2360345" y="404177"/>
                  </a:lnTo>
                  <a:lnTo>
                    <a:pt x="2363508" y="406717"/>
                  </a:lnTo>
                  <a:lnTo>
                    <a:pt x="2363647" y="407314"/>
                  </a:lnTo>
                  <a:lnTo>
                    <a:pt x="2364105" y="407314"/>
                  </a:lnTo>
                  <a:lnTo>
                    <a:pt x="2522512" y="407314"/>
                  </a:lnTo>
                  <a:lnTo>
                    <a:pt x="2522232" y="406717"/>
                  </a:lnTo>
                  <a:lnTo>
                    <a:pt x="2520467" y="402907"/>
                  </a:lnTo>
                  <a:lnTo>
                    <a:pt x="2522588" y="404177"/>
                  </a:lnTo>
                  <a:lnTo>
                    <a:pt x="2522613" y="402907"/>
                  </a:lnTo>
                  <a:lnTo>
                    <a:pt x="2522651" y="400367"/>
                  </a:lnTo>
                  <a:lnTo>
                    <a:pt x="2522702" y="397827"/>
                  </a:lnTo>
                  <a:lnTo>
                    <a:pt x="2522753" y="395287"/>
                  </a:lnTo>
                  <a:lnTo>
                    <a:pt x="2525877" y="407987"/>
                  </a:lnTo>
                  <a:lnTo>
                    <a:pt x="2526614" y="411797"/>
                  </a:lnTo>
                  <a:lnTo>
                    <a:pt x="2530729" y="410527"/>
                  </a:lnTo>
                  <a:lnTo>
                    <a:pt x="2532215" y="409257"/>
                  </a:lnTo>
                  <a:lnTo>
                    <a:pt x="2532494" y="411797"/>
                  </a:lnTo>
                  <a:lnTo>
                    <a:pt x="2531592" y="413067"/>
                  </a:lnTo>
                  <a:lnTo>
                    <a:pt x="2532621" y="413067"/>
                  </a:lnTo>
                  <a:lnTo>
                    <a:pt x="2532888" y="416877"/>
                  </a:lnTo>
                  <a:lnTo>
                    <a:pt x="2532888" y="344004"/>
                  </a:lnTo>
                  <a:lnTo>
                    <a:pt x="2531580" y="343636"/>
                  </a:lnTo>
                  <a:lnTo>
                    <a:pt x="2531580" y="359727"/>
                  </a:lnTo>
                  <a:lnTo>
                    <a:pt x="2530271" y="362267"/>
                  </a:lnTo>
                  <a:lnTo>
                    <a:pt x="2529382" y="363537"/>
                  </a:lnTo>
                  <a:lnTo>
                    <a:pt x="2522042" y="366077"/>
                  </a:lnTo>
                  <a:lnTo>
                    <a:pt x="2516898" y="363537"/>
                  </a:lnTo>
                  <a:lnTo>
                    <a:pt x="2514320" y="362267"/>
                  </a:lnTo>
                  <a:lnTo>
                    <a:pt x="2511755" y="360997"/>
                  </a:lnTo>
                  <a:lnTo>
                    <a:pt x="2509215" y="357187"/>
                  </a:lnTo>
                  <a:lnTo>
                    <a:pt x="2507526" y="354647"/>
                  </a:lnTo>
                  <a:lnTo>
                    <a:pt x="2514650" y="357187"/>
                  </a:lnTo>
                  <a:lnTo>
                    <a:pt x="2516403" y="354647"/>
                  </a:lnTo>
                  <a:lnTo>
                    <a:pt x="2518168" y="352107"/>
                  </a:lnTo>
                  <a:lnTo>
                    <a:pt x="2519515" y="362267"/>
                  </a:lnTo>
                  <a:lnTo>
                    <a:pt x="2522702" y="359727"/>
                  </a:lnTo>
                  <a:lnTo>
                    <a:pt x="2529040" y="363537"/>
                  </a:lnTo>
                  <a:lnTo>
                    <a:pt x="2528443" y="359727"/>
                  </a:lnTo>
                  <a:lnTo>
                    <a:pt x="2528252" y="358457"/>
                  </a:lnTo>
                  <a:lnTo>
                    <a:pt x="2531580" y="359727"/>
                  </a:lnTo>
                  <a:lnTo>
                    <a:pt x="2531580" y="343636"/>
                  </a:lnTo>
                  <a:lnTo>
                    <a:pt x="2525534" y="341947"/>
                  </a:lnTo>
                  <a:lnTo>
                    <a:pt x="2507323" y="336867"/>
                  </a:lnTo>
                  <a:lnTo>
                    <a:pt x="2504960" y="333057"/>
                  </a:lnTo>
                  <a:lnTo>
                    <a:pt x="2511844" y="330517"/>
                  </a:lnTo>
                  <a:lnTo>
                    <a:pt x="2508974" y="327977"/>
                  </a:lnTo>
                  <a:lnTo>
                    <a:pt x="2503233" y="322897"/>
                  </a:lnTo>
                  <a:lnTo>
                    <a:pt x="2505189" y="319087"/>
                  </a:lnTo>
                  <a:lnTo>
                    <a:pt x="2508161" y="317817"/>
                  </a:lnTo>
                  <a:lnTo>
                    <a:pt x="2509405" y="326707"/>
                  </a:lnTo>
                  <a:lnTo>
                    <a:pt x="2512555" y="321627"/>
                  </a:lnTo>
                  <a:lnTo>
                    <a:pt x="2517648" y="329247"/>
                  </a:lnTo>
                  <a:lnTo>
                    <a:pt x="2518283" y="324167"/>
                  </a:lnTo>
                  <a:lnTo>
                    <a:pt x="2524429" y="325437"/>
                  </a:lnTo>
                  <a:lnTo>
                    <a:pt x="2521356" y="327977"/>
                  </a:lnTo>
                  <a:lnTo>
                    <a:pt x="2535580" y="321627"/>
                  </a:lnTo>
                  <a:lnTo>
                    <a:pt x="2534932" y="325437"/>
                  </a:lnTo>
                  <a:lnTo>
                    <a:pt x="2530906" y="335597"/>
                  </a:lnTo>
                  <a:lnTo>
                    <a:pt x="2538565" y="330517"/>
                  </a:lnTo>
                  <a:lnTo>
                    <a:pt x="2541447" y="339407"/>
                  </a:lnTo>
                  <a:lnTo>
                    <a:pt x="2544470" y="330517"/>
                  </a:lnTo>
                  <a:lnTo>
                    <a:pt x="2545765" y="326707"/>
                  </a:lnTo>
                  <a:lnTo>
                    <a:pt x="2547277" y="324167"/>
                  </a:lnTo>
                  <a:lnTo>
                    <a:pt x="2551112" y="329247"/>
                  </a:lnTo>
                  <a:lnTo>
                    <a:pt x="2553512" y="324167"/>
                  </a:lnTo>
                  <a:lnTo>
                    <a:pt x="2554719" y="321627"/>
                  </a:lnTo>
                  <a:lnTo>
                    <a:pt x="2556332" y="322897"/>
                  </a:lnTo>
                  <a:lnTo>
                    <a:pt x="2556332" y="300939"/>
                  </a:lnTo>
                  <a:lnTo>
                    <a:pt x="2555837" y="301307"/>
                  </a:lnTo>
                  <a:lnTo>
                    <a:pt x="2541130" y="306387"/>
                  </a:lnTo>
                  <a:lnTo>
                    <a:pt x="2532862" y="304761"/>
                  </a:lnTo>
                  <a:lnTo>
                    <a:pt x="2532862" y="314007"/>
                  </a:lnTo>
                  <a:lnTo>
                    <a:pt x="2531300" y="316547"/>
                  </a:lnTo>
                  <a:lnTo>
                    <a:pt x="2524734" y="324167"/>
                  </a:lnTo>
                  <a:lnTo>
                    <a:pt x="2521953" y="321627"/>
                  </a:lnTo>
                  <a:lnTo>
                    <a:pt x="2517775" y="317817"/>
                  </a:lnTo>
                  <a:lnTo>
                    <a:pt x="2516378" y="316547"/>
                  </a:lnTo>
                  <a:lnTo>
                    <a:pt x="2515832" y="315277"/>
                  </a:lnTo>
                  <a:lnTo>
                    <a:pt x="2514727" y="312737"/>
                  </a:lnTo>
                  <a:lnTo>
                    <a:pt x="2519184" y="314007"/>
                  </a:lnTo>
                  <a:lnTo>
                    <a:pt x="2518626" y="315277"/>
                  </a:lnTo>
                  <a:lnTo>
                    <a:pt x="2517813" y="316547"/>
                  </a:lnTo>
                  <a:lnTo>
                    <a:pt x="2521966" y="315277"/>
                  </a:lnTo>
                  <a:lnTo>
                    <a:pt x="2529408" y="317817"/>
                  </a:lnTo>
                  <a:lnTo>
                    <a:pt x="2527439" y="315277"/>
                  </a:lnTo>
                  <a:lnTo>
                    <a:pt x="2526461" y="314007"/>
                  </a:lnTo>
                  <a:lnTo>
                    <a:pt x="2529840" y="312737"/>
                  </a:lnTo>
                  <a:lnTo>
                    <a:pt x="2532862" y="314007"/>
                  </a:lnTo>
                  <a:lnTo>
                    <a:pt x="2532862" y="304761"/>
                  </a:lnTo>
                  <a:lnTo>
                    <a:pt x="2508859" y="300037"/>
                  </a:lnTo>
                  <a:lnTo>
                    <a:pt x="2504579" y="297497"/>
                  </a:lnTo>
                  <a:lnTo>
                    <a:pt x="2498153" y="293687"/>
                  </a:lnTo>
                  <a:lnTo>
                    <a:pt x="2499626" y="288607"/>
                  </a:lnTo>
                  <a:lnTo>
                    <a:pt x="2504236" y="296227"/>
                  </a:lnTo>
                  <a:lnTo>
                    <a:pt x="2508720" y="293687"/>
                  </a:lnTo>
                  <a:lnTo>
                    <a:pt x="2514041" y="296227"/>
                  </a:lnTo>
                  <a:lnTo>
                    <a:pt x="2512631" y="293687"/>
                  </a:lnTo>
                  <a:lnTo>
                    <a:pt x="2508389" y="286067"/>
                  </a:lnTo>
                  <a:lnTo>
                    <a:pt x="2514447" y="291147"/>
                  </a:lnTo>
                  <a:lnTo>
                    <a:pt x="2516213" y="288607"/>
                  </a:lnTo>
                  <a:lnTo>
                    <a:pt x="2517406" y="287337"/>
                  </a:lnTo>
                  <a:lnTo>
                    <a:pt x="2523693" y="288607"/>
                  </a:lnTo>
                  <a:lnTo>
                    <a:pt x="2522334" y="287337"/>
                  </a:lnTo>
                  <a:lnTo>
                    <a:pt x="2520975" y="286067"/>
                  </a:lnTo>
                  <a:lnTo>
                    <a:pt x="2519603" y="284797"/>
                  </a:lnTo>
                  <a:lnTo>
                    <a:pt x="2515527" y="280987"/>
                  </a:lnTo>
                  <a:lnTo>
                    <a:pt x="2521877" y="278447"/>
                  </a:lnTo>
                  <a:lnTo>
                    <a:pt x="2516822" y="274637"/>
                  </a:lnTo>
                  <a:lnTo>
                    <a:pt x="2515133" y="273367"/>
                  </a:lnTo>
                  <a:lnTo>
                    <a:pt x="2523477" y="274637"/>
                  </a:lnTo>
                  <a:lnTo>
                    <a:pt x="2519375" y="272097"/>
                  </a:lnTo>
                  <a:lnTo>
                    <a:pt x="2522270" y="268287"/>
                  </a:lnTo>
                  <a:lnTo>
                    <a:pt x="2501481" y="273367"/>
                  </a:lnTo>
                  <a:lnTo>
                    <a:pt x="2494940" y="268287"/>
                  </a:lnTo>
                  <a:lnTo>
                    <a:pt x="2499182" y="269557"/>
                  </a:lnTo>
                  <a:lnTo>
                    <a:pt x="2499156" y="268287"/>
                  </a:lnTo>
                  <a:lnTo>
                    <a:pt x="2499118" y="267017"/>
                  </a:lnTo>
                  <a:lnTo>
                    <a:pt x="2499068" y="264477"/>
                  </a:lnTo>
                  <a:lnTo>
                    <a:pt x="2503754" y="267017"/>
                  </a:lnTo>
                  <a:lnTo>
                    <a:pt x="2503170" y="264477"/>
                  </a:lnTo>
                  <a:lnTo>
                    <a:pt x="2502598" y="261937"/>
                  </a:lnTo>
                  <a:lnTo>
                    <a:pt x="2509697" y="259397"/>
                  </a:lnTo>
                  <a:lnTo>
                    <a:pt x="2502306" y="258127"/>
                  </a:lnTo>
                  <a:lnTo>
                    <a:pt x="2494750" y="254317"/>
                  </a:lnTo>
                  <a:lnTo>
                    <a:pt x="2503601" y="251777"/>
                  </a:lnTo>
                  <a:lnTo>
                    <a:pt x="2500706" y="249237"/>
                  </a:lnTo>
                  <a:lnTo>
                    <a:pt x="2504617" y="246697"/>
                  </a:lnTo>
                  <a:lnTo>
                    <a:pt x="2502014" y="245427"/>
                  </a:lnTo>
                  <a:lnTo>
                    <a:pt x="2494191" y="241617"/>
                  </a:lnTo>
                  <a:lnTo>
                    <a:pt x="2498064" y="239077"/>
                  </a:lnTo>
                  <a:lnTo>
                    <a:pt x="2493734" y="236537"/>
                  </a:lnTo>
                  <a:lnTo>
                    <a:pt x="2491587" y="230187"/>
                  </a:lnTo>
                  <a:lnTo>
                    <a:pt x="2491282" y="218757"/>
                  </a:lnTo>
                  <a:lnTo>
                    <a:pt x="2489695" y="216217"/>
                  </a:lnTo>
                  <a:lnTo>
                    <a:pt x="2488539" y="222567"/>
                  </a:lnTo>
                  <a:lnTo>
                    <a:pt x="2487269" y="236537"/>
                  </a:lnTo>
                  <a:lnTo>
                    <a:pt x="2481300" y="240347"/>
                  </a:lnTo>
                  <a:lnTo>
                    <a:pt x="2487434" y="245427"/>
                  </a:lnTo>
                  <a:lnTo>
                    <a:pt x="2478074" y="244157"/>
                  </a:lnTo>
                  <a:lnTo>
                    <a:pt x="2481376" y="247967"/>
                  </a:lnTo>
                  <a:lnTo>
                    <a:pt x="2477935" y="249237"/>
                  </a:lnTo>
                  <a:lnTo>
                    <a:pt x="2472296" y="246697"/>
                  </a:lnTo>
                  <a:lnTo>
                    <a:pt x="2477122" y="253047"/>
                  </a:lnTo>
                  <a:lnTo>
                    <a:pt x="2471864" y="256857"/>
                  </a:lnTo>
                  <a:lnTo>
                    <a:pt x="2479738" y="258127"/>
                  </a:lnTo>
                  <a:lnTo>
                    <a:pt x="2475407" y="259397"/>
                  </a:lnTo>
                  <a:lnTo>
                    <a:pt x="2472550" y="260667"/>
                  </a:lnTo>
                  <a:lnTo>
                    <a:pt x="2468118" y="263207"/>
                  </a:lnTo>
                  <a:lnTo>
                    <a:pt x="2474455" y="264477"/>
                  </a:lnTo>
                  <a:lnTo>
                    <a:pt x="2471978" y="268287"/>
                  </a:lnTo>
                  <a:lnTo>
                    <a:pt x="2479027" y="267017"/>
                  </a:lnTo>
                  <a:lnTo>
                    <a:pt x="2479065" y="272097"/>
                  </a:lnTo>
                  <a:lnTo>
                    <a:pt x="2486431" y="267017"/>
                  </a:lnTo>
                  <a:lnTo>
                    <a:pt x="2482024" y="274637"/>
                  </a:lnTo>
                  <a:lnTo>
                    <a:pt x="2463444" y="267017"/>
                  </a:lnTo>
                  <a:lnTo>
                    <a:pt x="2467584" y="273367"/>
                  </a:lnTo>
                  <a:lnTo>
                    <a:pt x="2462009" y="273367"/>
                  </a:lnTo>
                  <a:lnTo>
                    <a:pt x="2466429" y="275907"/>
                  </a:lnTo>
                  <a:lnTo>
                    <a:pt x="2467927" y="279717"/>
                  </a:lnTo>
                  <a:lnTo>
                    <a:pt x="2459863" y="279717"/>
                  </a:lnTo>
                  <a:lnTo>
                    <a:pt x="2465514" y="284797"/>
                  </a:lnTo>
                  <a:lnTo>
                    <a:pt x="2465120" y="289877"/>
                  </a:lnTo>
                  <a:lnTo>
                    <a:pt x="2472537" y="284797"/>
                  </a:lnTo>
                  <a:lnTo>
                    <a:pt x="2472448" y="288607"/>
                  </a:lnTo>
                  <a:lnTo>
                    <a:pt x="2480475" y="288607"/>
                  </a:lnTo>
                  <a:lnTo>
                    <a:pt x="2475319" y="290106"/>
                  </a:lnTo>
                  <a:lnTo>
                    <a:pt x="2475319" y="327977"/>
                  </a:lnTo>
                  <a:lnTo>
                    <a:pt x="2473109" y="333057"/>
                  </a:lnTo>
                  <a:lnTo>
                    <a:pt x="2466225" y="336867"/>
                  </a:lnTo>
                  <a:lnTo>
                    <a:pt x="2466225" y="333057"/>
                  </a:lnTo>
                  <a:lnTo>
                    <a:pt x="2470772" y="330517"/>
                  </a:lnTo>
                  <a:lnTo>
                    <a:pt x="2475319" y="327977"/>
                  </a:lnTo>
                  <a:lnTo>
                    <a:pt x="2475319" y="290106"/>
                  </a:lnTo>
                  <a:lnTo>
                    <a:pt x="2458491" y="294957"/>
                  </a:lnTo>
                  <a:lnTo>
                    <a:pt x="2462111" y="298767"/>
                  </a:lnTo>
                  <a:lnTo>
                    <a:pt x="2460294" y="302577"/>
                  </a:lnTo>
                  <a:lnTo>
                    <a:pt x="2474366" y="297497"/>
                  </a:lnTo>
                  <a:lnTo>
                    <a:pt x="2471382" y="301307"/>
                  </a:lnTo>
                  <a:lnTo>
                    <a:pt x="2474137" y="302577"/>
                  </a:lnTo>
                  <a:lnTo>
                    <a:pt x="2471102" y="303847"/>
                  </a:lnTo>
                  <a:lnTo>
                    <a:pt x="2445347" y="308927"/>
                  </a:lnTo>
                  <a:lnTo>
                    <a:pt x="2453182" y="314007"/>
                  </a:lnTo>
                  <a:lnTo>
                    <a:pt x="2453055" y="316547"/>
                  </a:lnTo>
                  <a:lnTo>
                    <a:pt x="2456192" y="315277"/>
                  </a:lnTo>
                  <a:lnTo>
                    <a:pt x="2451443" y="321627"/>
                  </a:lnTo>
                  <a:lnTo>
                    <a:pt x="2458034" y="319087"/>
                  </a:lnTo>
                  <a:lnTo>
                    <a:pt x="2458707" y="322897"/>
                  </a:lnTo>
                  <a:lnTo>
                    <a:pt x="2460853" y="319087"/>
                  </a:lnTo>
                  <a:lnTo>
                    <a:pt x="2461577" y="317817"/>
                  </a:lnTo>
                  <a:lnTo>
                    <a:pt x="2466302" y="316547"/>
                  </a:lnTo>
                  <a:lnTo>
                    <a:pt x="2462009" y="322897"/>
                  </a:lnTo>
                  <a:lnTo>
                    <a:pt x="2463977" y="322897"/>
                  </a:lnTo>
                  <a:lnTo>
                    <a:pt x="2460612" y="325831"/>
                  </a:lnTo>
                  <a:lnTo>
                    <a:pt x="2460612" y="363537"/>
                  </a:lnTo>
                  <a:lnTo>
                    <a:pt x="2458364" y="368617"/>
                  </a:lnTo>
                  <a:lnTo>
                    <a:pt x="2457462" y="369887"/>
                  </a:lnTo>
                  <a:lnTo>
                    <a:pt x="2440902" y="377507"/>
                  </a:lnTo>
                  <a:lnTo>
                    <a:pt x="2436698" y="377507"/>
                  </a:lnTo>
                  <a:lnTo>
                    <a:pt x="2429827" y="372427"/>
                  </a:lnTo>
                  <a:lnTo>
                    <a:pt x="2424684" y="368617"/>
                  </a:lnTo>
                  <a:lnTo>
                    <a:pt x="2424023" y="367347"/>
                  </a:lnTo>
                  <a:lnTo>
                    <a:pt x="2422029" y="363537"/>
                  </a:lnTo>
                  <a:lnTo>
                    <a:pt x="2427020" y="366077"/>
                  </a:lnTo>
                  <a:lnTo>
                    <a:pt x="2428506" y="363537"/>
                  </a:lnTo>
                  <a:lnTo>
                    <a:pt x="2429256" y="362267"/>
                  </a:lnTo>
                  <a:lnTo>
                    <a:pt x="2432951" y="368617"/>
                  </a:lnTo>
                  <a:lnTo>
                    <a:pt x="2435656" y="364807"/>
                  </a:lnTo>
                  <a:lnTo>
                    <a:pt x="2437523" y="371157"/>
                  </a:lnTo>
                  <a:lnTo>
                    <a:pt x="2441549" y="372427"/>
                  </a:lnTo>
                  <a:lnTo>
                    <a:pt x="2442489" y="369887"/>
                  </a:lnTo>
                  <a:lnTo>
                    <a:pt x="2445537" y="367347"/>
                  </a:lnTo>
                  <a:lnTo>
                    <a:pt x="2448153" y="368617"/>
                  </a:lnTo>
                  <a:lnTo>
                    <a:pt x="2447518" y="367347"/>
                  </a:lnTo>
                  <a:lnTo>
                    <a:pt x="2446896" y="366077"/>
                  </a:lnTo>
                  <a:lnTo>
                    <a:pt x="2448890" y="364807"/>
                  </a:lnTo>
                  <a:lnTo>
                    <a:pt x="2450884" y="363537"/>
                  </a:lnTo>
                  <a:lnTo>
                    <a:pt x="2451455" y="363537"/>
                  </a:lnTo>
                  <a:lnTo>
                    <a:pt x="2452700" y="371157"/>
                  </a:lnTo>
                  <a:lnTo>
                    <a:pt x="2460612" y="363537"/>
                  </a:lnTo>
                  <a:lnTo>
                    <a:pt x="2460612" y="325831"/>
                  </a:lnTo>
                  <a:lnTo>
                    <a:pt x="2455214" y="330517"/>
                  </a:lnTo>
                  <a:lnTo>
                    <a:pt x="2452827" y="329247"/>
                  </a:lnTo>
                  <a:lnTo>
                    <a:pt x="2444597" y="325437"/>
                  </a:lnTo>
                  <a:lnTo>
                    <a:pt x="2447823" y="334327"/>
                  </a:lnTo>
                  <a:lnTo>
                    <a:pt x="2444267" y="335597"/>
                  </a:lnTo>
                  <a:lnTo>
                    <a:pt x="2447810" y="336867"/>
                  </a:lnTo>
                  <a:lnTo>
                    <a:pt x="2445042" y="343217"/>
                  </a:lnTo>
                  <a:lnTo>
                    <a:pt x="2454910" y="336867"/>
                  </a:lnTo>
                  <a:lnTo>
                    <a:pt x="2454897" y="343217"/>
                  </a:lnTo>
                  <a:lnTo>
                    <a:pt x="2458948" y="341947"/>
                  </a:lnTo>
                  <a:lnTo>
                    <a:pt x="2460307" y="343217"/>
                  </a:lnTo>
                  <a:lnTo>
                    <a:pt x="2458288" y="345757"/>
                  </a:lnTo>
                  <a:lnTo>
                    <a:pt x="2434907" y="348297"/>
                  </a:lnTo>
                  <a:lnTo>
                    <a:pt x="2439568" y="352107"/>
                  </a:lnTo>
                  <a:lnTo>
                    <a:pt x="2436469" y="354647"/>
                  </a:lnTo>
                  <a:lnTo>
                    <a:pt x="2444000" y="355917"/>
                  </a:lnTo>
                  <a:lnTo>
                    <a:pt x="2446134" y="357187"/>
                  </a:lnTo>
                  <a:lnTo>
                    <a:pt x="2445753" y="358457"/>
                  </a:lnTo>
                  <a:lnTo>
                    <a:pt x="2446655" y="357187"/>
                  </a:lnTo>
                  <a:lnTo>
                    <a:pt x="2447531" y="358457"/>
                  </a:lnTo>
                  <a:lnTo>
                    <a:pt x="2443708" y="360997"/>
                  </a:lnTo>
                  <a:lnTo>
                    <a:pt x="2443048" y="359727"/>
                  </a:lnTo>
                  <a:lnTo>
                    <a:pt x="2431567" y="352107"/>
                  </a:lnTo>
                  <a:lnTo>
                    <a:pt x="2425827" y="348297"/>
                  </a:lnTo>
                  <a:lnTo>
                    <a:pt x="2422982" y="340677"/>
                  </a:lnTo>
                  <a:lnTo>
                    <a:pt x="2429865" y="345757"/>
                  </a:lnTo>
                  <a:lnTo>
                    <a:pt x="2433764" y="343217"/>
                  </a:lnTo>
                  <a:lnTo>
                    <a:pt x="2436990" y="343217"/>
                  </a:lnTo>
                  <a:lnTo>
                    <a:pt x="2439149" y="344487"/>
                  </a:lnTo>
                  <a:lnTo>
                    <a:pt x="2438285" y="343217"/>
                  </a:lnTo>
                  <a:lnTo>
                    <a:pt x="2436558" y="340677"/>
                  </a:lnTo>
                  <a:lnTo>
                    <a:pt x="2434831" y="338137"/>
                  </a:lnTo>
                  <a:lnTo>
                    <a:pt x="2433967" y="336867"/>
                  </a:lnTo>
                  <a:lnTo>
                    <a:pt x="2431935" y="335597"/>
                  </a:lnTo>
                  <a:lnTo>
                    <a:pt x="2425852" y="331787"/>
                  </a:lnTo>
                  <a:lnTo>
                    <a:pt x="2413431" y="320357"/>
                  </a:lnTo>
                  <a:lnTo>
                    <a:pt x="2412835" y="316547"/>
                  </a:lnTo>
                  <a:lnTo>
                    <a:pt x="2416035" y="316547"/>
                  </a:lnTo>
                  <a:lnTo>
                    <a:pt x="2417610" y="321627"/>
                  </a:lnTo>
                  <a:lnTo>
                    <a:pt x="2423007" y="317817"/>
                  </a:lnTo>
                  <a:lnTo>
                    <a:pt x="2424569" y="326707"/>
                  </a:lnTo>
                  <a:lnTo>
                    <a:pt x="2426893" y="322897"/>
                  </a:lnTo>
                  <a:lnTo>
                    <a:pt x="2433726" y="326707"/>
                  </a:lnTo>
                  <a:lnTo>
                    <a:pt x="2433409" y="322897"/>
                  </a:lnTo>
                  <a:lnTo>
                    <a:pt x="2435161" y="321627"/>
                  </a:lnTo>
                  <a:lnTo>
                    <a:pt x="2440317" y="322897"/>
                  </a:lnTo>
                  <a:lnTo>
                    <a:pt x="2440228" y="321627"/>
                  </a:lnTo>
                  <a:lnTo>
                    <a:pt x="2440038" y="319087"/>
                  </a:lnTo>
                  <a:lnTo>
                    <a:pt x="2437727" y="317817"/>
                  </a:lnTo>
                  <a:lnTo>
                    <a:pt x="2435415" y="316547"/>
                  </a:lnTo>
                  <a:lnTo>
                    <a:pt x="2423871" y="310197"/>
                  </a:lnTo>
                  <a:lnTo>
                    <a:pt x="2423477" y="308927"/>
                  </a:lnTo>
                  <a:lnTo>
                    <a:pt x="2423083" y="307657"/>
                  </a:lnTo>
                  <a:lnTo>
                    <a:pt x="2426131" y="307657"/>
                  </a:lnTo>
                  <a:lnTo>
                    <a:pt x="2413038" y="296227"/>
                  </a:lnTo>
                  <a:lnTo>
                    <a:pt x="2416606" y="296227"/>
                  </a:lnTo>
                  <a:lnTo>
                    <a:pt x="2420569" y="298767"/>
                  </a:lnTo>
                  <a:lnTo>
                    <a:pt x="2420010" y="296227"/>
                  </a:lnTo>
                  <a:lnTo>
                    <a:pt x="2418905" y="291147"/>
                  </a:lnTo>
                  <a:lnTo>
                    <a:pt x="2427922" y="296227"/>
                  </a:lnTo>
                  <a:lnTo>
                    <a:pt x="2427389" y="291147"/>
                  </a:lnTo>
                  <a:lnTo>
                    <a:pt x="2427249" y="289877"/>
                  </a:lnTo>
                  <a:lnTo>
                    <a:pt x="2432532" y="289877"/>
                  </a:lnTo>
                  <a:lnTo>
                    <a:pt x="2427427" y="286067"/>
                  </a:lnTo>
                  <a:lnTo>
                    <a:pt x="2418778" y="283527"/>
                  </a:lnTo>
                  <a:lnTo>
                    <a:pt x="2409901" y="278447"/>
                  </a:lnTo>
                  <a:lnTo>
                    <a:pt x="2411780" y="274637"/>
                  </a:lnTo>
                  <a:lnTo>
                    <a:pt x="2418499" y="280987"/>
                  </a:lnTo>
                  <a:lnTo>
                    <a:pt x="2419451" y="274637"/>
                  </a:lnTo>
                  <a:lnTo>
                    <a:pt x="2419642" y="273367"/>
                  </a:lnTo>
                  <a:lnTo>
                    <a:pt x="2425522" y="280987"/>
                  </a:lnTo>
                  <a:lnTo>
                    <a:pt x="2423528" y="273367"/>
                  </a:lnTo>
                  <a:lnTo>
                    <a:pt x="2432659" y="277177"/>
                  </a:lnTo>
                  <a:lnTo>
                    <a:pt x="2430653" y="273367"/>
                  </a:lnTo>
                  <a:lnTo>
                    <a:pt x="2429306" y="270827"/>
                  </a:lnTo>
                  <a:lnTo>
                    <a:pt x="2434907" y="270827"/>
                  </a:lnTo>
                  <a:lnTo>
                    <a:pt x="2416962" y="264477"/>
                  </a:lnTo>
                  <a:lnTo>
                    <a:pt x="2409787" y="261937"/>
                  </a:lnTo>
                  <a:lnTo>
                    <a:pt x="2416010" y="259397"/>
                  </a:lnTo>
                  <a:lnTo>
                    <a:pt x="2408694" y="253047"/>
                  </a:lnTo>
                  <a:lnTo>
                    <a:pt x="2405773" y="250507"/>
                  </a:lnTo>
                  <a:lnTo>
                    <a:pt x="2419718" y="255587"/>
                  </a:lnTo>
                  <a:lnTo>
                    <a:pt x="2417203" y="251777"/>
                  </a:lnTo>
                  <a:lnTo>
                    <a:pt x="2419515" y="250507"/>
                  </a:lnTo>
                  <a:lnTo>
                    <a:pt x="2421826" y="249237"/>
                  </a:lnTo>
                  <a:lnTo>
                    <a:pt x="2407932" y="242887"/>
                  </a:lnTo>
                  <a:lnTo>
                    <a:pt x="2412657" y="237807"/>
                  </a:lnTo>
                  <a:lnTo>
                    <a:pt x="2406332" y="235267"/>
                  </a:lnTo>
                  <a:lnTo>
                    <a:pt x="2407208" y="231457"/>
                  </a:lnTo>
                  <a:lnTo>
                    <a:pt x="2403132" y="228917"/>
                  </a:lnTo>
                  <a:lnTo>
                    <a:pt x="2404491" y="227647"/>
                  </a:lnTo>
                  <a:lnTo>
                    <a:pt x="2402306" y="223837"/>
                  </a:lnTo>
                  <a:lnTo>
                    <a:pt x="2400960" y="213677"/>
                  </a:lnTo>
                  <a:lnTo>
                    <a:pt x="2399080" y="225107"/>
                  </a:lnTo>
                  <a:lnTo>
                    <a:pt x="2396629" y="227647"/>
                  </a:lnTo>
                  <a:lnTo>
                    <a:pt x="2398001" y="231457"/>
                  </a:lnTo>
                  <a:lnTo>
                    <a:pt x="2395690" y="232727"/>
                  </a:lnTo>
                  <a:lnTo>
                    <a:pt x="2394547" y="232727"/>
                  </a:lnTo>
                  <a:lnTo>
                    <a:pt x="2392235" y="233997"/>
                  </a:lnTo>
                  <a:lnTo>
                    <a:pt x="2392946" y="236537"/>
                  </a:lnTo>
                  <a:lnTo>
                    <a:pt x="2384996" y="239077"/>
                  </a:lnTo>
                  <a:lnTo>
                    <a:pt x="2396731" y="241617"/>
                  </a:lnTo>
                  <a:lnTo>
                    <a:pt x="2380831" y="249237"/>
                  </a:lnTo>
                  <a:lnTo>
                    <a:pt x="2383282" y="250507"/>
                  </a:lnTo>
                  <a:lnTo>
                    <a:pt x="2384488" y="251777"/>
                  </a:lnTo>
                  <a:lnTo>
                    <a:pt x="2386927" y="253047"/>
                  </a:lnTo>
                  <a:lnTo>
                    <a:pt x="2383472" y="256857"/>
                  </a:lnTo>
                  <a:lnTo>
                    <a:pt x="2389479" y="254317"/>
                  </a:lnTo>
                  <a:lnTo>
                    <a:pt x="2395067" y="253047"/>
                  </a:lnTo>
                  <a:lnTo>
                    <a:pt x="2390229" y="256857"/>
                  </a:lnTo>
                  <a:lnTo>
                    <a:pt x="2383802" y="258127"/>
                  </a:lnTo>
                  <a:lnTo>
                    <a:pt x="2380678" y="261937"/>
                  </a:lnTo>
                  <a:lnTo>
                    <a:pt x="2387968" y="261937"/>
                  </a:lnTo>
                  <a:lnTo>
                    <a:pt x="2385022" y="265747"/>
                  </a:lnTo>
                  <a:lnTo>
                    <a:pt x="2390483" y="264477"/>
                  </a:lnTo>
                  <a:lnTo>
                    <a:pt x="2392349" y="267017"/>
                  </a:lnTo>
                  <a:lnTo>
                    <a:pt x="2384514" y="272097"/>
                  </a:lnTo>
                  <a:lnTo>
                    <a:pt x="2367254" y="279717"/>
                  </a:lnTo>
                  <a:lnTo>
                    <a:pt x="2374874" y="279717"/>
                  </a:lnTo>
                  <a:lnTo>
                    <a:pt x="2372449" y="283527"/>
                  </a:lnTo>
                  <a:lnTo>
                    <a:pt x="2379649" y="280987"/>
                  </a:lnTo>
                  <a:lnTo>
                    <a:pt x="2379205" y="283527"/>
                  </a:lnTo>
                  <a:lnTo>
                    <a:pt x="2378887" y="286067"/>
                  </a:lnTo>
                  <a:lnTo>
                    <a:pt x="2384031" y="280987"/>
                  </a:lnTo>
                  <a:lnTo>
                    <a:pt x="2388603" y="279717"/>
                  </a:lnTo>
                  <a:lnTo>
                    <a:pt x="2386533" y="284797"/>
                  </a:lnTo>
                  <a:lnTo>
                    <a:pt x="2377275" y="289877"/>
                  </a:lnTo>
                  <a:lnTo>
                    <a:pt x="2372195" y="292417"/>
                  </a:lnTo>
                  <a:lnTo>
                    <a:pt x="2375979" y="294957"/>
                  </a:lnTo>
                  <a:lnTo>
                    <a:pt x="2367737" y="300037"/>
                  </a:lnTo>
                  <a:lnTo>
                    <a:pt x="2376170" y="300037"/>
                  </a:lnTo>
                  <a:lnTo>
                    <a:pt x="2373871" y="302577"/>
                  </a:lnTo>
                  <a:lnTo>
                    <a:pt x="2362174" y="307657"/>
                  </a:lnTo>
                  <a:lnTo>
                    <a:pt x="2355786" y="311467"/>
                  </a:lnTo>
                  <a:lnTo>
                    <a:pt x="2364473" y="311467"/>
                  </a:lnTo>
                  <a:lnTo>
                    <a:pt x="2364498" y="317817"/>
                  </a:lnTo>
                  <a:lnTo>
                    <a:pt x="2372398" y="310197"/>
                  </a:lnTo>
                  <a:lnTo>
                    <a:pt x="2372893" y="316547"/>
                  </a:lnTo>
                  <a:lnTo>
                    <a:pt x="2378646" y="311467"/>
                  </a:lnTo>
                  <a:lnTo>
                    <a:pt x="2381478" y="310197"/>
                  </a:lnTo>
                  <a:lnTo>
                    <a:pt x="2384323" y="308927"/>
                  </a:lnTo>
                  <a:lnTo>
                    <a:pt x="2379611" y="315252"/>
                  </a:lnTo>
                  <a:lnTo>
                    <a:pt x="2379611" y="352107"/>
                  </a:lnTo>
                  <a:lnTo>
                    <a:pt x="2375154" y="357962"/>
                  </a:lnTo>
                  <a:lnTo>
                    <a:pt x="2375154" y="390207"/>
                  </a:lnTo>
                  <a:lnTo>
                    <a:pt x="2374404" y="390207"/>
                  </a:lnTo>
                  <a:lnTo>
                    <a:pt x="2370886" y="391477"/>
                  </a:lnTo>
                  <a:lnTo>
                    <a:pt x="2367127" y="394017"/>
                  </a:lnTo>
                  <a:lnTo>
                    <a:pt x="2364867" y="392595"/>
                  </a:lnTo>
                  <a:lnTo>
                    <a:pt x="2364867" y="406717"/>
                  </a:lnTo>
                  <a:lnTo>
                    <a:pt x="2364232" y="407022"/>
                  </a:lnTo>
                  <a:lnTo>
                    <a:pt x="2364371" y="406717"/>
                  </a:lnTo>
                  <a:lnTo>
                    <a:pt x="2364867" y="406717"/>
                  </a:lnTo>
                  <a:lnTo>
                    <a:pt x="2364867" y="392595"/>
                  </a:lnTo>
                  <a:lnTo>
                    <a:pt x="2363114" y="391477"/>
                  </a:lnTo>
                  <a:lnTo>
                    <a:pt x="2362720" y="390207"/>
                  </a:lnTo>
                  <a:lnTo>
                    <a:pt x="2362327" y="388937"/>
                  </a:lnTo>
                  <a:lnTo>
                    <a:pt x="2365375" y="388937"/>
                  </a:lnTo>
                  <a:lnTo>
                    <a:pt x="2362619" y="387667"/>
                  </a:lnTo>
                  <a:lnTo>
                    <a:pt x="2363203" y="385127"/>
                  </a:lnTo>
                  <a:lnTo>
                    <a:pt x="2365679" y="386397"/>
                  </a:lnTo>
                  <a:lnTo>
                    <a:pt x="2367165" y="391477"/>
                  </a:lnTo>
                  <a:lnTo>
                    <a:pt x="2370696" y="387667"/>
                  </a:lnTo>
                  <a:lnTo>
                    <a:pt x="2374188" y="388937"/>
                  </a:lnTo>
                  <a:lnTo>
                    <a:pt x="2375154" y="390207"/>
                  </a:lnTo>
                  <a:lnTo>
                    <a:pt x="2375154" y="357962"/>
                  </a:lnTo>
                  <a:lnTo>
                    <a:pt x="2370899" y="363537"/>
                  </a:lnTo>
                  <a:lnTo>
                    <a:pt x="2363584" y="367347"/>
                  </a:lnTo>
                  <a:lnTo>
                    <a:pt x="2363152" y="367258"/>
                  </a:lnTo>
                  <a:lnTo>
                    <a:pt x="2363152" y="374967"/>
                  </a:lnTo>
                  <a:lnTo>
                    <a:pt x="2363114" y="376237"/>
                  </a:lnTo>
                  <a:lnTo>
                    <a:pt x="2359329" y="377507"/>
                  </a:lnTo>
                  <a:lnTo>
                    <a:pt x="2358161" y="372427"/>
                  </a:lnTo>
                  <a:lnTo>
                    <a:pt x="2363152" y="374967"/>
                  </a:lnTo>
                  <a:lnTo>
                    <a:pt x="2363152" y="367258"/>
                  </a:lnTo>
                  <a:lnTo>
                    <a:pt x="2358009" y="366077"/>
                  </a:lnTo>
                  <a:lnTo>
                    <a:pt x="2349144" y="359727"/>
                  </a:lnTo>
                  <a:lnTo>
                    <a:pt x="2351024" y="357187"/>
                  </a:lnTo>
                  <a:lnTo>
                    <a:pt x="2357742" y="362267"/>
                  </a:lnTo>
                  <a:lnTo>
                    <a:pt x="2358504" y="357187"/>
                  </a:lnTo>
                  <a:lnTo>
                    <a:pt x="2358885" y="354647"/>
                  </a:lnTo>
                  <a:lnTo>
                    <a:pt x="2364765" y="362267"/>
                  </a:lnTo>
                  <a:lnTo>
                    <a:pt x="2362936" y="355917"/>
                  </a:lnTo>
                  <a:lnTo>
                    <a:pt x="2363216" y="355917"/>
                  </a:lnTo>
                  <a:lnTo>
                    <a:pt x="2371915" y="358457"/>
                  </a:lnTo>
                  <a:lnTo>
                    <a:pt x="2370569" y="355917"/>
                  </a:lnTo>
                  <a:lnTo>
                    <a:pt x="2369896" y="354647"/>
                  </a:lnTo>
                  <a:lnTo>
                    <a:pt x="2368550" y="352107"/>
                  </a:lnTo>
                  <a:lnTo>
                    <a:pt x="2374150" y="353377"/>
                  </a:lnTo>
                  <a:lnTo>
                    <a:pt x="2371471" y="352107"/>
                  </a:lnTo>
                  <a:lnTo>
                    <a:pt x="2374315" y="349567"/>
                  </a:lnTo>
                  <a:lnTo>
                    <a:pt x="2377630" y="343217"/>
                  </a:lnTo>
                  <a:lnTo>
                    <a:pt x="2378303" y="341947"/>
                  </a:lnTo>
                  <a:lnTo>
                    <a:pt x="2378964" y="340677"/>
                  </a:lnTo>
                  <a:lnTo>
                    <a:pt x="2375801" y="353377"/>
                  </a:lnTo>
                  <a:lnTo>
                    <a:pt x="2379611" y="352107"/>
                  </a:lnTo>
                  <a:lnTo>
                    <a:pt x="2379611" y="315252"/>
                  </a:lnTo>
                  <a:lnTo>
                    <a:pt x="2378646" y="316547"/>
                  </a:lnTo>
                  <a:lnTo>
                    <a:pt x="2377363" y="321627"/>
                  </a:lnTo>
                  <a:lnTo>
                    <a:pt x="2373528" y="325437"/>
                  </a:lnTo>
                  <a:lnTo>
                    <a:pt x="2370886" y="327266"/>
                  </a:lnTo>
                  <a:lnTo>
                    <a:pt x="2370886" y="352107"/>
                  </a:lnTo>
                  <a:lnTo>
                    <a:pt x="2366810" y="349567"/>
                  </a:lnTo>
                  <a:lnTo>
                    <a:pt x="2368702" y="347027"/>
                  </a:lnTo>
                  <a:lnTo>
                    <a:pt x="2370886" y="352107"/>
                  </a:lnTo>
                  <a:lnTo>
                    <a:pt x="2370886" y="327266"/>
                  </a:lnTo>
                  <a:lnTo>
                    <a:pt x="2362479" y="333057"/>
                  </a:lnTo>
                  <a:lnTo>
                    <a:pt x="2362136" y="333248"/>
                  </a:lnTo>
                  <a:lnTo>
                    <a:pt x="2362136" y="343217"/>
                  </a:lnTo>
                  <a:lnTo>
                    <a:pt x="2359469" y="347027"/>
                  </a:lnTo>
                  <a:lnTo>
                    <a:pt x="2354961" y="345757"/>
                  </a:lnTo>
                  <a:lnTo>
                    <a:pt x="2362136" y="343217"/>
                  </a:lnTo>
                  <a:lnTo>
                    <a:pt x="2362136" y="333248"/>
                  </a:lnTo>
                  <a:lnTo>
                    <a:pt x="2357894" y="335597"/>
                  </a:lnTo>
                  <a:lnTo>
                    <a:pt x="2356447" y="333057"/>
                  </a:lnTo>
                  <a:lnTo>
                    <a:pt x="2361069" y="331787"/>
                  </a:lnTo>
                  <a:lnTo>
                    <a:pt x="2356129" y="329539"/>
                  </a:lnTo>
                  <a:lnTo>
                    <a:pt x="2356129" y="336867"/>
                  </a:lnTo>
                  <a:lnTo>
                    <a:pt x="2354859" y="337324"/>
                  </a:lnTo>
                  <a:lnTo>
                    <a:pt x="2354859" y="345757"/>
                  </a:lnTo>
                  <a:lnTo>
                    <a:pt x="2349030" y="343217"/>
                  </a:lnTo>
                  <a:lnTo>
                    <a:pt x="2350820" y="341947"/>
                  </a:lnTo>
                  <a:lnTo>
                    <a:pt x="2353932" y="341947"/>
                  </a:lnTo>
                  <a:lnTo>
                    <a:pt x="2354859" y="345757"/>
                  </a:lnTo>
                  <a:lnTo>
                    <a:pt x="2354859" y="337324"/>
                  </a:lnTo>
                  <a:lnTo>
                    <a:pt x="2352535" y="338137"/>
                  </a:lnTo>
                  <a:lnTo>
                    <a:pt x="2348026" y="334327"/>
                  </a:lnTo>
                  <a:lnTo>
                    <a:pt x="2345017" y="331787"/>
                  </a:lnTo>
                  <a:lnTo>
                    <a:pt x="2356129" y="336867"/>
                  </a:lnTo>
                  <a:lnTo>
                    <a:pt x="2356129" y="329539"/>
                  </a:lnTo>
                  <a:lnTo>
                    <a:pt x="2347176" y="325437"/>
                  </a:lnTo>
                  <a:lnTo>
                    <a:pt x="2351913" y="320357"/>
                  </a:lnTo>
                  <a:lnTo>
                    <a:pt x="2345575" y="316547"/>
                  </a:lnTo>
                  <a:lnTo>
                    <a:pt x="2346452" y="312737"/>
                  </a:lnTo>
                  <a:lnTo>
                    <a:pt x="2342375" y="310197"/>
                  </a:lnTo>
                  <a:lnTo>
                    <a:pt x="2343734" y="308927"/>
                  </a:lnTo>
                  <a:lnTo>
                    <a:pt x="2341549" y="306387"/>
                  </a:lnTo>
                  <a:lnTo>
                    <a:pt x="2340203" y="294957"/>
                  </a:lnTo>
                  <a:lnTo>
                    <a:pt x="2338324" y="306387"/>
                  </a:lnTo>
                  <a:lnTo>
                    <a:pt x="2335873" y="310197"/>
                  </a:lnTo>
                  <a:lnTo>
                    <a:pt x="2337244" y="314007"/>
                  </a:lnTo>
                  <a:lnTo>
                    <a:pt x="2334933" y="314007"/>
                  </a:lnTo>
                  <a:lnTo>
                    <a:pt x="2333790" y="315277"/>
                  </a:lnTo>
                  <a:lnTo>
                    <a:pt x="2331478" y="315277"/>
                  </a:lnTo>
                  <a:lnTo>
                    <a:pt x="2332190" y="319087"/>
                  </a:lnTo>
                  <a:lnTo>
                    <a:pt x="2324239" y="321627"/>
                  </a:lnTo>
                  <a:lnTo>
                    <a:pt x="2335974" y="324167"/>
                  </a:lnTo>
                  <a:lnTo>
                    <a:pt x="2320074" y="330517"/>
                  </a:lnTo>
                  <a:lnTo>
                    <a:pt x="2326170" y="334327"/>
                  </a:lnTo>
                  <a:lnTo>
                    <a:pt x="2322715" y="338137"/>
                  </a:lnTo>
                  <a:lnTo>
                    <a:pt x="2328722" y="335597"/>
                  </a:lnTo>
                  <a:lnTo>
                    <a:pt x="2334310" y="334327"/>
                  </a:lnTo>
                  <a:lnTo>
                    <a:pt x="2329472" y="338137"/>
                  </a:lnTo>
                  <a:lnTo>
                    <a:pt x="2323046" y="340677"/>
                  </a:lnTo>
                  <a:lnTo>
                    <a:pt x="2319921" y="343217"/>
                  </a:lnTo>
                  <a:lnTo>
                    <a:pt x="2327211" y="343217"/>
                  </a:lnTo>
                  <a:lnTo>
                    <a:pt x="2324265" y="348297"/>
                  </a:lnTo>
                  <a:lnTo>
                    <a:pt x="2329738" y="345757"/>
                  </a:lnTo>
                  <a:lnTo>
                    <a:pt x="2331593" y="348297"/>
                  </a:lnTo>
                  <a:lnTo>
                    <a:pt x="2323769" y="353377"/>
                  </a:lnTo>
                  <a:lnTo>
                    <a:pt x="2306497" y="360997"/>
                  </a:lnTo>
                  <a:lnTo>
                    <a:pt x="2314117" y="360997"/>
                  </a:lnTo>
                  <a:lnTo>
                    <a:pt x="2311692" y="364807"/>
                  </a:lnTo>
                  <a:lnTo>
                    <a:pt x="2318893" y="362267"/>
                  </a:lnTo>
                  <a:lnTo>
                    <a:pt x="2318448" y="364807"/>
                  </a:lnTo>
                  <a:lnTo>
                    <a:pt x="2318131" y="367347"/>
                  </a:lnTo>
                  <a:lnTo>
                    <a:pt x="2325903" y="362267"/>
                  </a:lnTo>
                  <a:lnTo>
                    <a:pt x="2327846" y="360997"/>
                  </a:lnTo>
                  <a:lnTo>
                    <a:pt x="2325776" y="366077"/>
                  </a:lnTo>
                  <a:lnTo>
                    <a:pt x="2316505" y="372427"/>
                  </a:lnTo>
                  <a:lnTo>
                    <a:pt x="2311450" y="373697"/>
                  </a:lnTo>
                  <a:lnTo>
                    <a:pt x="2315222" y="377507"/>
                  </a:lnTo>
                  <a:lnTo>
                    <a:pt x="2306993" y="381317"/>
                  </a:lnTo>
                  <a:lnTo>
                    <a:pt x="2315413" y="381317"/>
                  </a:lnTo>
                  <a:lnTo>
                    <a:pt x="2313114" y="385127"/>
                  </a:lnTo>
                  <a:lnTo>
                    <a:pt x="2301417" y="388937"/>
                  </a:lnTo>
                  <a:lnTo>
                    <a:pt x="2295017" y="392747"/>
                  </a:lnTo>
                  <a:lnTo>
                    <a:pt x="2303716" y="392747"/>
                  </a:lnTo>
                  <a:lnTo>
                    <a:pt x="2303742" y="399097"/>
                  </a:lnTo>
                  <a:lnTo>
                    <a:pt x="2311641" y="392747"/>
                  </a:lnTo>
                  <a:lnTo>
                    <a:pt x="2312136" y="397827"/>
                  </a:lnTo>
                  <a:lnTo>
                    <a:pt x="2323566" y="390207"/>
                  </a:lnTo>
                  <a:lnTo>
                    <a:pt x="2317889" y="399097"/>
                  </a:lnTo>
                  <a:lnTo>
                    <a:pt x="2316607" y="402907"/>
                  </a:lnTo>
                  <a:lnTo>
                    <a:pt x="2313394" y="406717"/>
                  </a:lnTo>
                  <a:lnTo>
                    <a:pt x="2312492" y="399097"/>
                  </a:lnTo>
                  <a:lnTo>
                    <a:pt x="2311044" y="407987"/>
                  </a:lnTo>
                  <a:lnTo>
                    <a:pt x="2301735" y="414337"/>
                  </a:lnTo>
                  <a:lnTo>
                    <a:pt x="2290419" y="420687"/>
                  </a:lnTo>
                  <a:lnTo>
                    <a:pt x="2289048" y="424497"/>
                  </a:lnTo>
                  <a:lnTo>
                    <a:pt x="2293175" y="423227"/>
                  </a:lnTo>
                  <a:lnTo>
                    <a:pt x="2294128" y="427037"/>
                  </a:lnTo>
                  <a:lnTo>
                    <a:pt x="2298128" y="425767"/>
                  </a:lnTo>
                  <a:lnTo>
                    <a:pt x="2300338" y="425767"/>
                  </a:lnTo>
                  <a:lnTo>
                    <a:pt x="2296350" y="433387"/>
                  </a:lnTo>
                  <a:lnTo>
                    <a:pt x="2292362" y="434657"/>
                  </a:lnTo>
                  <a:lnTo>
                    <a:pt x="2294585" y="435927"/>
                  </a:lnTo>
                  <a:lnTo>
                    <a:pt x="2293505" y="438467"/>
                  </a:lnTo>
                  <a:lnTo>
                    <a:pt x="2295842" y="437197"/>
                  </a:lnTo>
                  <a:lnTo>
                    <a:pt x="2298458" y="438467"/>
                  </a:lnTo>
                  <a:lnTo>
                    <a:pt x="2295004" y="442277"/>
                  </a:lnTo>
                  <a:lnTo>
                    <a:pt x="2301011" y="439737"/>
                  </a:lnTo>
                  <a:lnTo>
                    <a:pt x="2306599" y="438467"/>
                  </a:lnTo>
                  <a:lnTo>
                    <a:pt x="2301760" y="442277"/>
                  </a:lnTo>
                  <a:lnTo>
                    <a:pt x="2295334" y="444817"/>
                  </a:lnTo>
                  <a:lnTo>
                    <a:pt x="2292210" y="447357"/>
                  </a:lnTo>
                  <a:lnTo>
                    <a:pt x="2299500" y="447357"/>
                  </a:lnTo>
                  <a:lnTo>
                    <a:pt x="2296566" y="452437"/>
                  </a:lnTo>
                  <a:lnTo>
                    <a:pt x="2302027" y="449897"/>
                  </a:lnTo>
                  <a:lnTo>
                    <a:pt x="2303881" y="452437"/>
                  </a:lnTo>
                  <a:lnTo>
                    <a:pt x="2300135" y="454875"/>
                  </a:lnTo>
                  <a:lnTo>
                    <a:pt x="2300135" y="465137"/>
                  </a:lnTo>
                  <a:lnTo>
                    <a:pt x="2298065" y="470217"/>
                  </a:lnTo>
                  <a:lnTo>
                    <a:pt x="2290330" y="475526"/>
                  </a:lnTo>
                  <a:lnTo>
                    <a:pt x="2290330" y="501967"/>
                  </a:lnTo>
                  <a:lnTo>
                    <a:pt x="2290178" y="503237"/>
                  </a:lnTo>
                  <a:lnTo>
                    <a:pt x="2288908" y="507047"/>
                  </a:lnTo>
                  <a:lnTo>
                    <a:pt x="2287790" y="508317"/>
                  </a:lnTo>
                  <a:lnTo>
                    <a:pt x="2283930" y="505777"/>
                  </a:lnTo>
                  <a:lnTo>
                    <a:pt x="2278138" y="501967"/>
                  </a:lnTo>
                  <a:lnTo>
                    <a:pt x="2282558" y="498157"/>
                  </a:lnTo>
                  <a:lnTo>
                    <a:pt x="2283726" y="499427"/>
                  </a:lnTo>
                  <a:lnTo>
                    <a:pt x="2284196" y="499427"/>
                  </a:lnTo>
                  <a:lnTo>
                    <a:pt x="2284425" y="501967"/>
                  </a:lnTo>
                  <a:lnTo>
                    <a:pt x="2287625" y="499427"/>
                  </a:lnTo>
                  <a:lnTo>
                    <a:pt x="2288298" y="501967"/>
                  </a:lnTo>
                  <a:lnTo>
                    <a:pt x="2290330" y="501967"/>
                  </a:lnTo>
                  <a:lnTo>
                    <a:pt x="2290330" y="475526"/>
                  </a:lnTo>
                  <a:lnTo>
                    <a:pt x="2288806" y="476567"/>
                  </a:lnTo>
                  <a:lnTo>
                    <a:pt x="2283726" y="477837"/>
                  </a:lnTo>
                  <a:lnTo>
                    <a:pt x="2286012" y="480377"/>
                  </a:lnTo>
                  <a:lnTo>
                    <a:pt x="2287511" y="481647"/>
                  </a:lnTo>
                  <a:lnTo>
                    <a:pt x="2283447" y="482917"/>
                  </a:lnTo>
                  <a:lnTo>
                    <a:pt x="2276602" y="479107"/>
                  </a:lnTo>
                  <a:lnTo>
                    <a:pt x="2273757" y="471487"/>
                  </a:lnTo>
                  <a:lnTo>
                    <a:pt x="2280640" y="476567"/>
                  </a:lnTo>
                  <a:lnTo>
                    <a:pt x="2284539" y="474027"/>
                  </a:lnTo>
                  <a:lnTo>
                    <a:pt x="2289924" y="475297"/>
                  </a:lnTo>
                  <a:lnTo>
                    <a:pt x="2288971" y="474027"/>
                  </a:lnTo>
                  <a:lnTo>
                    <a:pt x="2287066" y="471487"/>
                  </a:lnTo>
                  <a:lnTo>
                    <a:pt x="2285161" y="468947"/>
                  </a:lnTo>
                  <a:lnTo>
                    <a:pt x="2291194" y="466407"/>
                  </a:lnTo>
                  <a:lnTo>
                    <a:pt x="2290432" y="471487"/>
                  </a:lnTo>
                  <a:lnTo>
                    <a:pt x="2295563" y="466407"/>
                  </a:lnTo>
                  <a:lnTo>
                    <a:pt x="2300135" y="465137"/>
                  </a:lnTo>
                  <a:lnTo>
                    <a:pt x="2300135" y="454875"/>
                  </a:lnTo>
                  <a:lnTo>
                    <a:pt x="2296058" y="457517"/>
                  </a:lnTo>
                  <a:lnTo>
                    <a:pt x="2286419" y="461949"/>
                  </a:lnTo>
                  <a:lnTo>
                    <a:pt x="2286419" y="465137"/>
                  </a:lnTo>
                  <a:lnTo>
                    <a:pt x="2284628" y="468947"/>
                  </a:lnTo>
                  <a:lnTo>
                    <a:pt x="2280056" y="465137"/>
                  </a:lnTo>
                  <a:lnTo>
                    <a:pt x="2286419" y="465137"/>
                  </a:lnTo>
                  <a:lnTo>
                    <a:pt x="2286419" y="461949"/>
                  </a:lnTo>
                  <a:lnTo>
                    <a:pt x="2279446" y="465137"/>
                  </a:lnTo>
                  <a:lnTo>
                    <a:pt x="2276627" y="463867"/>
                  </a:lnTo>
                  <a:lnTo>
                    <a:pt x="2274138" y="461327"/>
                  </a:lnTo>
                  <a:lnTo>
                    <a:pt x="2264206" y="451167"/>
                  </a:lnTo>
                  <a:lnTo>
                    <a:pt x="2263610" y="447357"/>
                  </a:lnTo>
                  <a:lnTo>
                    <a:pt x="2266810" y="447357"/>
                  </a:lnTo>
                  <a:lnTo>
                    <a:pt x="2268385" y="452437"/>
                  </a:lnTo>
                  <a:lnTo>
                    <a:pt x="2273782" y="448627"/>
                  </a:lnTo>
                  <a:lnTo>
                    <a:pt x="2275344" y="457517"/>
                  </a:lnTo>
                  <a:lnTo>
                    <a:pt x="2277668" y="453707"/>
                  </a:lnTo>
                  <a:lnTo>
                    <a:pt x="2284501" y="457517"/>
                  </a:lnTo>
                  <a:lnTo>
                    <a:pt x="2284184" y="454977"/>
                  </a:lnTo>
                  <a:lnTo>
                    <a:pt x="2285060" y="453707"/>
                  </a:lnTo>
                  <a:lnTo>
                    <a:pt x="2285936" y="452437"/>
                  </a:lnTo>
                  <a:lnTo>
                    <a:pt x="2291105" y="453707"/>
                  </a:lnTo>
                  <a:lnTo>
                    <a:pt x="2289454" y="452437"/>
                  </a:lnTo>
                  <a:lnTo>
                    <a:pt x="2284526" y="448627"/>
                  </a:lnTo>
                  <a:lnTo>
                    <a:pt x="2282875" y="447357"/>
                  </a:lnTo>
                  <a:lnTo>
                    <a:pt x="2274646" y="441007"/>
                  </a:lnTo>
                  <a:lnTo>
                    <a:pt x="2273858" y="438467"/>
                  </a:lnTo>
                  <a:lnTo>
                    <a:pt x="2276919" y="438467"/>
                  </a:lnTo>
                  <a:lnTo>
                    <a:pt x="2263813" y="427037"/>
                  </a:lnTo>
                  <a:lnTo>
                    <a:pt x="2267381" y="427037"/>
                  </a:lnTo>
                  <a:lnTo>
                    <a:pt x="2271344" y="429577"/>
                  </a:lnTo>
                  <a:lnTo>
                    <a:pt x="2270798" y="427037"/>
                  </a:lnTo>
                  <a:lnTo>
                    <a:pt x="2269693" y="421957"/>
                  </a:lnTo>
                  <a:lnTo>
                    <a:pt x="2278697" y="427037"/>
                  </a:lnTo>
                  <a:lnTo>
                    <a:pt x="2278164" y="421957"/>
                  </a:lnTo>
                  <a:lnTo>
                    <a:pt x="2278024" y="420687"/>
                  </a:lnTo>
                  <a:lnTo>
                    <a:pt x="2283307" y="420687"/>
                  </a:lnTo>
                  <a:lnTo>
                    <a:pt x="2269553" y="414337"/>
                  </a:lnTo>
                  <a:lnTo>
                    <a:pt x="2260676" y="409257"/>
                  </a:lnTo>
                  <a:lnTo>
                    <a:pt x="2262555" y="405447"/>
                  </a:lnTo>
                  <a:lnTo>
                    <a:pt x="2269274" y="411797"/>
                  </a:lnTo>
                  <a:lnTo>
                    <a:pt x="2270226" y="405447"/>
                  </a:lnTo>
                  <a:lnTo>
                    <a:pt x="2270417" y="404177"/>
                  </a:lnTo>
                  <a:lnTo>
                    <a:pt x="2276297" y="411797"/>
                  </a:lnTo>
                  <a:lnTo>
                    <a:pt x="2274303" y="405447"/>
                  </a:lnTo>
                  <a:lnTo>
                    <a:pt x="2283447" y="407987"/>
                  </a:lnTo>
                  <a:lnTo>
                    <a:pt x="2282101" y="405447"/>
                  </a:lnTo>
                  <a:lnTo>
                    <a:pt x="2281428" y="404177"/>
                  </a:lnTo>
                  <a:lnTo>
                    <a:pt x="2280081" y="401637"/>
                  </a:lnTo>
                  <a:lnTo>
                    <a:pt x="2285682" y="402907"/>
                  </a:lnTo>
                  <a:lnTo>
                    <a:pt x="2282990" y="401637"/>
                  </a:lnTo>
                  <a:lnTo>
                    <a:pt x="2274925" y="397827"/>
                  </a:lnTo>
                  <a:lnTo>
                    <a:pt x="2267750" y="395287"/>
                  </a:lnTo>
                  <a:lnTo>
                    <a:pt x="2260574" y="392747"/>
                  </a:lnTo>
                  <a:lnTo>
                    <a:pt x="2264295" y="391477"/>
                  </a:lnTo>
                  <a:lnTo>
                    <a:pt x="2266785" y="390207"/>
                  </a:lnTo>
                  <a:lnTo>
                    <a:pt x="2259469" y="383857"/>
                  </a:lnTo>
                  <a:lnTo>
                    <a:pt x="2256548" y="381317"/>
                  </a:lnTo>
                  <a:lnTo>
                    <a:pt x="2270493" y="386397"/>
                  </a:lnTo>
                  <a:lnTo>
                    <a:pt x="2267978" y="382587"/>
                  </a:lnTo>
                  <a:lnTo>
                    <a:pt x="2272601" y="381317"/>
                  </a:lnTo>
                  <a:lnTo>
                    <a:pt x="2258720" y="373697"/>
                  </a:lnTo>
                  <a:lnTo>
                    <a:pt x="2263444" y="368617"/>
                  </a:lnTo>
                  <a:lnTo>
                    <a:pt x="2257107" y="366077"/>
                  </a:lnTo>
                  <a:lnTo>
                    <a:pt x="2257983" y="362267"/>
                  </a:lnTo>
                  <a:lnTo>
                    <a:pt x="2253907" y="359727"/>
                  </a:lnTo>
                  <a:lnTo>
                    <a:pt x="2255266" y="358457"/>
                  </a:lnTo>
                  <a:lnTo>
                    <a:pt x="2253081" y="355917"/>
                  </a:lnTo>
                  <a:lnTo>
                    <a:pt x="2251735" y="344487"/>
                  </a:lnTo>
                  <a:lnTo>
                    <a:pt x="2249868" y="355917"/>
                  </a:lnTo>
                  <a:lnTo>
                    <a:pt x="2247404" y="359727"/>
                  </a:lnTo>
                  <a:lnTo>
                    <a:pt x="2248776" y="362267"/>
                  </a:lnTo>
                  <a:lnTo>
                    <a:pt x="2243023" y="364807"/>
                  </a:lnTo>
                  <a:lnTo>
                    <a:pt x="2243721" y="367347"/>
                  </a:lnTo>
                  <a:lnTo>
                    <a:pt x="2235771" y="369887"/>
                  </a:lnTo>
                  <a:lnTo>
                    <a:pt x="2247506" y="373697"/>
                  </a:lnTo>
                  <a:lnTo>
                    <a:pt x="2231606" y="380047"/>
                  </a:lnTo>
                  <a:lnTo>
                    <a:pt x="2237702" y="383857"/>
                  </a:lnTo>
                  <a:lnTo>
                    <a:pt x="2234247" y="387667"/>
                  </a:lnTo>
                  <a:lnTo>
                    <a:pt x="2240254" y="385127"/>
                  </a:lnTo>
                  <a:lnTo>
                    <a:pt x="2245842" y="383857"/>
                  </a:lnTo>
                  <a:lnTo>
                    <a:pt x="2241004" y="387667"/>
                  </a:lnTo>
                  <a:lnTo>
                    <a:pt x="2237155" y="388937"/>
                  </a:lnTo>
                  <a:lnTo>
                    <a:pt x="2234577" y="390207"/>
                  </a:lnTo>
                  <a:lnTo>
                    <a:pt x="2231453" y="392747"/>
                  </a:lnTo>
                  <a:lnTo>
                    <a:pt x="2238743" y="392747"/>
                  </a:lnTo>
                  <a:lnTo>
                    <a:pt x="2235809" y="397827"/>
                  </a:lnTo>
                  <a:lnTo>
                    <a:pt x="2241270" y="395287"/>
                  </a:lnTo>
                  <a:lnTo>
                    <a:pt x="2243124" y="397827"/>
                  </a:lnTo>
                  <a:lnTo>
                    <a:pt x="2235301" y="402907"/>
                  </a:lnTo>
                  <a:lnTo>
                    <a:pt x="2218029" y="410527"/>
                  </a:lnTo>
                  <a:lnTo>
                    <a:pt x="2225649" y="410527"/>
                  </a:lnTo>
                  <a:lnTo>
                    <a:pt x="2223224" y="414337"/>
                  </a:lnTo>
                  <a:lnTo>
                    <a:pt x="2230437" y="411797"/>
                  </a:lnTo>
                  <a:lnTo>
                    <a:pt x="2229662" y="416877"/>
                  </a:lnTo>
                  <a:lnTo>
                    <a:pt x="2234806" y="411797"/>
                  </a:lnTo>
                  <a:lnTo>
                    <a:pt x="2239378" y="410527"/>
                  </a:lnTo>
                  <a:lnTo>
                    <a:pt x="2237308" y="415607"/>
                  </a:lnTo>
                  <a:lnTo>
                    <a:pt x="2235098" y="417131"/>
                  </a:lnTo>
                  <a:lnTo>
                    <a:pt x="2235098" y="439737"/>
                  </a:lnTo>
                  <a:lnTo>
                    <a:pt x="2230386" y="447116"/>
                  </a:lnTo>
                  <a:lnTo>
                    <a:pt x="2230386" y="484187"/>
                  </a:lnTo>
                  <a:lnTo>
                    <a:pt x="2225814" y="489267"/>
                  </a:lnTo>
                  <a:lnTo>
                    <a:pt x="2225586" y="488937"/>
                  </a:lnTo>
                  <a:lnTo>
                    <a:pt x="2225586" y="489267"/>
                  </a:lnTo>
                  <a:lnTo>
                    <a:pt x="2221687" y="494347"/>
                  </a:lnTo>
                  <a:lnTo>
                    <a:pt x="2219528" y="495617"/>
                  </a:lnTo>
                  <a:lnTo>
                    <a:pt x="2214689" y="491350"/>
                  </a:lnTo>
                  <a:lnTo>
                    <a:pt x="2214689" y="501967"/>
                  </a:lnTo>
                  <a:lnTo>
                    <a:pt x="2214118" y="505777"/>
                  </a:lnTo>
                  <a:lnTo>
                    <a:pt x="2213635" y="505777"/>
                  </a:lnTo>
                  <a:lnTo>
                    <a:pt x="2211641" y="504507"/>
                  </a:lnTo>
                  <a:lnTo>
                    <a:pt x="2210638" y="503237"/>
                  </a:lnTo>
                  <a:lnTo>
                    <a:pt x="2208644" y="501967"/>
                  </a:lnTo>
                  <a:lnTo>
                    <a:pt x="2214689" y="501967"/>
                  </a:lnTo>
                  <a:lnTo>
                    <a:pt x="2214689" y="491350"/>
                  </a:lnTo>
                  <a:lnTo>
                    <a:pt x="2213775" y="490537"/>
                  </a:lnTo>
                  <a:lnTo>
                    <a:pt x="2215743" y="490537"/>
                  </a:lnTo>
                  <a:lnTo>
                    <a:pt x="2213508" y="486727"/>
                  </a:lnTo>
                  <a:lnTo>
                    <a:pt x="2214727" y="485457"/>
                  </a:lnTo>
                  <a:lnTo>
                    <a:pt x="2216175" y="485457"/>
                  </a:lnTo>
                  <a:lnTo>
                    <a:pt x="2219045" y="490537"/>
                  </a:lnTo>
                  <a:lnTo>
                    <a:pt x="2219718" y="486727"/>
                  </a:lnTo>
                  <a:lnTo>
                    <a:pt x="2225586" y="489267"/>
                  </a:lnTo>
                  <a:lnTo>
                    <a:pt x="2225586" y="488937"/>
                  </a:lnTo>
                  <a:lnTo>
                    <a:pt x="2224113" y="486727"/>
                  </a:lnTo>
                  <a:lnTo>
                    <a:pt x="2223262" y="485457"/>
                  </a:lnTo>
                  <a:lnTo>
                    <a:pt x="2221560" y="482917"/>
                  </a:lnTo>
                  <a:lnTo>
                    <a:pt x="2224697" y="484187"/>
                  </a:lnTo>
                  <a:lnTo>
                    <a:pt x="2224633" y="482917"/>
                  </a:lnTo>
                  <a:lnTo>
                    <a:pt x="2224582" y="481647"/>
                  </a:lnTo>
                  <a:lnTo>
                    <a:pt x="2226259" y="480377"/>
                  </a:lnTo>
                  <a:lnTo>
                    <a:pt x="2227948" y="479107"/>
                  </a:lnTo>
                  <a:lnTo>
                    <a:pt x="2226576" y="485457"/>
                  </a:lnTo>
                  <a:lnTo>
                    <a:pt x="2230386" y="484187"/>
                  </a:lnTo>
                  <a:lnTo>
                    <a:pt x="2230386" y="447116"/>
                  </a:lnTo>
                  <a:lnTo>
                    <a:pt x="2229421" y="448627"/>
                  </a:lnTo>
                  <a:lnTo>
                    <a:pt x="2228138" y="452437"/>
                  </a:lnTo>
                  <a:lnTo>
                    <a:pt x="2224303" y="456247"/>
                  </a:lnTo>
                  <a:lnTo>
                    <a:pt x="2216912" y="461327"/>
                  </a:lnTo>
                  <a:lnTo>
                    <a:pt x="2211184" y="459854"/>
                  </a:lnTo>
                  <a:lnTo>
                    <a:pt x="2211184" y="499427"/>
                  </a:lnTo>
                  <a:lnTo>
                    <a:pt x="2207552" y="501967"/>
                  </a:lnTo>
                  <a:lnTo>
                    <a:pt x="2204656" y="500697"/>
                  </a:lnTo>
                  <a:lnTo>
                    <a:pt x="2202434" y="495617"/>
                  </a:lnTo>
                  <a:lnTo>
                    <a:pt x="2211184" y="499427"/>
                  </a:lnTo>
                  <a:lnTo>
                    <a:pt x="2211184" y="459854"/>
                  </a:lnTo>
                  <a:lnTo>
                    <a:pt x="2197277" y="456247"/>
                  </a:lnTo>
                  <a:lnTo>
                    <a:pt x="2205317" y="456247"/>
                  </a:lnTo>
                  <a:lnTo>
                    <a:pt x="2205266" y="453707"/>
                  </a:lnTo>
                  <a:lnTo>
                    <a:pt x="2205215" y="452437"/>
                  </a:lnTo>
                  <a:lnTo>
                    <a:pt x="2212632" y="457517"/>
                  </a:lnTo>
                  <a:lnTo>
                    <a:pt x="2212467" y="456247"/>
                  </a:lnTo>
                  <a:lnTo>
                    <a:pt x="2212238" y="452437"/>
                  </a:lnTo>
                  <a:lnTo>
                    <a:pt x="2217890" y="447357"/>
                  </a:lnTo>
                  <a:lnTo>
                    <a:pt x="2216810" y="447357"/>
                  </a:lnTo>
                  <a:lnTo>
                    <a:pt x="2223173" y="442277"/>
                  </a:lnTo>
                  <a:lnTo>
                    <a:pt x="2223668" y="447357"/>
                  </a:lnTo>
                  <a:lnTo>
                    <a:pt x="2229421" y="442277"/>
                  </a:lnTo>
                  <a:lnTo>
                    <a:pt x="2235098" y="439737"/>
                  </a:lnTo>
                  <a:lnTo>
                    <a:pt x="2235098" y="417131"/>
                  </a:lnTo>
                  <a:lnTo>
                    <a:pt x="2228050" y="421957"/>
                  </a:lnTo>
                  <a:lnTo>
                    <a:pt x="2222982" y="423227"/>
                  </a:lnTo>
                  <a:lnTo>
                    <a:pt x="2226754" y="425767"/>
                  </a:lnTo>
                  <a:lnTo>
                    <a:pt x="2218525" y="430847"/>
                  </a:lnTo>
                  <a:lnTo>
                    <a:pt x="2226945" y="430847"/>
                  </a:lnTo>
                  <a:lnTo>
                    <a:pt x="2224646" y="434657"/>
                  </a:lnTo>
                  <a:lnTo>
                    <a:pt x="2215261" y="437718"/>
                  </a:lnTo>
                  <a:lnTo>
                    <a:pt x="2215261" y="442277"/>
                  </a:lnTo>
                  <a:lnTo>
                    <a:pt x="2215261" y="447357"/>
                  </a:lnTo>
                  <a:lnTo>
                    <a:pt x="2209838" y="447357"/>
                  </a:lnTo>
                  <a:lnTo>
                    <a:pt x="2211324" y="443547"/>
                  </a:lnTo>
                  <a:lnTo>
                    <a:pt x="2213191" y="442277"/>
                  </a:lnTo>
                  <a:lnTo>
                    <a:pt x="2215261" y="442277"/>
                  </a:lnTo>
                  <a:lnTo>
                    <a:pt x="2215261" y="437718"/>
                  </a:lnTo>
                  <a:lnTo>
                    <a:pt x="2212949" y="438467"/>
                  </a:lnTo>
                  <a:lnTo>
                    <a:pt x="2210689" y="439737"/>
                  </a:lnTo>
                  <a:lnTo>
                    <a:pt x="2214308" y="434657"/>
                  </a:lnTo>
                  <a:lnTo>
                    <a:pt x="2195728" y="442277"/>
                  </a:lnTo>
                  <a:lnTo>
                    <a:pt x="2192578" y="435927"/>
                  </a:lnTo>
                  <a:lnTo>
                    <a:pt x="2191321" y="433387"/>
                  </a:lnTo>
                  <a:lnTo>
                    <a:pt x="2198687" y="439737"/>
                  </a:lnTo>
                  <a:lnTo>
                    <a:pt x="2198725" y="434657"/>
                  </a:lnTo>
                  <a:lnTo>
                    <a:pt x="2205786" y="435927"/>
                  </a:lnTo>
                  <a:lnTo>
                    <a:pt x="2205037" y="434657"/>
                  </a:lnTo>
                  <a:lnTo>
                    <a:pt x="2204288" y="433387"/>
                  </a:lnTo>
                  <a:lnTo>
                    <a:pt x="2203310" y="432117"/>
                  </a:lnTo>
                  <a:lnTo>
                    <a:pt x="2207107" y="430847"/>
                  </a:lnTo>
                  <a:lnTo>
                    <a:pt x="2209647" y="430847"/>
                  </a:lnTo>
                  <a:lnTo>
                    <a:pt x="2205202" y="428307"/>
                  </a:lnTo>
                  <a:lnTo>
                    <a:pt x="2198027" y="425767"/>
                  </a:lnTo>
                  <a:lnTo>
                    <a:pt x="2202751" y="424497"/>
                  </a:lnTo>
                  <a:lnTo>
                    <a:pt x="2205888" y="424497"/>
                  </a:lnTo>
                  <a:lnTo>
                    <a:pt x="2200630" y="420687"/>
                  </a:lnTo>
                  <a:lnTo>
                    <a:pt x="2203526" y="416877"/>
                  </a:lnTo>
                  <a:lnTo>
                    <a:pt x="2205456" y="414337"/>
                  </a:lnTo>
                  <a:lnTo>
                    <a:pt x="2202065" y="415607"/>
                  </a:lnTo>
                  <a:lnTo>
                    <a:pt x="2199817" y="416877"/>
                  </a:lnTo>
                  <a:lnTo>
                    <a:pt x="2196376" y="415607"/>
                  </a:lnTo>
                  <a:lnTo>
                    <a:pt x="2198573" y="413067"/>
                  </a:lnTo>
                  <a:lnTo>
                    <a:pt x="2199678" y="411797"/>
                  </a:lnTo>
                  <a:lnTo>
                    <a:pt x="2190318" y="413067"/>
                  </a:lnTo>
                  <a:lnTo>
                    <a:pt x="2196452" y="406717"/>
                  </a:lnTo>
                  <a:lnTo>
                    <a:pt x="2190483" y="404177"/>
                  </a:lnTo>
                  <a:lnTo>
                    <a:pt x="2189213" y="390207"/>
                  </a:lnTo>
                  <a:lnTo>
                    <a:pt x="2188057" y="383857"/>
                  </a:lnTo>
                  <a:lnTo>
                    <a:pt x="2186470" y="386397"/>
                  </a:lnTo>
                  <a:lnTo>
                    <a:pt x="2186178" y="397827"/>
                  </a:lnTo>
                  <a:lnTo>
                    <a:pt x="2184019" y="404177"/>
                  </a:lnTo>
                  <a:lnTo>
                    <a:pt x="2179701" y="406717"/>
                  </a:lnTo>
                  <a:lnTo>
                    <a:pt x="2183561" y="409257"/>
                  </a:lnTo>
                  <a:lnTo>
                    <a:pt x="2173147" y="414337"/>
                  </a:lnTo>
                  <a:lnTo>
                    <a:pt x="2177046" y="416877"/>
                  </a:lnTo>
                  <a:lnTo>
                    <a:pt x="2174163" y="419417"/>
                  </a:lnTo>
                  <a:lnTo>
                    <a:pt x="2183003" y="421957"/>
                  </a:lnTo>
                  <a:lnTo>
                    <a:pt x="2175459" y="425767"/>
                  </a:lnTo>
                  <a:lnTo>
                    <a:pt x="2168055" y="427037"/>
                  </a:lnTo>
                  <a:lnTo>
                    <a:pt x="2175154" y="429577"/>
                  </a:lnTo>
                  <a:lnTo>
                    <a:pt x="2173998" y="434657"/>
                  </a:lnTo>
                  <a:lnTo>
                    <a:pt x="2178685" y="432117"/>
                  </a:lnTo>
                  <a:lnTo>
                    <a:pt x="2178570" y="437197"/>
                  </a:lnTo>
                  <a:lnTo>
                    <a:pt x="2182812" y="435927"/>
                  </a:lnTo>
                  <a:lnTo>
                    <a:pt x="2176272" y="441007"/>
                  </a:lnTo>
                  <a:lnTo>
                    <a:pt x="2167953" y="438467"/>
                  </a:lnTo>
                  <a:lnTo>
                    <a:pt x="2163788" y="438467"/>
                  </a:lnTo>
                  <a:lnTo>
                    <a:pt x="2155482" y="435927"/>
                  </a:lnTo>
                  <a:lnTo>
                    <a:pt x="2158390" y="439737"/>
                  </a:lnTo>
                  <a:lnTo>
                    <a:pt x="2154275" y="442277"/>
                  </a:lnTo>
                  <a:lnTo>
                    <a:pt x="2162619" y="441007"/>
                  </a:lnTo>
                  <a:lnTo>
                    <a:pt x="2155888" y="446087"/>
                  </a:lnTo>
                  <a:lnTo>
                    <a:pt x="2162238" y="448627"/>
                  </a:lnTo>
                  <a:lnTo>
                    <a:pt x="2154059" y="456247"/>
                  </a:lnTo>
                  <a:lnTo>
                    <a:pt x="2160346" y="453707"/>
                  </a:lnTo>
                  <a:lnTo>
                    <a:pt x="2163318" y="458787"/>
                  </a:lnTo>
                  <a:lnTo>
                    <a:pt x="2169376" y="453707"/>
                  </a:lnTo>
                  <a:lnTo>
                    <a:pt x="2163711" y="463867"/>
                  </a:lnTo>
                  <a:lnTo>
                    <a:pt x="2169033" y="461327"/>
                  </a:lnTo>
                  <a:lnTo>
                    <a:pt x="2173516" y="463867"/>
                  </a:lnTo>
                  <a:lnTo>
                    <a:pt x="2175052" y="461327"/>
                  </a:lnTo>
                  <a:lnTo>
                    <a:pt x="2178126" y="456247"/>
                  </a:lnTo>
                  <a:lnTo>
                    <a:pt x="2179599" y="461327"/>
                  </a:lnTo>
                  <a:lnTo>
                    <a:pt x="2168893" y="467677"/>
                  </a:lnTo>
                  <a:lnTo>
                    <a:pt x="2150313" y="471487"/>
                  </a:lnTo>
                  <a:lnTo>
                    <a:pt x="2151773" y="474027"/>
                  </a:lnTo>
                  <a:lnTo>
                    <a:pt x="2142972" y="475297"/>
                  </a:lnTo>
                  <a:lnTo>
                    <a:pt x="2152116" y="480377"/>
                  </a:lnTo>
                  <a:lnTo>
                    <a:pt x="2148344" y="485457"/>
                  </a:lnTo>
                  <a:lnTo>
                    <a:pt x="2163026" y="480377"/>
                  </a:lnTo>
                  <a:lnTo>
                    <a:pt x="2152472" y="493077"/>
                  </a:lnTo>
                  <a:lnTo>
                    <a:pt x="2159470" y="491807"/>
                  </a:lnTo>
                  <a:lnTo>
                    <a:pt x="2160105" y="496887"/>
                  </a:lnTo>
                  <a:lnTo>
                    <a:pt x="2163495" y="491807"/>
                  </a:lnTo>
                  <a:lnTo>
                    <a:pt x="2165197" y="489267"/>
                  </a:lnTo>
                  <a:lnTo>
                    <a:pt x="2168347" y="494347"/>
                  </a:lnTo>
                  <a:lnTo>
                    <a:pt x="2168855" y="490537"/>
                  </a:lnTo>
                  <a:lnTo>
                    <a:pt x="2169083" y="489267"/>
                  </a:lnTo>
                  <a:lnTo>
                    <a:pt x="2169591" y="485457"/>
                  </a:lnTo>
                  <a:lnTo>
                    <a:pt x="2172563" y="486727"/>
                  </a:lnTo>
                  <a:lnTo>
                    <a:pt x="2174519" y="490537"/>
                  </a:lnTo>
                  <a:lnTo>
                    <a:pt x="2165921" y="498157"/>
                  </a:lnTo>
                  <a:lnTo>
                    <a:pt x="2172805" y="500697"/>
                  </a:lnTo>
                  <a:lnTo>
                    <a:pt x="2170430" y="504507"/>
                  </a:lnTo>
                  <a:lnTo>
                    <a:pt x="2170226" y="504571"/>
                  </a:lnTo>
                  <a:lnTo>
                    <a:pt x="2170226" y="522287"/>
                  </a:lnTo>
                  <a:lnTo>
                    <a:pt x="2165997" y="528637"/>
                  </a:lnTo>
                  <a:lnTo>
                    <a:pt x="2152573" y="534987"/>
                  </a:lnTo>
                  <a:lnTo>
                    <a:pt x="2144052" y="531177"/>
                  </a:lnTo>
                  <a:lnTo>
                    <a:pt x="2143366" y="531177"/>
                  </a:lnTo>
                  <a:lnTo>
                    <a:pt x="2146490" y="529907"/>
                  </a:lnTo>
                  <a:lnTo>
                    <a:pt x="2140216" y="527494"/>
                  </a:lnTo>
                  <a:lnTo>
                    <a:pt x="2140216" y="546417"/>
                  </a:lnTo>
                  <a:lnTo>
                    <a:pt x="2134857" y="547687"/>
                  </a:lnTo>
                  <a:lnTo>
                    <a:pt x="2133917" y="545147"/>
                  </a:lnTo>
                  <a:lnTo>
                    <a:pt x="2136533" y="541337"/>
                  </a:lnTo>
                  <a:lnTo>
                    <a:pt x="2138743" y="543877"/>
                  </a:lnTo>
                  <a:lnTo>
                    <a:pt x="2140216" y="546417"/>
                  </a:lnTo>
                  <a:lnTo>
                    <a:pt x="2140216" y="527494"/>
                  </a:lnTo>
                  <a:lnTo>
                    <a:pt x="2139899" y="527367"/>
                  </a:lnTo>
                  <a:lnTo>
                    <a:pt x="2135619" y="525716"/>
                  </a:lnTo>
                  <a:lnTo>
                    <a:pt x="2146287" y="519747"/>
                  </a:lnTo>
                  <a:lnTo>
                    <a:pt x="2143950" y="528637"/>
                  </a:lnTo>
                  <a:lnTo>
                    <a:pt x="2150300" y="522287"/>
                  </a:lnTo>
                  <a:lnTo>
                    <a:pt x="2149360" y="527367"/>
                  </a:lnTo>
                  <a:lnTo>
                    <a:pt x="2148713" y="531177"/>
                  </a:lnTo>
                  <a:lnTo>
                    <a:pt x="2155063" y="527367"/>
                  </a:lnTo>
                  <a:lnTo>
                    <a:pt x="2158238" y="529907"/>
                  </a:lnTo>
                  <a:lnTo>
                    <a:pt x="2158581" y="527367"/>
                  </a:lnTo>
                  <a:lnTo>
                    <a:pt x="2159254" y="522287"/>
                  </a:lnTo>
                  <a:lnTo>
                    <a:pt x="2159597" y="519747"/>
                  </a:lnTo>
                  <a:lnTo>
                    <a:pt x="2163102" y="524827"/>
                  </a:lnTo>
                  <a:lnTo>
                    <a:pt x="2170226" y="522287"/>
                  </a:lnTo>
                  <a:lnTo>
                    <a:pt x="2170226" y="504571"/>
                  </a:lnTo>
                  <a:lnTo>
                    <a:pt x="2143379" y="512127"/>
                  </a:lnTo>
                  <a:lnTo>
                    <a:pt x="2152243" y="508317"/>
                  </a:lnTo>
                  <a:lnTo>
                    <a:pt x="2140547" y="508317"/>
                  </a:lnTo>
                  <a:lnTo>
                    <a:pt x="2138337" y="507428"/>
                  </a:lnTo>
                  <a:lnTo>
                    <a:pt x="2138337" y="518477"/>
                  </a:lnTo>
                  <a:lnTo>
                    <a:pt x="2135174" y="525538"/>
                  </a:lnTo>
                  <a:lnTo>
                    <a:pt x="2126729" y="522287"/>
                  </a:lnTo>
                  <a:lnTo>
                    <a:pt x="2124468" y="519747"/>
                  </a:lnTo>
                  <a:lnTo>
                    <a:pt x="2121027" y="515899"/>
                  </a:lnTo>
                  <a:lnTo>
                    <a:pt x="2121027" y="554037"/>
                  </a:lnTo>
                  <a:lnTo>
                    <a:pt x="2120582" y="554037"/>
                  </a:lnTo>
                  <a:lnTo>
                    <a:pt x="2120150" y="555307"/>
                  </a:lnTo>
                  <a:lnTo>
                    <a:pt x="2119706" y="557847"/>
                  </a:lnTo>
                  <a:lnTo>
                    <a:pt x="2119096" y="557847"/>
                  </a:lnTo>
                  <a:lnTo>
                    <a:pt x="2117267" y="554037"/>
                  </a:lnTo>
                  <a:lnTo>
                    <a:pt x="2117826" y="550227"/>
                  </a:lnTo>
                  <a:lnTo>
                    <a:pt x="2121027" y="554037"/>
                  </a:lnTo>
                  <a:lnTo>
                    <a:pt x="2121027" y="515899"/>
                  </a:lnTo>
                  <a:lnTo>
                    <a:pt x="2118804" y="513397"/>
                  </a:lnTo>
                  <a:lnTo>
                    <a:pt x="2117712" y="508317"/>
                  </a:lnTo>
                  <a:lnTo>
                    <a:pt x="2120379" y="508317"/>
                  </a:lnTo>
                  <a:lnTo>
                    <a:pt x="2128901" y="519747"/>
                  </a:lnTo>
                  <a:lnTo>
                    <a:pt x="2129231" y="517207"/>
                  </a:lnTo>
                  <a:lnTo>
                    <a:pt x="2128685" y="513397"/>
                  </a:lnTo>
                  <a:lnTo>
                    <a:pt x="2129942" y="512127"/>
                  </a:lnTo>
                  <a:lnTo>
                    <a:pt x="2131885" y="515937"/>
                  </a:lnTo>
                  <a:lnTo>
                    <a:pt x="2132342" y="515937"/>
                  </a:lnTo>
                  <a:lnTo>
                    <a:pt x="2136800" y="521017"/>
                  </a:lnTo>
                  <a:lnTo>
                    <a:pt x="2136622" y="517207"/>
                  </a:lnTo>
                  <a:lnTo>
                    <a:pt x="2138337" y="518477"/>
                  </a:lnTo>
                  <a:lnTo>
                    <a:pt x="2138337" y="507428"/>
                  </a:lnTo>
                  <a:lnTo>
                    <a:pt x="2134285" y="505777"/>
                  </a:lnTo>
                  <a:lnTo>
                    <a:pt x="2138324" y="504507"/>
                  </a:lnTo>
                  <a:lnTo>
                    <a:pt x="2124278" y="500697"/>
                  </a:lnTo>
                  <a:lnTo>
                    <a:pt x="2118334" y="495617"/>
                  </a:lnTo>
                  <a:lnTo>
                    <a:pt x="2118461" y="494347"/>
                  </a:lnTo>
                  <a:lnTo>
                    <a:pt x="2118601" y="493077"/>
                  </a:lnTo>
                  <a:lnTo>
                    <a:pt x="2125903" y="493077"/>
                  </a:lnTo>
                  <a:lnTo>
                    <a:pt x="2119960" y="487997"/>
                  </a:lnTo>
                  <a:lnTo>
                    <a:pt x="2115515" y="484187"/>
                  </a:lnTo>
                  <a:lnTo>
                    <a:pt x="2121446" y="484187"/>
                  </a:lnTo>
                  <a:lnTo>
                    <a:pt x="2129332" y="487997"/>
                  </a:lnTo>
                  <a:lnTo>
                    <a:pt x="2129358" y="484187"/>
                  </a:lnTo>
                  <a:lnTo>
                    <a:pt x="2129396" y="480377"/>
                  </a:lnTo>
                  <a:lnTo>
                    <a:pt x="2135555" y="476567"/>
                  </a:lnTo>
                  <a:lnTo>
                    <a:pt x="2119592" y="475297"/>
                  </a:lnTo>
                  <a:lnTo>
                    <a:pt x="2116048" y="474027"/>
                  </a:lnTo>
                  <a:lnTo>
                    <a:pt x="2112505" y="472757"/>
                  </a:lnTo>
                  <a:lnTo>
                    <a:pt x="2113165" y="470217"/>
                  </a:lnTo>
                  <a:lnTo>
                    <a:pt x="2123046" y="474027"/>
                  </a:lnTo>
                  <a:lnTo>
                    <a:pt x="2122386" y="470217"/>
                  </a:lnTo>
                  <a:lnTo>
                    <a:pt x="2122170" y="468947"/>
                  </a:lnTo>
                  <a:lnTo>
                    <a:pt x="2129853" y="470217"/>
                  </a:lnTo>
                  <a:lnTo>
                    <a:pt x="2128164" y="465137"/>
                  </a:lnTo>
                  <a:lnTo>
                    <a:pt x="2129879" y="462597"/>
                  </a:lnTo>
                  <a:lnTo>
                    <a:pt x="2133308" y="457517"/>
                  </a:lnTo>
                  <a:lnTo>
                    <a:pt x="2124087" y="461327"/>
                  </a:lnTo>
                  <a:lnTo>
                    <a:pt x="2117941" y="462597"/>
                  </a:lnTo>
                  <a:lnTo>
                    <a:pt x="2111641" y="461327"/>
                  </a:lnTo>
                  <a:lnTo>
                    <a:pt x="2113965" y="456247"/>
                  </a:lnTo>
                  <a:lnTo>
                    <a:pt x="2120366" y="454977"/>
                  </a:lnTo>
                  <a:lnTo>
                    <a:pt x="2118830" y="452437"/>
                  </a:lnTo>
                  <a:lnTo>
                    <a:pt x="2120608" y="449897"/>
                  </a:lnTo>
                  <a:lnTo>
                    <a:pt x="2123287" y="446087"/>
                  </a:lnTo>
                  <a:lnTo>
                    <a:pt x="2113534" y="449897"/>
                  </a:lnTo>
                  <a:lnTo>
                    <a:pt x="2111730" y="446087"/>
                  </a:lnTo>
                  <a:lnTo>
                    <a:pt x="2114143" y="442277"/>
                  </a:lnTo>
                  <a:lnTo>
                    <a:pt x="2114956" y="441007"/>
                  </a:lnTo>
                  <a:lnTo>
                    <a:pt x="2112657" y="442277"/>
                  </a:lnTo>
                  <a:lnTo>
                    <a:pt x="2109343" y="439737"/>
                  </a:lnTo>
                  <a:lnTo>
                    <a:pt x="2109571" y="423227"/>
                  </a:lnTo>
                  <a:lnTo>
                    <a:pt x="2107628" y="421957"/>
                  </a:lnTo>
                  <a:lnTo>
                    <a:pt x="2106460" y="425767"/>
                  </a:lnTo>
                  <a:lnTo>
                    <a:pt x="2106282" y="435927"/>
                  </a:lnTo>
                  <a:lnTo>
                    <a:pt x="2103107" y="439737"/>
                  </a:lnTo>
                  <a:lnTo>
                    <a:pt x="2098027" y="439737"/>
                  </a:lnTo>
                  <a:lnTo>
                    <a:pt x="2103005" y="444817"/>
                  </a:lnTo>
                  <a:lnTo>
                    <a:pt x="2104021" y="449897"/>
                  </a:lnTo>
                  <a:lnTo>
                    <a:pt x="2089899" y="446087"/>
                  </a:lnTo>
                  <a:lnTo>
                    <a:pt x="2095550" y="451167"/>
                  </a:lnTo>
                  <a:lnTo>
                    <a:pt x="2093988" y="457517"/>
                  </a:lnTo>
                  <a:lnTo>
                    <a:pt x="2099246" y="454977"/>
                  </a:lnTo>
                  <a:lnTo>
                    <a:pt x="2102980" y="456247"/>
                  </a:lnTo>
                  <a:lnTo>
                    <a:pt x="2102396" y="460057"/>
                  </a:lnTo>
                  <a:lnTo>
                    <a:pt x="2095919" y="460057"/>
                  </a:lnTo>
                  <a:lnTo>
                    <a:pt x="2097455" y="462597"/>
                  </a:lnTo>
                  <a:lnTo>
                    <a:pt x="2100618" y="465137"/>
                  </a:lnTo>
                  <a:lnTo>
                    <a:pt x="2096947" y="465137"/>
                  </a:lnTo>
                  <a:lnTo>
                    <a:pt x="2087791" y="462597"/>
                  </a:lnTo>
                  <a:lnTo>
                    <a:pt x="2079574" y="458787"/>
                  </a:lnTo>
                  <a:lnTo>
                    <a:pt x="2082787" y="467677"/>
                  </a:lnTo>
                  <a:lnTo>
                    <a:pt x="2079244" y="468947"/>
                  </a:lnTo>
                  <a:lnTo>
                    <a:pt x="2082774" y="468947"/>
                  </a:lnTo>
                  <a:lnTo>
                    <a:pt x="2080006" y="476567"/>
                  </a:lnTo>
                  <a:lnTo>
                    <a:pt x="2089873" y="470217"/>
                  </a:lnTo>
                  <a:lnTo>
                    <a:pt x="2089873" y="476567"/>
                  </a:lnTo>
                  <a:lnTo>
                    <a:pt x="2097227" y="474027"/>
                  </a:lnTo>
                  <a:lnTo>
                    <a:pt x="2098814" y="479107"/>
                  </a:lnTo>
                  <a:lnTo>
                    <a:pt x="2092680" y="481647"/>
                  </a:lnTo>
                  <a:lnTo>
                    <a:pt x="2079307" y="481647"/>
                  </a:lnTo>
                  <a:lnTo>
                    <a:pt x="2083650" y="485457"/>
                  </a:lnTo>
                  <a:lnTo>
                    <a:pt x="2082495" y="487997"/>
                  </a:lnTo>
                  <a:lnTo>
                    <a:pt x="2080729" y="490537"/>
                  </a:lnTo>
                  <a:lnTo>
                    <a:pt x="2090064" y="487997"/>
                  </a:lnTo>
                  <a:lnTo>
                    <a:pt x="2090140" y="491807"/>
                  </a:lnTo>
                  <a:lnTo>
                    <a:pt x="2084451" y="495617"/>
                  </a:lnTo>
                  <a:lnTo>
                    <a:pt x="2095030" y="494347"/>
                  </a:lnTo>
                  <a:lnTo>
                    <a:pt x="2097595" y="496887"/>
                  </a:lnTo>
                  <a:lnTo>
                    <a:pt x="2092502" y="503237"/>
                  </a:lnTo>
                  <a:lnTo>
                    <a:pt x="2075878" y="509587"/>
                  </a:lnTo>
                  <a:lnTo>
                    <a:pt x="2060384" y="510857"/>
                  </a:lnTo>
                  <a:lnTo>
                    <a:pt x="2065108" y="517207"/>
                  </a:lnTo>
                  <a:lnTo>
                    <a:pt x="2059114" y="524827"/>
                  </a:lnTo>
                  <a:lnTo>
                    <a:pt x="2071204" y="519747"/>
                  </a:lnTo>
                  <a:lnTo>
                    <a:pt x="2070785" y="523557"/>
                  </a:lnTo>
                  <a:lnTo>
                    <a:pt x="2064067" y="533717"/>
                  </a:lnTo>
                  <a:lnTo>
                    <a:pt x="2070150" y="528637"/>
                  </a:lnTo>
                  <a:lnTo>
                    <a:pt x="2072030" y="532447"/>
                  </a:lnTo>
                  <a:lnTo>
                    <a:pt x="2078431" y="528637"/>
                  </a:lnTo>
                  <a:lnTo>
                    <a:pt x="2080564" y="527367"/>
                  </a:lnTo>
                  <a:lnTo>
                    <a:pt x="2081593" y="531177"/>
                  </a:lnTo>
                  <a:lnTo>
                    <a:pt x="2085352" y="527367"/>
                  </a:lnTo>
                  <a:lnTo>
                    <a:pt x="2086610" y="526097"/>
                  </a:lnTo>
                  <a:lnTo>
                    <a:pt x="2087410" y="533717"/>
                  </a:lnTo>
                  <a:lnTo>
                    <a:pt x="2094738" y="527367"/>
                  </a:lnTo>
                  <a:lnTo>
                    <a:pt x="2093899" y="531177"/>
                  </a:lnTo>
                  <a:lnTo>
                    <a:pt x="2092210" y="534987"/>
                  </a:lnTo>
                  <a:lnTo>
                    <a:pt x="2091169" y="535609"/>
                  </a:lnTo>
                  <a:lnTo>
                    <a:pt x="2091169" y="548957"/>
                  </a:lnTo>
                  <a:lnTo>
                    <a:pt x="2085949" y="555307"/>
                  </a:lnTo>
                  <a:lnTo>
                    <a:pt x="2086660" y="556577"/>
                  </a:lnTo>
                  <a:lnTo>
                    <a:pt x="2088908" y="556577"/>
                  </a:lnTo>
                  <a:lnTo>
                    <a:pt x="2085467" y="560387"/>
                  </a:lnTo>
                  <a:lnTo>
                    <a:pt x="2082495" y="562927"/>
                  </a:lnTo>
                  <a:lnTo>
                    <a:pt x="2081364" y="560387"/>
                  </a:lnTo>
                  <a:lnTo>
                    <a:pt x="2080793" y="560387"/>
                  </a:lnTo>
                  <a:lnTo>
                    <a:pt x="2082825" y="557847"/>
                  </a:lnTo>
                  <a:lnTo>
                    <a:pt x="2086813" y="552767"/>
                  </a:lnTo>
                  <a:lnTo>
                    <a:pt x="2091169" y="548957"/>
                  </a:lnTo>
                  <a:lnTo>
                    <a:pt x="2091169" y="535609"/>
                  </a:lnTo>
                  <a:lnTo>
                    <a:pt x="2085771" y="538797"/>
                  </a:lnTo>
                  <a:lnTo>
                    <a:pt x="2078786" y="542836"/>
                  </a:lnTo>
                  <a:lnTo>
                    <a:pt x="2078786" y="557847"/>
                  </a:lnTo>
                  <a:lnTo>
                    <a:pt x="2077364" y="556577"/>
                  </a:lnTo>
                  <a:lnTo>
                    <a:pt x="2074545" y="559117"/>
                  </a:lnTo>
                  <a:lnTo>
                    <a:pt x="2074722" y="556577"/>
                  </a:lnTo>
                  <a:lnTo>
                    <a:pt x="2075065" y="555307"/>
                  </a:lnTo>
                  <a:lnTo>
                    <a:pt x="2075764" y="552767"/>
                  </a:lnTo>
                  <a:lnTo>
                    <a:pt x="2078621" y="556577"/>
                  </a:lnTo>
                  <a:lnTo>
                    <a:pt x="2078786" y="557847"/>
                  </a:lnTo>
                  <a:lnTo>
                    <a:pt x="2078786" y="542836"/>
                  </a:lnTo>
                  <a:lnTo>
                    <a:pt x="2076958" y="543877"/>
                  </a:lnTo>
                  <a:lnTo>
                    <a:pt x="2071446" y="545401"/>
                  </a:lnTo>
                  <a:lnTo>
                    <a:pt x="2071446" y="562927"/>
                  </a:lnTo>
                  <a:lnTo>
                    <a:pt x="2070506" y="564197"/>
                  </a:lnTo>
                  <a:lnTo>
                    <a:pt x="2069985" y="565619"/>
                  </a:lnTo>
                  <a:lnTo>
                    <a:pt x="2066848" y="575627"/>
                  </a:lnTo>
                  <a:lnTo>
                    <a:pt x="2066442" y="574357"/>
                  </a:lnTo>
                  <a:lnTo>
                    <a:pt x="2064016" y="566737"/>
                  </a:lnTo>
                  <a:lnTo>
                    <a:pt x="2063610" y="565467"/>
                  </a:lnTo>
                  <a:lnTo>
                    <a:pt x="2060384" y="564197"/>
                  </a:lnTo>
                  <a:lnTo>
                    <a:pt x="2070696" y="559117"/>
                  </a:lnTo>
                  <a:lnTo>
                    <a:pt x="2071446" y="562927"/>
                  </a:lnTo>
                  <a:lnTo>
                    <a:pt x="2071446" y="545401"/>
                  </a:lnTo>
                  <a:lnTo>
                    <a:pt x="2067750" y="546417"/>
                  </a:lnTo>
                  <a:lnTo>
                    <a:pt x="2064943" y="546976"/>
                  </a:lnTo>
                  <a:lnTo>
                    <a:pt x="2064943" y="556577"/>
                  </a:lnTo>
                  <a:lnTo>
                    <a:pt x="2060905" y="560387"/>
                  </a:lnTo>
                  <a:lnTo>
                    <a:pt x="2058898" y="562927"/>
                  </a:lnTo>
                  <a:lnTo>
                    <a:pt x="2056472" y="565213"/>
                  </a:lnTo>
                  <a:lnTo>
                    <a:pt x="2056472" y="565619"/>
                  </a:lnTo>
                  <a:lnTo>
                    <a:pt x="2056295" y="566737"/>
                  </a:lnTo>
                  <a:lnTo>
                    <a:pt x="2056091" y="566737"/>
                  </a:lnTo>
                  <a:lnTo>
                    <a:pt x="2055291" y="566432"/>
                  </a:lnTo>
                  <a:lnTo>
                    <a:pt x="2056472" y="565619"/>
                  </a:lnTo>
                  <a:lnTo>
                    <a:pt x="2056472" y="565213"/>
                  </a:lnTo>
                  <a:lnTo>
                    <a:pt x="2038477" y="554037"/>
                  </a:lnTo>
                  <a:lnTo>
                    <a:pt x="2051215" y="561657"/>
                  </a:lnTo>
                  <a:lnTo>
                    <a:pt x="2050465" y="557847"/>
                  </a:lnTo>
                  <a:lnTo>
                    <a:pt x="2056485" y="556577"/>
                  </a:lnTo>
                  <a:lnTo>
                    <a:pt x="2056231" y="560387"/>
                  </a:lnTo>
                  <a:lnTo>
                    <a:pt x="2064943" y="556577"/>
                  </a:lnTo>
                  <a:lnTo>
                    <a:pt x="2064943" y="546976"/>
                  </a:lnTo>
                  <a:lnTo>
                    <a:pt x="2061298" y="547687"/>
                  </a:lnTo>
                  <a:lnTo>
                    <a:pt x="2060714" y="546976"/>
                  </a:lnTo>
                  <a:lnTo>
                    <a:pt x="2060714" y="547687"/>
                  </a:lnTo>
                  <a:lnTo>
                    <a:pt x="2054669" y="550227"/>
                  </a:lnTo>
                  <a:lnTo>
                    <a:pt x="2051659" y="551497"/>
                  </a:lnTo>
                  <a:lnTo>
                    <a:pt x="2056790" y="552767"/>
                  </a:lnTo>
                  <a:lnTo>
                    <a:pt x="2056612" y="555307"/>
                  </a:lnTo>
                  <a:lnTo>
                    <a:pt x="2054809" y="554037"/>
                  </a:lnTo>
                  <a:lnTo>
                    <a:pt x="2049399" y="550227"/>
                  </a:lnTo>
                  <a:lnTo>
                    <a:pt x="2051354" y="548957"/>
                  </a:lnTo>
                  <a:lnTo>
                    <a:pt x="2048141" y="545147"/>
                  </a:lnTo>
                  <a:lnTo>
                    <a:pt x="2047074" y="543877"/>
                  </a:lnTo>
                  <a:lnTo>
                    <a:pt x="2051786" y="545147"/>
                  </a:lnTo>
                  <a:lnTo>
                    <a:pt x="2054669" y="550227"/>
                  </a:lnTo>
                  <a:lnTo>
                    <a:pt x="2055329" y="545147"/>
                  </a:lnTo>
                  <a:lnTo>
                    <a:pt x="2060714" y="547687"/>
                  </a:lnTo>
                  <a:lnTo>
                    <a:pt x="2060714" y="546976"/>
                  </a:lnTo>
                  <a:lnTo>
                    <a:pt x="2059228" y="545147"/>
                  </a:lnTo>
                  <a:lnTo>
                    <a:pt x="2058200" y="543877"/>
                  </a:lnTo>
                  <a:lnTo>
                    <a:pt x="2057171" y="542607"/>
                  </a:lnTo>
                  <a:lnTo>
                    <a:pt x="2060321" y="543877"/>
                  </a:lnTo>
                  <a:lnTo>
                    <a:pt x="2060270" y="542607"/>
                  </a:lnTo>
                  <a:lnTo>
                    <a:pt x="2060181" y="540067"/>
                  </a:lnTo>
                  <a:lnTo>
                    <a:pt x="2063318" y="538797"/>
                  </a:lnTo>
                  <a:lnTo>
                    <a:pt x="2068029" y="534987"/>
                  </a:lnTo>
                  <a:lnTo>
                    <a:pt x="2042274" y="531177"/>
                  </a:lnTo>
                  <a:lnTo>
                    <a:pt x="2039239" y="528637"/>
                  </a:lnTo>
                  <a:lnTo>
                    <a:pt x="2041982" y="528637"/>
                  </a:lnTo>
                  <a:lnTo>
                    <a:pt x="2040788" y="527367"/>
                  </a:lnTo>
                  <a:lnTo>
                    <a:pt x="2040204" y="526097"/>
                  </a:lnTo>
                  <a:lnTo>
                    <a:pt x="2039010" y="524827"/>
                  </a:lnTo>
                  <a:lnTo>
                    <a:pt x="2044636" y="526097"/>
                  </a:lnTo>
                  <a:lnTo>
                    <a:pt x="2047443" y="527367"/>
                  </a:lnTo>
                  <a:lnTo>
                    <a:pt x="2053069" y="528637"/>
                  </a:lnTo>
                  <a:lnTo>
                    <a:pt x="2051253" y="524827"/>
                  </a:lnTo>
                  <a:lnTo>
                    <a:pt x="2054872" y="521017"/>
                  </a:lnTo>
                  <a:lnTo>
                    <a:pt x="2032901" y="515937"/>
                  </a:lnTo>
                  <a:lnTo>
                    <a:pt x="2040915" y="514667"/>
                  </a:lnTo>
                  <a:lnTo>
                    <a:pt x="2040839" y="512127"/>
                  </a:lnTo>
                  <a:lnTo>
                    <a:pt x="2048243" y="517207"/>
                  </a:lnTo>
                  <a:lnTo>
                    <a:pt x="2047862" y="512127"/>
                  </a:lnTo>
                  <a:lnTo>
                    <a:pt x="2051240" y="508317"/>
                  </a:lnTo>
                  <a:lnTo>
                    <a:pt x="2053513" y="507047"/>
                  </a:lnTo>
                  <a:lnTo>
                    <a:pt x="2045436" y="505777"/>
                  </a:lnTo>
                  <a:lnTo>
                    <a:pt x="2046935" y="503237"/>
                  </a:lnTo>
                  <a:lnTo>
                    <a:pt x="2051354" y="499427"/>
                  </a:lnTo>
                  <a:lnTo>
                    <a:pt x="2045792" y="499427"/>
                  </a:lnTo>
                  <a:lnTo>
                    <a:pt x="2049932" y="494347"/>
                  </a:lnTo>
                  <a:lnTo>
                    <a:pt x="2031352" y="500697"/>
                  </a:lnTo>
                  <a:lnTo>
                    <a:pt x="2028418" y="495617"/>
                  </a:lnTo>
                  <a:lnTo>
                    <a:pt x="2026945" y="493077"/>
                  </a:lnTo>
                  <a:lnTo>
                    <a:pt x="2034311" y="498157"/>
                  </a:lnTo>
                  <a:lnTo>
                    <a:pt x="2034324" y="494347"/>
                  </a:lnTo>
                  <a:lnTo>
                    <a:pt x="2041398" y="494347"/>
                  </a:lnTo>
                  <a:lnTo>
                    <a:pt x="2040153" y="493077"/>
                  </a:lnTo>
                  <a:lnTo>
                    <a:pt x="2038908" y="491807"/>
                  </a:lnTo>
                  <a:lnTo>
                    <a:pt x="2045246" y="489267"/>
                  </a:lnTo>
                  <a:lnTo>
                    <a:pt x="2040826" y="487997"/>
                  </a:lnTo>
                  <a:lnTo>
                    <a:pt x="2033638" y="485457"/>
                  </a:lnTo>
                  <a:lnTo>
                    <a:pt x="2041499" y="484187"/>
                  </a:lnTo>
                  <a:lnTo>
                    <a:pt x="2036241" y="480377"/>
                  </a:lnTo>
                  <a:lnTo>
                    <a:pt x="2039137" y="476567"/>
                  </a:lnTo>
                  <a:lnTo>
                    <a:pt x="2041067" y="474027"/>
                  </a:lnTo>
                  <a:lnTo>
                    <a:pt x="2035416" y="476567"/>
                  </a:lnTo>
                  <a:lnTo>
                    <a:pt x="2031987" y="475297"/>
                  </a:lnTo>
                  <a:lnTo>
                    <a:pt x="2033638" y="472757"/>
                  </a:lnTo>
                  <a:lnTo>
                    <a:pt x="2035302" y="470217"/>
                  </a:lnTo>
                  <a:lnTo>
                    <a:pt x="2025929" y="472757"/>
                  </a:lnTo>
                  <a:lnTo>
                    <a:pt x="2032050" y="466407"/>
                  </a:lnTo>
                  <a:lnTo>
                    <a:pt x="2026094" y="463867"/>
                  </a:lnTo>
                  <a:lnTo>
                    <a:pt x="2024837" y="448627"/>
                  </a:lnTo>
                  <a:lnTo>
                    <a:pt x="2023681" y="443547"/>
                  </a:lnTo>
                  <a:lnTo>
                    <a:pt x="2022094" y="446087"/>
                  </a:lnTo>
                  <a:lnTo>
                    <a:pt x="2021776" y="457517"/>
                  </a:lnTo>
                  <a:lnTo>
                    <a:pt x="2019642" y="462597"/>
                  </a:lnTo>
                  <a:lnTo>
                    <a:pt x="2015299" y="466407"/>
                  </a:lnTo>
                  <a:lnTo>
                    <a:pt x="2019185" y="468947"/>
                  </a:lnTo>
                  <a:lnTo>
                    <a:pt x="2008746" y="472757"/>
                  </a:lnTo>
                  <a:lnTo>
                    <a:pt x="2012657" y="475297"/>
                  </a:lnTo>
                  <a:lnTo>
                    <a:pt x="2010930" y="477837"/>
                  </a:lnTo>
                  <a:lnTo>
                    <a:pt x="2009762" y="477837"/>
                  </a:lnTo>
                  <a:lnTo>
                    <a:pt x="2015070" y="480377"/>
                  </a:lnTo>
                  <a:lnTo>
                    <a:pt x="2018614" y="480377"/>
                  </a:lnTo>
                  <a:lnTo>
                    <a:pt x="2011070" y="485457"/>
                  </a:lnTo>
                  <a:lnTo>
                    <a:pt x="2003666" y="485457"/>
                  </a:lnTo>
                  <a:lnTo>
                    <a:pt x="2010778" y="489267"/>
                  </a:lnTo>
                  <a:lnTo>
                    <a:pt x="2009622" y="494347"/>
                  </a:lnTo>
                  <a:lnTo>
                    <a:pt x="2014296" y="491807"/>
                  </a:lnTo>
                  <a:lnTo>
                    <a:pt x="2014181" y="496887"/>
                  </a:lnTo>
                  <a:lnTo>
                    <a:pt x="2018436" y="495617"/>
                  </a:lnTo>
                  <a:lnTo>
                    <a:pt x="2011883" y="500697"/>
                  </a:lnTo>
                  <a:lnTo>
                    <a:pt x="1991080" y="494347"/>
                  </a:lnTo>
                  <a:lnTo>
                    <a:pt x="1993988" y="498157"/>
                  </a:lnTo>
                  <a:lnTo>
                    <a:pt x="1989886" y="501967"/>
                  </a:lnTo>
                  <a:lnTo>
                    <a:pt x="1998230" y="500697"/>
                  </a:lnTo>
                  <a:lnTo>
                    <a:pt x="1991499" y="505777"/>
                  </a:lnTo>
                  <a:lnTo>
                    <a:pt x="1997849" y="507047"/>
                  </a:lnTo>
                  <a:lnTo>
                    <a:pt x="1989683" y="515937"/>
                  </a:lnTo>
                  <a:lnTo>
                    <a:pt x="1995970" y="513397"/>
                  </a:lnTo>
                  <a:lnTo>
                    <a:pt x="1998929" y="518477"/>
                  </a:lnTo>
                  <a:lnTo>
                    <a:pt x="2003767" y="513397"/>
                  </a:lnTo>
                  <a:lnTo>
                    <a:pt x="2004974" y="512127"/>
                  </a:lnTo>
                  <a:lnTo>
                    <a:pt x="1999322" y="523557"/>
                  </a:lnTo>
                  <a:lnTo>
                    <a:pt x="2004656" y="519747"/>
                  </a:lnTo>
                  <a:lnTo>
                    <a:pt x="2006434" y="521017"/>
                  </a:lnTo>
                  <a:lnTo>
                    <a:pt x="2007349" y="522287"/>
                  </a:lnTo>
                  <a:lnTo>
                    <a:pt x="2009127" y="523557"/>
                  </a:lnTo>
                  <a:lnTo>
                    <a:pt x="2011095" y="519747"/>
                  </a:lnTo>
                  <a:lnTo>
                    <a:pt x="2013737" y="514667"/>
                  </a:lnTo>
                  <a:lnTo>
                    <a:pt x="2015210" y="521017"/>
                  </a:lnTo>
                  <a:lnTo>
                    <a:pt x="2004504" y="527367"/>
                  </a:lnTo>
                  <a:lnTo>
                    <a:pt x="1985924" y="531177"/>
                  </a:lnTo>
                  <a:lnTo>
                    <a:pt x="1987397" y="533717"/>
                  </a:lnTo>
                  <a:lnTo>
                    <a:pt x="1978583" y="533717"/>
                  </a:lnTo>
                  <a:lnTo>
                    <a:pt x="1987715" y="540067"/>
                  </a:lnTo>
                  <a:lnTo>
                    <a:pt x="1983968" y="543877"/>
                  </a:lnTo>
                  <a:lnTo>
                    <a:pt x="1998637" y="540067"/>
                  </a:lnTo>
                  <a:lnTo>
                    <a:pt x="1996998" y="543877"/>
                  </a:lnTo>
                  <a:lnTo>
                    <a:pt x="1988096" y="551497"/>
                  </a:lnTo>
                  <a:lnTo>
                    <a:pt x="1995081" y="550227"/>
                  </a:lnTo>
                  <a:lnTo>
                    <a:pt x="1995716" y="555307"/>
                  </a:lnTo>
                  <a:lnTo>
                    <a:pt x="1999107" y="550227"/>
                  </a:lnTo>
                  <a:lnTo>
                    <a:pt x="2000808" y="547687"/>
                  </a:lnTo>
                  <a:lnTo>
                    <a:pt x="2003971" y="552767"/>
                  </a:lnTo>
                  <a:lnTo>
                    <a:pt x="2004783" y="547687"/>
                  </a:lnTo>
                  <a:lnTo>
                    <a:pt x="2005190" y="545147"/>
                  </a:lnTo>
                  <a:lnTo>
                    <a:pt x="2008174" y="545147"/>
                  </a:lnTo>
                  <a:lnTo>
                    <a:pt x="2010143" y="550227"/>
                  </a:lnTo>
                  <a:lnTo>
                    <a:pt x="2004974" y="554037"/>
                  </a:lnTo>
                  <a:lnTo>
                    <a:pt x="2001520" y="557847"/>
                  </a:lnTo>
                  <a:lnTo>
                    <a:pt x="2008416" y="560387"/>
                  </a:lnTo>
                  <a:lnTo>
                    <a:pt x="2006041" y="564197"/>
                  </a:lnTo>
                  <a:lnTo>
                    <a:pt x="1985924" y="569455"/>
                  </a:lnTo>
                  <a:lnTo>
                    <a:pt x="1985924" y="580707"/>
                  </a:lnTo>
                  <a:lnTo>
                    <a:pt x="1984324" y="589597"/>
                  </a:lnTo>
                  <a:lnTo>
                    <a:pt x="1985683" y="589597"/>
                  </a:lnTo>
                  <a:lnTo>
                    <a:pt x="1984222" y="595947"/>
                  </a:lnTo>
                  <a:lnTo>
                    <a:pt x="1983854" y="594677"/>
                  </a:lnTo>
                  <a:lnTo>
                    <a:pt x="1982762" y="590867"/>
                  </a:lnTo>
                  <a:lnTo>
                    <a:pt x="1981301" y="587057"/>
                  </a:lnTo>
                  <a:lnTo>
                    <a:pt x="1982317" y="588327"/>
                  </a:lnTo>
                  <a:lnTo>
                    <a:pt x="1981466" y="585787"/>
                  </a:lnTo>
                  <a:lnTo>
                    <a:pt x="1985924" y="580707"/>
                  </a:lnTo>
                  <a:lnTo>
                    <a:pt x="1985924" y="569455"/>
                  </a:lnTo>
                  <a:lnTo>
                    <a:pt x="1979625" y="571093"/>
                  </a:lnTo>
                  <a:lnTo>
                    <a:pt x="1979625" y="587057"/>
                  </a:lnTo>
                  <a:lnTo>
                    <a:pt x="1977517" y="594677"/>
                  </a:lnTo>
                  <a:lnTo>
                    <a:pt x="1975408" y="592137"/>
                  </a:lnTo>
                  <a:lnTo>
                    <a:pt x="1974342" y="589597"/>
                  </a:lnTo>
                  <a:lnTo>
                    <a:pt x="1973287" y="587057"/>
                  </a:lnTo>
                  <a:lnTo>
                    <a:pt x="1973097" y="588327"/>
                  </a:lnTo>
                  <a:lnTo>
                    <a:pt x="1972716" y="589597"/>
                  </a:lnTo>
                  <a:lnTo>
                    <a:pt x="1969173" y="587057"/>
                  </a:lnTo>
                  <a:lnTo>
                    <a:pt x="1968411" y="583247"/>
                  </a:lnTo>
                  <a:lnTo>
                    <a:pt x="1970697" y="584517"/>
                  </a:lnTo>
                  <a:lnTo>
                    <a:pt x="1970951" y="584517"/>
                  </a:lnTo>
                  <a:lnTo>
                    <a:pt x="1976259" y="587057"/>
                  </a:lnTo>
                  <a:lnTo>
                    <a:pt x="1979625" y="587057"/>
                  </a:lnTo>
                  <a:lnTo>
                    <a:pt x="1979625" y="571093"/>
                  </a:lnTo>
                  <a:lnTo>
                    <a:pt x="1967115" y="574357"/>
                  </a:lnTo>
                  <a:lnTo>
                    <a:pt x="1963420" y="574357"/>
                  </a:lnTo>
                  <a:lnTo>
                    <a:pt x="1952599" y="569277"/>
                  </a:lnTo>
                  <a:lnTo>
                    <a:pt x="1944763" y="561657"/>
                  </a:lnTo>
                  <a:lnTo>
                    <a:pt x="1943366" y="557847"/>
                  </a:lnTo>
                  <a:lnTo>
                    <a:pt x="1942426" y="555307"/>
                  </a:lnTo>
                  <a:lnTo>
                    <a:pt x="1942985" y="551497"/>
                  </a:lnTo>
                  <a:lnTo>
                    <a:pt x="1951469" y="561657"/>
                  </a:lnTo>
                  <a:lnTo>
                    <a:pt x="1950745" y="556577"/>
                  </a:lnTo>
                  <a:lnTo>
                    <a:pt x="1949602" y="551497"/>
                  </a:lnTo>
                  <a:lnTo>
                    <a:pt x="1949323" y="550227"/>
                  </a:lnTo>
                  <a:lnTo>
                    <a:pt x="1948751" y="547687"/>
                  </a:lnTo>
                  <a:lnTo>
                    <a:pt x="1958517" y="564197"/>
                  </a:lnTo>
                  <a:lnTo>
                    <a:pt x="1960359" y="559117"/>
                  </a:lnTo>
                  <a:lnTo>
                    <a:pt x="1967077" y="569277"/>
                  </a:lnTo>
                  <a:lnTo>
                    <a:pt x="1966493" y="564197"/>
                  </a:lnTo>
                  <a:lnTo>
                    <a:pt x="1967877" y="562927"/>
                  </a:lnTo>
                  <a:lnTo>
                    <a:pt x="1972691" y="564197"/>
                  </a:lnTo>
                  <a:lnTo>
                    <a:pt x="1974735" y="562927"/>
                  </a:lnTo>
                  <a:lnTo>
                    <a:pt x="1976793" y="561657"/>
                  </a:lnTo>
                  <a:lnTo>
                    <a:pt x="1973275" y="560387"/>
                  </a:lnTo>
                  <a:lnTo>
                    <a:pt x="1970620" y="559117"/>
                  </a:lnTo>
                  <a:lnTo>
                    <a:pt x="1967979" y="557847"/>
                  </a:lnTo>
                  <a:lnTo>
                    <a:pt x="1960803" y="550227"/>
                  </a:lnTo>
                  <a:lnTo>
                    <a:pt x="1959076" y="547687"/>
                  </a:lnTo>
                  <a:lnTo>
                    <a:pt x="1961692" y="542607"/>
                  </a:lnTo>
                  <a:lnTo>
                    <a:pt x="1963902" y="546417"/>
                  </a:lnTo>
                  <a:lnTo>
                    <a:pt x="1969935" y="552767"/>
                  </a:lnTo>
                  <a:lnTo>
                    <a:pt x="1968779" y="542607"/>
                  </a:lnTo>
                  <a:lnTo>
                    <a:pt x="1968639" y="541337"/>
                  </a:lnTo>
                  <a:lnTo>
                    <a:pt x="1976056" y="547687"/>
                  </a:lnTo>
                  <a:lnTo>
                    <a:pt x="1974735" y="541337"/>
                  </a:lnTo>
                  <a:lnTo>
                    <a:pt x="1974202" y="538797"/>
                  </a:lnTo>
                  <a:lnTo>
                    <a:pt x="1985086" y="538797"/>
                  </a:lnTo>
                  <a:lnTo>
                    <a:pt x="1969211" y="532447"/>
                  </a:lnTo>
                  <a:lnTo>
                    <a:pt x="1968538" y="532447"/>
                  </a:lnTo>
                  <a:lnTo>
                    <a:pt x="1971649" y="531177"/>
                  </a:lnTo>
                  <a:lnTo>
                    <a:pt x="1965058" y="528637"/>
                  </a:lnTo>
                  <a:lnTo>
                    <a:pt x="1961756" y="527367"/>
                  </a:lnTo>
                  <a:lnTo>
                    <a:pt x="1951875" y="523557"/>
                  </a:lnTo>
                  <a:lnTo>
                    <a:pt x="1949615" y="521017"/>
                  </a:lnTo>
                  <a:lnTo>
                    <a:pt x="1943963" y="514667"/>
                  </a:lnTo>
                  <a:lnTo>
                    <a:pt x="1942884" y="509587"/>
                  </a:lnTo>
                  <a:lnTo>
                    <a:pt x="1945525" y="509587"/>
                  </a:lnTo>
                  <a:lnTo>
                    <a:pt x="1954047" y="521017"/>
                  </a:lnTo>
                  <a:lnTo>
                    <a:pt x="1954377" y="518477"/>
                  </a:lnTo>
                  <a:lnTo>
                    <a:pt x="1953831" y="514667"/>
                  </a:lnTo>
                  <a:lnTo>
                    <a:pt x="1955088" y="513397"/>
                  </a:lnTo>
                  <a:lnTo>
                    <a:pt x="1957197" y="517207"/>
                  </a:lnTo>
                  <a:lnTo>
                    <a:pt x="1961972" y="522287"/>
                  </a:lnTo>
                  <a:lnTo>
                    <a:pt x="1961591" y="515937"/>
                  </a:lnTo>
                  <a:lnTo>
                    <a:pt x="1963966" y="515937"/>
                  </a:lnTo>
                  <a:lnTo>
                    <a:pt x="1970836" y="519747"/>
                  </a:lnTo>
                  <a:lnTo>
                    <a:pt x="1969439" y="515937"/>
                  </a:lnTo>
                  <a:lnTo>
                    <a:pt x="1968512" y="513397"/>
                  </a:lnTo>
                  <a:lnTo>
                    <a:pt x="1977402" y="509587"/>
                  </a:lnTo>
                  <a:lnTo>
                    <a:pt x="1965693" y="509587"/>
                  </a:lnTo>
                  <a:lnTo>
                    <a:pt x="1959457" y="508317"/>
                  </a:lnTo>
                  <a:lnTo>
                    <a:pt x="1963483" y="505777"/>
                  </a:lnTo>
                  <a:lnTo>
                    <a:pt x="1949424" y="501967"/>
                  </a:lnTo>
                  <a:lnTo>
                    <a:pt x="1943493" y="496887"/>
                  </a:lnTo>
                  <a:lnTo>
                    <a:pt x="1943760" y="494347"/>
                  </a:lnTo>
                  <a:lnTo>
                    <a:pt x="1951062" y="494347"/>
                  </a:lnTo>
                  <a:lnTo>
                    <a:pt x="1946897" y="490537"/>
                  </a:lnTo>
                  <a:lnTo>
                    <a:pt x="1944827" y="489267"/>
                  </a:lnTo>
                  <a:lnTo>
                    <a:pt x="1940661" y="485457"/>
                  </a:lnTo>
                  <a:lnTo>
                    <a:pt x="1946605" y="485457"/>
                  </a:lnTo>
                  <a:lnTo>
                    <a:pt x="1954491" y="489267"/>
                  </a:lnTo>
                  <a:lnTo>
                    <a:pt x="1954517" y="485457"/>
                  </a:lnTo>
                  <a:lnTo>
                    <a:pt x="1954542" y="481647"/>
                  </a:lnTo>
                  <a:lnTo>
                    <a:pt x="1960714" y="477837"/>
                  </a:lnTo>
                  <a:lnTo>
                    <a:pt x="1944738" y="477837"/>
                  </a:lnTo>
                  <a:lnTo>
                    <a:pt x="1940026" y="475297"/>
                  </a:lnTo>
                  <a:lnTo>
                    <a:pt x="1937664" y="474027"/>
                  </a:lnTo>
                  <a:lnTo>
                    <a:pt x="1938324" y="471487"/>
                  </a:lnTo>
                  <a:lnTo>
                    <a:pt x="1948205" y="475297"/>
                  </a:lnTo>
                  <a:lnTo>
                    <a:pt x="1947532" y="471487"/>
                  </a:lnTo>
                  <a:lnTo>
                    <a:pt x="1947316" y="470217"/>
                  </a:lnTo>
                  <a:lnTo>
                    <a:pt x="1954999" y="471487"/>
                  </a:lnTo>
                  <a:lnTo>
                    <a:pt x="1954580" y="470217"/>
                  </a:lnTo>
                  <a:lnTo>
                    <a:pt x="1953323" y="466407"/>
                  </a:lnTo>
                  <a:lnTo>
                    <a:pt x="1954174" y="465137"/>
                  </a:lnTo>
                  <a:lnTo>
                    <a:pt x="1958467" y="458787"/>
                  </a:lnTo>
                  <a:lnTo>
                    <a:pt x="1943100" y="465137"/>
                  </a:lnTo>
                  <a:lnTo>
                    <a:pt x="1936788" y="462597"/>
                  </a:lnTo>
                  <a:lnTo>
                    <a:pt x="1938197" y="458787"/>
                  </a:lnTo>
                  <a:lnTo>
                    <a:pt x="1939112" y="457517"/>
                  </a:lnTo>
                  <a:lnTo>
                    <a:pt x="1945525" y="456247"/>
                  </a:lnTo>
                  <a:lnTo>
                    <a:pt x="1943976" y="454977"/>
                  </a:lnTo>
                  <a:lnTo>
                    <a:pt x="1946198" y="451167"/>
                  </a:lnTo>
                  <a:lnTo>
                    <a:pt x="1948434" y="447357"/>
                  </a:lnTo>
                  <a:lnTo>
                    <a:pt x="1938693" y="451167"/>
                  </a:lnTo>
                  <a:lnTo>
                    <a:pt x="1936889" y="447357"/>
                  </a:lnTo>
                  <a:lnTo>
                    <a:pt x="1939302" y="443547"/>
                  </a:lnTo>
                  <a:lnTo>
                    <a:pt x="1940102" y="442277"/>
                  </a:lnTo>
                  <a:lnTo>
                    <a:pt x="1937804" y="443547"/>
                  </a:lnTo>
                  <a:lnTo>
                    <a:pt x="1936153" y="442277"/>
                  </a:lnTo>
                  <a:lnTo>
                    <a:pt x="1934502" y="441007"/>
                  </a:lnTo>
                  <a:lnTo>
                    <a:pt x="1934718" y="424497"/>
                  </a:lnTo>
                  <a:lnTo>
                    <a:pt x="1932774" y="423227"/>
                  </a:lnTo>
                  <a:lnTo>
                    <a:pt x="1931631" y="427037"/>
                  </a:lnTo>
                  <a:lnTo>
                    <a:pt x="1931441" y="437197"/>
                  </a:lnTo>
                  <a:lnTo>
                    <a:pt x="1928253" y="442277"/>
                  </a:lnTo>
                  <a:lnTo>
                    <a:pt x="1923173" y="441007"/>
                  </a:lnTo>
                  <a:lnTo>
                    <a:pt x="1928164" y="446087"/>
                  </a:lnTo>
                  <a:lnTo>
                    <a:pt x="1929168" y="451167"/>
                  </a:lnTo>
                  <a:lnTo>
                    <a:pt x="1915058" y="447357"/>
                  </a:lnTo>
                  <a:lnTo>
                    <a:pt x="1920709" y="452437"/>
                  </a:lnTo>
                  <a:lnTo>
                    <a:pt x="1919147" y="458787"/>
                  </a:lnTo>
                  <a:lnTo>
                    <a:pt x="1924405" y="457517"/>
                  </a:lnTo>
                  <a:lnTo>
                    <a:pt x="1928139" y="457517"/>
                  </a:lnTo>
                  <a:lnTo>
                    <a:pt x="1927542" y="461327"/>
                  </a:lnTo>
                  <a:lnTo>
                    <a:pt x="1921065" y="461327"/>
                  </a:lnTo>
                  <a:lnTo>
                    <a:pt x="1922602" y="465137"/>
                  </a:lnTo>
                  <a:lnTo>
                    <a:pt x="1925789" y="466407"/>
                  </a:lnTo>
                  <a:lnTo>
                    <a:pt x="1922094" y="466407"/>
                  </a:lnTo>
                  <a:lnTo>
                    <a:pt x="1912950" y="463867"/>
                  </a:lnTo>
                  <a:lnTo>
                    <a:pt x="1904720" y="460057"/>
                  </a:lnTo>
                  <a:lnTo>
                    <a:pt x="1907946" y="468947"/>
                  </a:lnTo>
                  <a:lnTo>
                    <a:pt x="1904390" y="470217"/>
                  </a:lnTo>
                  <a:lnTo>
                    <a:pt x="1907933" y="471487"/>
                  </a:lnTo>
                  <a:lnTo>
                    <a:pt x="1905165" y="477837"/>
                  </a:lnTo>
                  <a:lnTo>
                    <a:pt x="1915045" y="471487"/>
                  </a:lnTo>
                  <a:lnTo>
                    <a:pt x="1915033" y="477837"/>
                  </a:lnTo>
                  <a:lnTo>
                    <a:pt x="1922386" y="475297"/>
                  </a:lnTo>
                  <a:lnTo>
                    <a:pt x="1923973" y="480377"/>
                  </a:lnTo>
                  <a:lnTo>
                    <a:pt x="1917839" y="482917"/>
                  </a:lnTo>
                  <a:lnTo>
                    <a:pt x="1904479" y="482917"/>
                  </a:lnTo>
                  <a:lnTo>
                    <a:pt x="1907070" y="485457"/>
                  </a:lnTo>
                  <a:lnTo>
                    <a:pt x="1908822" y="486727"/>
                  </a:lnTo>
                  <a:lnTo>
                    <a:pt x="1905889" y="493077"/>
                  </a:lnTo>
                  <a:lnTo>
                    <a:pt x="1915223" y="489267"/>
                  </a:lnTo>
                  <a:lnTo>
                    <a:pt x="1915287" y="493077"/>
                  </a:lnTo>
                  <a:lnTo>
                    <a:pt x="1909610" y="496887"/>
                  </a:lnTo>
                  <a:lnTo>
                    <a:pt x="1919922" y="496887"/>
                  </a:lnTo>
                  <a:lnTo>
                    <a:pt x="1922754" y="498157"/>
                  </a:lnTo>
                  <a:lnTo>
                    <a:pt x="1917661" y="504507"/>
                  </a:lnTo>
                  <a:lnTo>
                    <a:pt x="1901037" y="512127"/>
                  </a:lnTo>
                  <a:lnTo>
                    <a:pt x="1885530" y="512127"/>
                  </a:lnTo>
                  <a:lnTo>
                    <a:pt x="1890268" y="518477"/>
                  </a:lnTo>
                  <a:lnTo>
                    <a:pt x="1884260" y="526097"/>
                  </a:lnTo>
                  <a:lnTo>
                    <a:pt x="1896364" y="521017"/>
                  </a:lnTo>
                  <a:lnTo>
                    <a:pt x="1895944" y="524827"/>
                  </a:lnTo>
                  <a:lnTo>
                    <a:pt x="1889226" y="534987"/>
                  </a:lnTo>
                  <a:lnTo>
                    <a:pt x="1895309" y="529907"/>
                  </a:lnTo>
                  <a:lnTo>
                    <a:pt x="1905711" y="521017"/>
                  </a:lnTo>
                  <a:lnTo>
                    <a:pt x="1906739" y="532447"/>
                  </a:lnTo>
                  <a:lnTo>
                    <a:pt x="1911756" y="527367"/>
                  </a:lnTo>
                  <a:lnTo>
                    <a:pt x="1912569" y="536257"/>
                  </a:lnTo>
                  <a:lnTo>
                    <a:pt x="1919897" y="528637"/>
                  </a:lnTo>
                  <a:lnTo>
                    <a:pt x="1892896" y="547687"/>
                  </a:lnTo>
                  <a:lnTo>
                    <a:pt x="1876818" y="552767"/>
                  </a:lnTo>
                  <a:lnTo>
                    <a:pt x="1881949" y="555307"/>
                  </a:lnTo>
                  <a:lnTo>
                    <a:pt x="1881390" y="561657"/>
                  </a:lnTo>
                  <a:lnTo>
                    <a:pt x="1890102" y="557847"/>
                  </a:lnTo>
                  <a:lnTo>
                    <a:pt x="1886064" y="561657"/>
                  </a:lnTo>
                  <a:lnTo>
                    <a:pt x="1884057" y="564197"/>
                  </a:lnTo>
                  <a:lnTo>
                    <a:pt x="1880019" y="568007"/>
                  </a:lnTo>
                  <a:lnTo>
                    <a:pt x="1895856" y="560387"/>
                  </a:lnTo>
                  <a:lnTo>
                    <a:pt x="1896922" y="566737"/>
                  </a:lnTo>
                  <a:lnTo>
                    <a:pt x="1898916" y="560387"/>
                  </a:lnTo>
                  <a:lnTo>
                    <a:pt x="1899716" y="557847"/>
                  </a:lnTo>
                  <a:lnTo>
                    <a:pt x="1900923" y="554037"/>
                  </a:lnTo>
                  <a:lnTo>
                    <a:pt x="1903768" y="557847"/>
                  </a:lnTo>
                  <a:lnTo>
                    <a:pt x="1904174" y="561657"/>
                  </a:lnTo>
                  <a:lnTo>
                    <a:pt x="1906981" y="561657"/>
                  </a:lnTo>
                  <a:lnTo>
                    <a:pt x="1911972" y="554037"/>
                  </a:lnTo>
                  <a:lnTo>
                    <a:pt x="1916315" y="550227"/>
                  </a:lnTo>
                  <a:lnTo>
                    <a:pt x="1911108" y="556577"/>
                  </a:lnTo>
                  <a:lnTo>
                    <a:pt x="1911819" y="559117"/>
                  </a:lnTo>
                  <a:lnTo>
                    <a:pt x="1914067" y="557847"/>
                  </a:lnTo>
                  <a:lnTo>
                    <a:pt x="1910613" y="561657"/>
                  </a:lnTo>
                  <a:lnTo>
                    <a:pt x="1904326" y="566737"/>
                  </a:lnTo>
                  <a:lnTo>
                    <a:pt x="1904326" y="587057"/>
                  </a:lnTo>
                  <a:lnTo>
                    <a:pt x="1899780" y="593407"/>
                  </a:lnTo>
                  <a:lnTo>
                    <a:pt x="1896833" y="597217"/>
                  </a:lnTo>
                  <a:lnTo>
                    <a:pt x="1894649" y="593407"/>
                  </a:lnTo>
                  <a:lnTo>
                    <a:pt x="1891677" y="589597"/>
                  </a:lnTo>
                  <a:lnTo>
                    <a:pt x="1890179" y="588327"/>
                  </a:lnTo>
                  <a:lnTo>
                    <a:pt x="1891423" y="585787"/>
                  </a:lnTo>
                  <a:lnTo>
                    <a:pt x="1892681" y="583247"/>
                  </a:lnTo>
                  <a:lnTo>
                    <a:pt x="1894408" y="592137"/>
                  </a:lnTo>
                  <a:lnTo>
                    <a:pt x="1900288" y="584517"/>
                  </a:lnTo>
                  <a:lnTo>
                    <a:pt x="1902917" y="583247"/>
                  </a:lnTo>
                  <a:lnTo>
                    <a:pt x="1904326" y="587057"/>
                  </a:lnTo>
                  <a:lnTo>
                    <a:pt x="1904326" y="566737"/>
                  </a:lnTo>
                  <a:lnTo>
                    <a:pt x="1902739" y="568007"/>
                  </a:lnTo>
                  <a:lnTo>
                    <a:pt x="1887308" y="577380"/>
                  </a:lnTo>
                  <a:lnTo>
                    <a:pt x="1887308" y="585787"/>
                  </a:lnTo>
                  <a:lnTo>
                    <a:pt x="1886851" y="587057"/>
                  </a:lnTo>
                  <a:lnTo>
                    <a:pt x="1884984" y="587057"/>
                  </a:lnTo>
                  <a:lnTo>
                    <a:pt x="1883117" y="589597"/>
                  </a:lnTo>
                  <a:lnTo>
                    <a:pt x="1881276" y="593407"/>
                  </a:lnTo>
                  <a:lnTo>
                    <a:pt x="1879587" y="602297"/>
                  </a:lnTo>
                  <a:lnTo>
                    <a:pt x="1876221" y="592137"/>
                  </a:lnTo>
                  <a:lnTo>
                    <a:pt x="1874532" y="597217"/>
                  </a:lnTo>
                  <a:lnTo>
                    <a:pt x="1872284" y="602297"/>
                  </a:lnTo>
                  <a:lnTo>
                    <a:pt x="1870011" y="604837"/>
                  </a:lnTo>
                  <a:lnTo>
                    <a:pt x="1869655" y="603567"/>
                  </a:lnTo>
                  <a:lnTo>
                    <a:pt x="1868246" y="598487"/>
                  </a:lnTo>
                  <a:lnTo>
                    <a:pt x="1867890" y="597217"/>
                  </a:lnTo>
                  <a:lnTo>
                    <a:pt x="1866480" y="592137"/>
                  </a:lnTo>
                  <a:lnTo>
                    <a:pt x="1865160" y="593407"/>
                  </a:lnTo>
                  <a:lnTo>
                    <a:pt x="1863826" y="597217"/>
                  </a:lnTo>
                  <a:lnTo>
                    <a:pt x="1863242" y="596544"/>
                  </a:lnTo>
                  <a:lnTo>
                    <a:pt x="1863242" y="598487"/>
                  </a:lnTo>
                  <a:lnTo>
                    <a:pt x="1861781" y="602297"/>
                  </a:lnTo>
                  <a:lnTo>
                    <a:pt x="1861045" y="603567"/>
                  </a:lnTo>
                  <a:lnTo>
                    <a:pt x="1860829" y="603567"/>
                  </a:lnTo>
                  <a:lnTo>
                    <a:pt x="1857921" y="602297"/>
                  </a:lnTo>
                  <a:lnTo>
                    <a:pt x="1857375" y="599757"/>
                  </a:lnTo>
                  <a:lnTo>
                    <a:pt x="1859280" y="598487"/>
                  </a:lnTo>
                  <a:lnTo>
                    <a:pt x="1863242" y="598487"/>
                  </a:lnTo>
                  <a:lnTo>
                    <a:pt x="1863242" y="596544"/>
                  </a:lnTo>
                  <a:lnTo>
                    <a:pt x="1860550" y="593407"/>
                  </a:lnTo>
                  <a:lnTo>
                    <a:pt x="1859241" y="590867"/>
                  </a:lnTo>
                  <a:lnTo>
                    <a:pt x="1860245" y="589597"/>
                  </a:lnTo>
                  <a:lnTo>
                    <a:pt x="1872043" y="590867"/>
                  </a:lnTo>
                  <a:lnTo>
                    <a:pt x="1870811" y="589597"/>
                  </a:lnTo>
                  <a:lnTo>
                    <a:pt x="1867103" y="585787"/>
                  </a:lnTo>
                  <a:lnTo>
                    <a:pt x="1866099" y="581977"/>
                  </a:lnTo>
                  <a:lnTo>
                    <a:pt x="1868551" y="581977"/>
                  </a:lnTo>
                  <a:lnTo>
                    <a:pt x="1875269" y="584517"/>
                  </a:lnTo>
                  <a:lnTo>
                    <a:pt x="1880019" y="585787"/>
                  </a:lnTo>
                  <a:lnTo>
                    <a:pt x="1878711" y="584517"/>
                  </a:lnTo>
                  <a:lnTo>
                    <a:pt x="1880870" y="584517"/>
                  </a:lnTo>
                  <a:lnTo>
                    <a:pt x="1879231" y="592137"/>
                  </a:lnTo>
                  <a:lnTo>
                    <a:pt x="1884324" y="587057"/>
                  </a:lnTo>
                  <a:lnTo>
                    <a:pt x="1887308" y="585787"/>
                  </a:lnTo>
                  <a:lnTo>
                    <a:pt x="1887308" y="577380"/>
                  </a:lnTo>
                  <a:lnTo>
                    <a:pt x="1877631" y="583247"/>
                  </a:lnTo>
                  <a:lnTo>
                    <a:pt x="1876679" y="581977"/>
                  </a:lnTo>
                  <a:lnTo>
                    <a:pt x="1873821" y="578167"/>
                  </a:lnTo>
                  <a:lnTo>
                    <a:pt x="1872869" y="576897"/>
                  </a:lnTo>
                  <a:lnTo>
                    <a:pt x="1884159" y="573087"/>
                  </a:lnTo>
                  <a:lnTo>
                    <a:pt x="1868843" y="570547"/>
                  </a:lnTo>
                  <a:lnTo>
                    <a:pt x="1859127" y="566737"/>
                  </a:lnTo>
                  <a:lnTo>
                    <a:pt x="1857006" y="565467"/>
                  </a:lnTo>
                  <a:lnTo>
                    <a:pt x="1856930" y="564197"/>
                  </a:lnTo>
                  <a:lnTo>
                    <a:pt x="1860435" y="561657"/>
                  </a:lnTo>
                  <a:lnTo>
                    <a:pt x="1866607" y="561657"/>
                  </a:lnTo>
                  <a:lnTo>
                    <a:pt x="1871065" y="562927"/>
                  </a:lnTo>
                  <a:lnTo>
                    <a:pt x="1870532" y="561657"/>
                  </a:lnTo>
                  <a:lnTo>
                    <a:pt x="1869465" y="559117"/>
                  </a:lnTo>
                  <a:lnTo>
                    <a:pt x="1867331" y="554037"/>
                  </a:lnTo>
                  <a:lnTo>
                    <a:pt x="1874939" y="554037"/>
                  </a:lnTo>
                  <a:lnTo>
                    <a:pt x="1874215" y="552767"/>
                  </a:lnTo>
                  <a:lnTo>
                    <a:pt x="1872056" y="548957"/>
                  </a:lnTo>
                  <a:lnTo>
                    <a:pt x="1872488" y="547687"/>
                  </a:lnTo>
                  <a:lnTo>
                    <a:pt x="1872919" y="546417"/>
                  </a:lnTo>
                  <a:lnTo>
                    <a:pt x="1874647" y="541337"/>
                  </a:lnTo>
                  <a:lnTo>
                    <a:pt x="1864487" y="546417"/>
                  </a:lnTo>
                  <a:lnTo>
                    <a:pt x="1859267" y="545147"/>
                  </a:lnTo>
                  <a:lnTo>
                    <a:pt x="1854949" y="546417"/>
                  </a:lnTo>
                  <a:lnTo>
                    <a:pt x="1853247" y="543877"/>
                  </a:lnTo>
                  <a:lnTo>
                    <a:pt x="1855660" y="540067"/>
                  </a:lnTo>
                  <a:lnTo>
                    <a:pt x="1856460" y="538797"/>
                  </a:lnTo>
                  <a:lnTo>
                    <a:pt x="1862569" y="540067"/>
                  </a:lnTo>
                  <a:lnTo>
                    <a:pt x="1862175" y="538797"/>
                  </a:lnTo>
                  <a:lnTo>
                    <a:pt x="1861794" y="537527"/>
                  </a:lnTo>
                  <a:lnTo>
                    <a:pt x="1861261" y="536257"/>
                  </a:lnTo>
                  <a:lnTo>
                    <a:pt x="1861388" y="534987"/>
                  </a:lnTo>
                  <a:lnTo>
                    <a:pt x="1863051" y="532447"/>
                  </a:lnTo>
                  <a:lnTo>
                    <a:pt x="1863890" y="531177"/>
                  </a:lnTo>
                  <a:lnTo>
                    <a:pt x="1857552" y="532447"/>
                  </a:lnTo>
                  <a:lnTo>
                    <a:pt x="1852752" y="532447"/>
                  </a:lnTo>
                  <a:lnTo>
                    <a:pt x="1851888" y="529907"/>
                  </a:lnTo>
                  <a:lnTo>
                    <a:pt x="1852333" y="524827"/>
                  </a:lnTo>
                  <a:lnTo>
                    <a:pt x="1854212" y="521017"/>
                  </a:lnTo>
                  <a:lnTo>
                    <a:pt x="1855165" y="518477"/>
                  </a:lnTo>
                  <a:lnTo>
                    <a:pt x="1857044" y="515937"/>
                  </a:lnTo>
                  <a:lnTo>
                    <a:pt x="1854568" y="515937"/>
                  </a:lnTo>
                  <a:lnTo>
                    <a:pt x="1851228" y="512127"/>
                  </a:lnTo>
                  <a:lnTo>
                    <a:pt x="1851291" y="499427"/>
                  </a:lnTo>
                  <a:lnTo>
                    <a:pt x="1850148" y="498157"/>
                  </a:lnTo>
                  <a:lnTo>
                    <a:pt x="1847964" y="499427"/>
                  </a:lnTo>
                  <a:lnTo>
                    <a:pt x="1848358" y="510857"/>
                  </a:lnTo>
                  <a:lnTo>
                    <a:pt x="1847240" y="514667"/>
                  </a:lnTo>
                  <a:lnTo>
                    <a:pt x="1842211" y="514667"/>
                  </a:lnTo>
                  <a:lnTo>
                    <a:pt x="1847646" y="527367"/>
                  </a:lnTo>
                  <a:lnTo>
                    <a:pt x="1846592" y="532447"/>
                  </a:lnTo>
                  <a:lnTo>
                    <a:pt x="1846529" y="542607"/>
                  </a:lnTo>
                  <a:lnTo>
                    <a:pt x="1842401" y="546900"/>
                  </a:lnTo>
                  <a:lnTo>
                    <a:pt x="1842401" y="559117"/>
                  </a:lnTo>
                  <a:lnTo>
                    <a:pt x="1842008" y="559892"/>
                  </a:lnTo>
                  <a:lnTo>
                    <a:pt x="1842008" y="580707"/>
                  </a:lnTo>
                  <a:lnTo>
                    <a:pt x="1840306" y="583196"/>
                  </a:lnTo>
                  <a:lnTo>
                    <a:pt x="1840306" y="598487"/>
                  </a:lnTo>
                  <a:lnTo>
                    <a:pt x="1838947" y="602297"/>
                  </a:lnTo>
                  <a:lnTo>
                    <a:pt x="1838071" y="603237"/>
                  </a:lnTo>
                  <a:lnTo>
                    <a:pt x="1838071" y="598487"/>
                  </a:lnTo>
                  <a:lnTo>
                    <a:pt x="1840306" y="598487"/>
                  </a:lnTo>
                  <a:lnTo>
                    <a:pt x="1840306" y="583196"/>
                  </a:lnTo>
                  <a:lnTo>
                    <a:pt x="1838528" y="585787"/>
                  </a:lnTo>
                  <a:lnTo>
                    <a:pt x="1838071" y="586549"/>
                  </a:lnTo>
                  <a:lnTo>
                    <a:pt x="1838071" y="580809"/>
                  </a:lnTo>
                  <a:lnTo>
                    <a:pt x="1838071" y="579539"/>
                  </a:lnTo>
                  <a:lnTo>
                    <a:pt x="1838071" y="579183"/>
                  </a:lnTo>
                  <a:lnTo>
                    <a:pt x="1840014" y="578167"/>
                  </a:lnTo>
                  <a:lnTo>
                    <a:pt x="1841817" y="578167"/>
                  </a:lnTo>
                  <a:lnTo>
                    <a:pt x="1842008" y="580707"/>
                  </a:lnTo>
                  <a:lnTo>
                    <a:pt x="1842008" y="559892"/>
                  </a:lnTo>
                  <a:lnTo>
                    <a:pt x="1840445" y="562927"/>
                  </a:lnTo>
                  <a:lnTo>
                    <a:pt x="1838134" y="565467"/>
                  </a:lnTo>
                  <a:lnTo>
                    <a:pt x="1838071" y="559168"/>
                  </a:lnTo>
                  <a:lnTo>
                    <a:pt x="1838312" y="559117"/>
                  </a:lnTo>
                  <a:lnTo>
                    <a:pt x="1842401" y="559117"/>
                  </a:lnTo>
                  <a:lnTo>
                    <a:pt x="1842401" y="546900"/>
                  </a:lnTo>
                  <a:lnTo>
                    <a:pt x="1841639" y="547687"/>
                  </a:lnTo>
                  <a:lnTo>
                    <a:pt x="1838071" y="546544"/>
                  </a:lnTo>
                  <a:lnTo>
                    <a:pt x="1838071" y="538899"/>
                  </a:lnTo>
                  <a:lnTo>
                    <a:pt x="1838071" y="534936"/>
                  </a:lnTo>
                  <a:lnTo>
                    <a:pt x="1839556" y="536257"/>
                  </a:lnTo>
                  <a:lnTo>
                    <a:pt x="1838820" y="541337"/>
                  </a:lnTo>
                  <a:lnTo>
                    <a:pt x="1842516" y="540067"/>
                  </a:lnTo>
                  <a:lnTo>
                    <a:pt x="1845411" y="540067"/>
                  </a:lnTo>
                  <a:lnTo>
                    <a:pt x="1846529" y="542607"/>
                  </a:lnTo>
                  <a:lnTo>
                    <a:pt x="1846529" y="532447"/>
                  </a:lnTo>
                  <a:lnTo>
                    <a:pt x="1838071" y="530923"/>
                  </a:lnTo>
                  <a:lnTo>
                    <a:pt x="1838071" y="528739"/>
                  </a:lnTo>
                  <a:lnTo>
                    <a:pt x="1838071" y="519849"/>
                  </a:lnTo>
                  <a:lnTo>
                    <a:pt x="1838071" y="193459"/>
                  </a:lnTo>
                  <a:lnTo>
                    <a:pt x="1834388" y="190919"/>
                  </a:lnTo>
                  <a:lnTo>
                    <a:pt x="1833816" y="189649"/>
                  </a:lnTo>
                  <a:lnTo>
                    <a:pt x="1835823" y="189649"/>
                  </a:lnTo>
                  <a:lnTo>
                    <a:pt x="1832203" y="185839"/>
                  </a:lnTo>
                  <a:lnTo>
                    <a:pt x="1838071" y="189649"/>
                  </a:lnTo>
                  <a:lnTo>
                    <a:pt x="1838071" y="185839"/>
                  </a:lnTo>
                  <a:lnTo>
                    <a:pt x="1838071" y="175679"/>
                  </a:lnTo>
                  <a:lnTo>
                    <a:pt x="1838071" y="174409"/>
                  </a:lnTo>
                  <a:lnTo>
                    <a:pt x="1838071" y="159169"/>
                  </a:lnTo>
                  <a:lnTo>
                    <a:pt x="1835619" y="159169"/>
                  </a:lnTo>
                  <a:lnTo>
                    <a:pt x="1833130" y="156629"/>
                  </a:lnTo>
                  <a:lnTo>
                    <a:pt x="1838071" y="157899"/>
                  </a:lnTo>
                  <a:lnTo>
                    <a:pt x="1838071" y="156629"/>
                  </a:lnTo>
                  <a:lnTo>
                    <a:pt x="1838071" y="150279"/>
                  </a:lnTo>
                  <a:lnTo>
                    <a:pt x="1835023" y="149009"/>
                  </a:lnTo>
                  <a:lnTo>
                    <a:pt x="1833714" y="146469"/>
                  </a:lnTo>
                  <a:lnTo>
                    <a:pt x="1835048" y="146469"/>
                  </a:lnTo>
                  <a:lnTo>
                    <a:pt x="1838071" y="149009"/>
                  </a:lnTo>
                  <a:lnTo>
                    <a:pt x="1838071" y="146469"/>
                  </a:lnTo>
                  <a:lnTo>
                    <a:pt x="1838071" y="132499"/>
                  </a:lnTo>
                  <a:lnTo>
                    <a:pt x="1838071" y="127419"/>
                  </a:lnTo>
                  <a:lnTo>
                    <a:pt x="1829181" y="131229"/>
                  </a:lnTo>
                  <a:lnTo>
                    <a:pt x="1825472" y="132499"/>
                  </a:lnTo>
                  <a:lnTo>
                    <a:pt x="1825129" y="131229"/>
                  </a:lnTo>
                  <a:lnTo>
                    <a:pt x="1823161" y="128689"/>
                  </a:lnTo>
                  <a:lnTo>
                    <a:pt x="1823123" y="126149"/>
                  </a:lnTo>
                  <a:lnTo>
                    <a:pt x="1828444" y="129959"/>
                  </a:lnTo>
                  <a:lnTo>
                    <a:pt x="1828457" y="126149"/>
                  </a:lnTo>
                  <a:lnTo>
                    <a:pt x="1835531" y="126149"/>
                  </a:lnTo>
                  <a:lnTo>
                    <a:pt x="1834527" y="124879"/>
                  </a:lnTo>
                  <a:lnTo>
                    <a:pt x="1834045" y="124879"/>
                  </a:lnTo>
                  <a:lnTo>
                    <a:pt x="1833041" y="122339"/>
                  </a:lnTo>
                  <a:lnTo>
                    <a:pt x="1838071" y="121069"/>
                  </a:lnTo>
                  <a:lnTo>
                    <a:pt x="1834959" y="118529"/>
                  </a:lnTo>
                  <a:lnTo>
                    <a:pt x="1832025" y="118529"/>
                  </a:lnTo>
                  <a:lnTo>
                    <a:pt x="1833689" y="117259"/>
                  </a:lnTo>
                  <a:lnTo>
                    <a:pt x="1828596" y="117259"/>
                  </a:lnTo>
                  <a:lnTo>
                    <a:pt x="1827758" y="115989"/>
                  </a:lnTo>
                  <a:lnTo>
                    <a:pt x="1835632" y="114719"/>
                  </a:lnTo>
                  <a:lnTo>
                    <a:pt x="1830374" y="112179"/>
                  </a:lnTo>
                  <a:lnTo>
                    <a:pt x="1834235" y="107099"/>
                  </a:lnTo>
                  <a:lnTo>
                    <a:pt x="1835200" y="105829"/>
                  </a:lnTo>
                  <a:lnTo>
                    <a:pt x="1829549" y="107099"/>
                  </a:lnTo>
                  <a:lnTo>
                    <a:pt x="1826120" y="105829"/>
                  </a:lnTo>
                  <a:lnTo>
                    <a:pt x="1826679" y="105829"/>
                  </a:lnTo>
                  <a:lnTo>
                    <a:pt x="1828609" y="104559"/>
                  </a:lnTo>
                  <a:lnTo>
                    <a:pt x="1827961" y="104559"/>
                  </a:lnTo>
                  <a:lnTo>
                    <a:pt x="1828558" y="103289"/>
                  </a:lnTo>
                  <a:lnTo>
                    <a:pt x="1829422" y="102019"/>
                  </a:lnTo>
                  <a:lnTo>
                    <a:pt x="1825180" y="103289"/>
                  </a:lnTo>
                  <a:lnTo>
                    <a:pt x="1823415" y="102019"/>
                  </a:lnTo>
                  <a:lnTo>
                    <a:pt x="1822208" y="102019"/>
                  </a:lnTo>
                  <a:lnTo>
                    <a:pt x="1826183" y="98209"/>
                  </a:lnTo>
                  <a:lnTo>
                    <a:pt x="1820214" y="95669"/>
                  </a:lnTo>
                  <a:lnTo>
                    <a:pt x="1819694" y="89319"/>
                  </a:lnTo>
                  <a:lnTo>
                    <a:pt x="1818957" y="80429"/>
                  </a:lnTo>
                  <a:lnTo>
                    <a:pt x="1817814" y="75349"/>
                  </a:lnTo>
                  <a:lnTo>
                    <a:pt x="1816214" y="77889"/>
                  </a:lnTo>
                  <a:lnTo>
                    <a:pt x="1815909" y="89319"/>
                  </a:lnTo>
                  <a:lnTo>
                    <a:pt x="1815579" y="89319"/>
                  </a:lnTo>
                  <a:lnTo>
                    <a:pt x="1815261" y="77889"/>
                  </a:lnTo>
                  <a:lnTo>
                    <a:pt x="1813674" y="75349"/>
                  </a:lnTo>
                  <a:lnTo>
                    <a:pt x="1812518" y="80429"/>
                  </a:lnTo>
                  <a:lnTo>
                    <a:pt x="1811261" y="95669"/>
                  </a:lnTo>
                  <a:lnTo>
                    <a:pt x="1805292" y="98209"/>
                  </a:lnTo>
                  <a:lnTo>
                    <a:pt x="1809267" y="102019"/>
                  </a:lnTo>
                  <a:lnTo>
                    <a:pt x="1806295" y="103289"/>
                  </a:lnTo>
                  <a:lnTo>
                    <a:pt x="1802053" y="102019"/>
                  </a:lnTo>
                  <a:lnTo>
                    <a:pt x="1803527" y="104559"/>
                  </a:lnTo>
                  <a:lnTo>
                    <a:pt x="1802879" y="104559"/>
                  </a:lnTo>
                  <a:lnTo>
                    <a:pt x="1804797" y="105829"/>
                  </a:lnTo>
                  <a:lnTo>
                    <a:pt x="1805355" y="105829"/>
                  </a:lnTo>
                  <a:lnTo>
                    <a:pt x="1801926" y="107099"/>
                  </a:lnTo>
                  <a:lnTo>
                    <a:pt x="1796275" y="105829"/>
                  </a:lnTo>
                  <a:lnTo>
                    <a:pt x="1801114" y="112179"/>
                  </a:lnTo>
                  <a:lnTo>
                    <a:pt x="1795856" y="114719"/>
                  </a:lnTo>
                  <a:lnTo>
                    <a:pt x="1803717" y="115989"/>
                  </a:lnTo>
                  <a:lnTo>
                    <a:pt x="1802892" y="117259"/>
                  </a:lnTo>
                  <a:lnTo>
                    <a:pt x="1797799" y="117259"/>
                  </a:lnTo>
                  <a:lnTo>
                    <a:pt x="1799463" y="118529"/>
                  </a:lnTo>
                  <a:lnTo>
                    <a:pt x="1796529" y="118529"/>
                  </a:lnTo>
                  <a:lnTo>
                    <a:pt x="1792097" y="121069"/>
                  </a:lnTo>
                  <a:lnTo>
                    <a:pt x="1798434" y="122339"/>
                  </a:lnTo>
                  <a:lnTo>
                    <a:pt x="1795957" y="126149"/>
                  </a:lnTo>
                  <a:lnTo>
                    <a:pt x="1803019" y="126149"/>
                  </a:lnTo>
                  <a:lnTo>
                    <a:pt x="1803044" y="129959"/>
                  </a:lnTo>
                  <a:lnTo>
                    <a:pt x="1805178" y="128689"/>
                  </a:lnTo>
                  <a:lnTo>
                    <a:pt x="1806232" y="127419"/>
                  </a:lnTo>
                  <a:lnTo>
                    <a:pt x="1808365" y="126149"/>
                  </a:lnTo>
                  <a:lnTo>
                    <a:pt x="1808314" y="128689"/>
                  </a:lnTo>
                  <a:lnTo>
                    <a:pt x="1806346" y="131229"/>
                  </a:lnTo>
                  <a:lnTo>
                    <a:pt x="1806016" y="132499"/>
                  </a:lnTo>
                  <a:lnTo>
                    <a:pt x="1787423" y="126149"/>
                  </a:lnTo>
                  <a:lnTo>
                    <a:pt x="1789036" y="127419"/>
                  </a:lnTo>
                  <a:lnTo>
                    <a:pt x="1789036" y="131229"/>
                  </a:lnTo>
                  <a:lnTo>
                    <a:pt x="1786001" y="131229"/>
                  </a:lnTo>
                  <a:lnTo>
                    <a:pt x="1789569" y="133769"/>
                  </a:lnTo>
                  <a:lnTo>
                    <a:pt x="1789036" y="133769"/>
                  </a:lnTo>
                  <a:lnTo>
                    <a:pt x="1789036" y="137579"/>
                  </a:lnTo>
                  <a:lnTo>
                    <a:pt x="1783854" y="138849"/>
                  </a:lnTo>
                  <a:lnTo>
                    <a:pt x="1789036" y="142659"/>
                  </a:lnTo>
                  <a:lnTo>
                    <a:pt x="1789036" y="145199"/>
                  </a:lnTo>
                  <a:lnTo>
                    <a:pt x="1789353" y="145199"/>
                  </a:lnTo>
                  <a:lnTo>
                    <a:pt x="1789112" y="149009"/>
                  </a:lnTo>
                  <a:lnTo>
                    <a:pt x="1791373" y="146469"/>
                  </a:lnTo>
                  <a:lnTo>
                    <a:pt x="1793062" y="149009"/>
                  </a:lnTo>
                  <a:lnTo>
                    <a:pt x="1796440" y="146469"/>
                  </a:lnTo>
                  <a:lnTo>
                    <a:pt x="1797761" y="146469"/>
                  </a:lnTo>
                  <a:lnTo>
                    <a:pt x="1796453" y="149009"/>
                  </a:lnTo>
                  <a:lnTo>
                    <a:pt x="1782483" y="152819"/>
                  </a:lnTo>
                  <a:lnTo>
                    <a:pt x="1786089" y="156629"/>
                  </a:lnTo>
                  <a:lnTo>
                    <a:pt x="1784286" y="160439"/>
                  </a:lnTo>
                  <a:lnTo>
                    <a:pt x="1798345" y="156629"/>
                  </a:lnTo>
                  <a:lnTo>
                    <a:pt x="1795868" y="159169"/>
                  </a:lnTo>
                  <a:lnTo>
                    <a:pt x="1789036" y="160439"/>
                  </a:lnTo>
                  <a:lnTo>
                    <a:pt x="1789036" y="162979"/>
                  </a:lnTo>
                  <a:lnTo>
                    <a:pt x="1769338" y="166789"/>
                  </a:lnTo>
                  <a:lnTo>
                    <a:pt x="1777174" y="171869"/>
                  </a:lnTo>
                  <a:lnTo>
                    <a:pt x="1777034" y="175679"/>
                  </a:lnTo>
                  <a:lnTo>
                    <a:pt x="1780184" y="174409"/>
                  </a:lnTo>
                  <a:lnTo>
                    <a:pt x="1775434" y="180759"/>
                  </a:lnTo>
                  <a:lnTo>
                    <a:pt x="1778063" y="179489"/>
                  </a:lnTo>
                  <a:lnTo>
                    <a:pt x="1782025" y="176949"/>
                  </a:lnTo>
                  <a:lnTo>
                    <a:pt x="1782686" y="182029"/>
                  </a:lnTo>
                  <a:lnTo>
                    <a:pt x="1785569" y="176949"/>
                  </a:lnTo>
                  <a:lnTo>
                    <a:pt x="1790280" y="175679"/>
                  </a:lnTo>
                  <a:lnTo>
                    <a:pt x="1789303" y="176949"/>
                  </a:lnTo>
                  <a:lnTo>
                    <a:pt x="1789036" y="176949"/>
                  </a:lnTo>
                  <a:lnTo>
                    <a:pt x="1786001" y="180759"/>
                  </a:lnTo>
                  <a:lnTo>
                    <a:pt x="1787969" y="182029"/>
                  </a:lnTo>
                  <a:lnTo>
                    <a:pt x="1778914" y="188379"/>
                  </a:lnTo>
                  <a:lnTo>
                    <a:pt x="1786890" y="189649"/>
                  </a:lnTo>
                  <a:lnTo>
                    <a:pt x="1786140" y="193459"/>
                  </a:lnTo>
                  <a:lnTo>
                    <a:pt x="1799285" y="185839"/>
                  </a:lnTo>
                  <a:lnTo>
                    <a:pt x="1795653" y="189649"/>
                  </a:lnTo>
                  <a:lnTo>
                    <a:pt x="1797659" y="189649"/>
                  </a:lnTo>
                  <a:lnTo>
                    <a:pt x="1797088" y="190919"/>
                  </a:lnTo>
                  <a:lnTo>
                    <a:pt x="1788109" y="195999"/>
                  </a:lnTo>
                  <a:lnTo>
                    <a:pt x="1784604" y="197231"/>
                  </a:lnTo>
                  <a:lnTo>
                    <a:pt x="1784604" y="222669"/>
                  </a:lnTo>
                  <a:lnTo>
                    <a:pt x="1782292" y="227749"/>
                  </a:lnTo>
                  <a:lnTo>
                    <a:pt x="1778749" y="231559"/>
                  </a:lnTo>
                  <a:lnTo>
                    <a:pt x="1777212" y="231559"/>
                  </a:lnTo>
                  <a:lnTo>
                    <a:pt x="1775510" y="230644"/>
                  </a:lnTo>
                  <a:lnTo>
                    <a:pt x="1775510" y="283629"/>
                  </a:lnTo>
                  <a:lnTo>
                    <a:pt x="1772348" y="288709"/>
                  </a:lnTo>
                  <a:lnTo>
                    <a:pt x="1761871" y="282359"/>
                  </a:lnTo>
                  <a:lnTo>
                    <a:pt x="1760943" y="279819"/>
                  </a:lnTo>
                  <a:lnTo>
                    <a:pt x="1762772" y="278549"/>
                  </a:lnTo>
                  <a:lnTo>
                    <a:pt x="1767116" y="284899"/>
                  </a:lnTo>
                  <a:lnTo>
                    <a:pt x="1771230" y="281089"/>
                  </a:lnTo>
                  <a:lnTo>
                    <a:pt x="1773389" y="282359"/>
                  </a:lnTo>
                  <a:lnTo>
                    <a:pt x="1773885" y="281089"/>
                  </a:lnTo>
                  <a:lnTo>
                    <a:pt x="1774723" y="283629"/>
                  </a:lnTo>
                  <a:lnTo>
                    <a:pt x="1775510" y="283629"/>
                  </a:lnTo>
                  <a:lnTo>
                    <a:pt x="1775510" y="230644"/>
                  </a:lnTo>
                  <a:lnTo>
                    <a:pt x="1772513" y="229019"/>
                  </a:lnTo>
                  <a:lnTo>
                    <a:pt x="1770367" y="227863"/>
                  </a:lnTo>
                  <a:lnTo>
                    <a:pt x="1770367" y="242989"/>
                  </a:lnTo>
                  <a:lnTo>
                    <a:pt x="1766557" y="248069"/>
                  </a:lnTo>
                  <a:lnTo>
                    <a:pt x="1764792" y="246799"/>
                  </a:lnTo>
                  <a:lnTo>
                    <a:pt x="1763026" y="245529"/>
                  </a:lnTo>
                  <a:lnTo>
                    <a:pt x="1761744" y="244259"/>
                  </a:lnTo>
                  <a:lnTo>
                    <a:pt x="1770367" y="242989"/>
                  </a:lnTo>
                  <a:lnTo>
                    <a:pt x="1770367" y="227863"/>
                  </a:lnTo>
                  <a:lnTo>
                    <a:pt x="1767801" y="226479"/>
                  </a:lnTo>
                  <a:lnTo>
                    <a:pt x="1769694" y="225209"/>
                  </a:lnTo>
                  <a:lnTo>
                    <a:pt x="1775371" y="221399"/>
                  </a:lnTo>
                  <a:lnTo>
                    <a:pt x="1776679" y="229019"/>
                  </a:lnTo>
                  <a:lnTo>
                    <a:pt x="1784604" y="222669"/>
                  </a:lnTo>
                  <a:lnTo>
                    <a:pt x="1784604" y="197231"/>
                  </a:lnTo>
                  <a:lnTo>
                    <a:pt x="1780857" y="198539"/>
                  </a:lnTo>
                  <a:lnTo>
                    <a:pt x="1784299" y="201079"/>
                  </a:lnTo>
                  <a:lnTo>
                    <a:pt x="1782279" y="203619"/>
                  </a:lnTo>
                  <a:lnTo>
                    <a:pt x="1771523" y="205181"/>
                  </a:lnTo>
                  <a:lnTo>
                    <a:pt x="1771523" y="216319"/>
                  </a:lnTo>
                  <a:lnTo>
                    <a:pt x="1761515" y="222643"/>
                  </a:lnTo>
                  <a:lnTo>
                    <a:pt x="1761515" y="237909"/>
                  </a:lnTo>
                  <a:lnTo>
                    <a:pt x="1757235" y="239179"/>
                  </a:lnTo>
                  <a:lnTo>
                    <a:pt x="1753260" y="235369"/>
                  </a:lnTo>
                  <a:lnTo>
                    <a:pt x="1750618" y="232829"/>
                  </a:lnTo>
                  <a:lnTo>
                    <a:pt x="1750021" y="229019"/>
                  </a:lnTo>
                  <a:lnTo>
                    <a:pt x="1753209" y="229019"/>
                  </a:lnTo>
                  <a:lnTo>
                    <a:pt x="1754784" y="235369"/>
                  </a:lnTo>
                  <a:lnTo>
                    <a:pt x="1760207" y="231559"/>
                  </a:lnTo>
                  <a:lnTo>
                    <a:pt x="1761515" y="237909"/>
                  </a:lnTo>
                  <a:lnTo>
                    <a:pt x="1761515" y="222643"/>
                  </a:lnTo>
                  <a:lnTo>
                    <a:pt x="1761058" y="222669"/>
                  </a:lnTo>
                  <a:lnTo>
                    <a:pt x="1760270" y="221399"/>
                  </a:lnTo>
                  <a:lnTo>
                    <a:pt x="1763318" y="221399"/>
                  </a:lnTo>
                  <a:lnTo>
                    <a:pt x="1757502" y="216319"/>
                  </a:lnTo>
                  <a:lnTo>
                    <a:pt x="1750225" y="209969"/>
                  </a:lnTo>
                  <a:lnTo>
                    <a:pt x="1753793" y="209969"/>
                  </a:lnTo>
                  <a:lnTo>
                    <a:pt x="1757756" y="212509"/>
                  </a:lnTo>
                  <a:lnTo>
                    <a:pt x="1757286" y="209969"/>
                  </a:lnTo>
                  <a:lnTo>
                    <a:pt x="1756092" y="203619"/>
                  </a:lnTo>
                  <a:lnTo>
                    <a:pt x="1759635" y="206159"/>
                  </a:lnTo>
                  <a:lnTo>
                    <a:pt x="1758899" y="206159"/>
                  </a:lnTo>
                  <a:lnTo>
                    <a:pt x="1763547" y="209969"/>
                  </a:lnTo>
                  <a:lnTo>
                    <a:pt x="1760448" y="213779"/>
                  </a:lnTo>
                  <a:lnTo>
                    <a:pt x="1767979" y="213779"/>
                  </a:lnTo>
                  <a:lnTo>
                    <a:pt x="1771523" y="216319"/>
                  </a:lnTo>
                  <a:lnTo>
                    <a:pt x="1771523" y="205181"/>
                  </a:lnTo>
                  <a:lnTo>
                    <a:pt x="1764703" y="206159"/>
                  </a:lnTo>
                  <a:lnTo>
                    <a:pt x="1764436" y="203619"/>
                  </a:lnTo>
                  <a:lnTo>
                    <a:pt x="1769719" y="202349"/>
                  </a:lnTo>
                  <a:lnTo>
                    <a:pt x="1764614" y="199809"/>
                  </a:lnTo>
                  <a:lnTo>
                    <a:pt x="1755952" y="197269"/>
                  </a:lnTo>
                  <a:lnTo>
                    <a:pt x="1749298" y="193459"/>
                  </a:lnTo>
                  <a:lnTo>
                    <a:pt x="1747075" y="192189"/>
                  </a:lnTo>
                  <a:lnTo>
                    <a:pt x="1748955" y="188379"/>
                  </a:lnTo>
                  <a:lnTo>
                    <a:pt x="1755686" y="193459"/>
                  </a:lnTo>
                  <a:lnTo>
                    <a:pt x="1756600" y="188379"/>
                  </a:lnTo>
                  <a:lnTo>
                    <a:pt x="1756829" y="187109"/>
                  </a:lnTo>
                  <a:lnTo>
                    <a:pt x="1762721" y="194729"/>
                  </a:lnTo>
                  <a:lnTo>
                    <a:pt x="1760715" y="187109"/>
                  </a:lnTo>
                  <a:lnTo>
                    <a:pt x="1769859" y="189649"/>
                  </a:lnTo>
                  <a:lnTo>
                    <a:pt x="1768182" y="187109"/>
                  </a:lnTo>
                  <a:lnTo>
                    <a:pt x="1766493" y="184569"/>
                  </a:lnTo>
                  <a:lnTo>
                    <a:pt x="1772094" y="184569"/>
                  </a:lnTo>
                  <a:lnTo>
                    <a:pt x="1761350" y="180759"/>
                  </a:lnTo>
                  <a:lnTo>
                    <a:pt x="1752727" y="176949"/>
                  </a:lnTo>
                  <a:lnTo>
                    <a:pt x="1746973" y="174409"/>
                  </a:lnTo>
                  <a:lnTo>
                    <a:pt x="1753196" y="171869"/>
                  </a:lnTo>
                  <a:lnTo>
                    <a:pt x="1744662" y="165519"/>
                  </a:lnTo>
                  <a:lnTo>
                    <a:pt x="1742960" y="164249"/>
                  </a:lnTo>
                  <a:lnTo>
                    <a:pt x="1756892" y="169329"/>
                  </a:lnTo>
                  <a:lnTo>
                    <a:pt x="1754378" y="164249"/>
                  </a:lnTo>
                  <a:lnTo>
                    <a:pt x="1759013" y="162979"/>
                  </a:lnTo>
                  <a:lnTo>
                    <a:pt x="1745119" y="156629"/>
                  </a:lnTo>
                  <a:lnTo>
                    <a:pt x="1749856" y="151549"/>
                  </a:lnTo>
                  <a:lnTo>
                    <a:pt x="1743519" y="147739"/>
                  </a:lnTo>
                  <a:lnTo>
                    <a:pt x="1744395" y="143929"/>
                  </a:lnTo>
                  <a:lnTo>
                    <a:pt x="1740319" y="141389"/>
                  </a:lnTo>
                  <a:lnTo>
                    <a:pt x="1741678" y="140119"/>
                  </a:lnTo>
                  <a:lnTo>
                    <a:pt x="1739493" y="137579"/>
                  </a:lnTo>
                  <a:lnTo>
                    <a:pt x="1738147" y="126149"/>
                  </a:lnTo>
                  <a:lnTo>
                    <a:pt x="1736267" y="138849"/>
                  </a:lnTo>
                  <a:lnTo>
                    <a:pt x="1733804" y="141389"/>
                  </a:lnTo>
                  <a:lnTo>
                    <a:pt x="1735188" y="145199"/>
                  </a:lnTo>
                  <a:lnTo>
                    <a:pt x="1729422" y="146469"/>
                  </a:lnTo>
                  <a:lnTo>
                    <a:pt x="1730133" y="150279"/>
                  </a:lnTo>
                  <a:lnTo>
                    <a:pt x="1722183" y="152819"/>
                  </a:lnTo>
                  <a:lnTo>
                    <a:pt x="1733918" y="155359"/>
                  </a:lnTo>
                  <a:lnTo>
                    <a:pt x="1718030" y="161709"/>
                  </a:lnTo>
                  <a:lnTo>
                    <a:pt x="1724113" y="165519"/>
                  </a:lnTo>
                  <a:lnTo>
                    <a:pt x="1720659" y="169329"/>
                  </a:lnTo>
                  <a:lnTo>
                    <a:pt x="1726666" y="166789"/>
                  </a:lnTo>
                  <a:lnTo>
                    <a:pt x="1732254" y="165519"/>
                  </a:lnTo>
                  <a:lnTo>
                    <a:pt x="1727415" y="169329"/>
                  </a:lnTo>
                  <a:lnTo>
                    <a:pt x="1720989" y="171869"/>
                  </a:lnTo>
                  <a:lnTo>
                    <a:pt x="1717865" y="174409"/>
                  </a:lnTo>
                  <a:lnTo>
                    <a:pt x="1725155" y="174409"/>
                  </a:lnTo>
                  <a:lnTo>
                    <a:pt x="1722208" y="179489"/>
                  </a:lnTo>
                  <a:lnTo>
                    <a:pt x="1727682" y="176949"/>
                  </a:lnTo>
                  <a:lnTo>
                    <a:pt x="1729536" y="179489"/>
                  </a:lnTo>
                  <a:lnTo>
                    <a:pt x="1725790" y="181927"/>
                  </a:lnTo>
                  <a:lnTo>
                    <a:pt x="1725790" y="193459"/>
                  </a:lnTo>
                  <a:lnTo>
                    <a:pt x="1723707" y="198539"/>
                  </a:lnTo>
                  <a:lnTo>
                    <a:pt x="1716798" y="202336"/>
                  </a:lnTo>
                  <a:lnTo>
                    <a:pt x="1716798" y="265849"/>
                  </a:lnTo>
                  <a:lnTo>
                    <a:pt x="1712341" y="271157"/>
                  </a:lnTo>
                  <a:lnTo>
                    <a:pt x="1712341" y="302679"/>
                  </a:lnTo>
                  <a:lnTo>
                    <a:pt x="1710486" y="305219"/>
                  </a:lnTo>
                  <a:lnTo>
                    <a:pt x="1709267" y="306489"/>
                  </a:lnTo>
                  <a:lnTo>
                    <a:pt x="1708962" y="306489"/>
                  </a:lnTo>
                  <a:lnTo>
                    <a:pt x="1706118" y="305219"/>
                  </a:lnTo>
                  <a:lnTo>
                    <a:pt x="1707108" y="303949"/>
                  </a:lnTo>
                  <a:lnTo>
                    <a:pt x="1707629" y="302679"/>
                  </a:lnTo>
                  <a:lnTo>
                    <a:pt x="1708619" y="301409"/>
                  </a:lnTo>
                  <a:lnTo>
                    <a:pt x="1711452" y="301409"/>
                  </a:lnTo>
                  <a:lnTo>
                    <a:pt x="1712341" y="302679"/>
                  </a:lnTo>
                  <a:lnTo>
                    <a:pt x="1712341" y="271157"/>
                  </a:lnTo>
                  <a:lnTo>
                    <a:pt x="1708251" y="276009"/>
                  </a:lnTo>
                  <a:lnTo>
                    <a:pt x="1705851" y="274739"/>
                  </a:lnTo>
                  <a:lnTo>
                    <a:pt x="1701050" y="272199"/>
                  </a:lnTo>
                  <a:lnTo>
                    <a:pt x="1702828" y="268389"/>
                  </a:lnTo>
                  <a:lnTo>
                    <a:pt x="1711350" y="269659"/>
                  </a:lnTo>
                  <a:lnTo>
                    <a:pt x="1709877" y="268389"/>
                  </a:lnTo>
                  <a:lnTo>
                    <a:pt x="1706930" y="265849"/>
                  </a:lnTo>
                  <a:lnTo>
                    <a:pt x="1704428" y="262039"/>
                  </a:lnTo>
                  <a:lnTo>
                    <a:pt x="1705889" y="260769"/>
                  </a:lnTo>
                  <a:lnTo>
                    <a:pt x="1708327" y="265849"/>
                  </a:lnTo>
                  <a:lnTo>
                    <a:pt x="1711515" y="262039"/>
                  </a:lnTo>
                  <a:lnTo>
                    <a:pt x="1712366" y="260769"/>
                  </a:lnTo>
                  <a:lnTo>
                    <a:pt x="1711921" y="263309"/>
                  </a:lnTo>
                  <a:lnTo>
                    <a:pt x="1713979" y="263309"/>
                  </a:lnTo>
                  <a:lnTo>
                    <a:pt x="1712988" y="267119"/>
                  </a:lnTo>
                  <a:lnTo>
                    <a:pt x="1716798" y="265849"/>
                  </a:lnTo>
                  <a:lnTo>
                    <a:pt x="1716798" y="202336"/>
                  </a:lnTo>
                  <a:lnTo>
                    <a:pt x="1715973" y="202793"/>
                  </a:lnTo>
                  <a:lnTo>
                    <a:pt x="1715973" y="230289"/>
                  </a:lnTo>
                  <a:lnTo>
                    <a:pt x="1715833" y="230289"/>
                  </a:lnTo>
                  <a:lnTo>
                    <a:pt x="1714550" y="234099"/>
                  </a:lnTo>
                  <a:lnTo>
                    <a:pt x="1713445" y="235369"/>
                  </a:lnTo>
                  <a:lnTo>
                    <a:pt x="1709585" y="232829"/>
                  </a:lnTo>
                  <a:lnTo>
                    <a:pt x="1703793" y="229019"/>
                  </a:lnTo>
                  <a:lnTo>
                    <a:pt x="1708200" y="225209"/>
                  </a:lnTo>
                  <a:lnTo>
                    <a:pt x="1709394" y="227749"/>
                  </a:lnTo>
                  <a:lnTo>
                    <a:pt x="1709851" y="226479"/>
                  </a:lnTo>
                  <a:lnTo>
                    <a:pt x="1710080" y="229019"/>
                  </a:lnTo>
                  <a:lnTo>
                    <a:pt x="1713280" y="226479"/>
                  </a:lnTo>
                  <a:lnTo>
                    <a:pt x="1713966" y="229019"/>
                  </a:lnTo>
                  <a:lnTo>
                    <a:pt x="1715973" y="230289"/>
                  </a:lnTo>
                  <a:lnTo>
                    <a:pt x="1715973" y="202793"/>
                  </a:lnTo>
                  <a:lnTo>
                    <a:pt x="1714449" y="203619"/>
                  </a:lnTo>
                  <a:lnTo>
                    <a:pt x="1709394" y="204889"/>
                  </a:lnTo>
                  <a:lnTo>
                    <a:pt x="1713166" y="208699"/>
                  </a:lnTo>
                  <a:lnTo>
                    <a:pt x="1709102" y="211239"/>
                  </a:lnTo>
                  <a:lnTo>
                    <a:pt x="1702257" y="206159"/>
                  </a:lnTo>
                  <a:lnTo>
                    <a:pt x="1699399" y="199809"/>
                  </a:lnTo>
                  <a:lnTo>
                    <a:pt x="1706295" y="203619"/>
                  </a:lnTo>
                  <a:lnTo>
                    <a:pt x="1710194" y="201079"/>
                  </a:lnTo>
                  <a:lnTo>
                    <a:pt x="1715566" y="202349"/>
                  </a:lnTo>
                  <a:lnTo>
                    <a:pt x="1714614" y="201079"/>
                  </a:lnTo>
                  <a:lnTo>
                    <a:pt x="1713661" y="199809"/>
                  </a:lnTo>
                  <a:lnTo>
                    <a:pt x="1710804" y="195999"/>
                  </a:lnTo>
                  <a:lnTo>
                    <a:pt x="1716836" y="193459"/>
                  </a:lnTo>
                  <a:lnTo>
                    <a:pt x="1716379" y="197269"/>
                  </a:lnTo>
                  <a:lnTo>
                    <a:pt x="1716087" y="198539"/>
                  </a:lnTo>
                  <a:lnTo>
                    <a:pt x="1721231" y="193459"/>
                  </a:lnTo>
                  <a:lnTo>
                    <a:pt x="1725790" y="193459"/>
                  </a:lnTo>
                  <a:lnTo>
                    <a:pt x="1725790" y="181927"/>
                  </a:lnTo>
                  <a:lnTo>
                    <a:pt x="1721700" y="184569"/>
                  </a:lnTo>
                  <a:lnTo>
                    <a:pt x="1712061" y="189001"/>
                  </a:lnTo>
                  <a:lnTo>
                    <a:pt x="1712061" y="192189"/>
                  </a:lnTo>
                  <a:lnTo>
                    <a:pt x="1711337" y="193459"/>
                  </a:lnTo>
                  <a:lnTo>
                    <a:pt x="1710283" y="195999"/>
                  </a:lnTo>
                  <a:lnTo>
                    <a:pt x="1705711" y="192189"/>
                  </a:lnTo>
                  <a:lnTo>
                    <a:pt x="1712061" y="192189"/>
                  </a:lnTo>
                  <a:lnTo>
                    <a:pt x="1712061" y="189001"/>
                  </a:lnTo>
                  <a:lnTo>
                    <a:pt x="1705102" y="192189"/>
                  </a:lnTo>
                  <a:lnTo>
                    <a:pt x="1702269" y="190919"/>
                  </a:lnTo>
                  <a:lnTo>
                    <a:pt x="1699793" y="188379"/>
                  </a:lnTo>
                  <a:lnTo>
                    <a:pt x="1689862" y="178219"/>
                  </a:lnTo>
                  <a:lnTo>
                    <a:pt x="1689265" y="174409"/>
                  </a:lnTo>
                  <a:lnTo>
                    <a:pt x="1692452" y="174409"/>
                  </a:lnTo>
                  <a:lnTo>
                    <a:pt x="1694027" y="180759"/>
                  </a:lnTo>
                  <a:lnTo>
                    <a:pt x="1699437" y="176949"/>
                  </a:lnTo>
                  <a:lnTo>
                    <a:pt x="1700072" y="179489"/>
                  </a:lnTo>
                  <a:lnTo>
                    <a:pt x="1700364" y="180759"/>
                  </a:lnTo>
                  <a:lnTo>
                    <a:pt x="1700999" y="184569"/>
                  </a:lnTo>
                  <a:lnTo>
                    <a:pt x="1703324" y="180759"/>
                  </a:lnTo>
                  <a:lnTo>
                    <a:pt x="1710156" y="184569"/>
                  </a:lnTo>
                  <a:lnTo>
                    <a:pt x="1709851" y="182029"/>
                  </a:lnTo>
                  <a:lnTo>
                    <a:pt x="1710715" y="180759"/>
                  </a:lnTo>
                  <a:lnTo>
                    <a:pt x="1711579" y="179489"/>
                  </a:lnTo>
                  <a:lnTo>
                    <a:pt x="1716747" y="180759"/>
                  </a:lnTo>
                  <a:lnTo>
                    <a:pt x="1715109" y="179489"/>
                  </a:lnTo>
                  <a:lnTo>
                    <a:pt x="1711820" y="176949"/>
                  </a:lnTo>
                  <a:lnTo>
                    <a:pt x="1708531" y="174409"/>
                  </a:lnTo>
                  <a:lnTo>
                    <a:pt x="1700314" y="168059"/>
                  </a:lnTo>
                  <a:lnTo>
                    <a:pt x="1699514" y="166789"/>
                  </a:lnTo>
                  <a:lnTo>
                    <a:pt x="1702562" y="166789"/>
                  </a:lnTo>
                  <a:lnTo>
                    <a:pt x="1694713" y="159169"/>
                  </a:lnTo>
                  <a:lnTo>
                    <a:pt x="1689468" y="155359"/>
                  </a:lnTo>
                  <a:lnTo>
                    <a:pt x="1693037" y="155359"/>
                  </a:lnTo>
                  <a:lnTo>
                    <a:pt x="1696999" y="156629"/>
                  </a:lnTo>
                  <a:lnTo>
                    <a:pt x="1696720" y="155359"/>
                  </a:lnTo>
                  <a:lnTo>
                    <a:pt x="1695335" y="149009"/>
                  </a:lnTo>
                  <a:lnTo>
                    <a:pt x="1704352" y="154089"/>
                  </a:lnTo>
                  <a:lnTo>
                    <a:pt x="1703679" y="149009"/>
                  </a:lnTo>
                  <a:lnTo>
                    <a:pt x="1708962" y="147739"/>
                  </a:lnTo>
                  <a:lnTo>
                    <a:pt x="1695196" y="142659"/>
                  </a:lnTo>
                  <a:lnTo>
                    <a:pt x="1686318" y="137579"/>
                  </a:lnTo>
                  <a:lnTo>
                    <a:pt x="1688198" y="133769"/>
                  </a:lnTo>
                  <a:lnTo>
                    <a:pt x="1694942" y="138849"/>
                  </a:lnTo>
                  <a:lnTo>
                    <a:pt x="1695856" y="133769"/>
                  </a:lnTo>
                  <a:lnTo>
                    <a:pt x="1696085" y="132499"/>
                  </a:lnTo>
                  <a:lnTo>
                    <a:pt x="1701965" y="140119"/>
                  </a:lnTo>
                  <a:lnTo>
                    <a:pt x="1699971" y="132499"/>
                  </a:lnTo>
                  <a:lnTo>
                    <a:pt x="1709102" y="135039"/>
                  </a:lnTo>
                  <a:lnTo>
                    <a:pt x="1707426" y="132499"/>
                  </a:lnTo>
                  <a:lnTo>
                    <a:pt x="1705737" y="129959"/>
                  </a:lnTo>
                  <a:lnTo>
                    <a:pt x="1711337" y="129959"/>
                  </a:lnTo>
                  <a:lnTo>
                    <a:pt x="1692503" y="122339"/>
                  </a:lnTo>
                  <a:lnTo>
                    <a:pt x="1686217" y="119799"/>
                  </a:lnTo>
                  <a:lnTo>
                    <a:pt x="1692440" y="117259"/>
                  </a:lnTo>
                  <a:lnTo>
                    <a:pt x="1683905" y="110909"/>
                  </a:lnTo>
                  <a:lnTo>
                    <a:pt x="1682203" y="109639"/>
                  </a:lnTo>
                  <a:lnTo>
                    <a:pt x="1696148" y="114719"/>
                  </a:lnTo>
                  <a:lnTo>
                    <a:pt x="1693621" y="109639"/>
                  </a:lnTo>
                  <a:lnTo>
                    <a:pt x="1698256" y="108369"/>
                  </a:lnTo>
                  <a:lnTo>
                    <a:pt x="1684362" y="102019"/>
                  </a:lnTo>
                  <a:lnTo>
                    <a:pt x="1689100" y="96939"/>
                  </a:lnTo>
                  <a:lnTo>
                    <a:pt x="1685290" y="94399"/>
                  </a:lnTo>
                  <a:lnTo>
                    <a:pt x="1682762" y="93129"/>
                  </a:lnTo>
                  <a:lnTo>
                    <a:pt x="1683639" y="89319"/>
                  </a:lnTo>
                  <a:lnTo>
                    <a:pt x="1679562" y="86779"/>
                  </a:lnTo>
                  <a:lnTo>
                    <a:pt x="1680921" y="85509"/>
                  </a:lnTo>
                  <a:lnTo>
                    <a:pt x="1678736" y="82969"/>
                  </a:lnTo>
                  <a:lnTo>
                    <a:pt x="1677390" y="71539"/>
                  </a:lnTo>
                  <a:lnTo>
                    <a:pt x="1675511" y="82969"/>
                  </a:lnTo>
                  <a:lnTo>
                    <a:pt x="1674037" y="85509"/>
                  </a:lnTo>
                  <a:lnTo>
                    <a:pt x="1673047" y="86779"/>
                  </a:lnTo>
                  <a:lnTo>
                    <a:pt x="1674431" y="90589"/>
                  </a:lnTo>
                  <a:lnTo>
                    <a:pt x="1668665" y="91859"/>
                  </a:lnTo>
                  <a:lnTo>
                    <a:pt x="1669364" y="95669"/>
                  </a:lnTo>
                  <a:lnTo>
                    <a:pt x="1661426" y="98209"/>
                  </a:lnTo>
                  <a:lnTo>
                    <a:pt x="1673161" y="100749"/>
                  </a:lnTo>
                  <a:lnTo>
                    <a:pt x="1657273" y="107099"/>
                  </a:lnTo>
                  <a:lnTo>
                    <a:pt x="1663357" y="110909"/>
                  </a:lnTo>
                  <a:lnTo>
                    <a:pt x="1659902" y="114719"/>
                  </a:lnTo>
                  <a:lnTo>
                    <a:pt x="1665909" y="112179"/>
                  </a:lnTo>
                  <a:lnTo>
                    <a:pt x="1671497" y="110909"/>
                  </a:lnTo>
                  <a:lnTo>
                    <a:pt x="1666659" y="114719"/>
                  </a:lnTo>
                  <a:lnTo>
                    <a:pt x="1660232" y="117259"/>
                  </a:lnTo>
                  <a:lnTo>
                    <a:pt x="1657108" y="119799"/>
                  </a:lnTo>
                  <a:lnTo>
                    <a:pt x="1664398" y="119799"/>
                  </a:lnTo>
                  <a:lnTo>
                    <a:pt x="1661452" y="124879"/>
                  </a:lnTo>
                  <a:lnTo>
                    <a:pt x="1666925" y="122339"/>
                  </a:lnTo>
                  <a:lnTo>
                    <a:pt x="1668780" y="124879"/>
                  </a:lnTo>
                  <a:lnTo>
                    <a:pt x="1660944" y="129959"/>
                  </a:lnTo>
                  <a:lnTo>
                    <a:pt x="1643672" y="137579"/>
                  </a:lnTo>
                  <a:lnTo>
                    <a:pt x="1651304" y="137579"/>
                  </a:lnTo>
                  <a:lnTo>
                    <a:pt x="1648879" y="142659"/>
                  </a:lnTo>
                  <a:lnTo>
                    <a:pt x="1656080" y="138849"/>
                  </a:lnTo>
                  <a:lnTo>
                    <a:pt x="1655330" y="143929"/>
                  </a:lnTo>
                  <a:lnTo>
                    <a:pt x="1660461" y="138849"/>
                  </a:lnTo>
                  <a:lnTo>
                    <a:pt x="1665033" y="137579"/>
                  </a:lnTo>
                  <a:lnTo>
                    <a:pt x="1662950" y="143929"/>
                  </a:lnTo>
                  <a:lnTo>
                    <a:pt x="1660766" y="145135"/>
                  </a:lnTo>
                  <a:lnTo>
                    <a:pt x="1660766" y="166789"/>
                  </a:lnTo>
                  <a:lnTo>
                    <a:pt x="1656041" y="174180"/>
                  </a:lnTo>
                  <a:lnTo>
                    <a:pt x="1656041" y="211239"/>
                  </a:lnTo>
                  <a:lnTo>
                    <a:pt x="1651457" y="216319"/>
                  </a:lnTo>
                  <a:lnTo>
                    <a:pt x="1651228" y="216052"/>
                  </a:lnTo>
                  <a:lnTo>
                    <a:pt x="1651228" y="216319"/>
                  </a:lnTo>
                  <a:lnTo>
                    <a:pt x="1647329" y="221399"/>
                  </a:lnTo>
                  <a:lnTo>
                    <a:pt x="1645170" y="222669"/>
                  </a:lnTo>
                  <a:lnTo>
                    <a:pt x="1640344" y="219468"/>
                  </a:lnTo>
                  <a:lnTo>
                    <a:pt x="1640344" y="229019"/>
                  </a:lnTo>
                  <a:lnTo>
                    <a:pt x="1639760" y="232829"/>
                  </a:lnTo>
                  <a:lnTo>
                    <a:pt x="1639277" y="232829"/>
                  </a:lnTo>
                  <a:lnTo>
                    <a:pt x="1634299" y="230289"/>
                  </a:lnTo>
                  <a:lnTo>
                    <a:pt x="1640344" y="229019"/>
                  </a:lnTo>
                  <a:lnTo>
                    <a:pt x="1640344" y="219468"/>
                  </a:lnTo>
                  <a:lnTo>
                    <a:pt x="1639443" y="218859"/>
                  </a:lnTo>
                  <a:lnTo>
                    <a:pt x="1641386" y="217589"/>
                  </a:lnTo>
                  <a:lnTo>
                    <a:pt x="1639163" y="215049"/>
                  </a:lnTo>
                  <a:lnTo>
                    <a:pt x="1639646" y="213779"/>
                  </a:lnTo>
                  <a:lnTo>
                    <a:pt x="1639900" y="213779"/>
                  </a:lnTo>
                  <a:lnTo>
                    <a:pt x="1640370" y="212509"/>
                  </a:lnTo>
                  <a:lnTo>
                    <a:pt x="1641830" y="212509"/>
                  </a:lnTo>
                  <a:lnTo>
                    <a:pt x="1644700" y="218859"/>
                  </a:lnTo>
                  <a:lnTo>
                    <a:pt x="1645373" y="213779"/>
                  </a:lnTo>
                  <a:lnTo>
                    <a:pt x="1651228" y="216319"/>
                  </a:lnTo>
                  <a:lnTo>
                    <a:pt x="1651228" y="216052"/>
                  </a:lnTo>
                  <a:lnTo>
                    <a:pt x="1649336" y="213779"/>
                  </a:lnTo>
                  <a:lnTo>
                    <a:pt x="1648282" y="212509"/>
                  </a:lnTo>
                  <a:lnTo>
                    <a:pt x="1647215" y="211239"/>
                  </a:lnTo>
                  <a:lnTo>
                    <a:pt x="1650365" y="211239"/>
                  </a:lnTo>
                  <a:lnTo>
                    <a:pt x="1650225" y="208699"/>
                  </a:lnTo>
                  <a:lnTo>
                    <a:pt x="1651914" y="207429"/>
                  </a:lnTo>
                  <a:lnTo>
                    <a:pt x="1653603" y="206159"/>
                  </a:lnTo>
                  <a:lnTo>
                    <a:pt x="1652231" y="212509"/>
                  </a:lnTo>
                  <a:lnTo>
                    <a:pt x="1656041" y="211239"/>
                  </a:lnTo>
                  <a:lnTo>
                    <a:pt x="1656041" y="174180"/>
                  </a:lnTo>
                  <a:lnTo>
                    <a:pt x="1655076" y="175679"/>
                  </a:lnTo>
                  <a:lnTo>
                    <a:pt x="1653794" y="179489"/>
                  </a:lnTo>
                  <a:lnTo>
                    <a:pt x="1651508" y="182029"/>
                  </a:lnTo>
                  <a:lnTo>
                    <a:pt x="1649958" y="183299"/>
                  </a:lnTo>
                  <a:lnTo>
                    <a:pt x="1642567" y="188379"/>
                  </a:lnTo>
                  <a:lnTo>
                    <a:pt x="1636839" y="187274"/>
                  </a:lnTo>
                  <a:lnTo>
                    <a:pt x="1636839" y="227749"/>
                  </a:lnTo>
                  <a:lnTo>
                    <a:pt x="1633220" y="229019"/>
                  </a:lnTo>
                  <a:lnTo>
                    <a:pt x="1630299" y="227749"/>
                  </a:lnTo>
                  <a:lnTo>
                    <a:pt x="1629905" y="226847"/>
                  </a:lnTo>
                  <a:lnTo>
                    <a:pt x="1629905" y="366179"/>
                  </a:lnTo>
                  <a:lnTo>
                    <a:pt x="1625104" y="367449"/>
                  </a:lnTo>
                  <a:lnTo>
                    <a:pt x="1621155" y="359829"/>
                  </a:lnTo>
                  <a:lnTo>
                    <a:pt x="1629905" y="366179"/>
                  </a:lnTo>
                  <a:lnTo>
                    <a:pt x="1629905" y="226847"/>
                  </a:lnTo>
                  <a:lnTo>
                    <a:pt x="1628089" y="222669"/>
                  </a:lnTo>
                  <a:lnTo>
                    <a:pt x="1636839" y="227749"/>
                  </a:lnTo>
                  <a:lnTo>
                    <a:pt x="1636839" y="187274"/>
                  </a:lnTo>
                  <a:lnTo>
                    <a:pt x="1622933" y="184569"/>
                  </a:lnTo>
                  <a:lnTo>
                    <a:pt x="1630959" y="183299"/>
                  </a:lnTo>
                  <a:lnTo>
                    <a:pt x="1630895" y="180759"/>
                  </a:lnTo>
                  <a:lnTo>
                    <a:pt x="1630870" y="179489"/>
                  </a:lnTo>
                  <a:lnTo>
                    <a:pt x="1638287" y="185839"/>
                  </a:lnTo>
                  <a:lnTo>
                    <a:pt x="1637906" y="179489"/>
                  </a:lnTo>
                  <a:lnTo>
                    <a:pt x="1643557" y="174409"/>
                  </a:lnTo>
                  <a:lnTo>
                    <a:pt x="1642465" y="174409"/>
                  </a:lnTo>
                  <a:lnTo>
                    <a:pt x="1648828" y="169329"/>
                  </a:lnTo>
                  <a:lnTo>
                    <a:pt x="1649336" y="174409"/>
                  </a:lnTo>
                  <a:lnTo>
                    <a:pt x="1660766" y="166789"/>
                  </a:lnTo>
                  <a:lnTo>
                    <a:pt x="1660766" y="145135"/>
                  </a:lnTo>
                  <a:lnTo>
                    <a:pt x="1653692" y="149009"/>
                  </a:lnTo>
                  <a:lnTo>
                    <a:pt x="1648637" y="150279"/>
                  </a:lnTo>
                  <a:lnTo>
                    <a:pt x="1652422" y="154089"/>
                  </a:lnTo>
                  <a:lnTo>
                    <a:pt x="1644180" y="157899"/>
                  </a:lnTo>
                  <a:lnTo>
                    <a:pt x="1652587" y="157899"/>
                  </a:lnTo>
                  <a:lnTo>
                    <a:pt x="1650301" y="161709"/>
                  </a:lnTo>
                  <a:lnTo>
                    <a:pt x="1640928" y="164769"/>
                  </a:lnTo>
                  <a:lnTo>
                    <a:pt x="1640928" y="174409"/>
                  </a:lnTo>
                  <a:lnTo>
                    <a:pt x="1635480" y="174409"/>
                  </a:lnTo>
                  <a:lnTo>
                    <a:pt x="1636979" y="170599"/>
                  </a:lnTo>
                  <a:lnTo>
                    <a:pt x="1638846" y="169329"/>
                  </a:lnTo>
                  <a:lnTo>
                    <a:pt x="1640903" y="169329"/>
                  </a:lnTo>
                  <a:lnTo>
                    <a:pt x="1640928" y="174409"/>
                  </a:lnTo>
                  <a:lnTo>
                    <a:pt x="1640928" y="164769"/>
                  </a:lnTo>
                  <a:lnTo>
                    <a:pt x="1638604" y="165519"/>
                  </a:lnTo>
                  <a:lnTo>
                    <a:pt x="1636344" y="166789"/>
                  </a:lnTo>
                  <a:lnTo>
                    <a:pt x="1638528" y="164249"/>
                  </a:lnTo>
                  <a:lnTo>
                    <a:pt x="1639963" y="161709"/>
                  </a:lnTo>
                  <a:lnTo>
                    <a:pt x="1621383" y="169329"/>
                  </a:lnTo>
                  <a:lnTo>
                    <a:pt x="1617726" y="162979"/>
                  </a:lnTo>
                  <a:lnTo>
                    <a:pt x="1616989" y="161709"/>
                  </a:lnTo>
                  <a:lnTo>
                    <a:pt x="1624355" y="166789"/>
                  </a:lnTo>
                  <a:lnTo>
                    <a:pt x="1624368" y="162979"/>
                  </a:lnTo>
                  <a:lnTo>
                    <a:pt x="1631442" y="162979"/>
                  </a:lnTo>
                  <a:lnTo>
                    <a:pt x="1630616" y="161709"/>
                  </a:lnTo>
                  <a:lnTo>
                    <a:pt x="1629778" y="160439"/>
                  </a:lnTo>
                  <a:lnTo>
                    <a:pt x="1628952" y="159169"/>
                  </a:lnTo>
                  <a:lnTo>
                    <a:pt x="1635290" y="157899"/>
                  </a:lnTo>
                  <a:lnTo>
                    <a:pt x="1630870" y="155359"/>
                  </a:lnTo>
                  <a:lnTo>
                    <a:pt x="1623669" y="152819"/>
                  </a:lnTo>
                  <a:lnTo>
                    <a:pt x="1631543" y="151549"/>
                  </a:lnTo>
                  <a:lnTo>
                    <a:pt x="1626285" y="147739"/>
                  </a:lnTo>
                  <a:lnTo>
                    <a:pt x="1629905" y="143929"/>
                  </a:lnTo>
                  <a:lnTo>
                    <a:pt x="1631111" y="142659"/>
                  </a:lnTo>
                  <a:lnTo>
                    <a:pt x="1625460" y="143929"/>
                  </a:lnTo>
                  <a:lnTo>
                    <a:pt x="1622031" y="142659"/>
                  </a:lnTo>
                  <a:lnTo>
                    <a:pt x="1624228" y="140119"/>
                  </a:lnTo>
                  <a:lnTo>
                    <a:pt x="1625333" y="138849"/>
                  </a:lnTo>
                  <a:lnTo>
                    <a:pt x="1615973" y="140119"/>
                  </a:lnTo>
                  <a:lnTo>
                    <a:pt x="1622094" y="135039"/>
                  </a:lnTo>
                  <a:lnTo>
                    <a:pt x="1619719" y="133769"/>
                  </a:lnTo>
                  <a:lnTo>
                    <a:pt x="1616125" y="132499"/>
                  </a:lnTo>
                  <a:lnTo>
                    <a:pt x="1614868" y="117259"/>
                  </a:lnTo>
                  <a:lnTo>
                    <a:pt x="1613725" y="112179"/>
                  </a:lnTo>
                  <a:lnTo>
                    <a:pt x="1612125" y="114719"/>
                  </a:lnTo>
                  <a:lnTo>
                    <a:pt x="1611820" y="126149"/>
                  </a:lnTo>
                  <a:lnTo>
                    <a:pt x="1609674" y="131229"/>
                  </a:lnTo>
                  <a:lnTo>
                    <a:pt x="1605343" y="133769"/>
                  </a:lnTo>
                  <a:lnTo>
                    <a:pt x="1609217" y="136309"/>
                  </a:lnTo>
                  <a:lnTo>
                    <a:pt x="1598790" y="141389"/>
                  </a:lnTo>
                  <a:lnTo>
                    <a:pt x="1602701" y="143929"/>
                  </a:lnTo>
                  <a:lnTo>
                    <a:pt x="1599806" y="146469"/>
                  </a:lnTo>
                  <a:lnTo>
                    <a:pt x="1608645" y="149009"/>
                  </a:lnTo>
                  <a:lnTo>
                    <a:pt x="1601101" y="152819"/>
                  </a:lnTo>
                  <a:lnTo>
                    <a:pt x="1593710" y="154089"/>
                  </a:lnTo>
                  <a:lnTo>
                    <a:pt x="1600809" y="156629"/>
                  </a:lnTo>
                  <a:lnTo>
                    <a:pt x="1599666" y="162979"/>
                  </a:lnTo>
                  <a:lnTo>
                    <a:pt x="1604340" y="160439"/>
                  </a:lnTo>
                  <a:lnTo>
                    <a:pt x="1604225" y="165519"/>
                  </a:lnTo>
                  <a:lnTo>
                    <a:pt x="1608467" y="162979"/>
                  </a:lnTo>
                  <a:lnTo>
                    <a:pt x="1601927" y="169329"/>
                  </a:lnTo>
                  <a:lnTo>
                    <a:pt x="1597761" y="168059"/>
                  </a:lnTo>
                  <a:lnTo>
                    <a:pt x="1581124" y="162979"/>
                  </a:lnTo>
                  <a:lnTo>
                    <a:pt x="1584045" y="166789"/>
                  </a:lnTo>
                  <a:lnTo>
                    <a:pt x="1579930" y="169329"/>
                  </a:lnTo>
                  <a:lnTo>
                    <a:pt x="1588274" y="168059"/>
                  </a:lnTo>
                  <a:lnTo>
                    <a:pt x="1581543" y="173139"/>
                  </a:lnTo>
                  <a:lnTo>
                    <a:pt x="1587893" y="175679"/>
                  </a:lnTo>
                  <a:lnTo>
                    <a:pt x="1579727" y="183299"/>
                  </a:lnTo>
                  <a:lnTo>
                    <a:pt x="1586014" y="182029"/>
                  </a:lnTo>
                  <a:lnTo>
                    <a:pt x="1588973" y="185839"/>
                  </a:lnTo>
                  <a:lnTo>
                    <a:pt x="1593507" y="182029"/>
                  </a:lnTo>
                  <a:lnTo>
                    <a:pt x="1595018" y="180759"/>
                  </a:lnTo>
                  <a:lnTo>
                    <a:pt x="1589366" y="192189"/>
                  </a:lnTo>
                  <a:lnTo>
                    <a:pt x="1594700" y="188379"/>
                  </a:lnTo>
                  <a:lnTo>
                    <a:pt x="1599171" y="190919"/>
                  </a:lnTo>
                  <a:lnTo>
                    <a:pt x="1600708" y="188379"/>
                  </a:lnTo>
                  <a:lnTo>
                    <a:pt x="1603781" y="183299"/>
                  </a:lnTo>
                  <a:lnTo>
                    <a:pt x="1605254" y="188379"/>
                  </a:lnTo>
                  <a:lnTo>
                    <a:pt x="1594548" y="195999"/>
                  </a:lnTo>
                  <a:lnTo>
                    <a:pt x="1575968" y="199809"/>
                  </a:lnTo>
                  <a:lnTo>
                    <a:pt x="1576844" y="201079"/>
                  </a:lnTo>
                  <a:lnTo>
                    <a:pt x="1577441" y="202349"/>
                  </a:lnTo>
                  <a:lnTo>
                    <a:pt x="1568627" y="202349"/>
                  </a:lnTo>
                  <a:lnTo>
                    <a:pt x="1577759" y="208699"/>
                  </a:lnTo>
                  <a:lnTo>
                    <a:pt x="1574012" y="212509"/>
                  </a:lnTo>
                  <a:lnTo>
                    <a:pt x="1588681" y="207429"/>
                  </a:lnTo>
                  <a:lnTo>
                    <a:pt x="1578127" y="220129"/>
                  </a:lnTo>
                  <a:lnTo>
                    <a:pt x="1585112" y="218859"/>
                  </a:lnTo>
                  <a:lnTo>
                    <a:pt x="1585747" y="223939"/>
                  </a:lnTo>
                  <a:lnTo>
                    <a:pt x="1589151" y="218859"/>
                  </a:lnTo>
                  <a:lnTo>
                    <a:pt x="1590852" y="216319"/>
                  </a:lnTo>
                  <a:lnTo>
                    <a:pt x="1594015" y="221399"/>
                  </a:lnTo>
                  <a:lnTo>
                    <a:pt x="1594827" y="216319"/>
                  </a:lnTo>
                  <a:lnTo>
                    <a:pt x="1595234" y="213779"/>
                  </a:lnTo>
                  <a:lnTo>
                    <a:pt x="1598218" y="213779"/>
                  </a:lnTo>
                  <a:lnTo>
                    <a:pt x="1600187" y="218859"/>
                  </a:lnTo>
                  <a:lnTo>
                    <a:pt x="1591564" y="225209"/>
                  </a:lnTo>
                  <a:lnTo>
                    <a:pt x="1598460" y="227749"/>
                  </a:lnTo>
                  <a:lnTo>
                    <a:pt x="1596085" y="232829"/>
                  </a:lnTo>
                  <a:lnTo>
                    <a:pt x="1595894" y="232879"/>
                  </a:lnTo>
                  <a:lnTo>
                    <a:pt x="1595894" y="249339"/>
                  </a:lnTo>
                  <a:lnTo>
                    <a:pt x="1594180" y="251879"/>
                  </a:lnTo>
                  <a:lnTo>
                    <a:pt x="1591652" y="255689"/>
                  </a:lnTo>
                  <a:lnTo>
                    <a:pt x="1582928" y="259816"/>
                  </a:lnTo>
                  <a:lnTo>
                    <a:pt x="1582928" y="298869"/>
                  </a:lnTo>
                  <a:lnTo>
                    <a:pt x="1580578" y="302679"/>
                  </a:lnTo>
                  <a:lnTo>
                    <a:pt x="1578876" y="302679"/>
                  </a:lnTo>
                  <a:lnTo>
                    <a:pt x="1578876" y="314109"/>
                  </a:lnTo>
                  <a:lnTo>
                    <a:pt x="1577606" y="315379"/>
                  </a:lnTo>
                  <a:lnTo>
                    <a:pt x="1575130" y="316649"/>
                  </a:lnTo>
                  <a:lnTo>
                    <a:pt x="1569669" y="312839"/>
                  </a:lnTo>
                  <a:lnTo>
                    <a:pt x="1570634" y="310299"/>
                  </a:lnTo>
                  <a:lnTo>
                    <a:pt x="1576755" y="312839"/>
                  </a:lnTo>
                  <a:lnTo>
                    <a:pt x="1578876" y="314109"/>
                  </a:lnTo>
                  <a:lnTo>
                    <a:pt x="1578876" y="302679"/>
                  </a:lnTo>
                  <a:lnTo>
                    <a:pt x="1577555" y="302679"/>
                  </a:lnTo>
                  <a:lnTo>
                    <a:pt x="1578178" y="300139"/>
                  </a:lnTo>
                  <a:lnTo>
                    <a:pt x="1580349" y="291249"/>
                  </a:lnTo>
                  <a:lnTo>
                    <a:pt x="1580654" y="289979"/>
                  </a:lnTo>
                  <a:lnTo>
                    <a:pt x="1580819" y="298869"/>
                  </a:lnTo>
                  <a:lnTo>
                    <a:pt x="1582928" y="298869"/>
                  </a:lnTo>
                  <a:lnTo>
                    <a:pt x="1582928" y="259816"/>
                  </a:lnTo>
                  <a:lnTo>
                    <a:pt x="1578229" y="262039"/>
                  </a:lnTo>
                  <a:lnTo>
                    <a:pt x="1569707" y="259499"/>
                  </a:lnTo>
                  <a:lnTo>
                    <a:pt x="1569034" y="258229"/>
                  </a:lnTo>
                  <a:lnTo>
                    <a:pt x="1572145" y="256959"/>
                  </a:lnTo>
                  <a:lnTo>
                    <a:pt x="1570139" y="256311"/>
                  </a:lnTo>
                  <a:lnTo>
                    <a:pt x="1575955" y="249339"/>
                  </a:lnTo>
                  <a:lnTo>
                    <a:pt x="1574368" y="258229"/>
                  </a:lnTo>
                  <a:lnTo>
                    <a:pt x="1580705" y="254419"/>
                  </a:lnTo>
                  <a:lnTo>
                    <a:pt x="1583893" y="258229"/>
                  </a:lnTo>
                  <a:lnTo>
                    <a:pt x="1584401" y="254419"/>
                  </a:lnTo>
                  <a:lnTo>
                    <a:pt x="1585074" y="249339"/>
                  </a:lnTo>
                  <a:lnTo>
                    <a:pt x="1585239" y="248069"/>
                  </a:lnTo>
                  <a:lnTo>
                    <a:pt x="1588757" y="251879"/>
                  </a:lnTo>
                  <a:lnTo>
                    <a:pt x="1595894" y="249339"/>
                  </a:lnTo>
                  <a:lnTo>
                    <a:pt x="1595894" y="232879"/>
                  </a:lnTo>
                  <a:lnTo>
                    <a:pt x="1571955" y="238594"/>
                  </a:lnTo>
                  <a:lnTo>
                    <a:pt x="1571955" y="246799"/>
                  </a:lnTo>
                  <a:lnTo>
                    <a:pt x="1569783" y="256197"/>
                  </a:lnTo>
                  <a:lnTo>
                    <a:pt x="1565871" y="254952"/>
                  </a:lnTo>
                  <a:lnTo>
                    <a:pt x="1565871" y="273469"/>
                  </a:lnTo>
                  <a:lnTo>
                    <a:pt x="1564538" y="273786"/>
                  </a:lnTo>
                  <a:lnTo>
                    <a:pt x="1564538" y="321729"/>
                  </a:lnTo>
                  <a:lnTo>
                    <a:pt x="1559814" y="322999"/>
                  </a:lnTo>
                  <a:lnTo>
                    <a:pt x="1559267" y="321729"/>
                  </a:lnTo>
                  <a:lnTo>
                    <a:pt x="1559102" y="320459"/>
                  </a:lnTo>
                  <a:lnTo>
                    <a:pt x="1558925" y="319189"/>
                  </a:lnTo>
                  <a:lnTo>
                    <a:pt x="1558163" y="318592"/>
                  </a:lnTo>
                  <a:lnTo>
                    <a:pt x="1558163" y="324269"/>
                  </a:lnTo>
                  <a:lnTo>
                    <a:pt x="1555864" y="324269"/>
                  </a:lnTo>
                  <a:lnTo>
                    <a:pt x="1554721" y="325539"/>
                  </a:lnTo>
                  <a:lnTo>
                    <a:pt x="1552422" y="325539"/>
                  </a:lnTo>
                  <a:lnTo>
                    <a:pt x="1550746" y="324269"/>
                  </a:lnTo>
                  <a:lnTo>
                    <a:pt x="1544942" y="316649"/>
                  </a:lnTo>
                  <a:lnTo>
                    <a:pt x="1543596" y="312839"/>
                  </a:lnTo>
                  <a:lnTo>
                    <a:pt x="1543761" y="312839"/>
                  </a:lnTo>
                  <a:lnTo>
                    <a:pt x="1549933" y="320459"/>
                  </a:lnTo>
                  <a:lnTo>
                    <a:pt x="1552943" y="322999"/>
                  </a:lnTo>
                  <a:lnTo>
                    <a:pt x="1553921" y="320459"/>
                  </a:lnTo>
                  <a:lnTo>
                    <a:pt x="1558163" y="324269"/>
                  </a:lnTo>
                  <a:lnTo>
                    <a:pt x="1558163" y="318592"/>
                  </a:lnTo>
                  <a:lnTo>
                    <a:pt x="1555686" y="316649"/>
                  </a:lnTo>
                  <a:lnTo>
                    <a:pt x="1556588" y="312839"/>
                  </a:lnTo>
                  <a:lnTo>
                    <a:pt x="1559356" y="314109"/>
                  </a:lnTo>
                  <a:lnTo>
                    <a:pt x="1558620" y="317919"/>
                  </a:lnTo>
                  <a:lnTo>
                    <a:pt x="1562620" y="316649"/>
                  </a:lnTo>
                  <a:lnTo>
                    <a:pt x="1564538" y="321729"/>
                  </a:lnTo>
                  <a:lnTo>
                    <a:pt x="1564538" y="273786"/>
                  </a:lnTo>
                  <a:lnTo>
                    <a:pt x="1560499" y="274739"/>
                  </a:lnTo>
                  <a:lnTo>
                    <a:pt x="1559572" y="273469"/>
                  </a:lnTo>
                  <a:lnTo>
                    <a:pt x="1562188" y="268389"/>
                  </a:lnTo>
                  <a:lnTo>
                    <a:pt x="1564398" y="272199"/>
                  </a:lnTo>
                  <a:lnTo>
                    <a:pt x="1565871" y="273469"/>
                  </a:lnTo>
                  <a:lnTo>
                    <a:pt x="1565871" y="254952"/>
                  </a:lnTo>
                  <a:lnTo>
                    <a:pt x="1564233" y="254419"/>
                  </a:lnTo>
                  <a:lnTo>
                    <a:pt x="1560283" y="253149"/>
                  </a:lnTo>
                  <a:lnTo>
                    <a:pt x="1556575" y="251968"/>
                  </a:lnTo>
                  <a:lnTo>
                    <a:pt x="1556575" y="286169"/>
                  </a:lnTo>
                  <a:lnTo>
                    <a:pt x="1553667" y="289979"/>
                  </a:lnTo>
                  <a:lnTo>
                    <a:pt x="1550035" y="291249"/>
                  </a:lnTo>
                  <a:lnTo>
                    <a:pt x="1545259" y="287439"/>
                  </a:lnTo>
                  <a:lnTo>
                    <a:pt x="1543862" y="283629"/>
                  </a:lnTo>
                  <a:lnTo>
                    <a:pt x="1542923" y="281089"/>
                  </a:lnTo>
                  <a:lnTo>
                    <a:pt x="1543481" y="277279"/>
                  </a:lnTo>
                  <a:lnTo>
                    <a:pt x="1550022" y="284899"/>
                  </a:lnTo>
                  <a:lnTo>
                    <a:pt x="1550009" y="286169"/>
                  </a:lnTo>
                  <a:lnTo>
                    <a:pt x="1551965" y="287439"/>
                  </a:lnTo>
                  <a:lnTo>
                    <a:pt x="1551546" y="284899"/>
                  </a:lnTo>
                  <a:lnTo>
                    <a:pt x="1552409" y="283629"/>
                  </a:lnTo>
                  <a:lnTo>
                    <a:pt x="1553679" y="282359"/>
                  </a:lnTo>
                  <a:lnTo>
                    <a:pt x="1554111" y="286169"/>
                  </a:lnTo>
                  <a:lnTo>
                    <a:pt x="1556575" y="286169"/>
                  </a:lnTo>
                  <a:lnTo>
                    <a:pt x="1556575" y="251968"/>
                  </a:lnTo>
                  <a:lnTo>
                    <a:pt x="1552371" y="250609"/>
                  </a:lnTo>
                  <a:lnTo>
                    <a:pt x="1549400" y="246799"/>
                  </a:lnTo>
                  <a:lnTo>
                    <a:pt x="1544459" y="240449"/>
                  </a:lnTo>
                  <a:lnTo>
                    <a:pt x="1543380" y="235369"/>
                  </a:lnTo>
                  <a:lnTo>
                    <a:pt x="1546034" y="235369"/>
                  </a:lnTo>
                  <a:lnTo>
                    <a:pt x="1554543" y="246799"/>
                  </a:lnTo>
                  <a:lnTo>
                    <a:pt x="1554873" y="244259"/>
                  </a:lnTo>
                  <a:lnTo>
                    <a:pt x="1554327" y="240449"/>
                  </a:lnTo>
                  <a:lnTo>
                    <a:pt x="1555597" y="239179"/>
                  </a:lnTo>
                  <a:lnTo>
                    <a:pt x="1556753" y="241719"/>
                  </a:lnTo>
                  <a:lnTo>
                    <a:pt x="1557540" y="242989"/>
                  </a:lnTo>
                  <a:lnTo>
                    <a:pt x="1558010" y="242989"/>
                  </a:lnTo>
                  <a:lnTo>
                    <a:pt x="1562468" y="248069"/>
                  </a:lnTo>
                  <a:lnTo>
                    <a:pt x="1562265" y="245529"/>
                  </a:lnTo>
                  <a:lnTo>
                    <a:pt x="1564005" y="245529"/>
                  </a:lnTo>
                  <a:lnTo>
                    <a:pt x="1560576" y="253149"/>
                  </a:lnTo>
                  <a:lnTo>
                    <a:pt x="1571955" y="246799"/>
                  </a:lnTo>
                  <a:lnTo>
                    <a:pt x="1571955" y="238594"/>
                  </a:lnTo>
                  <a:lnTo>
                    <a:pt x="1569453" y="239179"/>
                  </a:lnTo>
                  <a:lnTo>
                    <a:pt x="1569021" y="239179"/>
                  </a:lnTo>
                  <a:lnTo>
                    <a:pt x="1577898" y="236639"/>
                  </a:lnTo>
                  <a:lnTo>
                    <a:pt x="1566202" y="235369"/>
                  </a:lnTo>
                  <a:lnTo>
                    <a:pt x="1559953" y="234099"/>
                  </a:lnTo>
                  <a:lnTo>
                    <a:pt x="1562354" y="232829"/>
                  </a:lnTo>
                  <a:lnTo>
                    <a:pt x="1563979" y="231559"/>
                  </a:lnTo>
                  <a:lnTo>
                    <a:pt x="1549920" y="227749"/>
                  </a:lnTo>
                  <a:lnTo>
                    <a:pt x="1543989" y="222669"/>
                  </a:lnTo>
                  <a:lnTo>
                    <a:pt x="1544129" y="221399"/>
                  </a:lnTo>
                  <a:lnTo>
                    <a:pt x="1544256" y="220129"/>
                  </a:lnTo>
                  <a:lnTo>
                    <a:pt x="1551546" y="221399"/>
                  </a:lnTo>
                  <a:lnTo>
                    <a:pt x="1550250" y="220129"/>
                  </a:lnTo>
                  <a:lnTo>
                    <a:pt x="1545056" y="215049"/>
                  </a:lnTo>
                  <a:lnTo>
                    <a:pt x="1541170" y="211239"/>
                  </a:lnTo>
                  <a:lnTo>
                    <a:pt x="1547088" y="211239"/>
                  </a:lnTo>
                  <a:lnTo>
                    <a:pt x="1554988" y="215049"/>
                  </a:lnTo>
                  <a:lnTo>
                    <a:pt x="1555013" y="211239"/>
                  </a:lnTo>
                  <a:lnTo>
                    <a:pt x="1555038" y="207429"/>
                  </a:lnTo>
                  <a:lnTo>
                    <a:pt x="1561211" y="203619"/>
                  </a:lnTo>
                  <a:lnTo>
                    <a:pt x="1545234" y="203619"/>
                  </a:lnTo>
                  <a:lnTo>
                    <a:pt x="1540522" y="201079"/>
                  </a:lnTo>
                  <a:lnTo>
                    <a:pt x="1538160" y="199809"/>
                  </a:lnTo>
                  <a:lnTo>
                    <a:pt x="1538490" y="198539"/>
                  </a:lnTo>
                  <a:lnTo>
                    <a:pt x="1538820" y="197269"/>
                  </a:lnTo>
                  <a:lnTo>
                    <a:pt x="1548701" y="201079"/>
                  </a:lnTo>
                  <a:lnTo>
                    <a:pt x="1547825" y="195999"/>
                  </a:lnTo>
                  <a:lnTo>
                    <a:pt x="1555496" y="197269"/>
                  </a:lnTo>
                  <a:lnTo>
                    <a:pt x="1555076" y="195999"/>
                  </a:lnTo>
                  <a:lnTo>
                    <a:pt x="1553819" y="192189"/>
                  </a:lnTo>
                  <a:lnTo>
                    <a:pt x="1554683" y="190919"/>
                  </a:lnTo>
                  <a:lnTo>
                    <a:pt x="1558963" y="184569"/>
                  </a:lnTo>
                  <a:lnTo>
                    <a:pt x="1543608" y="190919"/>
                  </a:lnTo>
                  <a:lnTo>
                    <a:pt x="1537284" y="188379"/>
                  </a:lnTo>
                  <a:lnTo>
                    <a:pt x="1538693" y="184569"/>
                  </a:lnTo>
                  <a:lnTo>
                    <a:pt x="1539608" y="183299"/>
                  </a:lnTo>
                  <a:lnTo>
                    <a:pt x="1546021" y="183299"/>
                  </a:lnTo>
                  <a:lnTo>
                    <a:pt x="1544472" y="180759"/>
                  </a:lnTo>
                  <a:lnTo>
                    <a:pt x="1547152" y="176949"/>
                  </a:lnTo>
                  <a:lnTo>
                    <a:pt x="1548930" y="174409"/>
                  </a:lnTo>
                  <a:lnTo>
                    <a:pt x="1539189" y="176949"/>
                  </a:lnTo>
                  <a:lnTo>
                    <a:pt x="1537373" y="173139"/>
                  </a:lnTo>
                  <a:lnTo>
                    <a:pt x="1538986" y="170599"/>
                  </a:lnTo>
                  <a:lnTo>
                    <a:pt x="1540598" y="168059"/>
                  </a:lnTo>
                  <a:lnTo>
                    <a:pt x="1538312" y="170599"/>
                  </a:lnTo>
                  <a:lnTo>
                    <a:pt x="1534998" y="166789"/>
                  </a:lnTo>
                  <a:lnTo>
                    <a:pt x="1535226" y="150279"/>
                  </a:lnTo>
                  <a:lnTo>
                    <a:pt x="1533271" y="149009"/>
                  </a:lnTo>
                  <a:lnTo>
                    <a:pt x="1532115" y="152819"/>
                  </a:lnTo>
                  <a:lnTo>
                    <a:pt x="1531937" y="162979"/>
                  </a:lnTo>
                  <a:lnTo>
                    <a:pt x="1528762" y="168059"/>
                  </a:lnTo>
                  <a:lnTo>
                    <a:pt x="1523669" y="168059"/>
                  </a:lnTo>
                  <a:lnTo>
                    <a:pt x="1528660" y="171869"/>
                  </a:lnTo>
                  <a:lnTo>
                    <a:pt x="1529664" y="176949"/>
                  </a:lnTo>
                  <a:lnTo>
                    <a:pt x="1515554" y="173139"/>
                  </a:lnTo>
                  <a:lnTo>
                    <a:pt x="1521206" y="179489"/>
                  </a:lnTo>
                  <a:lnTo>
                    <a:pt x="1519643" y="184569"/>
                  </a:lnTo>
                  <a:lnTo>
                    <a:pt x="1524901" y="183299"/>
                  </a:lnTo>
                  <a:lnTo>
                    <a:pt x="1528635" y="183299"/>
                  </a:lnTo>
                  <a:lnTo>
                    <a:pt x="1528292" y="185839"/>
                  </a:lnTo>
                  <a:lnTo>
                    <a:pt x="1528038" y="187109"/>
                  </a:lnTo>
                  <a:lnTo>
                    <a:pt x="1521561" y="187109"/>
                  </a:lnTo>
                  <a:lnTo>
                    <a:pt x="1523098" y="190919"/>
                  </a:lnTo>
                  <a:lnTo>
                    <a:pt x="1526286" y="192189"/>
                  </a:lnTo>
                  <a:lnTo>
                    <a:pt x="1522590" y="192189"/>
                  </a:lnTo>
                  <a:lnTo>
                    <a:pt x="1513446" y="189649"/>
                  </a:lnTo>
                  <a:lnTo>
                    <a:pt x="1505216" y="185839"/>
                  </a:lnTo>
                  <a:lnTo>
                    <a:pt x="1507147" y="190919"/>
                  </a:lnTo>
                  <a:lnTo>
                    <a:pt x="1508455" y="194729"/>
                  </a:lnTo>
                  <a:lnTo>
                    <a:pt x="1504886" y="197269"/>
                  </a:lnTo>
                  <a:lnTo>
                    <a:pt x="1508429" y="197269"/>
                  </a:lnTo>
                  <a:lnTo>
                    <a:pt x="1505661" y="203619"/>
                  </a:lnTo>
                  <a:lnTo>
                    <a:pt x="1515541" y="198539"/>
                  </a:lnTo>
                  <a:lnTo>
                    <a:pt x="1515529" y="203619"/>
                  </a:lnTo>
                  <a:lnTo>
                    <a:pt x="1522882" y="201079"/>
                  </a:lnTo>
                  <a:lnTo>
                    <a:pt x="1524469" y="206159"/>
                  </a:lnTo>
                  <a:lnTo>
                    <a:pt x="1518335" y="208699"/>
                  </a:lnTo>
                  <a:lnTo>
                    <a:pt x="1504975" y="208699"/>
                  </a:lnTo>
                  <a:lnTo>
                    <a:pt x="1509318" y="212509"/>
                  </a:lnTo>
                  <a:lnTo>
                    <a:pt x="1506385" y="218859"/>
                  </a:lnTo>
                  <a:lnTo>
                    <a:pt x="1515719" y="215049"/>
                  </a:lnTo>
                  <a:lnTo>
                    <a:pt x="1515783" y="218859"/>
                  </a:lnTo>
                  <a:lnTo>
                    <a:pt x="1510106" y="223939"/>
                  </a:lnTo>
                  <a:lnTo>
                    <a:pt x="1520685" y="221399"/>
                  </a:lnTo>
                  <a:lnTo>
                    <a:pt x="1523250" y="223939"/>
                  </a:lnTo>
                  <a:lnTo>
                    <a:pt x="1518158" y="230289"/>
                  </a:lnTo>
                  <a:lnTo>
                    <a:pt x="1501533" y="237909"/>
                  </a:lnTo>
                  <a:lnTo>
                    <a:pt x="1486027" y="237909"/>
                  </a:lnTo>
                  <a:lnTo>
                    <a:pt x="1490764" y="244259"/>
                  </a:lnTo>
                  <a:lnTo>
                    <a:pt x="1484757" y="251879"/>
                  </a:lnTo>
                  <a:lnTo>
                    <a:pt x="1496860" y="246799"/>
                  </a:lnTo>
                  <a:lnTo>
                    <a:pt x="1496441" y="250609"/>
                  </a:lnTo>
                  <a:lnTo>
                    <a:pt x="1489710" y="260769"/>
                  </a:lnTo>
                  <a:lnTo>
                    <a:pt x="1495806" y="255689"/>
                  </a:lnTo>
                  <a:lnTo>
                    <a:pt x="1497672" y="260769"/>
                  </a:lnTo>
                  <a:lnTo>
                    <a:pt x="1504505" y="255689"/>
                  </a:lnTo>
                  <a:lnTo>
                    <a:pt x="1506207" y="254419"/>
                  </a:lnTo>
                  <a:lnTo>
                    <a:pt x="1507236" y="258229"/>
                  </a:lnTo>
                  <a:lnTo>
                    <a:pt x="1509255" y="256959"/>
                  </a:lnTo>
                  <a:lnTo>
                    <a:pt x="1511261" y="254419"/>
                  </a:lnTo>
                  <a:lnTo>
                    <a:pt x="1512265" y="253149"/>
                  </a:lnTo>
                  <a:lnTo>
                    <a:pt x="1512570" y="256959"/>
                  </a:lnTo>
                  <a:lnTo>
                    <a:pt x="1512747" y="258229"/>
                  </a:lnTo>
                  <a:lnTo>
                    <a:pt x="1513052" y="262039"/>
                  </a:lnTo>
                  <a:lnTo>
                    <a:pt x="1520393" y="254419"/>
                  </a:lnTo>
                  <a:lnTo>
                    <a:pt x="1519555" y="258229"/>
                  </a:lnTo>
                  <a:lnTo>
                    <a:pt x="1517853" y="262039"/>
                  </a:lnTo>
                  <a:lnTo>
                    <a:pt x="1516811" y="262864"/>
                  </a:lnTo>
                  <a:lnTo>
                    <a:pt x="1516811" y="276009"/>
                  </a:lnTo>
                  <a:lnTo>
                    <a:pt x="1511604" y="282359"/>
                  </a:lnTo>
                  <a:lnTo>
                    <a:pt x="1512316" y="284899"/>
                  </a:lnTo>
                  <a:lnTo>
                    <a:pt x="1514563" y="283629"/>
                  </a:lnTo>
                  <a:lnTo>
                    <a:pt x="1514043" y="284213"/>
                  </a:lnTo>
                  <a:lnTo>
                    <a:pt x="1514043" y="324269"/>
                  </a:lnTo>
                  <a:lnTo>
                    <a:pt x="1513370" y="326809"/>
                  </a:lnTo>
                  <a:lnTo>
                    <a:pt x="1508810" y="334429"/>
                  </a:lnTo>
                  <a:lnTo>
                    <a:pt x="1502867" y="340779"/>
                  </a:lnTo>
                  <a:lnTo>
                    <a:pt x="1500733" y="345859"/>
                  </a:lnTo>
                  <a:lnTo>
                    <a:pt x="1497736" y="344589"/>
                  </a:lnTo>
                  <a:lnTo>
                    <a:pt x="1497063" y="344589"/>
                  </a:lnTo>
                  <a:lnTo>
                    <a:pt x="1497761" y="340779"/>
                  </a:lnTo>
                  <a:lnTo>
                    <a:pt x="1498523" y="339509"/>
                  </a:lnTo>
                  <a:lnTo>
                    <a:pt x="1501952" y="339509"/>
                  </a:lnTo>
                  <a:lnTo>
                    <a:pt x="1501482" y="336969"/>
                  </a:lnTo>
                  <a:lnTo>
                    <a:pt x="1504200" y="336969"/>
                  </a:lnTo>
                  <a:lnTo>
                    <a:pt x="1506816" y="335699"/>
                  </a:lnTo>
                  <a:lnTo>
                    <a:pt x="1505140" y="335699"/>
                  </a:lnTo>
                  <a:lnTo>
                    <a:pt x="1509560" y="329349"/>
                  </a:lnTo>
                  <a:lnTo>
                    <a:pt x="1512201" y="325539"/>
                  </a:lnTo>
                  <a:lnTo>
                    <a:pt x="1514043" y="324269"/>
                  </a:lnTo>
                  <a:lnTo>
                    <a:pt x="1514043" y="284213"/>
                  </a:lnTo>
                  <a:lnTo>
                    <a:pt x="1511122" y="287439"/>
                  </a:lnTo>
                  <a:lnTo>
                    <a:pt x="1504823" y="292519"/>
                  </a:lnTo>
                  <a:lnTo>
                    <a:pt x="1504823" y="312839"/>
                  </a:lnTo>
                  <a:lnTo>
                    <a:pt x="1501165" y="317919"/>
                  </a:lnTo>
                  <a:lnTo>
                    <a:pt x="1496529" y="315379"/>
                  </a:lnTo>
                  <a:lnTo>
                    <a:pt x="1500784" y="310299"/>
                  </a:lnTo>
                  <a:lnTo>
                    <a:pt x="1503413" y="309029"/>
                  </a:lnTo>
                  <a:lnTo>
                    <a:pt x="1504823" y="312839"/>
                  </a:lnTo>
                  <a:lnTo>
                    <a:pt x="1504823" y="292519"/>
                  </a:lnTo>
                  <a:lnTo>
                    <a:pt x="1503235" y="293789"/>
                  </a:lnTo>
                  <a:lnTo>
                    <a:pt x="1496491" y="297484"/>
                  </a:lnTo>
                  <a:lnTo>
                    <a:pt x="1496491" y="322999"/>
                  </a:lnTo>
                  <a:lnTo>
                    <a:pt x="1493951" y="325539"/>
                  </a:lnTo>
                  <a:lnTo>
                    <a:pt x="1488401" y="329349"/>
                  </a:lnTo>
                  <a:lnTo>
                    <a:pt x="1484249" y="326809"/>
                  </a:lnTo>
                  <a:lnTo>
                    <a:pt x="1480718" y="322999"/>
                  </a:lnTo>
                  <a:lnTo>
                    <a:pt x="1478407" y="317919"/>
                  </a:lnTo>
                  <a:lnTo>
                    <a:pt x="1486331" y="324269"/>
                  </a:lnTo>
                  <a:lnTo>
                    <a:pt x="1487411" y="317919"/>
                  </a:lnTo>
                  <a:lnTo>
                    <a:pt x="1488516" y="317919"/>
                  </a:lnTo>
                  <a:lnTo>
                    <a:pt x="1496491" y="322999"/>
                  </a:lnTo>
                  <a:lnTo>
                    <a:pt x="1496491" y="297484"/>
                  </a:lnTo>
                  <a:lnTo>
                    <a:pt x="1491615" y="300139"/>
                  </a:lnTo>
                  <a:lnTo>
                    <a:pt x="1480731" y="298869"/>
                  </a:lnTo>
                  <a:lnTo>
                    <a:pt x="1478711" y="297599"/>
                  </a:lnTo>
                  <a:lnTo>
                    <a:pt x="1482153" y="293789"/>
                  </a:lnTo>
                  <a:lnTo>
                    <a:pt x="1481277" y="293484"/>
                  </a:lnTo>
                  <a:lnTo>
                    <a:pt x="1486852" y="291249"/>
                  </a:lnTo>
                  <a:lnTo>
                    <a:pt x="1490014" y="288709"/>
                  </a:lnTo>
                  <a:lnTo>
                    <a:pt x="1496352" y="286169"/>
                  </a:lnTo>
                  <a:lnTo>
                    <a:pt x="1497418" y="292519"/>
                  </a:lnTo>
                  <a:lnTo>
                    <a:pt x="1500035" y="288709"/>
                  </a:lnTo>
                  <a:lnTo>
                    <a:pt x="1500200" y="286169"/>
                  </a:lnTo>
                  <a:lnTo>
                    <a:pt x="1500365" y="283629"/>
                  </a:lnTo>
                  <a:lnTo>
                    <a:pt x="1501419" y="279819"/>
                  </a:lnTo>
                  <a:lnTo>
                    <a:pt x="1504264" y="283629"/>
                  </a:lnTo>
                  <a:lnTo>
                    <a:pt x="1504670" y="287439"/>
                  </a:lnTo>
                  <a:lnTo>
                    <a:pt x="1507490" y="287439"/>
                  </a:lnTo>
                  <a:lnTo>
                    <a:pt x="1512468" y="279819"/>
                  </a:lnTo>
                  <a:lnTo>
                    <a:pt x="1516811" y="276009"/>
                  </a:lnTo>
                  <a:lnTo>
                    <a:pt x="1516811" y="262864"/>
                  </a:lnTo>
                  <a:lnTo>
                    <a:pt x="1511427" y="267119"/>
                  </a:lnTo>
                  <a:lnTo>
                    <a:pt x="1502613" y="270929"/>
                  </a:lnTo>
                  <a:lnTo>
                    <a:pt x="1493393" y="273469"/>
                  </a:lnTo>
                  <a:lnTo>
                    <a:pt x="1490599" y="274574"/>
                  </a:lnTo>
                  <a:lnTo>
                    <a:pt x="1490599" y="283629"/>
                  </a:lnTo>
                  <a:lnTo>
                    <a:pt x="1480934" y="293357"/>
                  </a:lnTo>
                  <a:lnTo>
                    <a:pt x="1474901" y="291249"/>
                  </a:lnTo>
                  <a:lnTo>
                    <a:pt x="1465922" y="287439"/>
                  </a:lnTo>
                  <a:lnTo>
                    <a:pt x="1463713" y="282359"/>
                  </a:lnTo>
                  <a:lnTo>
                    <a:pt x="1476870" y="288709"/>
                  </a:lnTo>
                  <a:lnTo>
                    <a:pt x="1476121" y="284899"/>
                  </a:lnTo>
                  <a:lnTo>
                    <a:pt x="1482128" y="284899"/>
                  </a:lnTo>
                  <a:lnTo>
                    <a:pt x="1481886" y="287439"/>
                  </a:lnTo>
                  <a:lnTo>
                    <a:pt x="1487690" y="284899"/>
                  </a:lnTo>
                  <a:lnTo>
                    <a:pt x="1490599" y="283629"/>
                  </a:lnTo>
                  <a:lnTo>
                    <a:pt x="1490599" y="274574"/>
                  </a:lnTo>
                  <a:lnTo>
                    <a:pt x="1486941" y="276009"/>
                  </a:lnTo>
                  <a:lnTo>
                    <a:pt x="1486369" y="275132"/>
                  </a:lnTo>
                  <a:lnTo>
                    <a:pt x="1486369" y="276009"/>
                  </a:lnTo>
                  <a:lnTo>
                    <a:pt x="1477314" y="278549"/>
                  </a:lnTo>
                  <a:lnTo>
                    <a:pt x="1482445" y="281089"/>
                  </a:lnTo>
                  <a:lnTo>
                    <a:pt x="1482255" y="282359"/>
                  </a:lnTo>
                  <a:lnTo>
                    <a:pt x="1475041" y="277279"/>
                  </a:lnTo>
                  <a:lnTo>
                    <a:pt x="1477010" y="276009"/>
                  </a:lnTo>
                  <a:lnTo>
                    <a:pt x="1473796" y="272199"/>
                  </a:lnTo>
                  <a:lnTo>
                    <a:pt x="1472730" y="270929"/>
                  </a:lnTo>
                  <a:lnTo>
                    <a:pt x="1477429" y="272199"/>
                  </a:lnTo>
                  <a:lnTo>
                    <a:pt x="1480312" y="277279"/>
                  </a:lnTo>
                  <a:lnTo>
                    <a:pt x="1480985" y="272199"/>
                  </a:lnTo>
                  <a:lnTo>
                    <a:pt x="1486369" y="276009"/>
                  </a:lnTo>
                  <a:lnTo>
                    <a:pt x="1486369" y="275132"/>
                  </a:lnTo>
                  <a:lnTo>
                    <a:pt x="1484477" y="272199"/>
                  </a:lnTo>
                  <a:lnTo>
                    <a:pt x="1483652" y="270929"/>
                  </a:lnTo>
                  <a:lnTo>
                    <a:pt x="1482826" y="269659"/>
                  </a:lnTo>
                  <a:lnTo>
                    <a:pt x="1485963" y="270929"/>
                  </a:lnTo>
                  <a:lnTo>
                    <a:pt x="1485925" y="269659"/>
                  </a:lnTo>
                  <a:lnTo>
                    <a:pt x="1485836" y="267119"/>
                  </a:lnTo>
                  <a:lnTo>
                    <a:pt x="1493672" y="263309"/>
                  </a:lnTo>
                  <a:lnTo>
                    <a:pt x="1467916" y="258229"/>
                  </a:lnTo>
                  <a:lnTo>
                    <a:pt x="1464881" y="256959"/>
                  </a:lnTo>
                  <a:lnTo>
                    <a:pt x="1467650" y="255689"/>
                  </a:lnTo>
                  <a:lnTo>
                    <a:pt x="1464665" y="251879"/>
                  </a:lnTo>
                  <a:lnTo>
                    <a:pt x="1478724" y="255689"/>
                  </a:lnTo>
                  <a:lnTo>
                    <a:pt x="1476908" y="251879"/>
                  </a:lnTo>
                  <a:lnTo>
                    <a:pt x="1480515" y="248069"/>
                  </a:lnTo>
                  <a:lnTo>
                    <a:pt x="1458556" y="242989"/>
                  </a:lnTo>
                  <a:lnTo>
                    <a:pt x="1466570" y="242989"/>
                  </a:lnTo>
                  <a:lnTo>
                    <a:pt x="1466545" y="241719"/>
                  </a:lnTo>
                  <a:lnTo>
                    <a:pt x="1466507" y="240449"/>
                  </a:lnTo>
                  <a:lnTo>
                    <a:pt x="1466481" y="239179"/>
                  </a:lnTo>
                  <a:lnTo>
                    <a:pt x="1473898" y="244259"/>
                  </a:lnTo>
                  <a:lnTo>
                    <a:pt x="1473504" y="239179"/>
                  </a:lnTo>
                  <a:lnTo>
                    <a:pt x="1479156" y="234099"/>
                  </a:lnTo>
                  <a:lnTo>
                    <a:pt x="1471091" y="232829"/>
                  </a:lnTo>
                  <a:lnTo>
                    <a:pt x="1472590" y="230289"/>
                  </a:lnTo>
                  <a:lnTo>
                    <a:pt x="1477010" y="226479"/>
                  </a:lnTo>
                  <a:lnTo>
                    <a:pt x="1471434" y="226479"/>
                  </a:lnTo>
                  <a:lnTo>
                    <a:pt x="1475587" y="221399"/>
                  </a:lnTo>
                  <a:lnTo>
                    <a:pt x="1456994" y="227749"/>
                  </a:lnTo>
                  <a:lnTo>
                    <a:pt x="1454061" y="222669"/>
                  </a:lnTo>
                  <a:lnTo>
                    <a:pt x="1452587" y="220129"/>
                  </a:lnTo>
                  <a:lnTo>
                    <a:pt x="1459966" y="226479"/>
                  </a:lnTo>
                  <a:lnTo>
                    <a:pt x="1459992" y="221399"/>
                  </a:lnTo>
                  <a:lnTo>
                    <a:pt x="1467053" y="222669"/>
                  </a:lnTo>
                  <a:lnTo>
                    <a:pt x="1466227" y="221399"/>
                  </a:lnTo>
                  <a:lnTo>
                    <a:pt x="1465389" y="220129"/>
                  </a:lnTo>
                  <a:lnTo>
                    <a:pt x="1464564" y="218859"/>
                  </a:lnTo>
                  <a:lnTo>
                    <a:pt x="1470914" y="217589"/>
                  </a:lnTo>
                  <a:lnTo>
                    <a:pt x="1466469" y="215049"/>
                  </a:lnTo>
                  <a:lnTo>
                    <a:pt x="1459293" y="212509"/>
                  </a:lnTo>
                  <a:lnTo>
                    <a:pt x="1467154" y="211239"/>
                  </a:lnTo>
                  <a:lnTo>
                    <a:pt x="1461897" y="207429"/>
                  </a:lnTo>
                  <a:lnTo>
                    <a:pt x="1464805" y="203619"/>
                  </a:lnTo>
                  <a:lnTo>
                    <a:pt x="1466735" y="201079"/>
                  </a:lnTo>
                  <a:lnTo>
                    <a:pt x="1461084" y="203619"/>
                  </a:lnTo>
                  <a:lnTo>
                    <a:pt x="1457655" y="202349"/>
                  </a:lnTo>
                  <a:lnTo>
                    <a:pt x="1459852" y="199809"/>
                  </a:lnTo>
                  <a:lnTo>
                    <a:pt x="1460957" y="198539"/>
                  </a:lnTo>
                  <a:lnTo>
                    <a:pt x="1451584" y="199809"/>
                  </a:lnTo>
                  <a:lnTo>
                    <a:pt x="1457706" y="193459"/>
                  </a:lnTo>
                  <a:lnTo>
                    <a:pt x="1451749" y="190919"/>
                  </a:lnTo>
                  <a:lnTo>
                    <a:pt x="1450479" y="176949"/>
                  </a:lnTo>
                  <a:lnTo>
                    <a:pt x="1449336" y="170599"/>
                  </a:lnTo>
                  <a:lnTo>
                    <a:pt x="1448689" y="171869"/>
                  </a:lnTo>
                  <a:lnTo>
                    <a:pt x="1448384" y="171869"/>
                  </a:lnTo>
                  <a:lnTo>
                    <a:pt x="1447736" y="173139"/>
                  </a:lnTo>
                  <a:lnTo>
                    <a:pt x="1447431" y="184569"/>
                  </a:lnTo>
                  <a:lnTo>
                    <a:pt x="1445298" y="190919"/>
                  </a:lnTo>
                  <a:lnTo>
                    <a:pt x="1442681" y="192189"/>
                  </a:lnTo>
                  <a:lnTo>
                    <a:pt x="1440967" y="193459"/>
                  </a:lnTo>
                  <a:lnTo>
                    <a:pt x="1444828" y="195999"/>
                  </a:lnTo>
                  <a:lnTo>
                    <a:pt x="1434401" y="199809"/>
                  </a:lnTo>
                  <a:lnTo>
                    <a:pt x="1438313" y="203619"/>
                  </a:lnTo>
                  <a:lnTo>
                    <a:pt x="1435417" y="206159"/>
                  </a:lnTo>
                  <a:lnTo>
                    <a:pt x="1444269" y="208699"/>
                  </a:lnTo>
                  <a:lnTo>
                    <a:pt x="1436725" y="212509"/>
                  </a:lnTo>
                  <a:lnTo>
                    <a:pt x="1429321" y="213779"/>
                  </a:lnTo>
                  <a:lnTo>
                    <a:pt x="1436420" y="216319"/>
                  </a:lnTo>
                  <a:lnTo>
                    <a:pt x="1435265" y="221399"/>
                  </a:lnTo>
                  <a:lnTo>
                    <a:pt x="1439938" y="218859"/>
                  </a:lnTo>
                  <a:lnTo>
                    <a:pt x="1439837" y="223939"/>
                  </a:lnTo>
                  <a:lnTo>
                    <a:pt x="1444078" y="222669"/>
                  </a:lnTo>
                  <a:lnTo>
                    <a:pt x="1437538" y="227749"/>
                  </a:lnTo>
                  <a:lnTo>
                    <a:pt x="1416735" y="222669"/>
                  </a:lnTo>
                  <a:lnTo>
                    <a:pt x="1419644" y="225209"/>
                  </a:lnTo>
                  <a:lnTo>
                    <a:pt x="1415542" y="229019"/>
                  </a:lnTo>
                  <a:lnTo>
                    <a:pt x="1423873" y="227749"/>
                  </a:lnTo>
                  <a:lnTo>
                    <a:pt x="1417154" y="232829"/>
                  </a:lnTo>
                  <a:lnTo>
                    <a:pt x="1423504" y="235369"/>
                  </a:lnTo>
                  <a:lnTo>
                    <a:pt x="1415326" y="242989"/>
                  </a:lnTo>
                  <a:lnTo>
                    <a:pt x="1421625" y="240449"/>
                  </a:lnTo>
                  <a:lnTo>
                    <a:pt x="1424584" y="245529"/>
                  </a:lnTo>
                  <a:lnTo>
                    <a:pt x="1430616" y="240449"/>
                  </a:lnTo>
                  <a:lnTo>
                    <a:pt x="1424978" y="250609"/>
                  </a:lnTo>
                  <a:lnTo>
                    <a:pt x="1430299" y="246799"/>
                  </a:lnTo>
                  <a:lnTo>
                    <a:pt x="1434795" y="250609"/>
                  </a:lnTo>
                  <a:lnTo>
                    <a:pt x="1436763" y="246799"/>
                  </a:lnTo>
                  <a:lnTo>
                    <a:pt x="1439392" y="241719"/>
                  </a:lnTo>
                  <a:lnTo>
                    <a:pt x="1440865" y="248069"/>
                  </a:lnTo>
                  <a:lnTo>
                    <a:pt x="1430159" y="254419"/>
                  </a:lnTo>
                  <a:lnTo>
                    <a:pt x="1411579" y="258229"/>
                  </a:lnTo>
                  <a:lnTo>
                    <a:pt x="1413040" y="260769"/>
                  </a:lnTo>
                  <a:lnTo>
                    <a:pt x="1404239" y="260769"/>
                  </a:lnTo>
                  <a:lnTo>
                    <a:pt x="1413357" y="267119"/>
                  </a:lnTo>
                  <a:lnTo>
                    <a:pt x="1409611" y="270929"/>
                  </a:lnTo>
                  <a:lnTo>
                    <a:pt x="1424279" y="267119"/>
                  </a:lnTo>
                  <a:lnTo>
                    <a:pt x="1422641" y="270929"/>
                  </a:lnTo>
                  <a:lnTo>
                    <a:pt x="1413738" y="278549"/>
                  </a:lnTo>
                  <a:lnTo>
                    <a:pt x="1420736" y="278549"/>
                  </a:lnTo>
                  <a:lnTo>
                    <a:pt x="1421358" y="283629"/>
                  </a:lnTo>
                  <a:lnTo>
                    <a:pt x="1426464" y="276009"/>
                  </a:lnTo>
                  <a:lnTo>
                    <a:pt x="1429613" y="279819"/>
                  </a:lnTo>
                  <a:lnTo>
                    <a:pt x="1430235" y="276009"/>
                  </a:lnTo>
                  <a:lnTo>
                    <a:pt x="1430845" y="272199"/>
                  </a:lnTo>
                  <a:lnTo>
                    <a:pt x="1433817" y="273469"/>
                  </a:lnTo>
                  <a:lnTo>
                    <a:pt x="1435785" y="277279"/>
                  </a:lnTo>
                  <a:lnTo>
                    <a:pt x="1427187" y="284899"/>
                  </a:lnTo>
                  <a:lnTo>
                    <a:pt x="1434071" y="287439"/>
                  </a:lnTo>
                  <a:lnTo>
                    <a:pt x="1431696" y="291249"/>
                  </a:lnTo>
                  <a:lnTo>
                    <a:pt x="1431493" y="291312"/>
                  </a:lnTo>
                  <a:lnTo>
                    <a:pt x="1431493" y="309029"/>
                  </a:lnTo>
                  <a:lnTo>
                    <a:pt x="1427251" y="315379"/>
                  </a:lnTo>
                  <a:lnTo>
                    <a:pt x="1421625" y="317766"/>
                  </a:lnTo>
                  <a:lnTo>
                    <a:pt x="1421625" y="420789"/>
                  </a:lnTo>
                  <a:lnTo>
                    <a:pt x="1417980" y="422059"/>
                  </a:lnTo>
                  <a:lnTo>
                    <a:pt x="1419898" y="416979"/>
                  </a:lnTo>
                  <a:lnTo>
                    <a:pt x="1421625" y="420789"/>
                  </a:lnTo>
                  <a:lnTo>
                    <a:pt x="1421625" y="317766"/>
                  </a:lnTo>
                  <a:lnTo>
                    <a:pt x="1418551" y="319074"/>
                  </a:lnTo>
                  <a:lnTo>
                    <a:pt x="1418551" y="357289"/>
                  </a:lnTo>
                  <a:lnTo>
                    <a:pt x="1411465" y="372529"/>
                  </a:lnTo>
                  <a:lnTo>
                    <a:pt x="1414551" y="372529"/>
                  </a:lnTo>
                  <a:lnTo>
                    <a:pt x="1413217" y="375069"/>
                  </a:lnTo>
                  <a:lnTo>
                    <a:pt x="1409738" y="376339"/>
                  </a:lnTo>
                  <a:lnTo>
                    <a:pt x="1405750" y="376339"/>
                  </a:lnTo>
                  <a:lnTo>
                    <a:pt x="1399019" y="375069"/>
                  </a:lnTo>
                  <a:lnTo>
                    <a:pt x="1399806" y="373799"/>
                  </a:lnTo>
                  <a:lnTo>
                    <a:pt x="1401381" y="371259"/>
                  </a:lnTo>
                  <a:lnTo>
                    <a:pt x="1403565" y="375069"/>
                  </a:lnTo>
                  <a:lnTo>
                    <a:pt x="1405178" y="371259"/>
                  </a:lnTo>
                  <a:lnTo>
                    <a:pt x="1406245" y="368719"/>
                  </a:lnTo>
                  <a:lnTo>
                    <a:pt x="1406677" y="364909"/>
                  </a:lnTo>
                  <a:lnTo>
                    <a:pt x="1406817" y="363639"/>
                  </a:lnTo>
                  <a:lnTo>
                    <a:pt x="1408290" y="364909"/>
                  </a:lnTo>
                  <a:lnTo>
                    <a:pt x="1412392" y="364909"/>
                  </a:lnTo>
                  <a:lnTo>
                    <a:pt x="1412735" y="363639"/>
                  </a:lnTo>
                  <a:lnTo>
                    <a:pt x="1414106" y="358559"/>
                  </a:lnTo>
                  <a:lnTo>
                    <a:pt x="1414665" y="356019"/>
                  </a:lnTo>
                  <a:lnTo>
                    <a:pt x="1415224" y="353479"/>
                  </a:lnTo>
                  <a:lnTo>
                    <a:pt x="1416342" y="353479"/>
                  </a:lnTo>
                  <a:lnTo>
                    <a:pt x="1416431" y="358559"/>
                  </a:lnTo>
                  <a:lnTo>
                    <a:pt x="1418551" y="357289"/>
                  </a:lnTo>
                  <a:lnTo>
                    <a:pt x="1418551" y="319074"/>
                  </a:lnTo>
                  <a:lnTo>
                    <a:pt x="1409293" y="322999"/>
                  </a:lnTo>
                  <a:lnTo>
                    <a:pt x="1413522" y="325539"/>
                  </a:lnTo>
                  <a:lnTo>
                    <a:pt x="1403578" y="331889"/>
                  </a:lnTo>
                  <a:lnTo>
                    <a:pt x="1396238" y="334060"/>
                  </a:lnTo>
                  <a:lnTo>
                    <a:pt x="1396238" y="366179"/>
                  </a:lnTo>
                  <a:lnTo>
                    <a:pt x="1395984" y="367449"/>
                  </a:lnTo>
                  <a:lnTo>
                    <a:pt x="1394929" y="373799"/>
                  </a:lnTo>
                  <a:lnTo>
                    <a:pt x="1388948" y="369989"/>
                  </a:lnTo>
                  <a:lnTo>
                    <a:pt x="1389989" y="368719"/>
                  </a:lnTo>
                  <a:lnTo>
                    <a:pt x="1392059" y="366179"/>
                  </a:lnTo>
                  <a:lnTo>
                    <a:pt x="1393101" y="364909"/>
                  </a:lnTo>
                  <a:lnTo>
                    <a:pt x="1396238" y="366179"/>
                  </a:lnTo>
                  <a:lnTo>
                    <a:pt x="1396238" y="334060"/>
                  </a:lnTo>
                  <a:lnTo>
                    <a:pt x="1390650" y="335699"/>
                  </a:lnTo>
                  <a:lnTo>
                    <a:pt x="1383906" y="331889"/>
                  </a:lnTo>
                  <a:lnTo>
                    <a:pt x="1379359" y="329006"/>
                  </a:lnTo>
                  <a:lnTo>
                    <a:pt x="1379359" y="354749"/>
                  </a:lnTo>
                  <a:lnTo>
                    <a:pt x="1377111" y="356019"/>
                  </a:lnTo>
                  <a:lnTo>
                    <a:pt x="1376349" y="352209"/>
                  </a:lnTo>
                  <a:lnTo>
                    <a:pt x="1377823" y="349669"/>
                  </a:lnTo>
                  <a:lnTo>
                    <a:pt x="1379359" y="354749"/>
                  </a:lnTo>
                  <a:lnTo>
                    <a:pt x="1379359" y="329006"/>
                  </a:lnTo>
                  <a:lnTo>
                    <a:pt x="1375905" y="326809"/>
                  </a:lnTo>
                  <a:lnTo>
                    <a:pt x="1375079" y="325539"/>
                  </a:lnTo>
                  <a:lnTo>
                    <a:pt x="1370101" y="317919"/>
                  </a:lnTo>
                  <a:lnTo>
                    <a:pt x="1368488" y="314109"/>
                  </a:lnTo>
                  <a:lnTo>
                    <a:pt x="1375079" y="321729"/>
                  </a:lnTo>
                  <a:lnTo>
                    <a:pt x="1378102" y="324269"/>
                  </a:lnTo>
                  <a:lnTo>
                    <a:pt x="1379067" y="321729"/>
                  </a:lnTo>
                  <a:lnTo>
                    <a:pt x="1385658" y="328079"/>
                  </a:lnTo>
                  <a:lnTo>
                    <a:pt x="1384719" y="324269"/>
                  </a:lnTo>
                  <a:lnTo>
                    <a:pt x="1384287" y="321729"/>
                  </a:lnTo>
                  <a:lnTo>
                    <a:pt x="1384071" y="320459"/>
                  </a:lnTo>
                  <a:lnTo>
                    <a:pt x="1380845" y="317919"/>
                  </a:lnTo>
                  <a:lnTo>
                    <a:pt x="1381747" y="314109"/>
                  </a:lnTo>
                  <a:lnTo>
                    <a:pt x="1387843" y="317919"/>
                  </a:lnTo>
                  <a:lnTo>
                    <a:pt x="1390662" y="325539"/>
                  </a:lnTo>
                  <a:lnTo>
                    <a:pt x="1393253" y="321729"/>
                  </a:lnTo>
                  <a:lnTo>
                    <a:pt x="1397533" y="329349"/>
                  </a:lnTo>
                  <a:lnTo>
                    <a:pt x="1400352" y="324269"/>
                  </a:lnTo>
                  <a:lnTo>
                    <a:pt x="1404505" y="326809"/>
                  </a:lnTo>
                  <a:lnTo>
                    <a:pt x="1403908" y="324269"/>
                  </a:lnTo>
                  <a:lnTo>
                    <a:pt x="1403311" y="321729"/>
                  </a:lnTo>
                  <a:lnTo>
                    <a:pt x="1403007" y="320459"/>
                  </a:lnTo>
                  <a:lnTo>
                    <a:pt x="1394828" y="314109"/>
                  </a:lnTo>
                  <a:lnTo>
                    <a:pt x="1394066" y="310299"/>
                  </a:lnTo>
                  <a:lnTo>
                    <a:pt x="1396352" y="311569"/>
                  </a:lnTo>
                  <a:lnTo>
                    <a:pt x="1396593" y="311569"/>
                  </a:lnTo>
                  <a:lnTo>
                    <a:pt x="1401902" y="315379"/>
                  </a:lnTo>
                  <a:lnTo>
                    <a:pt x="1407972" y="315379"/>
                  </a:lnTo>
                  <a:lnTo>
                    <a:pt x="1407109" y="312839"/>
                  </a:lnTo>
                  <a:lnTo>
                    <a:pt x="1411566" y="309029"/>
                  </a:lnTo>
                  <a:lnTo>
                    <a:pt x="1409992" y="317919"/>
                  </a:lnTo>
                  <a:lnTo>
                    <a:pt x="1416329" y="314109"/>
                  </a:lnTo>
                  <a:lnTo>
                    <a:pt x="1419504" y="316649"/>
                  </a:lnTo>
                  <a:lnTo>
                    <a:pt x="1419847" y="314109"/>
                  </a:lnTo>
                  <a:lnTo>
                    <a:pt x="1420520" y="309029"/>
                  </a:lnTo>
                  <a:lnTo>
                    <a:pt x="1420850" y="306489"/>
                  </a:lnTo>
                  <a:lnTo>
                    <a:pt x="1424368" y="310299"/>
                  </a:lnTo>
                  <a:lnTo>
                    <a:pt x="1431493" y="309029"/>
                  </a:lnTo>
                  <a:lnTo>
                    <a:pt x="1431493" y="291312"/>
                  </a:lnTo>
                  <a:lnTo>
                    <a:pt x="1392770" y="302679"/>
                  </a:lnTo>
                  <a:lnTo>
                    <a:pt x="1389075" y="301409"/>
                  </a:lnTo>
                  <a:lnTo>
                    <a:pt x="1378254" y="296329"/>
                  </a:lnTo>
                  <a:lnTo>
                    <a:pt x="1370406" y="288709"/>
                  </a:lnTo>
                  <a:lnTo>
                    <a:pt x="1369009" y="284899"/>
                  </a:lnTo>
                  <a:lnTo>
                    <a:pt x="1368082" y="282359"/>
                  </a:lnTo>
                  <a:lnTo>
                    <a:pt x="1368628" y="278549"/>
                  </a:lnTo>
                  <a:lnTo>
                    <a:pt x="1377124" y="289979"/>
                  </a:lnTo>
                  <a:lnTo>
                    <a:pt x="1376400" y="283629"/>
                  </a:lnTo>
                  <a:lnTo>
                    <a:pt x="1375067" y="278549"/>
                  </a:lnTo>
                  <a:lnTo>
                    <a:pt x="1374406" y="276009"/>
                  </a:lnTo>
                  <a:lnTo>
                    <a:pt x="1384173" y="292519"/>
                  </a:lnTo>
                  <a:lnTo>
                    <a:pt x="1386014" y="286169"/>
                  </a:lnTo>
                  <a:lnTo>
                    <a:pt x="1392732" y="296329"/>
                  </a:lnTo>
                  <a:lnTo>
                    <a:pt x="1392161" y="291249"/>
                  </a:lnTo>
                  <a:lnTo>
                    <a:pt x="1393532" y="289979"/>
                  </a:lnTo>
                  <a:lnTo>
                    <a:pt x="1398333" y="292519"/>
                  </a:lnTo>
                  <a:lnTo>
                    <a:pt x="1401076" y="289979"/>
                  </a:lnTo>
                  <a:lnTo>
                    <a:pt x="1402448" y="288709"/>
                  </a:lnTo>
                  <a:lnTo>
                    <a:pt x="1396568" y="286169"/>
                  </a:lnTo>
                  <a:lnTo>
                    <a:pt x="1393634" y="284899"/>
                  </a:lnTo>
                  <a:lnTo>
                    <a:pt x="1386446" y="278549"/>
                  </a:lnTo>
                  <a:lnTo>
                    <a:pt x="1385303" y="276009"/>
                  </a:lnTo>
                  <a:lnTo>
                    <a:pt x="1384731" y="274739"/>
                  </a:lnTo>
                  <a:lnTo>
                    <a:pt x="1387348" y="269659"/>
                  </a:lnTo>
                  <a:lnTo>
                    <a:pt x="1389545" y="273469"/>
                  </a:lnTo>
                  <a:lnTo>
                    <a:pt x="1395590" y="279819"/>
                  </a:lnTo>
                  <a:lnTo>
                    <a:pt x="1394282" y="269659"/>
                  </a:lnTo>
                  <a:lnTo>
                    <a:pt x="1401699" y="276009"/>
                  </a:lnTo>
                  <a:lnTo>
                    <a:pt x="1400378" y="269659"/>
                  </a:lnTo>
                  <a:lnTo>
                    <a:pt x="1399857" y="267119"/>
                  </a:lnTo>
                  <a:lnTo>
                    <a:pt x="1410741" y="265849"/>
                  </a:lnTo>
                  <a:lnTo>
                    <a:pt x="1394866" y="260769"/>
                  </a:lnTo>
                  <a:lnTo>
                    <a:pt x="1394180" y="259499"/>
                  </a:lnTo>
                  <a:lnTo>
                    <a:pt x="1397304" y="258229"/>
                  </a:lnTo>
                  <a:lnTo>
                    <a:pt x="1389392" y="255689"/>
                  </a:lnTo>
                  <a:lnTo>
                    <a:pt x="1385443" y="254419"/>
                  </a:lnTo>
                  <a:lnTo>
                    <a:pt x="1377530" y="251879"/>
                  </a:lnTo>
                  <a:lnTo>
                    <a:pt x="1374559" y="248069"/>
                  </a:lnTo>
                  <a:lnTo>
                    <a:pt x="1369618" y="241719"/>
                  </a:lnTo>
                  <a:lnTo>
                    <a:pt x="1368526" y="236639"/>
                  </a:lnTo>
                  <a:lnTo>
                    <a:pt x="1371180" y="237909"/>
                  </a:lnTo>
                  <a:lnTo>
                    <a:pt x="1379702" y="248069"/>
                  </a:lnTo>
                  <a:lnTo>
                    <a:pt x="1380045" y="245529"/>
                  </a:lnTo>
                  <a:lnTo>
                    <a:pt x="1379486" y="241719"/>
                  </a:lnTo>
                  <a:lnTo>
                    <a:pt x="1380744" y="241719"/>
                  </a:lnTo>
                  <a:lnTo>
                    <a:pt x="1382852" y="244259"/>
                  </a:lnTo>
                  <a:lnTo>
                    <a:pt x="1387614" y="249339"/>
                  </a:lnTo>
                  <a:lnTo>
                    <a:pt x="1387246" y="242989"/>
                  </a:lnTo>
                  <a:lnTo>
                    <a:pt x="1389621" y="242989"/>
                  </a:lnTo>
                  <a:lnTo>
                    <a:pt x="1396504" y="246799"/>
                  </a:lnTo>
                  <a:lnTo>
                    <a:pt x="1394752" y="242989"/>
                  </a:lnTo>
                  <a:lnTo>
                    <a:pt x="1394167" y="241719"/>
                  </a:lnTo>
                  <a:lnTo>
                    <a:pt x="1403057" y="237909"/>
                  </a:lnTo>
                  <a:lnTo>
                    <a:pt x="1391361" y="236639"/>
                  </a:lnTo>
                  <a:lnTo>
                    <a:pt x="1385100" y="235369"/>
                  </a:lnTo>
                  <a:lnTo>
                    <a:pt x="1389126" y="232829"/>
                  </a:lnTo>
                  <a:lnTo>
                    <a:pt x="1383512" y="231559"/>
                  </a:lnTo>
                  <a:lnTo>
                    <a:pt x="1380693" y="231559"/>
                  </a:lnTo>
                  <a:lnTo>
                    <a:pt x="1375067" y="229019"/>
                  </a:lnTo>
                  <a:lnTo>
                    <a:pt x="1369136" y="223939"/>
                  </a:lnTo>
                  <a:lnTo>
                    <a:pt x="1369415" y="221399"/>
                  </a:lnTo>
                  <a:lnTo>
                    <a:pt x="1376718" y="222669"/>
                  </a:lnTo>
                  <a:lnTo>
                    <a:pt x="1375422" y="221399"/>
                  </a:lnTo>
                  <a:lnTo>
                    <a:pt x="1370228" y="216319"/>
                  </a:lnTo>
                  <a:lnTo>
                    <a:pt x="1366329" y="212509"/>
                  </a:lnTo>
                  <a:lnTo>
                    <a:pt x="1372260" y="212509"/>
                  </a:lnTo>
                  <a:lnTo>
                    <a:pt x="1380147" y="216319"/>
                  </a:lnTo>
                  <a:lnTo>
                    <a:pt x="1380185" y="212509"/>
                  </a:lnTo>
                  <a:lnTo>
                    <a:pt x="1380210" y="208699"/>
                  </a:lnTo>
                  <a:lnTo>
                    <a:pt x="1386370" y="204889"/>
                  </a:lnTo>
                  <a:lnTo>
                    <a:pt x="1370393" y="204889"/>
                  </a:lnTo>
                  <a:lnTo>
                    <a:pt x="1365669" y="202349"/>
                  </a:lnTo>
                  <a:lnTo>
                    <a:pt x="1363306" y="201079"/>
                  </a:lnTo>
                  <a:lnTo>
                    <a:pt x="1363586" y="201079"/>
                  </a:lnTo>
                  <a:lnTo>
                    <a:pt x="1363700" y="199809"/>
                  </a:lnTo>
                  <a:lnTo>
                    <a:pt x="1363980" y="198539"/>
                  </a:lnTo>
                  <a:lnTo>
                    <a:pt x="1373860" y="202349"/>
                  </a:lnTo>
                  <a:lnTo>
                    <a:pt x="1372971" y="197269"/>
                  </a:lnTo>
                  <a:lnTo>
                    <a:pt x="1380667" y="199809"/>
                  </a:lnTo>
                  <a:lnTo>
                    <a:pt x="1379816" y="197269"/>
                  </a:lnTo>
                  <a:lnTo>
                    <a:pt x="1378966" y="194729"/>
                  </a:lnTo>
                  <a:lnTo>
                    <a:pt x="1380439" y="192189"/>
                  </a:lnTo>
                  <a:lnTo>
                    <a:pt x="1384109" y="185839"/>
                  </a:lnTo>
                  <a:lnTo>
                    <a:pt x="1368755" y="192189"/>
                  </a:lnTo>
                  <a:lnTo>
                    <a:pt x="1362443" y="189649"/>
                  </a:lnTo>
                  <a:lnTo>
                    <a:pt x="1364780" y="184569"/>
                  </a:lnTo>
                  <a:lnTo>
                    <a:pt x="1371180" y="184569"/>
                  </a:lnTo>
                  <a:lnTo>
                    <a:pt x="1369644" y="182029"/>
                  </a:lnTo>
                  <a:lnTo>
                    <a:pt x="1372311" y="178219"/>
                  </a:lnTo>
                  <a:lnTo>
                    <a:pt x="1374101" y="175679"/>
                  </a:lnTo>
                  <a:lnTo>
                    <a:pt x="1364348" y="178219"/>
                  </a:lnTo>
                  <a:lnTo>
                    <a:pt x="1362544" y="175679"/>
                  </a:lnTo>
                  <a:lnTo>
                    <a:pt x="1364475" y="171869"/>
                  </a:lnTo>
                  <a:lnTo>
                    <a:pt x="1365758" y="169329"/>
                  </a:lnTo>
                  <a:lnTo>
                    <a:pt x="1363472" y="171869"/>
                  </a:lnTo>
                  <a:lnTo>
                    <a:pt x="1360157" y="168059"/>
                  </a:lnTo>
                  <a:lnTo>
                    <a:pt x="1360385" y="151549"/>
                  </a:lnTo>
                  <a:lnTo>
                    <a:pt x="1358442" y="150279"/>
                  </a:lnTo>
                  <a:lnTo>
                    <a:pt x="1357274" y="154089"/>
                  </a:lnTo>
                  <a:lnTo>
                    <a:pt x="1357096" y="164249"/>
                  </a:lnTo>
                  <a:lnTo>
                    <a:pt x="1353921" y="169329"/>
                  </a:lnTo>
                  <a:lnTo>
                    <a:pt x="1348841" y="169329"/>
                  </a:lnTo>
                  <a:lnTo>
                    <a:pt x="1353807" y="173139"/>
                  </a:lnTo>
                  <a:lnTo>
                    <a:pt x="1354836" y="178219"/>
                  </a:lnTo>
                  <a:lnTo>
                    <a:pt x="1340713" y="174409"/>
                  </a:lnTo>
                  <a:lnTo>
                    <a:pt x="1346365" y="180759"/>
                  </a:lnTo>
                  <a:lnTo>
                    <a:pt x="1344790" y="185839"/>
                  </a:lnTo>
                  <a:lnTo>
                    <a:pt x="1350060" y="184569"/>
                  </a:lnTo>
                  <a:lnTo>
                    <a:pt x="1353794" y="184569"/>
                  </a:lnTo>
                  <a:lnTo>
                    <a:pt x="1353197" y="188379"/>
                  </a:lnTo>
                  <a:lnTo>
                    <a:pt x="1349286" y="189649"/>
                  </a:lnTo>
                  <a:lnTo>
                    <a:pt x="1346720" y="188379"/>
                  </a:lnTo>
                  <a:lnTo>
                    <a:pt x="1348270" y="192189"/>
                  </a:lnTo>
                  <a:lnTo>
                    <a:pt x="1351445" y="193459"/>
                  </a:lnTo>
                  <a:lnTo>
                    <a:pt x="1347749" y="194729"/>
                  </a:lnTo>
                  <a:lnTo>
                    <a:pt x="1338605" y="190919"/>
                  </a:lnTo>
                  <a:lnTo>
                    <a:pt x="1330375" y="187109"/>
                  </a:lnTo>
                  <a:lnTo>
                    <a:pt x="1333601" y="195999"/>
                  </a:lnTo>
                  <a:lnTo>
                    <a:pt x="1330045" y="198539"/>
                  </a:lnTo>
                  <a:lnTo>
                    <a:pt x="1333588" y="198539"/>
                  </a:lnTo>
                  <a:lnTo>
                    <a:pt x="1330820" y="204889"/>
                  </a:lnTo>
                  <a:lnTo>
                    <a:pt x="1340700" y="199809"/>
                  </a:lnTo>
                  <a:lnTo>
                    <a:pt x="1340675" y="204889"/>
                  </a:lnTo>
                  <a:lnTo>
                    <a:pt x="1348041" y="202349"/>
                  </a:lnTo>
                  <a:lnTo>
                    <a:pt x="1348663" y="204889"/>
                  </a:lnTo>
                  <a:lnTo>
                    <a:pt x="1349629" y="207429"/>
                  </a:lnTo>
                  <a:lnTo>
                    <a:pt x="1343494" y="209969"/>
                  </a:lnTo>
                  <a:lnTo>
                    <a:pt x="1330121" y="209969"/>
                  </a:lnTo>
                  <a:lnTo>
                    <a:pt x="1334465" y="213779"/>
                  </a:lnTo>
                  <a:lnTo>
                    <a:pt x="1331531" y="220129"/>
                  </a:lnTo>
                  <a:lnTo>
                    <a:pt x="1340878" y="216319"/>
                  </a:lnTo>
                  <a:lnTo>
                    <a:pt x="1340954" y="221399"/>
                  </a:lnTo>
                  <a:lnTo>
                    <a:pt x="1335265" y="225209"/>
                  </a:lnTo>
                  <a:lnTo>
                    <a:pt x="1345577" y="223939"/>
                  </a:lnTo>
                  <a:lnTo>
                    <a:pt x="1348409" y="225209"/>
                  </a:lnTo>
                  <a:lnTo>
                    <a:pt x="1343304" y="231559"/>
                  </a:lnTo>
                  <a:lnTo>
                    <a:pt x="1326680" y="239179"/>
                  </a:lnTo>
                  <a:lnTo>
                    <a:pt x="1311173" y="239179"/>
                  </a:lnTo>
                  <a:lnTo>
                    <a:pt x="1315923" y="245529"/>
                  </a:lnTo>
                  <a:lnTo>
                    <a:pt x="1309916" y="253149"/>
                  </a:lnTo>
                  <a:lnTo>
                    <a:pt x="1322006" y="248069"/>
                  </a:lnTo>
                  <a:lnTo>
                    <a:pt x="1321587" y="251879"/>
                  </a:lnTo>
                  <a:lnTo>
                    <a:pt x="1314869" y="262039"/>
                  </a:lnTo>
                  <a:lnTo>
                    <a:pt x="1320952" y="256959"/>
                  </a:lnTo>
                  <a:lnTo>
                    <a:pt x="1331366" y="248069"/>
                  </a:lnTo>
                  <a:lnTo>
                    <a:pt x="1331976" y="255689"/>
                  </a:lnTo>
                  <a:lnTo>
                    <a:pt x="1332395" y="259499"/>
                  </a:lnTo>
                  <a:lnTo>
                    <a:pt x="1337411" y="254419"/>
                  </a:lnTo>
                  <a:lnTo>
                    <a:pt x="1338211" y="263309"/>
                  </a:lnTo>
                  <a:lnTo>
                    <a:pt x="1345539" y="255689"/>
                  </a:lnTo>
                  <a:lnTo>
                    <a:pt x="1344714" y="259499"/>
                  </a:lnTo>
                  <a:lnTo>
                    <a:pt x="1343012" y="263309"/>
                  </a:lnTo>
                  <a:lnTo>
                    <a:pt x="1336586" y="268389"/>
                  </a:lnTo>
                  <a:lnTo>
                    <a:pt x="1327772" y="272199"/>
                  </a:lnTo>
                  <a:lnTo>
                    <a:pt x="1322235" y="273469"/>
                  </a:lnTo>
                  <a:lnTo>
                    <a:pt x="1318552" y="274739"/>
                  </a:lnTo>
                  <a:lnTo>
                    <a:pt x="1302473" y="279819"/>
                  </a:lnTo>
                  <a:lnTo>
                    <a:pt x="1307592" y="282359"/>
                  </a:lnTo>
                  <a:lnTo>
                    <a:pt x="1307045" y="288709"/>
                  </a:lnTo>
                  <a:lnTo>
                    <a:pt x="1315745" y="284899"/>
                  </a:lnTo>
                  <a:lnTo>
                    <a:pt x="1305674" y="295059"/>
                  </a:lnTo>
                  <a:lnTo>
                    <a:pt x="1312011" y="292519"/>
                  </a:lnTo>
                  <a:lnTo>
                    <a:pt x="1315173" y="289979"/>
                  </a:lnTo>
                  <a:lnTo>
                    <a:pt x="1321511" y="287439"/>
                  </a:lnTo>
                  <a:lnTo>
                    <a:pt x="1322578" y="293789"/>
                  </a:lnTo>
                  <a:lnTo>
                    <a:pt x="1324584" y="287439"/>
                  </a:lnTo>
                  <a:lnTo>
                    <a:pt x="1325384" y="284899"/>
                  </a:lnTo>
                  <a:lnTo>
                    <a:pt x="1326578" y="281089"/>
                  </a:lnTo>
                  <a:lnTo>
                    <a:pt x="1329423" y="284899"/>
                  </a:lnTo>
                  <a:lnTo>
                    <a:pt x="1329817" y="288709"/>
                  </a:lnTo>
                  <a:lnTo>
                    <a:pt x="1332636" y="288709"/>
                  </a:lnTo>
                  <a:lnTo>
                    <a:pt x="1337627" y="281089"/>
                  </a:lnTo>
                  <a:lnTo>
                    <a:pt x="1339354" y="279819"/>
                  </a:lnTo>
                  <a:lnTo>
                    <a:pt x="1341983" y="278549"/>
                  </a:lnTo>
                  <a:lnTo>
                    <a:pt x="1336763" y="283629"/>
                  </a:lnTo>
                  <a:lnTo>
                    <a:pt x="1337462" y="286169"/>
                  </a:lnTo>
                  <a:lnTo>
                    <a:pt x="1338821" y="284899"/>
                  </a:lnTo>
                  <a:lnTo>
                    <a:pt x="1339710" y="284899"/>
                  </a:lnTo>
                  <a:lnTo>
                    <a:pt x="1339202" y="285661"/>
                  </a:lnTo>
                  <a:lnTo>
                    <a:pt x="1339202" y="325539"/>
                  </a:lnTo>
                  <a:lnTo>
                    <a:pt x="1338529" y="328079"/>
                  </a:lnTo>
                  <a:lnTo>
                    <a:pt x="1333969" y="335699"/>
                  </a:lnTo>
                  <a:lnTo>
                    <a:pt x="1328026" y="342049"/>
                  </a:lnTo>
                  <a:lnTo>
                    <a:pt x="1325778" y="347129"/>
                  </a:lnTo>
                  <a:lnTo>
                    <a:pt x="1329334" y="347129"/>
                  </a:lnTo>
                  <a:lnTo>
                    <a:pt x="1328648" y="350596"/>
                  </a:lnTo>
                  <a:lnTo>
                    <a:pt x="1328648" y="368719"/>
                  </a:lnTo>
                  <a:lnTo>
                    <a:pt x="1324368" y="375069"/>
                  </a:lnTo>
                  <a:lnTo>
                    <a:pt x="1322666" y="376694"/>
                  </a:lnTo>
                  <a:lnTo>
                    <a:pt x="1322666" y="438569"/>
                  </a:lnTo>
                  <a:lnTo>
                    <a:pt x="1320571" y="442379"/>
                  </a:lnTo>
                  <a:lnTo>
                    <a:pt x="1315491" y="441109"/>
                  </a:lnTo>
                  <a:lnTo>
                    <a:pt x="1322666" y="438569"/>
                  </a:lnTo>
                  <a:lnTo>
                    <a:pt x="1322666" y="376694"/>
                  </a:lnTo>
                  <a:lnTo>
                    <a:pt x="1317701" y="381419"/>
                  </a:lnTo>
                  <a:lnTo>
                    <a:pt x="1315212" y="382663"/>
                  </a:lnTo>
                  <a:lnTo>
                    <a:pt x="1315212" y="433489"/>
                  </a:lnTo>
                  <a:lnTo>
                    <a:pt x="1314424" y="441109"/>
                  </a:lnTo>
                  <a:lnTo>
                    <a:pt x="1312735" y="439839"/>
                  </a:lnTo>
                  <a:lnTo>
                    <a:pt x="1315212" y="433489"/>
                  </a:lnTo>
                  <a:lnTo>
                    <a:pt x="1315212" y="382663"/>
                  </a:lnTo>
                  <a:lnTo>
                    <a:pt x="1312583" y="383959"/>
                  </a:lnTo>
                  <a:lnTo>
                    <a:pt x="1310982" y="383273"/>
                  </a:lnTo>
                  <a:lnTo>
                    <a:pt x="1310982" y="415709"/>
                  </a:lnTo>
                  <a:lnTo>
                    <a:pt x="1303972" y="422059"/>
                  </a:lnTo>
                  <a:lnTo>
                    <a:pt x="1299984" y="423329"/>
                  </a:lnTo>
                  <a:lnTo>
                    <a:pt x="1295730" y="419519"/>
                  </a:lnTo>
                  <a:lnTo>
                    <a:pt x="1295361" y="418249"/>
                  </a:lnTo>
                  <a:lnTo>
                    <a:pt x="1294638" y="415709"/>
                  </a:lnTo>
                  <a:lnTo>
                    <a:pt x="1293901" y="413169"/>
                  </a:lnTo>
                  <a:lnTo>
                    <a:pt x="1292809" y="409359"/>
                  </a:lnTo>
                  <a:lnTo>
                    <a:pt x="1292440" y="408089"/>
                  </a:lnTo>
                  <a:lnTo>
                    <a:pt x="1295628" y="406819"/>
                  </a:lnTo>
                  <a:lnTo>
                    <a:pt x="1295654" y="408089"/>
                  </a:lnTo>
                  <a:lnTo>
                    <a:pt x="1296212" y="406819"/>
                  </a:lnTo>
                  <a:lnTo>
                    <a:pt x="1299756" y="413169"/>
                  </a:lnTo>
                  <a:lnTo>
                    <a:pt x="1297698" y="414439"/>
                  </a:lnTo>
                  <a:lnTo>
                    <a:pt x="1300175" y="413169"/>
                  </a:lnTo>
                  <a:lnTo>
                    <a:pt x="1304391" y="419519"/>
                  </a:lnTo>
                  <a:lnTo>
                    <a:pt x="1305013" y="413169"/>
                  </a:lnTo>
                  <a:lnTo>
                    <a:pt x="1305255" y="410629"/>
                  </a:lnTo>
                  <a:lnTo>
                    <a:pt x="1305699" y="410629"/>
                  </a:lnTo>
                  <a:lnTo>
                    <a:pt x="1307998" y="416979"/>
                  </a:lnTo>
                  <a:lnTo>
                    <a:pt x="1310093" y="413169"/>
                  </a:lnTo>
                  <a:lnTo>
                    <a:pt x="1310982" y="415709"/>
                  </a:lnTo>
                  <a:lnTo>
                    <a:pt x="1310982" y="383273"/>
                  </a:lnTo>
                  <a:lnTo>
                    <a:pt x="1309636" y="382689"/>
                  </a:lnTo>
                  <a:lnTo>
                    <a:pt x="1297825" y="377609"/>
                  </a:lnTo>
                  <a:lnTo>
                    <a:pt x="1283754" y="362369"/>
                  </a:lnTo>
                  <a:lnTo>
                    <a:pt x="1287627" y="359829"/>
                  </a:lnTo>
                  <a:lnTo>
                    <a:pt x="1292733" y="366179"/>
                  </a:lnTo>
                  <a:lnTo>
                    <a:pt x="1291996" y="359829"/>
                  </a:lnTo>
                  <a:lnTo>
                    <a:pt x="1291704" y="357289"/>
                  </a:lnTo>
                  <a:lnTo>
                    <a:pt x="1292656" y="352209"/>
                  </a:lnTo>
                  <a:lnTo>
                    <a:pt x="1295234" y="354749"/>
                  </a:lnTo>
                  <a:lnTo>
                    <a:pt x="1299057" y="362369"/>
                  </a:lnTo>
                  <a:lnTo>
                    <a:pt x="1301635" y="367449"/>
                  </a:lnTo>
                  <a:lnTo>
                    <a:pt x="1304823" y="358559"/>
                  </a:lnTo>
                  <a:lnTo>
                    <a:pt x="1305344" y="356019"/>
                  </a:lnTo>
                  <a:lnTo>
                    <a:pt x="1305864" y="357289"/>
                  </a:lnTo>
                  <a:lnTo>
                    <a:pt x="1306664" y="357289"/>
                  </a:lnTo>
                  <a:lnTo>
                    <a:pt x="1310055" y="361099"/>
                  </a:lnTo>
                  <a:lnTo>
                    <a:pt x="1309585" y="362369"/>
                  </a:lnTo>
                  <a:lnTo>
                    <a:pt x="1311503" y="362369"/>
                  </a:lnTo>
                  <a:lnTo>
                    <a:pt x="1316266" y="366179"/>
                  </a:lnTo>
                  <a:lnTo>
                    <a:pt x="1299349" y="373799"/>
                  </a:lnTo>
                  <a:lnTo>
                    <a:pt x="1306322" y="373799"/>
                  </a:lnTo>
                  <a:lnTo>
                    <a:pt x="1305953" y="380149"/>
                  </a:lnTo>
                  <a:lnTo>
                    <a:pt x="1310309" y="375069"/>
                  </a:lnTo>
                  <a:lnTo>
                    <a:pt x="1314310" y="372529"/>
                  </a:lnTo>
                  <a:lnTo>
                    <a:pt x="1313802" y="378879"/>
                  </a:lnTo>
                  <a:lnTo>
                    <a:pt x="1317371" y="377609"/>
                  </a:lnTo>
                  <a:lnTo>
                    <a:pt x="1323809" y="372529"/>
                  </a:lnTo>
                  <a:lnTo>
                    <a:pt x="1328648" y="368719"/>
                  </a:lnTo>
                  <a:lnTo>
                    <a:pt x="1328648" y="350596"/>
                  </a:lnTo>
                  <a:lnTo>
                    <a:pt x="1328077" y="353479"/>
                  </a:lnTo>
                  <a:lnTo>
                    <a:pt x="1319314" y="364909"/>
                  </a:lnTo>
                  <a:lnTo>
                    <a:pt x="1317117" y="366179"/>
                  </a:lnTo>
                  <a:lnTo>
                    <a:pt x="1314272" y="358559"/>
                  </a:lnTo>
                  <a:lnTo>
                    <a:pt x="1315669" y="356019"/>
                  </a:lnTo>
                  <a:lnTo>
                    <a:pt x="1317066" y="353479"/>
                  </a:lnTo>
                  <a:lnTo>
                    <a:pt x="1321689" y="356019"/>
                  </a:lnTo>
                  <a:lnTo>
                    <a:pt x="1321574" y="353479"/>
                  </a:lnTo>
                  <a:lnTo>
                    <a:pt x="1325181" y="356019"/>
                  </a:lnTo>
                  <a:lnTo>
                    <a:pt x="1324698" y="353479"/>
                  </a:lnTo>
                  <a:lnTo>
                    <a:pt x="1324457" y="352209"/>
                  </a:lnTo>
                  <a:lnTo>
                    <a:pt x="1323263" y="345859"/>
                  </a:lnTo>
                  <a:lnTo>
                    <a:pt x="1326095" y="343319"/>
                  </a:lnTo>
                  <a:lnTo>
                    <a:pt x="1328928" y="340779"/>
                  </a:lnTo>
                  <a:lnTo>
                    <a:pt x="1324356" y="339509"/>
                  </a:lnTo>
                  <a:lnTo>
                    <a:pt x="1325918" y="336969"/>
                  </a:lnTo>
                  <a:lnTo>
                    <a:pt x="1326984" y="335699"/>
                  </a:lnTo>
                  <a:lnTo>
                    <a:pt x="1329055" y="338239"/>
                  </a:lnTo>
                  <a:lnTo>
                    <a:pt x="1330896" y="335699"/>
                  </a:lnTo>
                  <a:lnTo>
                    <a:pt x="1331823" y="334429"/>
                  </a:lnTo>
                  <a:lnTo>
                    <a:pt x="1337360" y="326809"/>
                  </a:lnTo>
                  <a:lnTo>
                    <a:pt x="1339202" y="325539"/>
                  </a:lnTo>
                  <a:lnTo>
                    <a:pt x="1339202" y="285661"/>
                  </a:lnTo>
                  <a:lnTo>
                    <a:pt x="1336268" y="289979"/>
                  </a:lnTo>
                  <a:lnTo>
                    <a:pt x="1329982" y="294030"/>
                  </a:lnTo>
                  <a:lnTo>
                    <a:pt x="1329982" y="314109"/>
                  </a:lnTo>
                  <a:lnTo>
                    <a:pt x="1325422" y="321729"/>
                  </a:lnTo>
                  <a:lnTo>
                    <a:pt x="1319110" y="326809"/>
                  </a:lnTo>
                  <a:lnTo>
                    <a:pt x="1311338" y="331889"/>
                  </a:lnTo>
                  <a:lnTo>
                    <a:pt x="1305344" y="334429"/>
                  </a:lnTo>
                  <a:lnTo>
                    <a:pt x="1291348" y="333159"/>
                  </a:lnTo>
                  <a:lnTo>
                    <a:pt x="1283576" y="329349"/>
                  </a:lnTo>
                  <a:lnTo>
                    <a:pt x="1283030" y="326809"/>
                  </a:lnTo>
                  <a:lnTo>
                    <a:pt x="1284947" y="325539"/>
                  </a:lnTo>
                  <a:lnTo>
                    <a:pt x="1290955" y="325539"/>
                  </a:lnTo>
                  <a:lnTo>
                    <a:pt x="1288580" y="322999"/>
                  </a:lnTo>
                  <a:lnTo>
                    <a:pt x="1286205" y="320459"/>
                  </a:lnTo>
                  <a:lnTo>
                    <a:pt x="1284897" y="319189"/>
                  </a:lnTo>
                  <a:lnTo>
                    <a:pt x="1285913" y="316649"/>
                  </a:lnTo>
                  <a:lnTo>
                    <a:pt x="1297698" y="317919"/>
                  </a:lnTo>
                  <a:lnTo>
                    <a:pt x="1296466" y="316649"/>
                  </a:lnTo>
                  <a:lnTo>
                    <a:pt x="1292758" y="312839"/>
                  </a:lnTo>
                  <a:lnTo>
                    <a:pt x="1291742" y="310299"/>
                  </a:lnTo>
                  <a:lnTo>
                    <a:pt x="1294206" y="309029"/>
                  </a:lnTo>
                  <a:lnTo>
                    <a:pt x="1300924" y="311569"/>
                  </a:lnTo>
                  <a:lnTo>
                    <a:pt x="1305674" y="314109"/>
                  </a:lnTo>
                  <a:lnTo>
                    <a:pt x="1304353" y="311569"/>
                  </a:lnTo>
                  <a:lnTo>
                    <a:pt x="1306512" y="311569"/>
                  </a:lnTo>
                  <a:lnTo>
                    <a:pt x="1304886" y="319189"/>
                  </a:lnTo>
                  <a:lnTo>
                    <a:pt x="1309979" y="314109"/>
                  </a:lnTo>
                  <a:lnTo>
                    <a:pt x="1312964" y="312839"/>
                  </a:lnTo>
                  <a:lnTo>
                    <a:pt x="1311236" y="320459"/>
                  </a:lnTo>
                  <a:lnTo>
                    <a:pt x="1314919" y="317919"/>
                  </a:lnTo>
                  <a:lnTo>
                    <a:pt x="1317193" y="312839"/>
                  </a:lnTo>
                  <a:lnTo>
                    <a:pt x="1318323" y="310299"/>
                  </a:lnTo>
                  <a:lnTo>
                    <a:pt x="1320050" y="319189"/>
                  </a:lnTo>
                  <a:lnTo>
                    <a:pt x="1325930" y="311569"/>
                  </a:lnTo>
                  <a:lnTo>
                    <a:pt x="1328559" y="310299"/>
                  </a:lnTo>
                  <a:lnTo>
                    <a:pt x="1329982" y="314109"/>
                  </a:lnTo>
                  <a:lnTo>
                    <a:pt x="1329982" y="294030"/>
                  </a:lnTo>
                  <a:lnTo>
                    <a:pt x="1328381" y="295059"/>
                  </a:lnTo>
                  <a:lnTo>
                    <a:pt x="1303286" y="310299"/>
                  </a:lnTo>
                  <a:lnTo>
                    <a:pt x="1302334" y="309029"/>
                  </a:lnTo>
                  <a:lnTo>
                    <a:pt x="1300429" y="306489"/>
                  </a:lnTo>
                  <a:lnTo>
                    <a:pt x="1299476" y="305219"/>
                  </a:lnTo>
                  <a:lnTo>
                    <a:pt x="1298524" y="303949"/>
                  </a:lnTo>
                  <a:lnTo>
                    <a:pt x="1309814" y="300139"/>
                  </a:lnTo>
                  <a:lnTo>
                    <a:pt x="1294498" y="297599"/>
                  </a:lnTo>
                  <a:lnTo>
                    <a:pt x="1284782" y="293789"/>
                  </a:lnTo>
                  <a:lnTo>
                    <a:pt x="1282661" y="292519"/>
                  </a:lnTo>
                  <a:lnTo>
                    <a:pt x="1282585" y="291249"/>
                  </a:lnTo>
                  <a:lnTo>
                    <a:pt x="1283982" y="289979"/>
                  </a:lnTo>
                  <a:lnTo>
                    <a:pt x="1284693" y="289979"/>
                  </a:lnTo>
                  <a:lnTo>
                    <a:pt x="1286090" y="288709"/>
                  </a:lnTo>
                  <a:lnTo>
                    <a:pt x="1292263" y="288709"/>
                  </a:lnTo>
                  <a:lnTo>
                    <a:pt x="1296720" y="289979"/>
                  </a:lnTo>
                  <a:lnTo>
                    <a:pt x="1296187" y="288709"/>
                  </a:lnTo>
                  <a:lnTo>
                    <a:pt x="1295120" y="286169"/>
                  </a:lnTo>
                  <a:lnTo>
                    <a:pt x="1292987" y="281089"/>
                  </a:lnTo>
                  <a:lnTo>
                    <a:pt x="1300594" y="281089"/>
                  </a:lnTo>
                  <a:lnTo>
                    <a:pt x="1299870" y="279819"/>
                  </a:lnTo>
                  <a:lnTo>
                    <a:pt x="1297711" y="276009"/>
                  </a:lnTo>
                  <a:lnTo>
                    <a:pt x="1298232" y="274739"/>
                  </a:lnTo>
                  <a:lnTo>
                    <a:pt x="1300302" y="269659"/>
                  </a:lnTo>
                  <a:lnTo>
                    <a:pt x="1294206" y="272199"/>
                  </a:lnTo>
                  <a:lnTo>
                    <a:pt x="1290142" y="274739"/>
                  </a:lnTo>
                  <a:lnTo>
                    <a:pt x="1287538" y="273469"/>
                  </a:lnTo>
                  <a:lnTo>
                    <a:pt x="1284922" y="272199"/>
                  </a:lnTo>
                  <a:lnTo>
                    <a:pt x="1280604" y="273469"/>
                  </a:lnTo>
                  <a:lnTo>
                    <a:pt x="1278890" y="270929"/>
                  </a:lnTo>
                  <a:lnTo>
                    <a:pt x="1282115" y="267119"/>
                  </a:lnTo>
                  <a:lnTo>
                    <a:pt x="1288224" y="267119"/>
                  </a:lnTo>
                  <a:lnTo>
                    <a:pt x="1286916" y="264579"/>
                  </a:lnTo>
                  <a:lnTo>
                    <a:pt x="1287043" y="262039"/>
                  </a:lnTo>
                  <a:lnTo>
                    <a:pt x="1288707" y="259499"/>
                  </a:lnTo>
                  <a:lnTo>
                    <a:pt x="1289532" y="258229"/>
                  </a:lnTo>
                  <a:lnTo>
                    <a:pt x="1283208" y="259499"/>
                  </a:lnTo>
                  <a:lnTo>
                    <a:pt x="1278394" y="259499"/>
                  </a:lnTo>
                  <a:lnTo>
                    <a:pt x="1277543" y="256959"/>
                  </a:lnTo>
                  <a:lnTo>
                    <a:pt x="1277975" y="251879"/>
                  </a:lnTo>
                  <a:lnTo>
                    <a:pt x="1282687" y="242989"/>
                  </a:lnTo>
                  <a:lnTo>
                    <a:pt x="1280210" y="242989"/>
                  </a:lnTo>
                  <a:lnTo>
                    <a:pt x="1276883" y="240449"/>
                  </a:lnTo>
                  <a:lnTo>
                    <a:pt x="1276946" y="227749"/>
                  </a:lnTo>
                  <a:lnTo>
                    <a:pt x="1275803" y="225209"/>
                  </a:lnTo>
                  <a:lnTo>
                    <a:pt x="1273619" y="226479"/>
                  </a:lnTo>
                  <a:lnTo>
                    <a:pt x="1274013" y="237909"/>
                  </a:lnTo>
                  <a:lnTo>
                    <a:pt x="1272895" y="241719"/>
                  </a:lnTo>
                  <a:lnTo>
                    <a:pt x="1267866" y="241719"/>
                  </a:lnTo>
                  <a:lnTo>
                    <a:pt x="1273302" y="255689"/>
                  </a:lnTo>
                  <a:lnTo>
                    <a:pt x="1272260" y="259499"/>
                  </a:lnTo>
                  <a:lnTo>
                    <a:pt x="1258112" y="256959"/>
                  </a:lnTo>
                  <a:lnTo>
                    <a:pt x="1265224" y="263309"/>
                  </a:lnTo>
                  <a:lnTo>
                    <a:pt x="1264767" y="265849"/>
                  </a:lnTo>
                  <a:lnTo>
                    <a:pt x="1264488" y="268389"/>
                  </a:lnTo>
                  <a:lnTo>
                    <a:pt x="1268158" y="267119"/>
                  </a:lnTo>
                  <a:lnTo>
                    <a:pt x="1271066" y="267119"/>
                  </a:lnTo>
                  <a:lnTo>
                    <a:pt x="1272184" y="270929"/>
                  </a:lnTo>
                  <a:lnTo>
                    <a:pt x="1267294" y="274739"/>
                  </a:lnTo>
                  <a:lnTo>
                    <a:pt x="1247495" y="269659"/>
                  </a:lnTo>
                  <a:lnTo>
                    <a:pt x="1250937" y="273469"/>
                  </a:lnTo>
                  <a:lnTo>
                    <a:pt x="1248879" y="278549"/>
                  </a:lnTo>
                  <a:lnTo>
                    <a:pt x="1255077" y="276009"/>
                  </a:lnTo>
                  <a:lnTo>
                    <a:pt x="1249870" y="284899"/>
                  </a:lnTo>
                  <a:lnTo>
                    <a:pt x="1256830" y="282359"/>
                  </a:lnTo>
                  <a:lnTo>
                    <a:pt x="1261452" y="279819"/>
                  </a:lnTo>
                  <a:lnTo>
                    <a:pt x="1257515" y="288709"/>
                  </a:lnTo>
                  <a:lnTo>
                    <a:pt x="1263967" y="286169"/>
                  </a:lnTo>
                  <a:lnTo>
                    <a:pt x="1268056" y="286169"/>
                  </a:lnTo>
                  <a:lnTo>
                    <a:pt x="1266088" y="289979"/>
                  </a:lnTo>
                  <a:lnTo>
                    <a:pt x="1263789" y="292519"/>
                  </a:lnTo>
                  <a:lnTo>
                    <a:pt x="1253896" y="295059"/>
                  </a:lnTo>
                  <a:lnTo>
                    <a:pt x="1240650" y="295059"/>
                  </a:lnTo>
                  <a:lnTo>
                    <a:pt x="1248676" y="301409"/>
                  </a:lnTo>
                  <a:lnTo>
                    <a:pt x="1244422" y="307759"/>
                  </a:lnTo>
                  <a:lnTo>
                    <a:pt x="1254569" y="305219"/>
                  </a:lnTo>
                  <a:lnTo>
                    <a:pt x="1251064" y="314109"/>
                  </a:lnTo>
                  <a:lnTo>
                    <a:pt x="1265682" y="306489"/>
                  </a:lnTo>
                  <a:lnTo>
                    <a:pt x="1267472" y="306489"/>
                  </a:lnTo>
                  <a:lnTo>
                    <a:pt x="1267663" y="309029"/>
                  </a:lnTo>
                  <a:lnTo>
                    <a:pt x="1264196" y="312839"/>
                  </a:lnTo>
                  <a:lnTo>
                    <a:pt x="1261872" y="316649"/>
                  </a:lnTo>
                  <a:lnTo>
                    <a:pt x="1252131" y="324269"/>
                  </a:lnTo>
                  <a:lnTo>
                    <a:pt x="1259166" y="322999"/>
                  </a:lnTo>
                  <a:lnTo>
                    <a:pt x="1257515" y="329349"/>
                  </a:lnTo>
                  <a:lnTo>
                    <a:pt x="1263535" y="325539"/>
                  </a:lnTo>
                  <a:lnTo>
                    <a:pt x="1265986" y="325539"/>
                  </a:lnTo>
                  <a:lnTo>
                    <a:pt x="1265567" y="329349"/>
                  </a:lnTo>
                  <a:lnTo>
                    <a:pt x="1262710" y="331520"/>
                  </a:lnTo>
                  <a:lnTo>
                    <a:pt x="1262710" y="353479"/>
                  </a:lnTo>
                  <a:lnTo>
                    <a:pt x="1262570" y="361099"/>
                  </a:lnTo>
                  <a:lnTo>
                    <a:pt x="1259395" y="368147"/>
                  </a:lnTo>
                  <a:lnTo>
                    <a:pt x="1259395" y="413169"/>
                  </a:lnTo>
                  <a:lnTo>
                    <a:pt x="1258125" y="412864"/>
                  </a:lnTo>
                  <a:lnTo>
                    <a:pt x="1258125" y="419519"/>
                  </a:lnTo>
                  <a:lnTo>
                    <a:pt x="1257693" y="422059"/>
                  </a:lnTo>
                  <a:lnTo>
                    <a:pt x="1255471" y="424599"/>
                  </a:lnTo>
                  <a:lnTo>
                    <a:pt x="1252435" y="420789"/>
                  </a:lnTo>
                  <a:lnTo>
                    <a:pt x="1255687" y="420789"/>
                  </a:lnTo>
                  <a:lnTo>
                    <a:pt x="1256106" y="418249"/>
                  </a:lnTo>
                  <a:lnTo>
                    <a:pt x="1258125" y="419519"/>
                  </a:lnTo>
                  <a:lnTo>
                    <a:pt x="1258125" y="412864"/>
                  </a:lnTo>
                  <a:lnTo>
                    <a:pt x="1254163" y="411899"/>
                  </a:lnTo>
                  <a:lnTo>
                    <a:pt x="1255572" y="409359"/>
                  </a:lnTo>
                  <a:lnTo>
                    <a:pt x="1258709" y="410629"/>
                  </a:lnTo>
                  <a:lnTo>
                    <a:pt x="1259395" y="413169"/>
                  </a:lnTo>
                  <a:lnTo>
                    <a:pt x="1259395" y="368147"/>
                  </a:lnTo>
                  <a:lnTo>
                    <a:pt x="1257414" y="372529"/>
                  </a:lnTo>
                  <a:lnTo>
                    <a:pt x="1250137" y="377609"/>
                  </a:lnTo>
                  <a:lnTo>
                    <a:pt x="1239266" y="374586"/>
                  </a:lnTo>
                  <a:lnTo>
                    <a:pt x="1239266" y="447459"/>
                  </a:lnTo>
                  <a:lnTo>
                    <a:pt x="1231214" y="449999"/>
                  </a:lnTo>
                  <a:lnTo>
                    <a:pt x="1230858" y="448729"/>
                  </a:lnTo>
                  <a:lnTo>
                    <a:pt x="1233932" y="448729"/>
                  </a:lnTo>
                  <a:lnTo>
                    <a:pt x="1229804" y="439839"/>
                  </a:lnTo>
                  <a:lnTo>
                    <a:pt x="1229207" y="438569"/>
                  </a:lnTo>
                  <a:lnTo>
                    <a:pt x="1142987" y="438569"/>
                  </a:lnTo>
                  <a:lnTo>
                    <a:pt x="1142987" y="467779"/>
                  </a:lnTo>
                  <a:lnTo>
                    <a:pt x="1139723" y="469049"/>
                  </a:lnTo>
                  <a:lnTo>
                    <a:pt x="1139164" y="469049"/>
                  </a:lnTo>
                  <a:lnTo>
                    <a:pt x="1138428" y="467779"/>
                  </a:lnTo>
                  <a:lnTo>
                    <a:pt x="1137678" y="466509"/>
                  </a:lnTo>
                  <a:lnTo>
                    <a:pt x="1137958" y="465239"/>
                  </a:lnTo>
                  <a:lnTo>
                    <a:pt x="1138072" y="463969"/>
                  </a:lnTo>
                  <a:lnTo>
                    <a:pt x="1138351" y="462699"/>
                  </a:lnTo>
                  <a:lnTo>
                    <a:pt x="1140129" y="462699"/>
                  </a:lnTo>
                  <a:lnTo>
                    <a:pt x="1142987" y="467779"/>
                  </a:lnTo>
                  <a:lnTo>
                    <a:pt x="1142987" y="438569"/>
                  </a:lnTo>
                  <a:lnTo>
                    <a:pt x="1070190" y="438569"/>
                  </a:lnTo>
                  <a:lnTo>
                    <a:pt x="1068666" y="438569"/>
                  </a:lnTo>
                  <a:lnTo>
                    <a:pt x="1066965" y="439839"/>
                  </a:lnTo>
                  <a:lnTo>
                    <a:pt x="1064323" y="437299"/>
                  </a:lnTo>
                  <a:lnTo>
                    <a:pt x="1059053" y="432219"/>
                  </a:lnTo>
                  <a:lnTo>
                    <a:pt x="1058456" y="428409"/>
                  </a:lnTo>
                  <a:lnTo>
                    <a:pt x="1061656" y="428409"/>
                  </a:lnTo>
                  <a:lnTo>
                    <a:pt x="1063231" y="433489"/>
                  </a:lnTo>
                  <a:lnTo>
                    <a:pt x="1068628" y="430949"/>
                  </a:lnTo>
                  <a:lnTo>
                    <a:pt x="1068781" y="430949"/>
                  </a:lnTo>
                  <a:lnTo>
                    <a:pt x="1064488" y="434759"/>
                  </a:lnTo>
                  <a:lnTo>
                    <a:pt x="1069327" y="433489"/>
                  </a:lnTo>
                  <a:lnTo>
                    <a:pt x="1069403" y="434759"/>
                  </a:lnTo>
                  <a:lnTo>
                    <a:pt x="1066723" y="434759"/>
                  </a:lnTo>
                  <a:lnTo>
                    <a:pt x="1069886" y="437299"/>
                  </a:lnTo>
                  <a:lnTo>
                    <a:pt x="1070025" y="437896"/>
                  </a:lnTo>
                  <a:lnTo>
                    <a:pt x="1070483" y="437896"/>
                  </a:lnTo>
                  <a:lnTo>
                    <a:pt x="1228890" y="437896"/>
                  </a:lnTo>
                  <a:lnTo>
                    <a:pt x="1228623" y="437299"/>
                  </a:lnTo>
                  <a:lnTo>
                    <a:pt x="1226845" y="433489"/>
                  </a:lnTo>
                  <a:lnTo>
                    <a:pt x="1228966" y="434759"/>
                  </a:lnTo>
                  <a:lnTo>
                    <a:pt x="1228991" y="433489"/>
                  </a:lnTo>
                  <a:lnTo>
                    <a:pt x="1229042" y="430949"/>
                  </a:lnTo>
                  <a:lnTo>
                    <a:pt x="1229080" y="428409"/>
                  </a:lnTo>
                  <a:lnTo>
                    <a:pt x="1229131" y="425869"/>
                  </a:lnTo>
                  <a:lnTo>
                    <a:pt x="1232255" y="438569"/>
                  </a:lnTo>
                  <a:lnTo>
                    <a:pt x="1232992" y="442379"/>
                  </a:lnTo>
                  <a:lnTo>
                    <a:pt x="1237107" y="441109"/>
                  </a:lnTo>
                  <a:lnTo>
                    <a:pt x="1238592" y="439839"/>
                  </a:lnTo>
                  <a:lnTo>
                    <a:pt x="1238872" y="442379"/>
                  </a:lnTo>
                  <a:lnTo>
                    <a:pt x="1237970" y="443649"/>
                  </a:lnTo>
                  <a:lnTo>
                    <a:pt x="1238999" y="443649"/>
                  </a:lnTo>
                  <a:lnTo>
                    <a:pt x="1239266" y="447459"/>
                  </a:lnTo>
                  <a:lnTo>
                    <a:pt x="1239266" y="374586"/>
                  </a:lnTo>
                  <a:lnTo>
                    <a:pt x="1237957" y="374218"/>
                  </a:lnTo>
                  <a:lnTo>
                    <a:pt x="1237957" y="390309"/>
                  </a:lnTo>
                  <a:lnTo>
                    <a:pt x="1236649" y="392849"/>
                  </a:lnTo>
                  <a:lnTo>
                    <a:pt x="1235760" y="394119"/>
                  </a:lnTo>
                  <a:lnTo>
                    <a:pt x="1228420" y="396659"/>
                  </a:lnTo>
                  <a:lnTo>
                    <a:pt x="1223276" y="394119"/>
                  </a:lnTo>
                  <a:lnTo>
                    <a:pt x="1220711" y="392849"/>
                  </a:lnTo>
                  <a:lnTo>
                    <a:pt x="1218133" y="391579"/>
                  </a:lnTo>
                  <a:lnTo>
                    <a:pt x="1215593" y="387769"/>
                  </a:lnTo>
                  <a:lnTo>
                    <a:pt x="1213904" y="385229"/>
                  </a:lnTo>
                  <a:lnTo>
                    <a:pt x="1221028" y="387769"/>
                  </a:lnTo>
                  <a:lnTo>
                    <a:pt x="1222794" y="385229"/>
                  </a:lnTo>
                  <a:lnTo>
                    <a:pt x="1224546" y="382689"/>
                  </a:lnTo>
                  <a:lnTo>
                    <a:pt x="1225892" y="392849"/>
                  </a:lnTo>
                  <a:lnTo>
                    <a:pt x="1229080" y="390309"/>
                  </a:lnTo>
                  <a:lnTo>
                    <a:pt x="1235417" y="394119"/>
                  </a:lnTo>
                  <a:lnTo>
                    <a:pt x="1234833" y="390309"/>
                  </a:lnTo>
                  <a:lnTo>
                    <a:pt x="1234630" y="389039"/>
                  </a:lnTo>
                  <a:lnTo>
                    <a:pt x="1237957" y="390309"/>
                  </a:lnTo>
                  <a:lnTo>
                    <a:pt x="1237957" y="374218"/>
                  </a:lnTo>
                  <a:lnTo>
                    <a:pt x="1231925" y="372529"/>
                  </a:lnTo>
                  <a:lnTo>
                    <a:pt x="1213700" y="367449"/>
                  </a:lnTo>
                  <a:lnTo>
                    <a:pt x="1211326" y="363639"/>
                  </a:lnTo>
                  <a:lnTo>
                    <a:pt x="1218222" y="361099"/>
                  </a:lnTo>
                  <a:lnTo>
                    <a:pt x="1215351" y="358559"/>
                  </a:lnTo>
                  <a:lnTo>
                    <a:pt x="1209611" y="353479"/>
                  </a:lnTo>
                  <a:lnTo>
                    <a:pt x="1211567" y="349669"/>
                  </a:lnTo>
                  <a:lnTo>
                    <a:pt x="1214539" y="348399"/>
                  </a:lnTo>
                  <a:lnTo>
                    <a:pt x="1215783" y="357289"/>
                  </a:lnTo>
                  <a:lnTo>
                    <a:pt x="1218933" y="352209"/>
                  </a:lnTo>
                  <a:lnTo>
                    <a:pt x="1224026" y="359829"/>
                  </a:lnTo>
                  <a:lnTo>
                    <a:pt x="1224661" y="354749"/>
                  </a:lnTo>
                  <a:lnTo>
                    <a:pt x="1230807" y="356019"/>
                  </a:lnTo>
                  <a:lnTo>
                    <a:pt x="1227734" y="358559"/>
                  </a:lnTo>
                  <a:lnTo>
                    <a:pt x="1241958" y="352209"/>
                  </a:lnTo>
                  <a:lnTo>
                    <a:pt x="1241310" y="356019"/>
                  </a:lnTo>
                  <a:lnTo>
                    <a:pt x="1237284" y="366179"/>
                  </a:lnTo>
                  <a:lnTo>
                    <a:pt x="1244942" y="361099"/>
                  </a:lnTo>
                  <a:lnTo>
                    <a:pt x="1247825" y="369989"/>
                  </a:lnTo>
                  <a:lnTo>
                    <a:pt x="1250848" y="361099"/>
                  </a:lnTo>
                  <a:lnTo>
                    <a:pt x="1252143" y="357289"/>
                  </a:lnTo>
                  <a:lnTo>
                    <a:pt x="1253655" y="354749"/>
                  </a:lnTo>
                  <a:lnTo>
                    <a:pt x="1257490" y="359829"/>
                  </a:lnTo>
                  <a:lnTo>
                    <a:pt x="1259890" y="354749"/>
                  </a:lnTo>
                  <a:lnTo>
                    <a:pt x="1261097" y="352209"/>
                  </a:lnTo>
                  <a:lnTo>
                    <a:pt x="1262710" y="353479"/>
                  </a:lnTo>
                  <a:lnTo>
                    <a:pt x="1262710" y="331520"/>
                  </a:lnTo>
                  <a:lnTo>
                    <a:pt x="1262214" y="331889"/>
                  </a:lnTo>
                  <a:lnTo>
                    <a:pt x="1247508" y="336969"/>
                  </a:lnTo>
                  <a:lnTo>
                    <a:pt x="1239240" y="335343"/>
                  </a:lnTo>
                  <a:lnTo>
                    <a:pt x="1239240" y="344589"/>
                  </a:lnTo>
                  <a:lnTo>
                    <a:pt x="1237678" y="347129"/>
                  </a:lnTo>
                  <a:lnTo>
                    <a:pt x="1231112" y="354749"/>
                  </a:lnTo>
                  <a:lnTo>
                    <a:pt x="1228331" y="352209"/>
                  </a:lnTo>
                  <a:lnTo>
                    <a:pt x="1224153" y="348399"/>
                  </a:lnTo>
                  <a:lnTo>
                    <a:pt x="1222756" y="347129"/>
                  </a:lnTo>
                  <a:lnTo>
                    <a:pt x="1222209" y="345859"/>
                  </a:lnTo>
                  <a:lnTo>
                    <a:pt x="1221105" y="343319"/>
                  </a:lnTo>
                  <a:lnTo>
                    <a:pt x="1225562" y="344589"/>
                  </a:lnTo>
                  <a:lnTo>
                    <a:pt x="1225003" y="345859"/>
                  </a:lnTo>
                  <a:lnTo>
                    <a:pt x="1224191" y="347129"/>
                  </a:lnTo>
                  <a:lnTo>
                    <a:pt x="1228344" y="345859"/>
                  </a:lnTo>
                  <a:lnTo>
                    <a:pt x="1235786" y="348399"/>
                  </a:lnTo>
                  <a:lnTo>
                    <a:pt x="1233817" y="345859"/>
                  </a:lnTo>
                  <a:lnTo>
                    <a:pt x="1232839" y="344589"/>
                  </a:lnTo>
                  <a:lnTo>
                    <a:pt x="1236218" y="343319"/>
                  </a:lnTo>
                  <a:lnTo>
                    <a:pt x="1239240" y="344589"/>
                  </a:lnTo>
                  <a:lnTo>
                    <a:pt x="1239240" y="335343"/>
                  </a:lnTo>
                  <a:lnTo>
                    <a:pt x="1215237" y="330619"/>
                  </a:lnTo>
                  <a:lnTo>
                    <a:pt x="1210957" y="328079"/>
                  </a:lnTo>
                  <a:lnTo>
                    <a:pt x="1204531" y="324269"/>
                  </a:lnTo>
                  <a:lnTo>
                    <a:pt x="1206004" y="319189"/>
                  </a:lnTo>
                  <a:lnTo>
                    <a:pt x="1210614" y="326809"/>
                  </a:lnTo>
                  <a:lnTo>
                    <a:pt x="1215097" y="324269"/>
                  </a:lnTo>
                  <a:lnTo>
                    <a:pt x="1220419" y="326809"/>
                  </a:lnTo>
                  <a:lnTo>
                    <a:pt x="1219009" y="324269"/>
                  </a:lnTo>
                  <a:lnTo>
                    <a:pt x="1214767" y="316649"/>
                  </a:lnTo>
                  <a:lnTo>
                    <a:pt x="1220825" y="321729"/>
                  </a:lnTo>
                  <a:lnTo>
                    <a:pt x="1222590" y="319189"/>
                  </a:lnTo>
                  <a:lnTo>
                    <a:pt x="1223784" y="317919"/>
                  </a:lnTo>
                  <a:lnTo>
                    <a:pt x="1230071" y="319189"/>
                  </a:lnTo>
                  <a:lnTo>
                    <a:pt x="1228712" y="317919"/>
                  </a:lnTo>
                  <a:lnTo>
                    <a:pt x="1227353" y="316649"/>
                  </a:lnTo>
                  <a:lnTo>
                    <a:pt x="1225994" y="315379"/>
                  </a:lnTo>
                  <a:lnTo>
                    <a:pt x="1221905" y="311569"/>
                  </a:lnTo>
                  <a:lnTo>
                    <a:pt x="1228255" y="309029"/>
                  </a:lnTo>
                  <a:lnTo>
                    <a:pt x="1223200" y="305219"/>
                  </a:lnTo>
                  <a:lnTo>
                    <a:pt x="1221511" y="303949"/>
                  </a:lnTo>
                  <a:lnTo>
                    <a:pt x="1229855" y="305219"/>
                  </a:lnTo>
                  <a:lnTo>
                    <a:pt x="1225753" y="302679"/>
                  </a:lnTo>
                  <a:lnTo>
                    <a:pt x="1228648" y="298869"/>
                  </a:lnTo>
                  <a:lnTo>
                    <a:pt x="1207858" y="303949"/>
                  </a:lnTo>
                  <a:lnTo>
                    <a:pt x="1201318" y="298869"/>
                  </a:lnTo>
                  <a:lnTo>
                    <a:pt x="1205560" y="300139"/>
                  </a:lnTo>
                  <a:lnTo>
                    <a:pt x="1205534" y="298869"/>
                  </a:lnTo>
                  <a:lnTo>
                    <a:pt x="1205509" y="297599"/>
                  </a:lnTo>
                  <a:lnTo>
                    <a:pt x="1205445" y="295059"/>
                  </a:lnTo>
                  <a:lnTo>
                    <a:pt x="1210132" y="297599"/>
                  </a:lnTo>
                  <a:lnTo>
                    <a:pt x="1209560" y="295059"/>
                  </a:lnTo>
                  <a:lnTo>
                    <a:pt x="1208976" y="292519"/>
                  </a:lnTo>
                  <a:lnTo>
                    <a:pt x="1216075" y="289979"/>
                  </a:lnTo>
                  <a:lnTo>
                    <a:pt x="1208684" y="288709"/>
                  </a:lnTo>
                  <a:lnTo>
                    <a:pt x="1201127" y="284899"/>
                  </a:lnTo>
                  <a:lnTo>
                    <a:pt x="1209979" y="282359"/>
                  </a:lnTo>
                  <a:lnTo>
                    <a:pt x="1207084" y="279819"/>
                  </a:lnTo>
                  <a:lnTo>
                    <a:pt x="1210995" y="277279"/>
                  </a:lnTo>
                  <a:lnTo>
                    <a:pt x="1208392" y="276009"/>
                  </a:lnTo>
                  <a:lnTo>
                    <a:pt x="1200569" y="272199"/>
                  </a:lnTo>
                  <a:lnTo>
                    <a:pt x="1204442" y="269659"/>
                  </a:lnTo>
                  <a:lnTo>
                    <a:pt x="1200111" y="267119"/>
                  </a:lnTo>
                  <a:lnTo>
                    <a:pt x="1197965" y="260769"/>
                  </a:lnTo>
                  <a:lnTo>
                    <a:pt x="1197660" y="249339"/>
                  </a:lnTo>
                  <a:lnTo>
                    <a:pt x="1196073" y="246799"/>
                  </a:lnTo>
                  <a:lnTo>
                    <a:pt x="1194917" y="253149"/>
                  </a:lnTo>
                  <a:lnTo>
                    <a:pt x="1193647" y="267119"/>
                  </a:lnTo>
                  <a:lnTo>
                    <a:pt x="1187678" y="270929"/>
                  </a:lnTo>
                  <a:lnTo>
                    <a:pt x="1193812" y="276009"/>
                  </a:lnTo>
                  <a:lnTo>
                    <a:pt x="1184452" y="274739"/>
                  </a:lnTo>
                  <a:lnTo>
                    <a:pt x="1187754" y="278549"/>
                  </a:lnTo>
                  <a:lnTo>
                    <a:pt x="1184313" y="279819"/>
                  </a:lnTo>
                  <a:lnTo>
                    <a:pt x="1178674" y="277279"/>
                  </a:lnTo>
                  <a:lnTo>
                    <a:pt x="1183500" y="283629"/>
                  </a:lnTo>
                  <a:lnTo>
                    <a:pt x="1178242" y="287439"/>
                  </a:lnTo>
                  <a:lnTo>
                    <a:pt x="1186103" y="288709"/>
                  </a:lnTo>
                  <a:lnTo>
                    <a:pt x="1178928" y="291249"/>
                  </a:lnTo>
                  <a:lnTo>
                    <a:pt x="1174496" y="293789"/>
                  </a:lnTo>
                  <a:lnTo>
                    <a:pt x="1180833" y="295059"/>
                  </a:lnTo>
                  <a:lnTo>
                    <a:pt x="1178356" y="298869"/>
                  </a:lnTo>
                  <a:lnTo>
                    <a:pt x="1185405" y="297599"/>
                  </a:lnTo>
                  <a:lnTo>
                    <a:pt x="1185443" y="302679"/>
                  </a:lnTo>
                  <a:lnTo>
                    <a:pt x="1192809" y="297599"/>
                  </a:lnTo>
                  <a:lnTo>
                    <a:pt x="1188402" y="305219"/>
                  </a:lnTo>
                  <a:lnTo>
                    <a:pt x="1169822" y="297599"/>
                  </a:lnTo>
                  <a:lnTo>
                    <a:pt x="1173962" y="303949"/>
                  </a:lnTo>
                  <a:lnTo>
                    <a:pt x="1168387" y="303949"/>
                  </a:lnTo>
                  <a:lnTo>
                    <a:pt x="1172806" y="306489"/>
                  </a:lnTo>
                  <a:lnTo>
                    <a:pt x="1174305" y="310299"/>
                  </a:lnTo>
                  <a:lnTo>
                    <a:pt x="1166241" y="310299"/>
                  </a:lnTo>
                  <a:lnTo>
                    <a:pt x="1171892" y="315379"/>
                  </a:lnTo>
                  <a:lnTo>
                    <a:pt x="1171498" y="320459"/>
                  </a:lnTo>
                  <a:lnTo>
                    <a:pt x="1178915" y="315379"/>
                  </a:lnTo>
                  <a:lnTo>
                    <a:pt x="1178826" y="319189"/>
                  </a:lnTo>
                  <a:lnTo>
                    <a:pt x="1186853" y="319189"/>
                  </a:lnTo>
                  <a:lnTo>
                    <a:pt x="1181696" y="320687"/>
                  </a:lnTo>
                  <a:lnTo>
                    <a:pt x="1181696" y="358559"/>
                  </a:lnTo>
                  <a:lnTo>
                    <a:pt x="1179487" y="363639"/>
                  </a:lnTo>
                  <a:lnTo>
                    <a:pt x="1172603" y="367449"/>
                  </a:lnTo>
                  <a:lnTo>
                    <a:pt x="1172603" y="363639"/>
                  </a:lnTo>
                  <a:lnTo>
                    <a:pt x="1177150" y="361099"/>
                  </a:lnTo>
                  <a:lnTo>
                    <a:pt x="1181696" y="358559"/>
                  </a:lnTo>
                  <a:lnTo>
                    <a:pt x="1181696" y="320687"/>
                  </a:lnTo>
                  <a:lnTo>
                    <a:pt x="1164869" y="325539"/>
                  </a:lnTo>
                  <a:lnTo>
                    <a:pt x="1168488" y="329349"/>
                  </a:lnTo>
                  <a:lnTo>
                    <a:pt x="1166672" y="333159"/>
                  </a:lnTo>
                  <a:lnTo>
                    <a:pt x="1180731" y="328079"/>
                  </a:lnTo>
                  <a:lnTo>
                    <a:pt x="1177759" y="331889"/>
                  </a:lnTo>
                  <a:lnTo>
                    <a:pt x="1180515" y="333159"/>
                  </a:lnTo>
                  <a:lnTo>
                    <a:pt x="1177480" y="334429"/>
                  </a:lnTo>
                  <a:lnTo>
                    <a:pt x="1151724" y="339509"/>
                  </a:lnTo>
                  <a:lnTo>
                    <a:pt x="1159560" y="344589"/>
                  </a:lnTo>
                  <a:lnTo>
                    <a:pt x="1159433" y="347129"/>
                  </a:lnTo>
                  <a:lnTo>
                    <a:pt x="1162570" y="345859"/>
                  </a:lnTo>
                  <a:lnTo>
                    <a:pt x="1157820" y="352209"/>
                  </a:lnTo>
                  <a:lnTo>
                    <a:pt x="1164412" y="349669"/>
                  </a:lnTo>
                  <a:lnTo>
                    <a:pt x="1165085" y="353479"/>
                  </a:lnTo>
                  <a:lnTo>
                    <a:pt x="1167244" y="349669"/>
                  </a:lnTo>
                  <a:lnTo>
                    <a:pt x="1167955" y="348399"/>
                  </a:lnTo>
                  <a:lnTo>
                    <a:pt x="1172679" y="347129"/>
                  </a:lnTo>
                  <a:lnTo>
                    <a:pt x="1168387" y="353479"/>
                  </a:lnTo>
                  <a:lnTo>
                    <a:pt x="1170355" y="353479"/>
                  </a:lnTo>
                  <a:lnTo>
                    <a:pt x="1166990" y="356412"/>
                  </a:lnTo>
                  <a:lnTo>
                    <a:pt x="1166990" y="394119"/>
                  </a:lnTo>
                  <a:lnTo>
                    <a:pt x="1164742" y="399199"/>
                  </a:lnTo>
                  <a:lnTo>
                    <a:pt x="1163840" y="400469"/>
                  </a:lnTo>
                  <a:lnTo>
                    <a:pt x="1147279" y="408089"/>
                  </a:lnTo>
                  <a:lnTo>
                    <a:pt x="1143076" y="408089"/>
                  </a:lnTo>
                  <a:lnTo>
                    <a:pt x="1136205" y="403009"/>
                  </a:lnTo>
                  <a:lnTo>
                    <a:pt x="1131062" y="399199"/>
                  </a:lnTo>
                  <a:lnTo>
                    <a:pt x="1130401" y="397929"/>
                  </a:lnTo>
                  <a:lnTo>
                    <a:pt x="1128407" y="394119"/>
                  </a:lnTo>
                  <a:lnTo>
                    <a:pt x="1133398" y="396659"/>
                  </a:lnTo>
                  <a:lnTo>
                    <a:pt x="1134884" y="394119"/>
                  </a:lnTo>
                  <a:lnTo>
                    <a:pt x="1135634" y="392849"/>
                  </a:lnTo>
                  <a:lnTo>
                    <a:pt x="1139329" y="399199"/>
                  </a:lnTo>
                  <a:lnTo>
                    <a:pt x="1142034" y="395389"/>
                  </a:lnTo>
                  <a:lnTo>
                    <a:pt x="1143901" y="401739"/>
                  </a:lnTo>
                  <a:lnTo>
                    <a:pt x="1147927" y="403009"/>
                  </a:lnTo>
                  <a:lnTo>
                    <a:pt x="1148867" y="400469"/>
                  </a:lnTo>
                  <a:lnTo>
                    <a:pt x="1151915" y="397929"/>
                  </a:lnTo>
                  <a:lnTo>
                    <a:pt x="1154531" y="399199"/>
                  </a:lnTo>
                  <a:lnTo>
                    <a:pt x="1153909" y="397929"/>
                  </a:lnTo>
                  <a:lnTo>
                    <a:pt x="1153274" y="396659"/>
                  </a:lnTo>
                  <a:lnTo>
                    <a:pt x="1155268" y="395389"/>
                  </a:lnTo>
                  <a:lnTo>
                    <a:pt x="1157262" y="394119"/>
                  </a:lnTo>
                  <a:lnTo>
                    <a:pt x="1157833" y="394119"/>
                  </a:lnTo>
                  <a:lnTo>
                    <a:pt x="1159078" y="401739"/>
                  </a:lnTo>
                  <a:lnTo>
                    <a:pt x="1166990" y="394119"/>
                  </a:lnTo>
                  <a:lnTo>
                    <a:pt x="1166990" y="356412"/>
                  </a:lnTo>
                  <a:lnTo>
                    <a:pt x="1161592" y="361099"/>
                  </a:lnTo>
                  <a:lnTo>
                    <a:pt x="1159205" y="359829"/>
                  </a:lnTo>
                  <a:lnTo>
                    <a:pt x="1150975" y="356019"/>
                  </a:lnTo>
                  <a:lnTo>
                    <a:pt x="1154201" y="364909"/>
                  </a:lnTo>
                  <a:lnTo>
                    <a:pt x="1150645" y="366179"/>
                  </a:lnTo>
                  <a:lnTo>
                    <a:pt x="1154188" y="367449"/>
                  </a:lnTo>
                  <a:lnTo>
                    <a:pt x="1151420" y="373799"/>
                  </a:lnTo>
                  <a:lnTo>
                    <a:pt x="1161288" y="367449"/>
                  </a:lnTo>
                  <a:lnTo>
                    <a:pt x="1161275" y="373799"/>
                  </a:lnTo>
                  <a:lnTo>
                    <a:pt x="1165326" y="372529"/>
                  </a:lnTo>
                  <a:lnTo>
                    <a:pt x="1166685" y="373799"/>
                  </a:lnTo>
                  <a:lnTo>
                    <a:pt x="1164666" y="376339"/>
                  </a:lnTo>
                  <a:lnTo>
                    <a:pt x="1141285" y="378879"/>
                  </a:lnTo>
                  <a:lnTo>
                    <a:pt x="1145946" y="382689"/>
                  </a:lnTo>
                  <a:lnTo>
                    <a:pt x="1142847" y="385229"/>
                  </a:lnTo>
                  <a:lnTo>
                    <a:pt x="1150378" y="386499"/>
                  </a:lnTo>
                  <a:lnTo>
                    <a:pt x="1152512" y="387769"/>
                  </a:lnTo>
                  <a:lnTo>
                    <a:pt x="1152131" y="389039"/>
                  </a:lnTo>
                  <a:lnTo>
                    <a:pt x="1153033" y="387769"/>
                  </a:lnTo>
                  <a:lnTo>
                    <a:pt x="1153909" y="389039"/>
                  </a:lnTo>
                  <a:lnTo>
                    <a:pt x="1150086" y="391579"/>
                  </a:lnTo>
                  <a:lnTo>
                    <a:pt x="1149426" y="390309"/>
                  </a:lnTo>
                  <a:lnTo>
                    <a:pt x="1137945" y="382689"/>
                  </a:lnTo>
                  <a:lnTo>
                    <a:pt x="1132205" y="378879"/>
                  </a:lnTo>
                  <a:lnTo>
                    <a:pt x="1129360" y="371259"/>
                  </a:lnTo>
                  <a:lnTo>
                    <a:pt x="1136243" y="376339"/>
                  </a:lnTo>
                  <a:lnTo>
                    <a:pt x="1140142" y="373799"/>
                  </a:lnTo>
                  <a:lnTo>
                    <a:pt x="1145514" y="375069"/>
                  </a:lnTo>
                  <a:lnTo>
                    <a:pt x="1144651" y="373799"/>
                  </a:lnTo>
                  <a:lnTo>
                    <a:pt x="1142936" y="371259"/>
                  </a:lnTo>
                  <a:lnTo>
                    <a:pt x="1141209" y="368719"/>
                  </a:lnTo>
                  <a:lnTo>
                    <a:pt x="1140345" y="367449"/>
                  </a:lnTo>
                  <a:lnTo>
                    <a:pt x="1138313" y="366179"/>
                  </a:lnTo>
                  <a:lnTo>
                    <a:pt x="1132230" y="362369"/>
                  </a:lnTo>
                  <a:lnTo>
                    <a:pt x="1119809" y="350939"/>
                  </a:lnTo>
                  <a:lnTo>
                    <a:pt x="1119212" y="347129"/>
                  </a:lnTo>
                  <a:lnTo>
                    <a:pt x="1122413" y="347129"/>
                  </a:lnTo>
                  <a:lnTo>
                    <a:pt x="1123988" y="352209"/>
                  </a:lnTo>
                  <a:lnTo>
                    <a:pt x="1129385" y="348399"/>
                  </a:lnTo>
                  <a:lnTo>
                    <a:pt x="1130947" y="357289"/>
                  </a:lnTo>
                  <a:lnTo>
                    <a:pt x="1133271" y="353479"/>
                  </a:lnTo>
                  <a:lnTo>
                    <a:pt x="1140104" y="357289"/>
                  </a:lnTo>
                  <a:lnTo>
                    <a:pt x="1139786" y="353479"/>
                  </a:lnTo>
                  <a:lnTo>
                    <a:pt x="1140841" y="353479"/>
                  </a:lnTo>
                  <a:lnTo>
                    <a:pt x="1141539" y="352209"/>
                  </a:lnTo>
                  <a:lnTo>
                    <a:pt x="1146695" y="353479"/>
                  </a:lnTo>
                  <a:lnTo>
                    <a:pt x="1146606" y="352209"/>
                  </a:lnTo>
                  <a:lnTo>
                    <a:pt x="1146416" y="349669"/>
                  </a:lnTo>
                  <a:lnTo>
                    <a:pt x="1144104" y="348399"/>
                  </a:lnTo>
                  <a:lnTo>
                    <a:pt x="1141793" y="347129"/>
                  </a:lnTo>
                  <a:lnTo>
                    <a:pt x="1130249" y="340779"/>
                  </a:lnTo>
                  <a:lnTo>
                    <a:pt x="1129855" y="339509"/>
                  </a:lnTo>
                  <a:lnTo>
                    <a:pt x="1129461" y="338239"/>
                  </a:lnTo>
                  <a:lnTo>
                    <a:pt x="1132509" y="338239"/>
                  </a:lnTo>
                  <a:lnTo>
                    <a:pt x="1119416" y="326809"/>
                  </a:lnTo>
                  <a:lnTo>
                    <a:pt x="1122984" y="326809"/>
                  </a:lnTo>
                  <a:lnTo>
                    <a:pt x="1126947" y="329349"/>
                  </a:lnTo>
                  <a:lnTo>
                    <a:pt x="1126388" y="326809"/>
                  </a:lnTo>
                  <a:lnTo>
                    <a:pt x="1125283" y="321729"/>
                  </a:lnTo>
                  <a:lnTo>
                    <a:pt x="1134300" y="326809"/>
                  </a:lnTo>
                  <a:lnTo>
                    <a:pt x="1133767" y="321729"/>
                  </a:lnTo>
                  <a:lnTo>
                    <a:pt x="1133627" y="320459"/>
                  </a:lnTo>
                  <a:lnTo>
                    <a:pt x="1138910" y="320459"/>
                  </a:lnTo>
                  <a:lnTo>
                    <a:pt x="1133805" y="316649"/>
                  </a:lnTo>
                  <a:lnTo>
                    <a:pt x="1125156" y="314109"/>
                  </a:lnTo>
                  <a:lnTo>
                    <a:pt x="1116279" y="309029"/>
                  </a:lnTo>
                  <a:lnTo>
                    <a:pt x="1118158" y="305219"/>
                  </a:lnTo>
                  <a:lnTo>
                    <a:pt x="1124877" y="311569"/>
                  </a:lnTo>
                  <a:lnTo>
                    <a:pt x="1125829" y="305219"/>
                  </a:lnTo>
                  <a:lnTo>
                    <a:pt x="1126020" y="303949"/>
                  </a:lnTo>
                  <a:lnTo>
                    <a:pt x="1131900" y="311569"/>
                  </a:lnTo>
                  <a:lnTo>
                    <a:pt x="1129906" y="303949"/>
                  </a:lnTo>
                  <a:lnTo>
                    <a:pt x="1139037" y="307759"/>
                  </a:lnTo>
                  <a:lnTo>
                    <a:pt x="1137031" y="303949"/>
                  </a:lnTo>
                  <a:lnTo>
                    <a:pt x="1135684" y="301409"/>
                  </a:lnTo>
                  <a:lnTo>
                    <a:pt x="1141285" y="301409"/>
                  </a:lnTo>
                  <a:lnTo>
                    <a:pt x="1123340" y="295059"/>
                  </a:lnTo>
                  <a:lnTo>
                    <a:pt x="1116164" y="292519"/>
                  </a:lnTo>
                  <a:lnTo>
                    <a:pt x="1122387" y="289979"/>
                  </a:lnTo>
                  <a:lnTo>
                    <a:pt x="1115072" y="283629"/>
                  </a:lnTo>
                  <a:lnTo>
                    <a:pt x="1112151" y="281089"/>
                  </a:lnTo>
                  <a:lnTo>
                    <a:pt x="1126096" y="286169"/>
                  </a:lnTo>
                  <a:lnTo>
                    <a:pt x="1123581" y="282359"/>
                  </a:lnTo>
                  <a:lnTo>
                    <a:pt x="1125893" y="281089"/>
                  </a:lnTo>
                  <a:lnTo>
                    <a:pt x="1128204" y="279819"/>
                  </a:lnTo>
                  <a:lnTo>
                    <a:pt x="1114310" y="273469"/>
                  </a:lnTo>
                  <a:lnTo>
                    <a:pt x="1119035" y="268389"/>
                  </a:lnTo>
                  <a:lnTo>
                    <a:pt x="1112710" y="265849"/>
                  </a:lnTo>
                  <a:lnTo>
                    <a:pt x="1113586" y="262039"/>
                  </a:lnTo>
                  <a:lnTo>
                    <a:pt x="1109510" y="259499"/>
                  </a:lnTo>
                  <a:lnTo>
                    <a:pt x="1110869" y="258229"/>
                  </a:lnTo>
                  <a:lnTo>
                    <a:pt x="1108684" y="254419"/>
                  </a:lnTo>
                  <a:lnTo>
                    <a:pt x="1107338" y="244259"/>
                  </a:lnTo>
                  <a:lnTo>
                    <a:pt x="1105458" y="255689"/>
                  </a:lnTo>
                  <a:lnTo>
                    <a:pt x="1103007" y="258229"/>
                  </a:lnTo>
                  <a:lnTo>
                    <a:pt x="1104379" y="262039"/>
                  </a:lnTo>
                  <a:lnTo>
                    <a:pt x="1102067" y="263309"/>
                  </a:lnTo>
                  <a:lnTo>
                    <a:pt x="1100924" y="263309"/>
                  </a:lnTo>
                  <a:lnTo>
                    <a:pt x="1098613" y="264579"/>
                  </a:lnTo>
                  <a:lnTo>
                    <a:pt x="1099324" y="267119"/>
                  </a:lnTo>
                  <a:lnTo>
                    <a:pt x="1091374" y="269659"/>
                  </a:lnTo>
                  <a:lnTo>
                    <a:pt x="1103109" y="272199"/>
                  </a:lnTo>
                  <a:lnTo>
                    <a:pt x="1087208" y="279819"/>
                  </a:lnTo>
                  <a:lnTo>
                    <a:pt x="1089660" y="281089"/>
                  </a:lnTo>
                  <a:lnTo>
                    <a:pt x="1090866" y="282359"/>
                  </a:lnTo>
                  <a:lnTo>
                    <a:pt x="1093304" y="283629"/>
                  </a:lnTo>
                  <a:lnTo>
                    <a:pt x="1089850" y="287439"/>
                  </a:lnTo>
                  <a:lnTo>
                    <a:pt x="1095857" y="284899"/>
                  </a:lnTo>
                  <a:lnTo>
                    <a:pt x="1101445" y="283629"/>
                  </a:lnTo>
                  <a:lnTo>
                    <a:pt x="1096606" y="287439"/>
                  </a:lnTo>
                  <a:lnTo>
                    <a:pt x="1090180" y="288709"/>
                  </a:lnTo>
                  <a:lnTo>
                    <a:pt x="1087056" y="292519"/>
                  </a:lnTo>
                  <a:lnTo>
                    <a:pt x="1094346" y="292519"/>
                  </a:lnTo>
                  <a:lnTo>
                    <a:pt x="1091399" y="296329"/>
                  </a:lnTo>
                  <a:lnTo>
                    <a:pt x="1096860" y="295059"/>
                  </a:lnTo>
                  <a:lnTo>
                    <a:pt x="1098727" y="297599"/>
                  </a:lnTo>
                  <a:lnTo>
                    <a:pt x="1090891" y="302679"/>
                  </a:lnTo>
                  <a:lnTo>
                    <a:pt x="1073632" y="310299"/>
                  </a:lnTo>
                  <a:lnTo>
                    <a:pt x="1081252" y="310299"/>
                  </a:lnTo>
                  <a:lnTo>
                    <a:pt x="1078826" y="314109"/>
                  </a:lnTo>
                  <a:lnTo>
                    <a:pt x="1086027" y="311569"/>
                  </a:lnTo>
                  <a:lnTo>
                    <a:pt x="1085583" y="314109"/>
                  </a:lnTo>
                  <a:lnTo>
                    <a:pt x="1085265" y="316649"/>
                  </a:lnTo>
                  <a:lnTo>
                    <a:pt x="1090409" y="311569"/>
                  </a:lnTo>
                  <a:lnTo>
                    <a:pt x="1094981" y="310299"/>
                  </a:lnTo>
                  <a:lnTo>
                    <a:pt x="1092911" y="315379"/>
                  </a:lnTo>
                  <a:lnTo>
                    <a:pt x="1083652" y="320459"/>
                  </a:lnTo>
                  <a:lnTo>
                    <a:pt x="1078572" y="322999"/>
                  </a:lnTo>
                  <a:lnTo>
                    <a:pt x="1082357" y="325539"/>
                  </a:lnTo>
                  <a:lnTo>
                    <a:pt x="1074115" y="330619"/>
                  </a:lnTo>
                  <a:lnTo>
                    <a:pt x="1082548" y="330619"/>
                  </a:lnTo>
                  <a:lnTo>
                    <a:pt x="1080249" y="333159"/>
                  </a:lnTo>
                  <a:lnTo>
                    <a:pt x="1068552" y="338239"/>
                  </a:lnTo>
                  <a:lnTo>
                    <a:pt x="1062164" y="342049"/>
                  </a:lnTo>
                  <a:lnTo>
                    <a:pt x="1070851" y="342049"/>
                  </a:lnTo>
                  <a:lnTo>
                    <a:pt x="1070876" y="348399"/>
                  </a:lnTo>
                  <a:lnTo>
                    <a:pt x="1078776" y="340779"/>
                  </a:lnTo>
                  <a:lnTo>
                    <a:pt x="1079271" y="347129"/>
                  </a:lnTo>
                  <a:lnTo>
                    <a:pt x="1085024" y="342049"/>
                  </a:lnTo>
                  <a:lnTo>
                    <a:pt x="1087869" y="340779"/>
                  </a:lnTo>
                  <a:lnTo>
                    <a:pt x="1090701" y="339509"/>
                  </a:lnTo>
                  <a:lnTo>
                    <a:pt x="1085989" y="345833"/>
                  </a:lnTo>
                  <a:lnTo>
                    <a:pt x="1085989" y="382689"/>
                  </a:lnTo>
                  <a:lnTo>
                    <a:pt x="1081532" y="388543"/>
                  </a:lnTo>
                  <a:lnTo>
                    <a:pt x="1081532" y="420789"/>
                  </a:lnTo>
                  <a:lnTo>
                    <a:pt x="1080782" y="420789"/>
                  </a:lnTo>
                  <a:lnTo>
                    <a:pt x="1077264" y="422059"/>
                  </a:lnTo>
                  <a:lnTo>
                    <a:pt x="1073505" y="424599"/>
                  </a:lnTo>
                  <a:lnTo>
                    <a:pt x="1071245" y="423176"/>
                  </a:lnTo>
                  <a:lnTo>
                    <a:pt x="1071245" y="437299"/>
                  </a:lnTo>
                  <a:lnTo>
                    <a:pt x="1070610" y="437603"/>
                  </a:lnTo>
                  <a:lnTo>
                    <a:pt x="1070749" y="437299"/>
                  </a:lnTo>
                  <a:lnTo>
                    <a:pt x="1071245" y="437299"/>
                  </a:lnTo>
                  <a:lnTo>
                    <a:pt x="1071245" y="423176"/>
                  </a:lnTo>
                  <a:lnTo>
                    <a:pt x="1069492" y="422059"/>
                  </a:lnTo>
                  <a:lnTo>
                    <a:pt x="1069098" y="420789"/>
                  </a:lnTo>
                  <a:lnTo>
                    <a:pt x="1068705" y="419519"/>
                  </a:lnTo>
                  <a:lnTo>
                    <a:pt x="1071753" y="419519"/>
                  </a:lnTo>
                  <a:lnTo>
                    <a:pt x="1068997" y="418249"/>
                  </a:lnTo>
                  <a:lnTo>
                    <a:pt x="1069581" y="415709"/>
                  </a:lnTo>
                  <a:lnTo>
                    <a:pt x="1072057" y="416979"/>
                  </a:lnTo>
                  <a:lnTo>
                    <a:pt x="1073543" y="422059"/>
                  </a:lnTo>
                  <a:lnTo>
                    <a:pt x="1077074" y="418249"/>
                  </a:lnTo>
                  <a:lnTo>
                    <a:pt x="1080566" y="419519"/>
                  </a:lnTo>
                  <a:lnTo>
                    <a:pt x="1081532" y="420789"/>
                  </a:lnTo>
                  <a:lnTo>
                    <a:pt x="1081532" y="388543"/>
                  </a:lnTo>
                  <a:lnTo>
                    <a:pt x="1077277" y="394119"/>
                  </a:lnTo>
                  <a:lnTo>
                    <a:pt x="1069962" y="397929"/>
                  </a:lnTo>
                  <a:lnTo>
                    <a:pt x="1069530" y="397840"/>
                  </a:lnTo>
                  <a:lnTo>
                    <a:pt x="1069530" y="405549"/>
                  </a:lnTo>
                  <a:lnTo>
                    <a:pt x="1069492" y="406819"/>
                  </a:lnTo>
                  <a:lnTo>
                    <a:pt x="1065707" y="408089"/>
                  </a:lnTo>
                  <a:lnTo>
                    <a:pt x="1064539" y="403009"/>
                  </a:lnTo>
                  <a:lnTo>
                    <a:pt x="1069530" y="405549"/>
                  </a:lnTo>
                  <a:lnTo>
                    <a:pt x="1069530" y="397840"/>
                  </a:lnTo>
                  <a:lnTo>
                    <a:pt x="1064387" y="396659"/>
                  </a:lnTo>
                  <a:lnTo>
                    <a:pt x="1055522" y="390309"/>
                  </a:lnTo>
                  <a:lnTo>
                    <a:pt x="1057402" y="387769"/>
                  </a:lnTo>
                  <a:lnTo>
                    <a:pt x="1064120" y="392849"/>
                  </a:lnTo>
                  <a:lnTo>
                    <a:pt x="1064882" y="387769"/>
                  </a:lnTo>
                  <a:lnTo>
                    <a:pt x="1065263" y="385229"/>
                  </a:lnTo>
                  <a:lnTo>
                    <a:pt x="1071143" y="392849"/>
                  </a:lnTo>
                  <a:lnTo>
                    <a:pt x="1069314" y="386499"/>
                  </a:lnTo>
                  <a:lnTo>
                    <a:pt x="1069594" y="386499"/>
                  </a:lnTo>
                  <a:lnTo>
                    <a:pt x="1078293" y="389039"/>
                  </a:lnTo>
                  <a:lnTo>
                    <a:pt x="1076947" y="386499"/>
                  </a:lnTo>
                  <a:lnTo>
                    <a:pt x="1076274" y="385229"/>
                  </a:lnTo>
                  <a:lnTo>
                    <a:pt x="1074928" y="382689"/>
                  </a:lnTo>
                  <a:lnTo>
                    <a:pt x="1080528" y="383959"/>
                  </a:lnTo>
                  <a:lnTo>
                    <a:pt x="1077849" y="382689"/>
                  </a:lnTo>
                  <a:lnTo>
                    <a:pt x="1080693" y="380149"/>
                  </a:lnTo>
                  <a:lnTo>
                    <a:pt x="1084008" y="373799"/>
                  </a:lnTo>
                  <a:lnTo>
                    <a:pt x="1084681" y="372529"/>
                  </a:lnTo>
                  <a:lnTo>
                    <a:pt x="1085342" y="371259"/>
                  </a:lnTo>
                  <a:lnTo>
                    <a:pt x="1082179" y="383959"/>
                  </a:lnTo>
                  <a:lnTo>
                    <a:pt x="1085989" y="382689"/>
                  </a:lnTo>
                  <a:lnTo>
                    <a:pt x="1085989" y="345833"/>
                  </a:lnTo>
                  <a:lnTo>
                    <a:pt x="1085024" y="347129"/>
                  </a:lnTo>
                  <a:lnTo>
                    <a:pt x="1083741" y="352209"/>
                  </a:lnTo>
                  <a:lnTo>
                    <a:pt x="1079906" y="356019"/>
                  </a:lnTo>
                  <a:lnTo>
                    <a:pt x="1077264" y="357847"/>
                  </a:lnTo>
                  <a:lnTo>
                    <a:pt x="1077264" y="382689"/>
                  </a:lnTo>
                  <a:lnTo>
                    <a:pt x="1073188" y="380149"/>
                  </a:lnTo>
                  <a:lnTo>
                    <a:pt x="1075080" y="377609"/>
                  </a:lnTo>
                  <a:lnTo>
                    <a:pt x="1077264" y="382689"/>
                  </a:lnTo>
                  <a:lnTo>
                    <a:pt x="1077264" y="357847"/>
                  </a:lnTo>
                  <a:lnTo>
                    <a:pt x="1068857" y="363639"/>
                  </a:lnTo>
                  <a:lnTo>
                    <a:pt x="1068514" y="363829"/>
                  </a:lnTo>
                  <a:lnTo>
                    <a:pt x="1068514" y="373799"/>
                  </a:lnTo>
                  <a:lnTo>
                    <a:pt x="1065847" y="377609"/>
                  </a:lnTo>
                  <a:lnTo>
                    <a:pt x="1061339" y="376339"/>
                  </a:lnTo>
                  <a:lnTo>
                    <a:pt x="1068514" y="373799"/>
                  </a:lnTo>
                  <a:lnTo>
                    <a:pt x="1068514" y="363829"/>
                  </a:lnTo>
                  <a:lnTo>
                    <a:pt x="1064272" y="366179"/>
                  </a:lnTo>
                  <a:lnTo>
                    <a:pt x="1062824" y="363639"/>
                  </a:lnTo>
                  <a:lnTo>
                    <a:pt x="1067447" y="362369"/>
                  </a:lnTo>
                  <a:lnTo>
                    <a:pt x="1062507" y="360121"/>
                  </a:lnTo>
                  <a:lnTo>
                    <a:pt x="1062507" y="367449"/>
                  </a:lnTo>
                  <a:lnTo>
                    <a:pt x="1061237" y="367906"/>
                  </a:lnTo>
                  <a:lnTo>
                    <a:pt x="1061237" y="376339"/>
                  </a:lnTo>
                  <a:lnTo>
                    <a:pt x="1055408" y="373799"/>
                  </a:lnTo>
                  <a:lnTo>
                    <a:pt x="1057198" y="372529"/>
                  </a:lnTo>
                  <a:lnTo>
                    <a:pt x="1060310" y="372529"/>
                  </a:lnTo>
                  <a:lnTo>
                    <a:pt x="1061237" y="376339"/>
                  </a:lnTo>
                  <a:lnTo>
                    <a:pt x="1061237" y="367906"/>
                  </a:lnTo>
                  <a:lnTo>
                    <a:pt x="1058913" y="368719"/>
                  </a:lnTo>
                  <a:lnTo>
                    <a:pt x="1054404" y="364909"/>
                  </a:lnTo>
                  <a:lnTo>
                    <a:pt x="1051394" y="362369"/>
                  </a:lnTo>
                  <a:lnTo>
                    <a:pt x="1062507" y="367449"/>
                  </a:lnTo>
                  <a:lnTo>
                    <a:pt x="1062507" y="360121"/>
                  </a:lnTo>
                  <a:lnTo>
                    <a:pt x="1053553" y="356019"/>
                  </a:lnTo>
                  <a:lnTo>
                    <a:pt x="1058291" y="350939"/>
                  </a:lnTo>
                  <a:lnTo>
                    <a:pt x="1051953" y="347129"/>
                  </a:lnTo>
                  <a:lnTo>
                    <a:pt x="1052830" y="343319"/>
                  </a:lnTo>
                  <a:lnTo>
                    <a:pt x="1048753" y="340779"/>
                  </a:lnTo>
                  <a:lnTo>
                    <a:pt x="1050112" y="339509"/>
                  </a:lnTo>
                  <a:lnTo>
                    <a:pt x="1047927" y="336969"/>
                  </a:lnTo>
                  <a:lnTo>
                    <a:pt x="1046581" y="325539"/>
                  </a:lnTo>
                  <a:lnTo>
                    <a:pt x="1044702" y="336969"/>
                  </a:lnTo>
                  <a:lnTo>
                    <a:pt x="1042250" y="340779"/>
                  </a:lnTo>
                  <a:lnTo>
                    <a:pt x="1043622" y="344589"/>
                  </a:lnTo>
                  <a:lnTo>
                    <a:pt x="1041311" y="344589"/>
                  </a:lnTo>
                  <a:lnTo>
                    <a:pt x="1040168" y="345859"/>
                  </a:lnTo>
                  <a:lnTo>
                    <a:pt x="1037856" y="345859"/>
                  </a:lnTo>
                  <a:lnTo>
                    <a:pt x="1038567" y="349669"/>
                  </a:lnTo>
                  <a:lnTo>
                    <a:pt x="1030617" y="352209"/>
                  </a:lnTo>
                  <a:lnTo>
                    <a:pt x="1042352" y="354749"/>
                  </a:lnTo>
                  <a:lnTo>
                    <a:pt x="1026452" y="361099"/>
                  </a:lnTo>
                  <a:lnTo>
                    <a:pt x="1032548" y="364909"/>
                  </a:lnTo>
                  <a:lnTo>
                    <a:pt x="1029093" y="368719"/>
                  </a:lnTo>
                  <a:lnTo>
                    <a:pt x="1035100" y="366179"/>
                  </a:lnTo>
                  <a:lnTo>
                    <a:pt x="1040688" y="364909"/>
                  </a:lnTo>
                  <a:lnTo>
                    <a:pt x="1035850" y="368719"/>
                  </a:lnTo>
                  <a:lnTo>
                    <a:pt x="1029423" y="371259"/>
                  </a:lnTo>
                  <a:lnTo>
                    <a:pt x="1026299" y="373799"/>
                  </a:lnTo>
                  <a:lnTo>
                    <a:pt x="1033589" y="373799"/>
                  </a:lnTo>
                  <a:lnTo>
                    <a:pt x="1030643" y="378879"/>
                  </a:lnTo>
                  <a:lnTo>
                    <a:pt x="1036116" y="376339"/>
                  </a:lnTo>
                  <a:lnTo>
                    <a:pt x="1037971" y="378879"/>
                  </a:lnTo>
                  <a:lnTo>
                    <a:pt x="1030147" y="383959"/>
                  </a:lnTo>
                  <a:lnTo>
                    <a:pt x="1012875" y="391579"/>
                  </a:lnTo>
                  <a:lnTo>
                    <a:pt x="1020495" y="391579"/>
                  </a:lnTo>
                  <a:lnTo>
                    <a:pt x="1018070" y="395389"/>
                  </a:lnTo>
                  <a:lnTo>
                    <a:pt x="1025271" y="392849"/>
                  </a:lnTo>
                  <a:lnTo>
                    <a:pt x="1024826" y="395389"/>
                  </a:lnTo>
                  <a:lnTo>
                    <a:pt x="1024509" y="397929"/>
                  </a:lnTo>
                  <a:lnTo>
                    <a:pt x="1032281" y="392849"/>
                  </a:lnTo>
                  <a:lnTo>
                    <a:pt x="1034224" y="391579"/>
                  </a:lnTo>
                  <a:lnTo>
                    <a:pt x="1032154" y="396659"/>
                  </a:lnTo>
                  <a:lnTo>
                    <a:pt x="1022883" y="403009"/>
                  </a:lnTo>
                  <a:lnTo>
                    <a:pt x="1017828" y="404279"/>
                  </a:lnTo>
                  <a:lnTo>
                    <a:pt x="1021600" y="408089"/>
                  </a:lnTo>
                  <a:lnTo>
                    <a:pt x="1013371" y="411899"/>
                  </a:lnTo>
                  <a:lnTo>
                    <a:pt x="1021791" y="411899"/>
                  </a:lnTo>
                  <a:lnTo>
                    <a:pt x="1019492" y="415709"/>
                  </a:lnTo>
                  <a:lnTo>
                    <a:pt x="1007795" y="419519"/>
                  </a:lnTo>
                  <a:lnTo>
                    <a:pt x="1001395" y="423329"/>
                  </a:lnTo>
                  <a:lnTo>
                    <a:pt x="1010094" y="423329"/>
                  </a:lnTo>
                  <a:lnTo>
                    <a:pt x="1010119" y="429679"/>
                  </a:lnTo>
                  <a:lnTo>
                    <a:pt x="1018019" y="423329"/>
                  </a:lnTo>
                  <a:lnTo>
                    <a:pt x="1018514" y="428409"/>
                  </a:lnTo>
                  <a:lnTo>
                    <a:pt x="1029944" y="420789"/>
                  </a:lnTo>
                  <a:lnTo>
                    <a:pt x="1024267" y="429679"/>
                  </a:lnTo>
                  <a:lnTo>
                    <a:pt x="1022985" y="433489"/>
                  </a:lnTo>
                  <a:lnTo>
                    <a:pt x="1019771" y="437299"/>
                  </a:lnTo>
                  <a:lnTo>
                    <a:pt x="1018870" y="429679"/>
                  </a:lnTo>
                  <a:lnTo>
                    <a:pt x="1017422" y="438569"/>
                  </a:lnTo>
                  <a:lnTo>
                    <a:pt x="1008113" y="444919"/>
                  </a:lnTo>
                  <a:lnTo>
                    <a:pt x="996797" y="451269"/>
                  </a:lnTo>
                  <a:lnTo>
                    <a:pt x="995426" y="455079"/>
                  </a:lnTo>
                  <a:lnTo>
                    <a:pt x="999553" y="453809"/>
                  </a:lnTo>
                  <a:lnTo>
                    <a:pt x="1000506" y="457619"/>
                  </a:lnTo>
                  <a:lnTo>
                    <a:pt x="1004506" y="456349"/>
                  </a:lnTo>
                  <a:lnTo>
                    <a:pt x="1006716" y="456349"/>
                  </a:lnTo>
                  <a:lnTo>
                    <a:pt x="1002728" y="463969"/>
                  </a:lnTo>
                  <a:lnTo>
                    <a:pt x="998740" y="465239"/>
                  </a:lnTo>
                  <a:lnTo>
                    <a:pt x="1000963" y="466509"/>
                  </a:lnTo>
                  <a:lnTo>
                    <a:pt x="999883" y="469049"/>
                  </a:lnTo>
                  <a:lnTo>
                    <a:pt x="1002220" y="467779"/>
                  </a:lnTo>
                  <a:lnTo>
                    <a:pt x="1004836" y="469049"/>
                  </a:lnTo>
                  <a:lnTo>
                    <a:pt x="1001382" y="472859"/>
                  </a:lnTo>
                  <a:lnTo>
                    <a:pt x="1007389" y="470319"/>
                  </a:lnTo>
                  <a:lnTo>
                    <a:pt x="1012977" y="469049"/>
                  </a:lnTo>
                  <a:lnTo>
                    <a:pt x="1008138" y="472859"/>
                  </a:lnTo>
                  <a:lnTo>
                    <a:pt x="1001712" y="475399"/>
                  </a:lnTo>
                  <a:lnTo>
                    <a:pt x="998588" y="477939"/>
                  </a:lnTo>
                  <a:lnTo>
                    <a:pt x="1005878" y="477939"/>
                  </a:lnTo>
                  <a:lnTo>
                    <a:pt x="1002944" y="483019"/>
                  </a:lnTo>
                  <a:lnTo>
                    <a:pt x="1008405" y="480479"/>
                  </a:lnTo>
                  <a:lnTo>
                    <a:pt x="1010259" y="483019"/>
                  </a:lnTo>
                  <a:lnTo>
                    <a:pt x="1006513" y="485457"/>
                  </a:lnTo>
                  <a:lnTo>
                    <a:pt x="1006513" y="495719"/>
                  </a:lnTo>
                  <a:lnTo>
                    <a:pt x="1004443" y="500799"/>
                  </a:lnTo>
                  <a:lnTo>
                    <a:pt x="996708" y="506107"/>
                  </a:lnTo>
                  <a:lnTo>
                    <a:pt x="996708" y="532549"/>
                  </a:lnTo>
                  <a:lnTo>
                    <a:pt x="996556" y="533819"/>
                  </a:lnTo>
                  <a:lnTo>
                    <a:pt x="995273" y="537629"/>
                  </a:lnTo>
                  <a:lnTo>
                    <a:pt x="994168" y="538899"/>
                  </a:lnTo>
                  <a:lnTo>
                    <a:pt x="990307" y="536359"/>
                  </a:lnTo>
                  <a:lnTo>
                    <a:pt x="984516" y="532549"/>
                  </a:lnTo>
                  <a:lnTo>
                    <a:pt x="988936" y="528739"/>
                  </a:lnTo>
                  <a:lnTo>
                    <a:pt x="990104" y="530009"/>
                  </a:lnTo>
                  <a:lnTo>
                    <a:pt x="990574" y="530009"/>
                  </a:lnTo>
                  <a:lnTo>
                    <a:pt x="990803" y="532549"/>
                  </a:lnTo>
                  <a:lnTo>
                    <a:pt x="994003" y="530009"/>
                  </a:lnTo>
                  <a:lnTo>
                    <a:pt x="994676" y="532549"/>
                  </a:lnTo>
                  <a:lnTo>
                    <a:pt x="996708" y="532549"/>
                  </a:lnTo>
                  <a:lnTo>
                    <a:pt x="996708" y="506107"/>
                  </a:lnTo>
                  <a:lnTo>
                    <a:pt x="995184" y="507149"/>
                  </a:lnTo>
                  <a:lnTo>
                    <a:pt x="990104" y="508419"/>
                  </a:lnTo>
                  <a:lnTo>
                    <a:pt x="992390" y="510959"/>
                  </a:lnTo>
                  <a:lnTo>
                    <a:pt x="993889" y="512229"/>
                  </a:lnTo>
                  <a:lnTo>
                    <a:pt x="989825" y="513499"/>
                  </a:lnTo>
                  <a:lnTo>
                    <a:pt x="982980" y="509689"/>
                  </a:lnTo>
                  <a:lnTo>
                    <a:pt x="980135" y="502069"/>
                  </a:lnTo>
                  <a:lnTo>
                    <a:pt x="987018" y="507149"/>
                  </a:lnTo>
                  <a:lnTo>
                    <a:pt x="990917" y="504609"/>
                  </a:lnTo>
                  <a:lnTo>
                    <a:pt x="996302" y="505879"/>
                  </a:lnTo>
                  <a:lnTo>
                    <a:pt x="995349" y="504609"/>
                  </a:lnTo>
                  <a:lnTo>
                    <a:pt x="993444" y="502069"/>
                  </a:lnTo>
                  <a:lnTo>
                    <a:pt x="991539" y="499529"/>
                  </a:lnTo>
                  <a:lnTo>
                    <a:pt x="997572" y="496989"/>
                  </a:lnTo>
                  <a:lnTo>
                    <a:pt x="996810" y="502069"/>
                  </a:lnTo>
                  <a:lnTo>
                    <a:pt x="1001941" y="496989"/>
                  </a:lnTo>
                  <a:lnTo>
                    <a:pt x="1006513" y="495719"/>
                  </a:lnTo>
                  <a:lnTo>
                    <a:pt x="1006513" y="485457"/>
                  </a:lnTo>
                  <a:lnTo>
                    <a:pt x="1002436" y="488099"/>
                  </a:lnTo>
                  <a:lnTo>
                    <a:pt x="992797" y="492531"/>
                  </a:lnTo>
                  <a:lnTo>
                    <a:pt x="992797" y="495719"/>
                  </a:lnTo>
                  <a:lnTo>
                    <a:pt x="991006" y="499529"/>
                  </a:lnTo>
                  <a:lnTo>
                    <a:pt x="986434" y="495719"/>
                  </a:lnTo>
                  <a:lnTo>
                    <a:pt x="992797" y="495719"/>
                  </a:lnTo>
                  <a:lnTo>
                    <a:pt x="992797" y="492531"/>
                  </a:lnTo>
                  <a:lnTo>
                    <a:pt x="985824" y="495719"/>
                  </a:lnTo>
                  <a:lnTo>
                    <a:pt x="983005" y="494449"/>
                  </a:lnTo>
                  <a:lnTo>
                    <a:pt x="980516" y="491909"/>
                  </a:lnTo>
                  <a:lnTo>
                    <a:pt x="970584" y="481749"/>
                  </a:lnTo>
                  <a:lnTo>
                    <a:pt x="969987" y="477939"/>
                  </a:lnTo>
                  <a:lnTo>
                    <a:pt x="973188" y="477939"/>
                  </a:lnTo>
                  <a:lnTo>
                    <a:pt x="974763" y="483019"/>
                  </a:lnTo>
                  <a:lnTo>
                    <a:pt x="980160" y="479209"/>
                  </a:lnTo>
                  <a:lnTo>
                    <a:pt x="981722" y="488099"/>
                  </a:lnTo>
                  <a:lnTo>
                    <a:pt x="984046" y="484289"/>
                  </a:lnTo>
                  <a:lnTo>
                    <a:pt x="990879" y="488099"/>
                  </a:lnTo>
                  <a:lnTo>
                    <a:pt x="990561" y="485559"/>
                  </a:lnTo>
                  <a:lnTo>
                    <a:pt x="991438" y="484289"/>
                  </a:lnTo>
                  <a:lnTo>
                    <a:pt x="992314" y="483019"/>
                  </a:lnTo>
                  <a:lnTo>
                    <a:pt x="997483" y="484289"/>
                  </a:lnTo>
                  <a:lnTo>
                    <a:pt x="995832" y="483019"/>
                  </a:lnTo>
                  <a:lnTo>
                    <a:pt x="990904" y="479209"/>
                  </a:lnTo>
                  <a:lnTo>
                    <a:pt x="989253" y="477939"/>
                  </a:lnTo>
                  <a:lnTo>
                    <a:pt x="981024" y="471589"/>
                  </a:lnTo>
                  <a:lnTo>
                    <a:pt x="980236" y="469049"/>
                  </a:lnTo>
                  <a:lnTo>
                    <a:pt x="983297" y="469049"/>
                  </a:lnTo>
                  <a:lnTo>
                    <a:pt x="970191" y="457619"/>
                  </a:lnTo>
                  <a:lnTo>
                    <a:pt x="973759" y="457619"/>
                  </a:lnTo>
                  <a:lnTo>
                    <a:pt x="977722" y="460159"/>
                  </a:lnTo>
                  <a:lnTo>
                    <a:pt x="977176" y="457619"/>
                  </a:lnTo>
                  <a:lnTo>
                    <a:pt x="976071" y="452539"/>
                  </a:lnTo>
                  <a:lnTo>
                    <a:pt x="985075" y="457619"/>
                  </a:lnTo>
                  <a:lnTo>
                    <a:pt x="984542" y="452539"/>
                  </a:lnTo>
                  <a:lnTo>
                    <a:pt x="984402" y="451269"/>
                  </a:lnTo>
                  <a:lnTo>
                    <a:pt x="989685" y="451269"/>
                  </a:lnTo>
                  <a:lnTo>
                    <a:pt x="975931" y="444919"/>
                  </a:lnTo>
                  <a:lnTo>
                    <a:pt x="967054" y="439839"/>
                  </a:lnTo>
                  <a:lnTo>
                    <a:pt x="968933" y="436029"/>
                  </a:lnTo>
                  <a:lnTo>
                    <a:pt x="975652" y="442379"/>
                  </a:lnTo>
                  <a:lnTo>
                    <a:pt x="976604" y="436029"/>
                  </a:lnTo>
                  <a:lnTo>
                    <a:pt x="976795" y="434759"/>
                  </a:lnTo>
                  <a:lnTo>
                    <a:pt x="982675" y="442379"/>
                  </a:lnTo>
                  <a:lnTo>
                    <a:pt x="980681" y="436029"/>
                  </a:lnTo>
                  <a:lnTo>
                    <a:pt x="989825" y="438569"/>
                  </a:lnTo>
                  <a:lnTo>
                    <a:pt x="988479" y="436029"/>
                  </a:lnTo>
                  <a:lnTo>
                    <a:pt x="987806" y="434759"/>
                  </a:lnTo>
                  <a:lnTo>
                    <a:pt x="986459" y="432219"/>
                  </a:lnTo>
                  <a:lnTo>
                    <a:pt x="992060" y="433489"/>
                  </a:lnTo>
                  <a:lnTo>
                    <a:pt x="989368" y="432219"/>
                  </a:lnTo>
                  <a:lnTo>
                    <a:pt x="981303" y="428409"/>
                  </a:lnTo>
                  <a:lnTo>
                    <a:pt x="974128" y="425869"/>
                  </a:lnTo>
                  <a:lnTo>
                    <a:pt x="966952" y="423329"/>
                  </a:lnTo>
                  <a:lnTo>
                    <a:pt x="970673" y="422059"/>
                  </a:lnTo>
                  <a:lnTo>
                    <a:pt x="973162" y="420789"/>
                  </a:lnTo>
                  <a:lnTo>
                    <a:pt x="965847" y="414439"/>
                  </a:lnTo>
                  <a:lnTo>
                    <a:pt x="962926" y="411899"/>
                  </a:lnTo>
                  <a:lnTo>
                    <a:pt x="976871" y="416979"/>
                  </a:lnTo>
                  <a:lnTo>
                    <a:pt x="974356" y="413169"/>
                  </a:lnTo>
                  <a:lnTo>
                    <a:pt x="978979" y="411899"/>
                  </a:lnTo>
                  <a:lnTo>
                    <a:pt x="965098" y="404279"/>
                  </a:lnTo>
                  <a:lnTo>
                    <a:pt x="969822" y="399199"/>
                  </a:lnTo>
                  <a:lnTo>
                    <a:pt x="963485" y="396659"/>
                  </a:lnTo>
                  <a:lnTo>
                    <a:pt x="964361" y="392849"/>
                  </a:lnTo>
                  <a:lnTo>
                    <a:pt x="960285" y="390309"/>
                  </a:lnTo>
                  <a:lnTo>
                    <a:pt x="961644" y="389039"/>
                  </a:lnTo>
                  <a:lnTo>
                    <a:pt x="959459" y="386499"/>
                  </a:lnTo>
                  <a:lnTo>
                    <a:pt x="958113" y="375069"/>
                  </a:lnTo>
                  <a:lnTo>
                    <a:pt x="956246" y="386499"/>
                  </a:lnTo>
                  <a:lnTo>
                    <a:pt x="953782" y="390309"/>
                  </a:lnTo>
                  <a:lnTo>
                    <a:pt x="955154" y="392849"/>
                  </a:lnTo>
                  <a:lnTo>
                    <a:pt x="949401" y="395389"/>
                  </a:lnTo>
                  <a:lnTo>
                    <a:pt x="950099" y="397929"/>
                  </a:lnTo>
                  <a:lnTo>
                    <a:pt x="942149" y="400469"/>
                  </a:lnTo>
                  <a:lnTo>
                    <a:pt x="953884" y="404279"/>
                  </a:lnTo>
                  <a:lnTo>
                    <a:pt x="937983" y="410629"/>
                  </a:lnTo>
                  <a:lnTo>
                    <a:pt x="944079" y="414439"/>
                  </a:lnTo>
                  <a:lnTo>
                    <a:pt x="940625" y="418249"/>
                  </a:lnTo>
                  <a:lnTo>
                    <a:pt x="946632" y="415709"/>
                  </a:lnTo>
                  <a:lnTo>
                    <a:pt x="952220" y="414439"/>
                  </a:lnTo>
                  <a:lnTo>
                    <a:pt x="947381" y="418249"/>
                  </a:lnTo>
                  <a:lnTo>
                    <a:pt x="943533" y="419519"/>
                  </a:lnTo>
                  <a:lnTo>
                    <a:pt x="940955" y="420789"/>
                  </a:lnTo>
                  <a:lnTo>
                    <a:pt x="937831" y="423329"/>
                  </a:lnTo>
                  <a:lnTo>
                    <a:pt x="945121" y="423329"/>
                  </a:lnTo>
                  <a:lnTo>
                    <a:pt x="942187" y="428409"/>
                  </a:lnTo>
                  <a:lnTo>
                    <a:pt x="947648" y="425869"/>
                  </a:lnTo>
                  <a:lnTo>
                    <a:pt x="949502" y="428409"/>
                  </a:lnTo>
                  <a:lnTo>
                    <a:pt x="941679" y="433489"/>
                  </a:lnTo>
                  <a:lnTo>
                    <a:pt x="924407" y="441109"/>
                  </a:lnTo>
                  <a:lnTo>
                    <a:pt x="932027" y="441109"/>
                  </a:lnTo>
                  <a:lnTo>
                    <a:pt x="929601" y="444919"/>
                  </a:lnTo>
                  <a:lnTo>
                    <a:pt x="936815" y="442379"/>
                  </a:lnTo>
                  <a:lnTo>
                    <a:pt x="936040" y="447459"/>
                  </a:lnTo>
                  <a:lnTo>
                    <a:pt x="941184" y="442379"/>
                  </a:lnTo>
                  <a:lnTo>
                    <a:pt x="945756" y="441109"/>
                  </a:lnTo>
                  <a:lnTo>
                    <a:pt x="943686" y="446189"/>
                  </a:lnTo>
                  <a:lnTo>
                    <a:pt x="941476" y="447713"/>
                  </a:lnTo>
                  <a:lnTo>
                    <a:pt x="941476" y="470319"/>
                  </a:lnTo>
                  <a:lnTo>
                    <a:pt x="936764" y="477697"/>
                  </a:lnTo>
                  <a:lnTo>
                    <a:pt x="936764" y="514769"/>
                  </a:lnTo>
                  <a:lnTo>
                    <a:pt x="932192" y="519849"/>
                  </a:lnTo>
                  <a:lnTo>
                    <a:pt x="931964" y="519518"/>
                  </a:lnTo>
                  <a:lnTo>
                    <a:pt x="931964" y="519849"/>
                  </a:lnTo>
                  <a:lnTo>
                    <a:pt x="928052" y="524929"/>
                  </a:lnTo>
                  <a:lnTo>
                    <a:pt x="925906" y="526199"/>
                  </a:lnTo>
                  <a:lnTo>
                    <a:pt x="921067" y="521931"/>
                  </a:lnTo>
                  <a:lnTo>
                    <a:pt x="921067" y="532549"/>
                  </a:lnTo>
                  <a:lnTo>
                    <a:pt x="920496" y="536359"/>
                  </a:lnTo>
                  <a:lnTo>
                    <a:pt x="920013" y="536359"/>
                  </a:lnTo>
                  <a:lnTo>
                    <a:pt x="918019" y="535089"/>
                  </a:lnTo>
                  <a:lnTo>
                    <a:pt x="917016" y="533819"/>
                  </a:lnTo>
                  <a:lnTo>
                    <a:pt x="915022" y="532549"/>
                  </a:lnTo>
                  <a:lnTo>
                    <a:pt x="921067" y="532549"/>
                  </a:lnTo>
                  <a:lnTo>
                    <a:pt x="921067" y="521931"/>
                  </a:lnTo>
                  <a:lnTo>
                    <a:pt x="920153" y="521119"/>
                  </a:lnTo>
                  <a:lnTo>
                    <a:pt x="922121" y="521119"/>
                  </a:lnTo>
                  <a:lnTo>
                    <a:pt x="919886" y="517309"/>
                  </a:lnTo>
                  <a:lnTo>
                    <a:pt x="921105" y="516039"/>
                  </a:lnTo>
                  <a:lnTo>
                    <a:pt x="922553" y="516039"/>
                  </a:lnTo>
                  <a:lnTo>
                    <a:pt x="925423" y="521119"/>
                  </a:lnTo>
                  <a:lnTo>
                    <a:pt x="926096" y="517309"/>
                  </a:lnTo>
                  <a:lnTo>
                    <a:pt x="931964" y="519849"/>
                  </a:lnTo>
                  <a:lnTo>
                    <a:pt x="931964" y="519518"/>
                  </a:lnTo>
                  <a:lnTo>
                    <a:pt x="930490" y="517309"/>
                  </a:lnTo>
                  <a:lnTo>
                    <a:pt x="929640" y="516039"/>
                  </a:lnTo>
                  <a:lnTo>
                    <a:pt x="927938" y="513499"/>
                  </a:lnTo>
                  <a:lnTo>
                    <a:pt x="931075" y="514769"/>
                  </a:lnTo>
                  <a:lnTo>
                    <a:pt x="931011" y="513499"/>
                  </a:lnTo>
                  <a:lnTo>
                    <a:pt x="930960" y="512229"/>
                  </a:lnTo>
                  <a:lnTo>
                    <a:pt x="932637" y="510959"/>
                  </a:lnTo>
                  <a:lnTo>
                    <a:pt x="934326" y="509689"/>
                  </a:lnTo>
                  <a:lnTo>
                    <a:pt x="932954" y="516039"/>
                  </a:lnTo>
                  <a:lnTo>
                    <a:pt x="936764" y="514769"/>
                  </a:lnTo>
                  <a:lnTo>
                    <a:pt x="936764" y="477697"/>
                  </a:lnTo>
                  <a:lnTo>
                    <a:pt x="935799" y="479209"/>
                  </a:lnTo>
                  <a:lnTo>
                    <a:pt x="934516" y="483019"/>
                  </a:lnTo>
                  <a:lnTo>
                    <a:pt x="930681" y="486829"/>
                  </a:lnTo>
                  <a:lnTo>
                    <a:pt x="923290" y="491909"/>
                  </a:lnTo>
                  <a:lnTo>
                    <a:pt x="917562" y="490435"/>
                  </a:lnTo>
                  <a:lnTo>
                    <a:pt x="917562" y="530009"/>
                  </a:lnTo>
                  <a:lnTo>
                    <a:pt x="913930" y="532549"/>
                  </a:lnTo>
                  <a:lnTo>
                    <a:pt x="911034" y="531279"/>
                  </a:lnTo>
                  <a:lnTo>
                    <a:pt x="908812" y="526199"/>
                  </a:lnTo>
                  <a:lnTo>
                    <a:pt x="917562" y="530009"/>
                  </a:lnTo>
                  <a:lnTo>
                    <a:pt x="917562" y="490435"/>
                  </a:lnTo>
                  <a:lnTo>
                    <a:pt x="903655" y="486829"/>
                  </a:lnTo>
                  <a:lnTo>
                    <a:pt x="911694" y="486829"/>
                  </a:lnTo>
                  <a:lnTo>
                    <a:pt x="911644" y="484289"/>
                  </a:lnTo>
                  <a:lnTo>
                    <a:pt x="911593" y="483019"/>
                  </a:lnTo>
                  <a:lnTo>
                    <a:pt x="919010" y="488099"/>
                  </a:lnTo>
                  <a:lnTo>
                    <a:pt x="918845" y="486829"/>
                  </a:lnTo>
                  <a:lnTo>
                    <a:pt x="918616" y="483019"/>
                  </a:lnTo>
                  <a:lnTo>
                    <a:pt x="924267" y="477939"/>
                  </a:lnTo>
                  <a:lnTo>
                    <a:pt x="923188" y="477939"/>
                  </a:lnTo>
                  <a:lnTo>
                    <a:pt x="929551" y="472859"/>
                  </a:lnTo>
                  <a:lnTo>
                    <a:pt x="930046" y="477939"/>
                  </a:lnTo>
                  <a:lnTo>
                    <a:pt x="935799" y="472859"/>
                  </a:lnTo>
                  <a:lnTo>
                    <a:pt x="941476" y="470319"/>
                  </a:lnTo>
                  <a:lnTo>
                    <a:pt x="941476" y="447713"/>
                  </a:lnTo>
                  <a:lnTo>
                    <a:pt x="934427" y="452539"/>
                  </a:lnTo>
                  <a:lnTo>
                    <a:pt x="929360" y="453809"/>
                  </a:lnTo>
                  <a:lnTo>
                    <a:pt x="933132" y="456349"/>
                  </a:lnTo>
                  <a:lnTo>
                    <a:pt x="924902" y="461429"/>
                  </a:lnTo>
                  <a:lnTo>
                    <a:pt x="933323" y="461429"/>
                  </a:lnTo>
                  <a:lnTo>
                    <a:pt x="931024" y="465239"/>
                  </a:lnTo>
                  <a:lnTo>
                    <a:pt x="921639" y="468299"/>
                  </a:lnTo>
                  <a:lnTo>
                    <a:pt x="921639" y="472859"/>
                  </a:lnTo>
                  <a:lnTo>
                    <a:pt x="921639" y="477939"/>
                  </a:lnTo>
                  <a:lnTo>
                    <a:pt x="916216" y="477939"/>
                  </a:lnTo>
                  <a:lnTo>
                    <a:pt x="917702" y="474129"/>
                  </a:lnTo>
                  <a:lnTo>
                    <a:pt x="919568" y="472859"/>
                  </a:lnTo>
                  <a:lnTo>
                    <a:pt x="921639" y="472859"/>
                  </a:lnTo>
                  <a:lnTo>
                    <a:pt x="921639" y="468299"/>
                  </a:lnTo>
                  <a:lnTo>
                    <a:pt x="919327" y="469049"/>
                  </a:lnTo>
                  <a:lnTo>
                    <a:pt x="917067" y="470319"/>
                  </a:lnTo>
                  <a:lnTo>
                    <a:pt x="920686" y="465239"/>
                  </a:lnTo>
                  <a:lnTo>
                    <a:pt x="902106" y="472859"/>
                  </a:lnTo>
                  <a:lnTo>
                    <a:pt x="898956" y="466509"/>
                  </a:lnTo>
                  <a:lnTo>
                    <a:pt x="897699" y="463969"/>
                  </a:lnTo>
                  <a:lnTo>
                    <a:pt x="905065" y="470319"/>
                  </a:lnTo>
                  <a:lnTo>
                    <a:pt x="905103" y="465239"/>
                  </a:lnTo>
                  <a:lnTo>
                    <a:pt x="912164" y="466509"/>
                  </a:lnTo>
                  <a:lnTo>
                    <a:pt x="911415" y="465239"/>
                  </a:lnTo>
                  <a:lnTo>
                    <a:pt x="910666" y="463969"/>
                  </a:lnTo>
                  <a:lnTo>
                    <a:pt x="909688" y="462699"/>
                  </a:lnTo>
                  <a:lnTo>
                    <a:pt x="913485" y="461429"/>
                  </a:lnTo>
                  <a:lnTo>
                    <a:pt x="916025" y="461429"/>
                  </a:lnTo>
                  <a:lnTo>
                    <a:pt x="911580" y="458889"/>
                  </a:lnTo>
                  <a:lnTo>
                    <a:pt x="904405" y="456349"/>
                  </a:lnTo>
                  <a:lnTo>
                    <a:pt x="909129" y="455079"/>
                  </a:lnTo>
                  <a:lnTo>
                    <a:pt x="912266" y="455079"/>
                  </a:lnTo>
                  <a:lnTo>
                    <a:pt x="907008" y="451269"/>
                  </a:lnTo>
                  <a:lnTo>
                    <a:pt x="909904" y="447459"/>
                  </a:lnTo>
                  <a:lnTo>
                    <a:pt x="911834" y="444919"/>
                  </a:lnTo>
                  <a:lnTo>
                    <a:pt x="908443" y="446189"/>
                  </a:lnTo>
                  <a:lnTo>
                    <a:pt x="906195" y="447459"/>
                  </a:lnTo>
                  <a:lnTo>
                    <a:pt x="902754" y="446189"/>
                  </a:lnTo>
                  <a:lnTo>
                    <a:pt x="904951" y="443649"/>
                  </a:lnTo>
                  <a:lnTo>
                    <a:pt x="906056" y="442379"/>
                  </a:lnTo>
                  <a:lnTo>
                    <a:pt x="896696" y="443649"/>
                  </a:lnTo>
                  <a:lnTo>
                    <a:pt x="902830" y="437299"/>
                  </a:lnTo>
                  <a:lnTo>
                    <a:pt x="896861" y="434759"/>
                  </a:lnTo>
                  <a:lnTo>
                    <a:pt x="895591" y="420789"/>
                  </a:lnTo>
                  <a:lnTo>
                    <a:pt x="894435" y="414439"/>
                  </a:lnTo>
                  <a:lnTo>
                    <a:pt x="892848" y="416979"/>
                  </a:lnTo>
                  <a:lnTo>
                    <a:pt x="892556" y="428409"/>
                  </a:lnTo>
                  <a:lnTo>
                    <a:pt x="890397" y="434759"/>
                  </a:lnTo>
                  <a:lnTo>
                    <a:pt x="886079" y="437299"/>
                  </a:lnTo>
                  <a:lnTo>
                    <a:pt x="889939" y="439839"/>
                  </a:lnTo>
                  <a:lnTo>
                    <a:pt x="879525" y="444919"/>
                  </a:lnTo>
                  <a:lnTo>
                    <a:pt x="883424" y="447459"/>
                  </a:lnTo>
                  <a:lnTo>
                    <a:pt x="880541" y="449999"/>
                  </a:lnTo>
                  <a:lnTo>
                    <a:pt x="889381" y="452539"/>
                  </a:lnTo>
                  <a:lnTo>
                    <a:pt x="881837" y="456349"/>
                  </a:lnTo>
                  <a:lnTo>
                    <a:pt x="874433" y="457619"/>
                  </a:lnTo>
                  <a:lnTo>
                    <a:pt x="881532" y="460159"/>
                  </a:lnTo>
                  <a:lnTo>
                    <a:pt x="880376" y="465239"/>
                  </a:lnTo>
                  <a:lnTo>
                    <a:pt x="885063" y="462699"/>
                  </a:lnTo>
                  <a:lnTo>
                    <a:pt x="884948" y="467779"/>
                  </a:lnTo>
                  <a:lnTo>
                    <a:pt x="889190" y="466509"/>
                  </a:lnTo>
                  <a:lnTo>
                    <a:pt x="882650" y="471589"/>
                  </a:lnTo>
                  <a:lnTo>
                    <a:pt x="874331" y="469049"/>
                  </a:lnTo>
                  <a:lnTo>
                    <a:pt x="870165" y="469049"/>
                  </a:lnTo>
                  <a:lnTo>
                    <a:pt x="861860" y="466509"/>
                  </a:lnTo>
                  <a:lnTo>
                    <a:pt x="864768" y="470319"/>
                  </a:lnTo>
                  <a:lnTo>
                    <a:pt x="860653" y="472859"/>
                  </a:lnTo>
                  <a:lnTo>
                    <a:pt x="868997" y="471589"/>
                  </a:lnTo>
                  <a:lnTo>
                    <a:pt x="862266" y="476669"/>
                  </a:lnTo>
                  <a:lnTo>
                    <a:pt x="868616" y="479209"/>
                  </a:lnTo>
                  <a:lnTo>
                    <a:pt x="860437" y="486829"/>
                  </a:lnTo>
                  <a:lnTo>
                    <a:pt x="866724" y="484289"/>
                  </a:lnTo>
                  <a:lnTo>
                    <a:pt x="869696" y="489369"/>
                  </a:lnTo>
                  <a:lnTo>
                    <a:pt x="875753" y="484289"/>
                  </a:lnTo>
                  <a:lnTo>
                    <a:pt x="870089" y="494449"/>
                  </a:lnTo>
                  <a:lnTo>
                    <a:pt x="875411" y="491909"/>
                  </a:lnTo>
                  <a:lnTo>
                    <a:pt x="879894" y="494449"/>
                  </a:lnTo>
                  <a:lnTo>
                    <a:pt x="881430" y="491909"/>
                  </a:lnTo>
                  <a:lnTo>
                    <a:pt x="884504" y="486829"/>
                  </a:lnTo>
                  <a:lnTo>
                    <a:pt x="885977" y="491909"/>
                  </a:lnTo>
                  <a:lnTo>
                    <a:pt x="875271" y="498259"/>
                  </a:lnTo>
                  <a:lnTo>
                    <a:pt x="856691" y="502069"/>
                  </a:lnTo>
                  <a:lnTo>
                    <a:pt x="858151" y="504609"/>
                  </a:lnTo>
                  <a:lnTo>
                    <a:pt x="849350" y="505879"/>
                  </a:lnTo>
                  <a:lnTo>
                    <a:pt x="858494" y="510959"/>
                  </a:lnTo>
                  <a:lnTo>
                    <a:pt x="854722" y="516039"/>
                  </a:lnTo>
                  <a:lnTo>
                    <a:pt x="869403" y="510959"/>
                  </a:lnTo>
                  <a:lnTo>
                    <a:pt x="858850" y="523659"/>
                  </a:lnTo>
                  <a:lnTo>
                    <a:pt x="865847" y="522389"/>
                  </a:lnTo>
                  <a:lnTo>
                    <a:pt x="866482" y="527469"/>
                  </a:lnTo>
                  <a:lnTo>
                    <a:pt x="869873" y="522389"/>
                  </a:lnTo>
                  <a:lnTo>
                    <a:pt x="871575" y="519849"/>
                  </a:lnTo>
                  <a:lnTo>
                    <a:pt x="874725" y="524929"/>
                  </a:lnTo>
                  <a:lnTo>
                    <a:pt x="875233" y="521119"/>
                  </a:lnTo>
                  <a:lnTo>
                    <a:pt x="875461" y="519849"/>
                  </a:lnTo>
                  <a:lnTo>
                    <a:pt x="875969" y="516039"/>
                  </a:lnTo>
                  <a:lnTo>
                    <a:pt x="878941" y="517309"/>
                  </a:lnTo>
                  <a:lnTo>
                    <a:pt x="880897" y="521119"/>
                  </a:lnTo>
                  <a:lnTo>
                    <a:pt x="872299" y="528739"/>
                  </a:lnTo>
                  <a:lnTo>
                    <a:pt x="879182" y="531279"/>
                  </a:lnTo>
                  <a:lnTo>
                    <a:pt x="876808" y="535089"/>
                  </a:lnTo>
                  <a:lnTo>
                    <a:pt x="876604" y="535152"/>
                  </a:lnTo>
                  <a:lnTo>
                    <a:pt x="876604" y="552869"/>
                  </a:lnTo>
                  <a:lnTo>
                    <a:pt x="872375" y="559219"/>
                  </a:lnTo>
                  <a:lnTo>
                    <a:pt x="858951" y="565569"/>
                  </a:lnTo>
                  <a:lnTo>
                    <a:pt x="850430" y="561759"/>
                  </a:lnTo>
                  <a:lnTo>
                    <a:pt x="849744" y="561759"/>
                  </a:lnTo>
                  <a:lnTo>
                    <a:pt x="852868" y="560489"/>
                  </a:lnTo>
                  <a:lnTo>
                    <a:pt x="846594" y="558076"/>
                  </a:lnTo>
                  <a:lnTo>
                    <a:pt x="846594" y="576999"/>
                  </a:lnTo>
                  <a:lnTo>
                    <a:pt x="841235" y="578269"/>
                  </a:lnTo>
                  <a:lnTo>
                    <a:pt x="840295" y="575729"/>
                  </a:lnTo>
                  <a:lnTo>
                    <a:pt x="842911" y="571919"/>
                  </a:lnTo>
                  <a:lnTo>
                    <a:pt x="845121" y="574459"/>
                  </a:lnTo>
                  <a:lnTo>
                    <a:pt x="846594" y="576999"/>
                  </a:lnTo>
                  <a:lnTo>
                    <a:pt x="846594" y="558076"/>
                  </a:lnTo>
                  <a:lnTo>
                    <a:pt x="846277" y="557949"/>
                  </a:lnTo>
                  <a:lnTo>
                    <a:pt x="841997" y="556298"/>
                  </a:lnTo>
                  <a:lnTo>
                    <a:pt x="852665" y="550329"/>
                  </a:lnTo>
                  <a:lnTo>
                    <a:pt x="850328" y="559219"/>
                  </a:lnTo>
                  <a:lnTo>
                    <a:pt x="856678" y="552869"/>
                  </a:lnTo>
                  <a:lnTo>
                    <a:pt x="855738" y="557949"/>
                  </a:lnTo>
                  <a:lnTo>
                    <a:pt x="855091" y="561759"/>
                  </a:lnTo>
                  <a:lnTo>
                    <a:pt x="861441" y="557949"/>
                  </a:lnTo>
                  <a:lnTo>
                    <a:pt x="864616" y="560489"/>
                  </a:lnTo>
                  <a:lnTo>
                    <a:pt x="864958" y="557949"/>
                  </a:lnTo>
                  <a:lnTo>
                    <a:pt x="865632" y="552869"/>
                  </a:lnTo>
                  <a:lnTo>
                    <a:pt x="865974" y="550329"/>
                  </a:lnTo>
                  <a:lnTo>
                    <a:pt x="869480" y="555409"/>
                  </a:lnTo>
                  <a:lnTo>
                    <a:pt x="876604" y="552869"/>
                  </a:lnTo>
                  <a:lnTo>
                    <a:pt x="876604" y="535152"/>
                  </a:lnTo>
                  <a:lnTo>
                    <a:pt x="849757" y="542709"/>
                  </a:lnTo>
                  <a:lnTo>
                    <a:pt x="858621" y="538899"/>
                  </a:lnTo>
                  <a:lnTo>
                    <a:pt x="846924" y="538899"/>
                  </a:lnTo>
                  <a:lnTo>
                    <a:pt x="844715" y="538010"/>
                  </a:lnTo>
                  <a:lnTo>
                    <a:pt x="844715" y="549059"/>
                  </a:lnTo>
                  <a:lnTo>
                    <a:pt x="841552" y="556120"/>
                  </a:lnTo>
                  <a:lnTo>
                    <a:pt x="833107" y="552869"/>
                  </a:lnTo>
                  <a:lnTo>
                    <a:pt x="830846" y="550329"/>
                  </a:lnTo>
                  <a:lnTo>
                    <a:pt x="827405" y="546481"/>
                  </a:lnTo>
                  <a:lnTo>
                    <a:pt x="827405" y="584619"/>
                  </a:lnTo>
                  <a:lnTo>
                    <a:pt x="826960" y="584619"/>
                  </a:lnTo>
                  <a:lnTo>
                    <a:pt x="826528" y="585889"/>
                  </a:lnTo>
                  <a:lnTo>
                    <a:pt x="826084" y="588429"/>
                  </a:lnTo>
                  <a:lnTo>
                    <a:pt x="825474" y="588429"/>
                  </a:lnTo>
                  <a:lnTo>
                    <a:pt x="823645" y="584619"/>
                  </a:lnTo>
                  <a:lnTo>
                    <a:pt x="824204" y="580809"/>
                  </a:lnTo>
                  <a:lnTo>
                    <a:pt x="827405" y="584619"/>
                  </a:lnTo>
                  <a:lnTo>
                    <a:pt x="827405" y="546481"/>
                  </a:lnTo>
                  <a:lnTo>
                    <a:pt x="825182" y="543979"/>
                  </a:lnTo>
                  <a:lnTo>
                    <a:pt x="824090" y="538899"/>
                  </a:lnTo>
                  <a:lnTo>
                    <a:pt x="826757" y="538899"/>
                  </a:lnTo>
                  <a:lnTo>
                    <a:pt x="835279" y="550329"/>
                  </a:lnTo>
                  <a:lnTo>
                    <a:pt x="835609" y="547789"/>
                  </a:lnTo>
                  <a:lnTo>
                    <a:pt x="835063" y="543979"/>
                  </a:lnTo>
                  <a:lnTo>
                    <a:pt x="836320" y="542709"/>
                  </a:lnTo>
                  <a:lnTo>
                    <a:pt x="838263" y="546519"/>
                  </a:lnTo>
                  <a:lnTo>
                    <a:pt x="838720" y="546519"/>
                  </a:lnTo>
                  <a:lnTo>
                    <a:pt x="843178" y="551599"/>
                  </a:lnTo>
                  <a:lnTo>
                    <a:pt x="843000" y="547789"/>
                  </a:lnTo>
                  <a:lnTo>
                    <a:pt x="844715" y="549059"/>
                  </a:lnTo>
                  <a:lnTo>
                    <a:pt x="844715" y="538010"/>
                  </a:lnTo>
                  <a:lnTo>
                    <a:pt x="840663" y="536359"/>
                  </a:lnTo>
                  <a:lnTo>
                    <a:pt x="844702" y="535089"/>
                  </a:lnTo>
                  <a:lnTo>
                    <a:pt x="830656" y="531279"/>
                  </a:lnTo>
                  <a:lnTo>
                    <a:pt x="824712" y="526199"/>
                  </a:lnTo>
                  <a:lnTo>
                    <a:pt x="824852" y="524929"/>
                  </a:lnTo>
                  <a:lnTo>
                    <a:pt x="824979" y="523659"/>
                  </a:lnTo>
                  <a:lnTo>
                    <a:pt x="832281" y="523659"/>
                  </a:lnTo>
                  <a:lnTo>
                    <a:pt x="826350" y="518579"/>
                  </a:lnTo>
                  <a:lnTo>
                    <a:pt x="821893" y="514769"/>
                  </a:lnTo>
                  <a:lnTo>
                    <a:pt x="827824" y="514769"/>
                  </a:lnTo>
                  <a:lnTo>
                    <a:pt x="835710" y="518579"/>
                  </a:lnTo>
                  <a:lnTo>
                    <a:pt x="835736" y="514769"/>
                  </a:lnTo>
                  <a:lnTo>
                    <a:pt x="835774" y="510959"/>
                  </a:lnTo>
                  <a:lnTo>
                    <a:pt x="841933" y="507149"/>
                  </a:lnTo>
                  <a:lnTo>
                    <a:pt x="825969" y="505879"/>
                  </a:lnTo>
                  <a:lnTo>
                    <a:pt x="822426" y="504609"/>
                  </a:lnTo>
                  <a:lnTo>
                    <a:pt x="818883" y="503339"/>
                  </a:lnTo>
                  <a:lnTo>
                    <a:pt x="819543" y="500799"/>
                  </a:lnTo>
                  <a:lnTo>
                    <a:pt x="829424" y="504609"/>
                  </a:lnTo>
                  <a:lnTo>
                    <a:pt x="828763" y="500799"/>
                  </a:lnTo>
                  <a:lnTo>
                    <a:pt x="828548" y="499529"/>
                  </a:lnTo>
                  <a:lnTo>
                    <a:pt x="836231" y="500799"/>
                  </a:lnTo>
                  <a:lnTo>
                    <a:pt x="834542" y="495719"/>
                  </a:lnTo>
                  <a:lnTo>
                    <a:pt x="836256" y="493179"/>
                  </a:lnTo>
                  <a:lnTo>
                    <a:pt x="839685" y="488099"/>
                  </a:lnTo>
                  <a:lnTo>
                    <a:pt x="830465" y="491909"/>
                  </a:lnTo>
                  <a:lnTo>
                    <a:pt x="824318" y="493179"/>
                  </a:lnTo>
                  <a:lnTo>
                    <a:pt x="818019" y="491909"/>
                  </a:lnTo>
                  <a:lnTo>
                    <a:pt x="820343" y="486829"/>
                  </a:lnTo>
                  <a:lnTo>
                    <a:pt x="826744" y="485559"/>
                  </a:lnTo>
                  <a:lnTo>
                    <a:pt x="825207" y="483019"/>
                  </a:lnTo>
                  <a:lnTo>
                    <a:pt x="826985" y="480479"/>
                  </a:lnTo>
                  <a:lnTo>
                    <a:pt x="829665" y="476669"/>
                  </a:lnTo>
                  <a:lnTo>
                    <a:pt x="819912" y="480479"/>
                  </a:lnTo>
                  <a:lnTo>
                    <a:pt x="818108" y="476669"/>
                  </a:lnTo>
                  <a:lnTo>
                    <a:pt x="820534" y="472859"/>
                  </a:lnTo>
                  <a:lnTo>
                    <a:pt x="821334" y="471589"/>
                  </a:lnTo>
                  <a:lnTo>
                    <a:pt x="819035" y="472859"/>
                  </a:lnTo>
                  <a:lnTo>
                    <a:pt x="815721" y="470319"/>
                  </a:lnTo>
                  <a:lnTo>
                    <a:pt x="815949" y="453809"/>
                  </a:lnTo>
                  <a:lnTo>
                    <a:pt x="814006" y="452539"/>
                  </a:lnTo>
                  <a:lnTo>
                    <a:pt x="812838" y="456349"/>
                  </a:lnTo>
                  <a:lnTo>
                    <a:pt x="812660" y="466509"/>
                  </a:lnTo>
                  <a:lnTo>
                    <a:pt x="809485" y="470319"/>
                  </a:lnTo>
                  <a:lnTo>
                    <a:pt x="804405" y="470319"/>
                  </a:lnTo>
                  <a:lnTo>
                    <a:pt x="809383" y="475399"/>
                  </a:lnTo>
                  <a:lnTo>
                    <a:pt x="810399" y="480479"/>
                  </a:lnTo>
                  <a:lnTo>
                    <a:pt x="796277" y="476669"/>
                  </a:lnTo>
                  <a:lnTo>
                    <a:pt x="801928" y="481749"/>
                  </a:lnTo>
                  <a:lnTo>
                    <a:pt x="800366" y="488099"/>
                  </a:lnTo>
                  <a:lnTo>
                    <a:pt x="805624" y="485559"/>
                  </a:lnTo>
                  <a:lnTo>
                    <a:pt x="809358" y="486829"/>
                  </a:lnTo>
                  <a:lnTo>
                    <a:pt x="808774" y="490639"/>
                  </a:lnTo>
                  <a:lnTo>
                    <a:pt x="802297" y="490639"/>
                  </a:lnTo>
                  <a:lnTo>
                    <a:pt x="803833" y="493179"/>
                  </a:lnTo>
                  <a:lnTo>
                    <a:pt x="806996" y="495719"/>
                  </a:lnTo>
                  <a:lnTo>
                    <a:pt x="803325" y="495719"/>
                  </a:lnTo>
                  <a:lnTo>
                    <a:pt x="794169" y="493179"/>
                  </a:lnTo>
                  <a:lnTo>
                    <a:pt x="785952" y="489369"/>
                  </a:lnTo>
                  <a:lnTo>
                    <a:pt x="789165" y="498259"/>
                  </a:lnTo>
                  <a:lnTo>
                    <a:pt x="785622" y="499529"/>
                  </a:lnTo>
                  <a:lnTo>
                    <a:pt x="789152" y="499529"/>
                  </a:lnTo>
                  <a:lnTo>
                    <a:pt x="786384" y="507149"/>
                  </a:lnTo>
                  <a:lnTo>
                    <a:pt x="796251" y="500799"/>
                  </a:lnTo>
                  <a:lnTo>
                    <a:pt x="796251" y="507149"/>
                  </a:lnTo>
                  <a:lnTo>
                    <a:pt x="803605" y="504609"/>
                  </a:lnTo>
                  <a:lnTo>
                    <a:pt x="805192" y="509689"/>
                  </a:lnTo>
                  <a:lnTo>
                    <a:pt x="799058" y="512229"/>
                  </a:lnTo>
                  <a:lnTo>
                    <a:pt x="785685" y="512229"/>
                  </a:lnTo>
                  <a:lnTo>
                    <a:pt x="790028" y="516039"/>
                  </a:lnTo>
                  <a:lnTo>
                    <a:pt x="788873" y="518579"/>
                  </a:lnTo>
                  <a:lnTo>
                    <a:pt x="787107" y="521119"/>
                  </a:lnTo>
                  <a:lnTo>
                    <a:pt x="796442" y="518579"/>
                  </a:lnTo>
                  <a:lnTo>
                    <a:pt x="796518" y="522389"/>
                  </a:lnTo>
                  <a:lnTo>
                    <a:pt x="790829" y="526199"/>
                  </a:lnTo>
                  <a:lnTo>
                    <a:pt x="801408" y="524929"/>
                  </a:lnTo>
                  <a:lnTo>
                    <a:pt x="803973" y="527469"/>
                  </a:lnTo>
                  <a:lnTo>
                    <a:pt x="798880" y="533819"/>
                  </a:lnTo>
                  <a:lnTo>
                    <a:pt x="782256" y="540169"/>
                  </a:lnTo>
                  <a:lnTo>
                    <a:pt x="766762" y="541439"/>
                  </a:lnTo>
                  <a:lnTo>
                    <a:pt x="771486" y="547789"/>
                  </a:lnTo>
                  <a:lnTo>
                    <a:pt x="765492" y="555409"/>
                  </a:lnTo>
                  <a:lnTo>
                    <a:pt x="777582" y="550329"/>
                  </a:lnTo>
                  <a:lnTo>
                    <a:pt x="777163" y="554139"/>
                  </a:lnTo>
                  <a:lnTo>
                    <a:pt x="770445" y="564299"/>
                  </a:lnTo>
                  <a:lnTo>
                    <a:pt x="776528" y="559219"/>
                  </a:lnTo>
                  <a:lnTo>
                    <a:pt x="778408" y="563029"/>
                  </a:lnTo>
                  <a:lnTo>
                    <a:pt x="784809" y="559219"/>
                  </a:lnTo>
                  <a:lnTo>
                    <a:pt x="786942" y="557949"/>
                  </a:lnTo>
                  <a:lnTo>
                    <a:pt x="787971" y="561759"/>
                  </a:lnTo>
                  <a:lnTo>
                    <a:pt x="791730" y="557949"/>
                  </a:lnTo>
                  <a:lnTo>
                    <a:pt x="792988" y="556679"/>
                  </a:lnTo>
                  <a:lnTo>
                    <a:pt x="793788" y="564299"/>
                  </a:lnTo>
                  <a:lnTo>
                    <a:pt x="801116" y="557949"/>
                  </a:lnTo>
                  <a:lnTo>
                    <a:pt x="800277" y="561759"/>
                  </a:lnTo>
                  <a:lnTo>
                    <a:pt x="798588" y="565569"/>
                  </a:lnTo>
                  <a:lnTo>
                    <a:pt x="797547" y="566191"/>
                  </a:lnTo>
                  <a:lnTo>
                    <a:pt x="797547" y="579539"/>
                  </a:lnTo>
                  <a:lnTo>
                    <a:pt x="792327" y="585889"/>
                  </a:lnTo>
                  <a:lnTo>
                    <a:pt x="793038" y="587159"/>
                  </a:lnTo>
                  <a:lnTo>
                    <a:pt x="795286" y="587159"/>
                  </a:lnTo>
                  <a:lnTo>
                    <a:pt x="791845" y="590969"/>
                  </a:lnTo>
                  <a:lnTo>
                    <a:pt x="788873" y="593509"/>
                  </a:lnTo>
                  <a:lnTo>
                    <a:pt x="787742" y="590969"/>
                  </a:lnTo>
                  <a:lnTo>
                    <a:pt x="787171" y="590969"/>
                  </a:lnTo>
                  <a:lnTo>
                    <a:pt x="789203" y="588429"/>
                  </a:lnTo>
                  <a:lnTo>
                    <a:pt x="793191" y="583349"/>
                  </a:lnTo>
                  <a:lnTo>
                    <a:pt x="797547" y="579539"/>
                  </a:lnTo>
                  <a:lnTo>
                    <a:pt x="797547" y="566191"/>
                  </a:lnTo>
                  <a:lnTo>
                    <a:pt x="792149" y="569379"/>
                  </a:lnTo>
                  <a:lnTo>
                    <a:pt x="785164" y="573417"/>
                  </a:lnTo>
                  <a:lnTo>
                    <a:pt x="785164" y="588429"/>
                  </a:lnTo>
                  <a:lnTo>
                    <a:pt x="783742" y="587159"/>
                  </a:lnTo>
                  <a:lnTo>
                    <a:pt x="780923" y="589699"/>
                  </a:lnTo>
                  <a:lnTo>
                    <a:pt x="781100" y="587159"/>
                  </a:lnTo>
                  <a:lnTo>
                    <a:pt x="781443" y="585889"/>
                  </a:lnTo>
                  <a:lnTo>
                    <a:pt x="782142" y="583349"/>
                  </a:lnTo>
                  <a:lnTo>
                    <a:pt x="784999" y="587159"/>
                  </a:lnTo>
                  <a:lnTo>
                    <a:pt x="785164" y="588429"/>
                  </a:lnTo>
                  <a:lnTo>
                    <a:pt x="785164" y="573417"/>
                  </a:lnTo>
                  <a:lnTo>
                    <a:pt x="783336" y="574459"/>
                  </a:lnTo>
                  <a:lnTo>
                    <a:pt x="777824" y="575983"/>
                  </a:lnTo>
                  <a:lnTo>
                    <a:pt x="777824" y="593509"/>
                  </a:lnTo>
                  <a:lnTo>
                    <a:pt x="776884" y="594779"/>
                  </a:lnTo>
                  <a:lnTo>
                    <a:pt x="776363" y="596201"/>
                  </a:lnTo>
                  <a:lnTo>
                    <a:pt x="773226" y="606209"/>
                  </a:lnTo>
                  <a:lnTo>
                    <a:pt x="772820" y="604939"/>
                  </a:lnTo>
                  <a:lnTo>
                    <a:pt x="770394" y="597319"/>
                  </a:lnTo>
                  <a:lnTo>
                    <a:pt x="769988" y="596049"/>
                  </a:lnTo>
                  <a:lnTo>
                    <a:pt x="766762" y="594779"/>
                  </a:lnTo>
                  <a:lnTo>
                    <a:pt x="777074" y="589699"/>
                  </a:lnTo>
                  <a:lnTo>
                    <a:pt x="777824" y="593509"/>
                  </a:lnTo>
                  <a:lnTo>
                    <a:pt x="777824" y="575983"/>
                  </a:lnTo>
                  <a:lnTo>
                    <a:pt x="774128" y="576999"/>
                  </a:lnTo>
                  <a:lnTo>
                    <a:pt x="771321" y="577557"/>
                  </a:lnTo>
                  <a:lnTo>
                    <a:pt x="771321" y="587159"/>
                  </a:lnTo>
                  <a:lnTo>
                    <a:pt x="767283" y="590969"/>
                  </a:lnTo>
                  <a:lnTo>
                    <a:pt x="765276" y="593509"/>
                  </a:lnTo>
                  <a:lnTo>
                    <a:pt x="762850" y="595795"/>
                  </a:lnTo>
                  <a:lnTo>
                    <a:pt x="762850" y="596201"/>
                  </a:lnTo>
                  <a:lnTo>
                    <a:pt x="762673" y="597319"/>
                  </a:lnTo>
                  <a:lnTo>
                    <a:pt x="762469" y="597319"/>
                  </a:lnTo>
                  <a:lnTo>
                    <a:pt x="761669" y="597014"/>
                  </a:lnTo>
                  <a:lnTo>
                    <a:pt x="762850" y="596201"/>
                  </a:lnTo>
                  <a:lnTo>
                    <a:pt x="762850" y="595795"/>
                  </a:lnTo>
                  <a:lnTo>
                    <a:pt x="744855" y="584619"/>
                  </a:lnTo>
                  <a:lnTo>
                    <a:pt x="757593" y="592239"/>
                  </a:lnTo>
                  <a:lnTo>
                    <a:pt x="756843" y="588429"/>
                  </a:lnTo>
                  <a:lnTo>
                    <a:pt x="762863" y="587159"/>
                  </a:lnTo>
                  <a:lnTo>
                    <a:pt x="762609" y="590969"/>
                  </a:lnTo>
                  <a:lnTo>
                    <a:pt x="771321" y="587159"/>
                  </a:lnTo>
                  <a:lnTo>
                    <a:pt x="771321" y="577557"/>
                  </a:lnTo>
                  <a:lnTo>
                    <a:pt x="767676" y="578269"/>
                  </a:lnTo>
                  <a:lnTo>
                    <a:pt x="767092" y="577557"/>
                  </a:lnTo>
                  <a:lnTo>
                    <a:pt x="767092" y="578269"/>
                  </a:lnTo>
                  <a:lnTo>
                    <a:pt x="761047" y="580809"/>
                  </a:lnTo>
                  <a:lnTo>
                    <a:pt x="758037" y="582079"/>
                  </a:lnTo>
                  <a:lnTo>
                    <a:pt x="763168" y="583349"/>
                  </a:lnTo>
                  <a:lnTo>
                    <a:pt x="762990" y="585889"/>
                  </a:lnTo>
                  <a:lnTo>
                    <a:pt x="761187" y="584619"/>
                  </a:lnTo>
                  <a:lnTo>
                    <a:pt x="755777" y="580809"/>
                  </a:lnTo>
                  <a:lnTo>
                    <a:pt x="757732" y="579539"/>
                  </a:lnTo>
                  <a:lnTo>
                    <a:pt x="754519" y="575729"/>
                  </a:lnTo>
                  <a:lnTo>
                    <a:pt x="753452" y="574459"/>
                  </a:lnTo>
                  <a:lnTo>
                    <a:pt x="758164" y="575729"/>
                  </a:lnTo>
                  <a:lnTo>
                    <a:pt x="761047" y="580809"/>
                  </a:lnTo>
                  <a:lnTo>
                    <a:pt x="761707" y="575729"/>
                  </a:lnTo>
                  <a:lnTo>
                    <a:pt x="767092" y="578269"/>
                  </a:lnTo>
                  <a:lnTo>
                    <a:pt x="767092" y="577557"/>
                  </a:lnTo>
                  <a:lnTo>
                    <a:pt x="765619" y="575729"/>
                  </a:lnTo>
                  <a:lnTo>
                    <a:pt x="764578" y="574459"/>
                  </a:lnTo>
                  <a:lnTo>
                    <a:pt x="763549" y="573189"/>
                  </a:lnTo>
                  <a:lnTo>
                    <a:pt x="766699" y="574459"/>
                  </a:lnTo>
                  <a:lnTo>
                    <a:pt x="766648" y="573189"/>
                  </a:lnTo>
                  <a:lnTo>
                    <a:pt x="766559" y="570649"/>
                  </a:lnTo>
                  <a:lnTo>
                    <a:pt x="769696" y="569379"/>
                  </a:lnTo>
                  <a:lnTo>
                    <a:pt x="774407" y="565569"/>
                  </a:lnTo>
                  <a:lnTo>
                    <a:pt x="748652" y="561759"/>
                  </a:lnTo>
                  <a:lnTo>
                    <a:pt x="745617" y="559219"/>
                  </a:lnTo>
                  <a:lnTo>
                    <a:pt x="748360" y="559219"/>
                  </a:lnTo>
                  <a:lnTo>
                    <a:pt x="747166" y="557949"/>
                  </a:lnTo>
                  <a:lnTo>
                    <a:pt x="746582" y="556679"/>
                  </a:lnTo>
                  <a:lnTo>
                    <a:pt x="745388" y="555409"/>
                  </a:lnTo>
                  <a:lnTo>
                    <a:pt x="751014" y="556679"/>
                  </a:lnTo>
                  <a:lnTo>
                    <a:pt x="753821" y="557949"/>
                  </a:lnTo>
                  <a:lnTo>
                    <a:pt x="759447" y="559219"/>
                  </a:lnTo>
                  <a:lnTo>
                    <a:pt x="757631" y="555409"/>
                  </a:lnTo>
                  <a:lnTo>
                    <a:pt x="761250" y="551599"/>
                  </a:lnTo>
                  <a:lnTo>
                    <a:pt x="739279" y="546519"/>
                  </a:lnTo>
                  <a:lnTo>
                    <a:pt x="747293" y="545249"/>
                  </a:lnTo>
                  <a:lnTo>
                    <a:pt x="747217" y="542709"/>
                  </a:lnTo>
                  <a:lnTo>
                    <a:pt x="754621" y="547789"/>
                  </a:lnTo>
                  <a:lnTo>
                    <a:pt x="754240" y="542709"/>
                  </a:lnTo>
                  <a:lnTo>
                    <a:pt x="757618" y="538899"/>
                  </a:lnTo>
                  <a:lnTo>
                    <a:pt x="759891" y="537629"/>
                  </a:lnTo>
                  <a:lnTo>
                    <a:pt x="751814" y="536359"/>
                  </a:lnTo>
                  <a:lnTo>
                    <a:pt x="753313" y="533819"/>
                  </a:lnTo>
                  <a:lnTo>
                    <a:pt x="757732" y="530009"/>
                  </a:lnTo>
                  <a:lnTo>
                    <a:pt x="752170" y="530009"/>
                  </a:lnTo>
                  <a:lnTo>
                    <a:pt x="756310" y="524929"/>
                  </a:lnTo>
                  <a:lnTo>
                    <a:pt x="737717" y="531279"/>
                  </a:lnTo>
                  <a:lnTo>
                    <a:pt x="734783" y="526199"/>
                  </a:lnTo>
                  <a:lnTo>
                    <a:pt x="733323" y="523659"/>
                  </a:lnTo>
                  <a:lnTo>
                    <a:pt x="740689" y="528739"/>
                  </a:lnTo>
                  <a:lnTo>
                    <a:pt x="740702" y="524929"/>
                  </a:lnTo>
                  <a:lnTo>
                    <a:pt x="747776" y="524929"/>
                  </a:lnTo>
                  <a:lnTo>
                    <a:pt x="746531" y="523659"/>
                  </a:lnTo>
                  <a:lnTo>
                    <a:pt x="745286" y="522389"/>
                  </a:lnTo>
                  <a:lnTo>
                    <a:pt x="751624" y="519849"/>
                  </a:lnTo>
                  <a:lnTo>
                    <a:pt x="747204" y="518579"/>
                  </a:lnTo>
                  <a:lnTo>
                    <a:pt x="740016" y="516039"/>
                  </a:lnTo>
                  <a:lnTo>
                    <a:pt x="747877" y="514769"/>
                  </a:lnTo>
                  <a:lnTo>
                    <a:pt x="742619" y="510959"/>
                  </a:lnTo>
                  <a:lnTo>
                    <a:pt x="745515" y="507149"/>
                  </a:lnTo>
                  <a:lnTo>
                    <a:pt x="747445" y="504609"/>
                  </a:lnTo>
                  <a:lnTo>
                    <a:pt x="741794" y="507149"/>
                  </a:lnTo>
                  <a:lnTo>
                    <a:pt x="738365" y="505879"/>
                  </a:lnTo>
                  <a:lnTo>
                    <a:pt x="740029" y="503339"/>
                  </a:lnTo>
                  <a:lnTo>
                    <a:pt x="741680" y="500799"/>
                  </a:lnTo>
                  <a:lnTo>
                    <a:pt x="732307" y="503339"/>
                  </a:lnTo>
                  <a:lnTo>
                    <a:pt x="738428" y="496989"/>
                  </a:lnTo>
                  <a:lnTo>
                    <a:pt x="732472" y="494449"/>
                  </a:lnTo>
                  <a:lnTo>
                    <a:pt x="731215" y="479209"/>
                  </a:lnTo>
                  <a:lnTo>
                    <a:pt x="730059" y="474129"/>
                  </a:lnTo>
                  <a:lnTo>
                    <a:pt x="728472" y="476669"/>
                  </a:lnTo>
                  <a:lnTo>
                    <a:pt x="728154" y="488099"/>
                  </a:lnTo>
                  <a:lnTo>
                    <a:pt x="726020" y="493179"/>
                  </a:lnTo>
                  <a:lnTo>
                    <a:pt x="721677" y="496989"/>
                  </a:lnTo>
                  <a:lnTo>
                    <a:pt x="725563" y="499529"/>
                  </a:lnTo>
                  <a:lnTo>
                    <a:pt x="715124" y="503339"/>
                  </a:lnTo>
                  <a:lnTo>
                    <a:pt x="719035" y="505879"/>
                  </a:lnTo>
                  <a:lnTo>
                    <a:pt x="717308" y="508419"/>
                  </a:lnTo>
                  <a:lnTo>
                    <a:pt x="716140" y="508419"/>
                  </a:lnTo>
                  <a:lnTo>
                    <a:pt x="721448" y="510959"/>
                  </a:lnTo>
                  <a:lnTo>
                    <a:pt x="724992" y="510959"/>
                  </a:lnTo>
                  <a:lnTo>
                    <a:pt x="717448" y="516039"/>
                  </a:lnTo>
                  <a:lnTo>
                    <a:pt x="710044" y="516039"/>
                  </a:lnTo>
                  <a:lnTo>
                    <a:pt x="717156" y="519849"/>
                  </a:lnTo>
                  <a:lnTo>
                    <a:pt x="716000" y="524929"/>
                  </a:lnTo>
                  <a:lnTo>
                    <a:pt x="720674" y="522389"/>
                  </a:lnTo>
                  <a:lnTo>
                    <a:pt x="720559" y="527469"/>
                  </a:lnTo>
                  <a:lnTo>
                    <a:pt x="724814" y="526199"/>
                  </a:lnTo>
                  <a:lnTo>
                    <a:pt x="718261" y="531279"/>
                  </a:lnTo>
                  <a:lnTo>
                    <a:pt x="697458" y="524929"/>
                  </a:lnTo>
                  <a:lnTo>
                    <a:pt x="700366" y="528739"/>
                  </a:lnTo>
                  <a:lnTo>
                    <a:pt x="696264" y="532549"/>
                  </a:lnTo>
                  <a:lnTo>
                    <a:pt x="704608" y="531279"/>
                  </a:lnTo>
                  <a:lnTo>
                    <a:pt x="697877" y="536359"/>
                  </a:lnTo>
                  <a:lnTo>
                    <a:pt x="704227" y="537629"/>
                  </a:lnTo>
                  <a:lnTo>
                    <a:pt x="696061" y="546519"/>
                  </a:lnTo>
                  <a:lnTo>
                    <a:pt x="702348" y="543979"/>
                  </a:lnTo>
                  <a:lnTo>
                    <a:pt x="705307" y="549059"/>
                  </a:lnTo>
                  <a:lnTo>
                    <a:pt x="710145" y="543979"/>
                  </a:lnTo>
                  <a:lnTo>
                    <a:pt x="711352" y="542709"/>
                  </a:lnTo>
                  <a:lnTo>
                    <a:pt x="705700" y="554139"/>
                  </a:lnTo>
                  <a:lnTo>
                    <a:pt x="711034" y="550329"/>
                  </a:lnTo>
                  <a:lnTo>
                    <a:pt x="712812" y="551599"/>
                  </a:lnTo>
                  <a:lnTo>
                    <a:pt x="713727" y="552869"/>
                  </a:lnTo>
                  <a:lnTo>
                    <a:pt x="715505" y="554139"/>
                  </a:lnTo>
                  <a:lnTo>
                    <a:pt x="717486" y="550329"/>
                  </a:lnTo>
                  <a:lnTo>
                    <a:pt x="720115" y="545249"/>
                  </a:lnTo>
                  <a:lnTo>
                    <a:pt x="721588" y="551599"/>
                  </a:lnTo>
                  <a:lnTo>
                    <a:pt x="710882" y="557949"/>
                  </a:lnTo>
                  <a:lnTo>
                    <a:pt x="692302" y="561759"/>
                  </a:lnTo>
                  <a:lnTo>
                    <a:pt x="693775" y="564299"/>
                  </a:lnTo>
                  <a:lnTo>
                    <a:pt x="684961" y="564299"/>
                  </a:lnTo>
                  <a:lnTo>
                    <a:pt x="694093" y="570649"/>
                  </a:lnTo>
                  <a:lnTo>
                    <a:pt x="690346" y="574459"/>
                  </a:lnTo>
                  <a:lnTo>
                    <a:pt x="705015" y="570649"/>
                  </a:lnTo>
                  <a:lnTo>
                    <a:pt x="703376" y="574459"/>
                  </a:lnTo>
                  <a:lnTo>
                    <a:pt x="694474" y="582079"/>
                  </a:lnTo>
                  <a:lnTo>
                    <a:pt x="701459" y="580809"/>
                  </a:lnTo>
                  <a:lnTo>
                    <a:pt x="702094" y="585889"/>
                  </a:lnTo>
                  <a:lnTo>
                    <a:pt x="705485" y="580809"/>
                  </a:lnTo>
                  <a:lnTo>
                    <a:pt x="707186" y="578269"/>
                  </a:lnTo>
                  <a:lnTo>
                    <a:pt x="710349" y="583349"/>
                  </a:lnTo>
                  <a:lnTo>
                    <a:pt x="711161" y="578269"/>
                  </a:lnTo>
                  <a:lnTo>
                    <a:pt x="711568" y="575729"/>
                  </a:lnTo>
                  <a:lnTo>
                    <a:pt x="714552" y="575729"/>
                  </a:lnTo>
                  <a:lnTo>
                    <a:pt x="716521" y="580809"/>
                  </a:lnTo>
                  <a:lnTo>
                    <a:pt x="711352" y="584619"/>
                  </a:lnTo>
                  <a:lnTo>
                    <a:pt x="707898" y="588429"/>
                  </a:lnTo>
                  <a:lnTo>
                    <a:pt x="714794" y="590969"/>
                  </a:lnTo>
                  <a:lnTo>
                    <a:pt x="712419" y="594779"/>
                  </a:lnTo>
                  <a:lnTo>
                    <a:pt x="692302" y="600036"/>
                  </a:lnTo>
                  <a:lnTo>
                    <a:pt x="692302" y="611289"/>
                  </a:lnTo>
                  <a:lnTo>
                    <a:pt x="690702" y="620179"/>
                  </a:lnTo>
                  <a:lnTo>
                    <a:pt x="692061" y="620179"/>
                  </a:lnTo>
                  <a:lnTo>
                    <a:pt x="691527" y="622490"/>
                  </a:lnTo>
                  <a:lnTo>
                    <a:pt x="688644" y="620166"/>
                  </a:lnTo>
                  <a:lnTo>
                    <a:pt x="687679" y="617639"/>
                  </a:lnTo>
                  <a:lnTo>
                    <a:pt x="688695" y="618909"/>
                  </a:lnTo>
                  <a:lnTo>
                    <a:pt x="687844" y="616369"/>
                  </a:lnTo>
                  <a:lnTo>
                    <a:pt x="692302" y="611289"/>
                  </a:lnTo>
                  <a:lnTo>
                    <a:pt x="692302" y="600036"/>
                  </a:lnTo>
                  <a:lnTo>
                    <a:pt x="676300" y="604215"/>
                  </a:lnTo>
                  <a:lnTo>
                    <a:pt x="676300" y="614680"/>
                  </a:lnTo>
                  <a:lnTo>
                    <a:pt x="675894" y="614997"/>
                  </a:lnTo>
                  <a:lnTo>
                    <a:pt x="674941" y="614629"/>
                  </a:lnTo>
                  <a:lnTo>
                    <a:pt x="674789" y="613829"/>
                  </a:lnTo>
                  <a:lnTo>
                    <a:pt x="676300" y="614680"/>
                  </a:lnTo>
                  <a:lnTo>
                    <a:pt x="676300" y="604215"/>
                  </a:lnTo>
                  <a:lnTo>
                    <a:pt x="673493" y="604939"/>
                  </a:lnTo>
                  <a:lnTo>
                    <a:pt x="669798" y="604939"/>
                  </a:lnTo>
                  <a:lnTo>
                    <a:pt x="667956" y="604088"/>
                  </a:lnTo>
                  <a:lnTo>
                    <a:pt x="666445" y="601027"/>
                  </a:lnTo>
                  <a:lnTo>
                    <a:pt x="663270" y="601027"/>
                  </a:lnTo>
                  <a:lnTo>
                    <a:pt x="663092" y="601802"/>
                  </a:lnTo>
                  <a:lnTo>
                    <a:pt x="658977" y="599859"/>
                  </a:lnTo>
                  <a:lnTo>
                    <a:pt x="651141" y="592239"/>
                  </a:lnTo>
                  <a:lnTo>
                    <a:pt x="649744" y="588429"/>
                  </a:lnTo>
                  <a:lnTo>
                    <a:pt x="648804" y="585889"/>
                  </a:lnTo>
                  <a:lnTo>
                    <a:pt x="649363" y="582079"/>
                  </a:lnTo>
                  <a:lnTo>
                    <a:pt x="657847" y="592239"/>
                  </a:lnTo>
                  <a:lnTo>
                    <a:pt x="657123" y="587159"/>
                  </a:lnTo>
                  <a:lnTo>
                    <a:pt x="655980" y="582079"/>
                  </a:lnTo>
                  <a:lnTo>
                    <a:pt x="655701" y="580809"/>
                  </a:lnTo>
                  <a:lnTo>
                    <a:pt x="655129" y="578269"/>
                  </a:lnTo>
                  <a:lnTo>
                    <a:pt x="664895" y="594779"/>
                  </a:lnTo>
                  <a:lnTo>
                    <a:pt x="666737" y="589699"/>
                  </a:lnTo>
                  <a:lnTo>
                    <a:pt x="673455" y="599859"/>
                  </a:lnTo>
                  <a:lnTo>
                    <a:pt x="672871" y="594779"/>
                  </a:lnTo>
                  <a:lnTo>
                    <a:pt x="674255" y="593509"/>
                  </a:lnTo>
                  <a:lnTo>
                    <a:pt x="679069" y="594779"/>
                  </a:lnTo>
                  <a:lnTo>
                    <a:pt x="681126" y="593509"/>
                  </a:lnTo>
                  <a:lnTo>
                    <a:pt x="683171" y="592239"/>
                  </a:lnTo>
                  <a:lnTo>
                    <a:pt x="679653" y="590969"/>
                  </a:lnTo>
                  <a:lnTo>
                    <a:pt x="677011" y="589699"/>
                  </a:lnTo>
                  <a:lnTo>
                    <a:pt x="674357" y="588429"/>
                  </a:lnTo>
                  <a:lnTo>
                    <a:pt x="667181" y="580809"/>
                  </a:lnTo>
                  <a:lnTo>
                    <a:pt x="665454" y="578269"/>
                  </a:lnTo>
                  <a:lnTo>
                    <a:pt x="668070" y="573189"/>
                  </a:lnTo>
                  <a:lnTo>
                    <a:pt x="670280" y="576999"/>
                  </a:lnTo>
                  <a:lnTo>
                    <a:pt x="676313" y="583349"/>
                  </a:lnTo>
                  <a:lnTo>
                    <a:pt x="675157" y="573189"/>
                  </a:lnTo>
                  <a:lnTo>
                    <a:pt x="675017" y="571919"/>
                  </a:lnTo>
                  <a:lnTo>
                    <a:pt x="682434" y="578269"/>
                  </a:lnTo>
                  <a:lnTo>
                    <a:pt x="681113" y="571919"/>
                  </a:lnTo>
                  <a:lnTo>
                    <a:pt x="680580" y="569379"/>
                  </a:lnTo>
                  <a:lnTo>
                    <a:pt x="691464" y="569379"/>
                  </a:lnTo>
                  <a:lnTo>
                    <a:pt x="675589" y="563029"/>
                  </a:lnTo>
                  <a:lnTo>
                    <a:pt x="674916" y="563029"/>
                  </a:lnTo>
                  <a:lnTo>
                    <a:pt x="678027" y="561759"/>
                  </a:lnTo>
                  <a:lnTo>
                    <a:pt x="671436" y="559219"/>
                  </a:lnTo>
                  <a:lnTo>
                    <a:pt x="668147" y="557949"/>
                  </a:lnTo>
                  <a:lnTo>
                    <a:pt x="658253" y="554139"/>
                  </a:lnTo>
                  <a:lnTo>
                    <a:pt x="655993" y="551599"/>
                  </a:lnTo>
                  <a:lnTo>
                    <a:pt x="650341" y="545249"/>
                  </a:lnTo>
                  <a:lnTo>
                    <a:pt x="649262" y="540169"/>
                  </a:lnTo>
                  <a:lnTo>
                    <a:pt x="651903" y="540169"/>
                  </a:lnTo>
                  <a:lnTo>
                    <a:pt x="660425" y="551599"/>
                  </a:lnTo>
                  <a:lnTo>
                    <a:pt x="660755" y="549059"/>
                  </a:lnTo>
                  <a:lnTo>
                    <a:pt x="660209" y="545249"/>
                  </a:lnTo>
                  <a:lnTo>
                    <a:pt x="661466" y="543979"/>
                  </a:lnTo>
                  <a:lnTo>
                    <a:pt x="663575" y="547789"/>
                  </a:lnTo>
                  <a:lnTo>
                    <a:pt x="668350" y="552869"/>
                  </a:lnTo>
                  <a:lnTo>
                    <a:pt x="667969" y="546519"/>
                  </a:lnTo>
                  <a:lnTo>
                    <a:pt x="670344" y="546519"/>
                  </a:lnTo>
                  <a:lnTo>
                    <a:pt x="677214" y="550329"/>
                  </a:lnTo>
                  <a:lnTo>
                    <a:pt x="675817" y="546519"/>
                  </a:lnTo>
                  <a:lnTo>
                    <a:pt x="674890" y="543979"/>
                  </a:lnTo>
                  <a:lnTo>
                    <a:pt x="683780" y="540169"/>
                  </a:lnTo>
                  <a:lnTo>
                    <a:pt x="672071" y="540169"/>
                  </a:lnTo>
                  <a:lnTo>
                    <a:pt x="665835" y="538899"/>
                  </a:lnTo>
                  <a:lnTo>
                    <a:pt x="669861" y="536359"/>
                  </a:lnTo>
                  <a:lnTo>
                    <a:pt x="655802" y="532549"/>
                  </a:lnTo>
                  <a:lnTo>
                    <a:pt x="649871" y="527469"/>
                  </a:lnTo>
                  <a:lnTo>
                    <a:pt x="650138" y="524929"/>
                  </a:lnTo>
                  <a:lnTo>
                    <a:pt x="657440" y="524929"/>
                  </a:lnTo>
                  <a:lnTo>
                    <a:pt x="653275" y="521119"/>
                  </a:lnTo>
                  <a:lnTo>
                    <a:pt x="651205" y="519849"/>
                  </a:lnTo>
                  <a:lnTo>
                    <a:pt x="647039" y="516039"/>
                  </a:lnTo>
                  <a:lnTo>
                    <a:pt x="652983" y="516039"/>
                  </a:lnTo>
                  <a:lnTo>
                    <a:pt x="660869" y="519849"/>
                  </a:lnTo>
                  <a:lnTo>
                    <a:pt x="660895" y="516039"/>
                  </a:lnTo>
                  <a:lnTo>
                    <a:pt x="660920" y="512229"/>
                  </a:lnTo>
                  <a:lnTo>
                    <a:pt x="667092" y="508419"/>
                  </a:lnTo>
                  <a:lnTo>
                    <a:pt x="651116" y="508419"/>
                  </a:lnTo>
                  <a:lnTo>
                    <a:pt x="646404" y="505879"/>
                  </a:lnTo>
                  <a:lnTo>
                    <a:pt x="644042" y="504609"/>
                  </a:lnTo>
                  <a:lnTo>
                    <a:pt x="644702" y="502069"/>
                  </a:lnTo>
                  <a:lnTo>
                    <a:pt x="654583" y="505879"/>
                  </a:lnTo>
                  <a:lnTo>
                    <a:pt x="653923" y="502069"/>
                  </a:lnTo>
                  <a:lnTo>
                    <a:pt x="653694" y="500799"/>
                  </a:lnTo>
                  <a:lnTo>
                    <a:pt x="661377" y="502069"/>
                  </a:lnTo>
                  <a:lnTo>
                    <a:pt x="660958" y="500799"/>
                  </a:lnTo>
                  <a:lnTo>
                    <a:pt x="659701" y="496989"/>
                  </a:lnTo>
                  <a:lnTo>
                    <a:pt x="660565" y="495719"/>
                  </a:lnTo>
                  <a:lnTo>
                    <a:pt x="664845" y="489369"/>
                  </a:lnTo>
                  <a:lnTo>
                    <a:pt x="649478" y="495719"/>
                  </a:lnTo>
                  <a:lnTo>
                    <a:pt x="643166" y="493179"/>
                  </a:lnTo>
                  <a:lnTo>
                    <a:pt x="644575" y="489369"/>
                  </a:lnTo>
                  <a:lnTo>
                    <a:pt x="645490" y="488099"/>
                  </a:lnTo>
                  <a:lnTo>
                    <a:pt x="651903" y="486829"/>
                  </a:lnTo>
                  <a:lnTo>
                    <a:pt x="650354" y="485559"/>
                  </a:lnTo>
                  <a:lnTo>
                    <a:pt x="652589" y="481749"/>
                  </a:lnTo>
                  <a:lnTo>
                    <a:pt x="654812" y="477939"/>
                  </a:lnTo>
                  <a:lnTo>
                    <a:pt x="645071" y="481749"/>
                  </a:lnTo>
                  <a:lnTo>
                    <a:pt x="643267" y="477939"/>
                  </a:lnTo>
                  <a:lnTo>
                    <a:pt x="645680" y="474129"/>
                  </a:lnTo>
                  <a:lnTo>
                    <a:pt x="646480" y="472859"/>
                  </a:lnTo>
                  <a:lnTo>
                    <a:pt x="644182" y="474129"/>
                  </a:lnTo>
                  <a:lnTo>
                    <a:pt x="642531" y="472859"/>
                  </a:lnTo>
                  <a:lnTo>
                    <a:pt x="640880" y="471589"/>
                  </a:lnTo>
                  <a:lnTo>
                    <a:pt x="641096" y="455079"/>
                  </a:lnTo>
                  <a:lnTo>
                    <a:pt x="639152" y="453809"/>
                  </a:lnTo>
                  <a:lnTo>
                    <a:pt x="638009" y="457619"/>
                  </a:lnTo>
                  <a:lnTo>
                    <a:pt x="637819" y="467779"/>
                  </a:lnTo>
                  <a:lnTo>
                    <a:pt x="634631" y="472859"/>
                  </a:lnTo>
                  <a:lnTo>
                    <a:pt x="629551" y="471589"/>
                  </a:lnTo>
                  <a:lnTo>
                    <a:pt x="634542" y="476669"/>
                  </a:lnTo>
                  <a:lnTo>
                    <a:pt x="635546" y="481749"/>
                  </a:lnTo>
                  <a:lnTo>
                    <a:pt x="621436" y="477939"/>
                  </a:lnTo>
                  <a:lnTo>
                    <a:pt x="627087" y="483019"/>
                  </a:lnTo>
                  <a:lnTo>
                    <a:pt x="625525" y="489369"/>
                  </a:lnTo>
                  <a:lnTo>
                    <a:pt x="630783" y="488099"/>
                  </a:lnTo>
                  <a:lnTo>
                    <a:pt x="634517" y="488099"/>
                  </a:lnTo>
                  <a:lnTo>
                    <a:pt x="633920" y="491909"/>
                  </a:lnTo>
                  <a:lnTo>
                    <a:pt x="627443" y="491909"/>
                  </a:lnTo>
                  <a:lnTo>
                    <a:pt x="628980" y="495719"/>
                  </a:lnTo>
                  <a:lnTo>
                    <a:pt x="632167" y="496989"/>
                  </a:lnTo>
                  <a:lnTo>
                    <a:pt x="628472" y="496989"/>
                  </a:lnTo>
                  <a:lnTo>
                    <a:pt x="619328" y="494449"/>
                  </a:lnTo>
                  <a:lnTo>
                    <a:pt x="611098" y="490639"/>
                  </a:lnTo>
                  <a:lnTo>
                    <a:pt x="614324" y="499529"/>
                  </a:lnTo>
                  <a:lnTo>
                    <a:pt x="610768" y="500799"/>
                  </a:lnTo>
                  <a:lnTo>
                    <a:pt x="614311" y="502069"/>
                  </a:lnTo>
                  <a:lnTo>
                    <a:pt x="611543" y="508419"/>
                  </a:lnTo>
                  <a:lnTo>
                    <a:pt x="621423" y="502069"/>
                  </a:lnTo>
                  <a:lnTo>
                    <a:pt x="621411" y="508419"/>
                  </a:lnTo>
                  <a:lnTo>
                    <a:pt x="628764" y="505879"/>
                  </a:lnTo>
                  <a:lnTo>
                    <a:pt x="630351" y="510959"/>
                  </a:lnTo>
                  <a:lnTo>
                    <a:pt x="624217" y="513499"/>
                  </a:lnTo>
                  <a:lnTo>
                    <a:pt x="610857" y="513499"/>
                  </a:lnTo>
                  <a:lnTo>
                    <a:pt x="613448" y="516039"/>
                  </a:lnTo>
                  <a:lnTo>
                    <a:pt x="615200" y="517309"/>
                  </a:lnTo>
                  <a:lnTo>
                    <a:pt x="612267" y="523659"/>
                  </a:lnTo>
                  <a:lnTo>
                    <a:pt x="621601" y="519849"/>
                  </a:lnTo>
                  <a:lnTo>
                    <a:pt x="621665" y="523659"/>
                  </a:lnTo>
                  <a:lnTo>
                    <a:pt x="615988" y="527469"/>
                  </a:lnTo>
                  <a:lnTo>
                    <a:pt x="626300" y="527469"/>
                  </a:lnTo>
                  <a:lnTo>
                    <a:pt x="629132" y="528739"/>
                  </a:lnTo>
                  <a:lnTo>
                    <a:pt x="624039" y="535089"/>
                  </a:lnTo>
                  <a:lnTo>
                    <a:pt x="607415" y="542709"/>
                  </a:lnTo>
                  <a:lnTo>
                    <a:pt x="591908" y="542709"/>
                  </a:lnTo>
                  <a:lnTo>
                    <a:pt x="596646" y="549059"/>
                  </a:lnTo>
                  <a:lnTo>
                    <a:pt x="590638" y="556679"/>
                  </a:lnTo>
                  <a:lnTo>
                    <a:pt x="602742" y="551599"/>
                  </a:lnTo>
                  <a:lnTo>
                    <a:pt x="602322" y="555409"/>
                  </a:lnTo>
                  <a:lnTo>
                    <a:pt x="595604" y="565569"/>
                  </a:lnTo>
                  <a:lnTo>
                    <a:pt x="601687" y="560489"/>
                  </a:lnTo>
                  <a:lnTo>
                    <a:pt x="612089" y="551599"/>
                  </a:lnTo>
                  <a:lnTo>
                    <a:pt x="613117" y="563029"/>
                  </a:lnTo>
                  <a:lnTo>
                    <a:pt x="618134" y="557949"/>
                  </a:lnTo>
                  <a:lnTo>
                    <a:pt x="618629" y="563029"/>
                  </a:lnTo>
                  <a:lnTo>
                    <a:pt x="618934" y="566839"/>
                  </a:lnTo>
                  <a:lnTo>
                    <a:pt x="626275" y="559219"/>
                  </a:lnTo>
                  <a:lnTo>
                    <a:pt x="599274" y="578269"/>
                  </a:lnTo>
                  <a:lnTo>
                    <a:pt x="583196" y="583349"/>
                  </a:lnTo>
                  <a:lnTo>
                    <a:pt x="588327" y="585889"/>
                  </a:lnTo>
                  <a:lnTo>
                    <a:pt x="587768" y="592239"/>
                  </a:lnTo>
                  <a:lnTo>
                    <a:pt x="596480" y="588429"/>
                  </a:lnTo>
                  <a:lnTo>
                    <a:pt x="592442" y="592239"/>
                  </a:lnTo>
                  <a:lnTo>
                    <a:pt x="590435" y="594779"/>
                  </a:lnTo>
                  <a:lnTo>
                    <a:pt x="586397" y="598589"/>
                  </a:lnTo>
                  <a:lnTo>
                    <a:pt x="602234" y="590969"/>
                  </a:lnTo>
                  <a:lnTo>
                    <a:pt x="603300" y="597319"/>
                  </a:lnTo>
                  <a:lnTo>
                    <a:pt x="605307" y="590969"/>
                  </a:lnTo>
                  <a:lnTo>
                    <a:pt x="606107" y="588429"/>
                  </a:lnTo>
                  <a:lnTo>
                    <a:pt x="607301" y="584619"/>
                  </a:lnTo>
                  <a:lnTo>
                    <a:pt x="610146" y="588429"/>
                  </a:lnTo>
                  <a:lnTo>
                    <a:pt x="610552" y="592239"/>
                  </a:lnTo>
                  <a:lnTo>
                    <a:pt x="613359" y="592239"/>
                  </a:lnTo>
                  <a:lnTo>
                    <a:pt x="618350" y="584619"/>
                  </a:lnTo>
                  <a:lnTo>
                    <a:pt x="622693" y="580809"/>
                  </a:lnTo>
                  <a:lnTo>
                    <a:pt x="617486" y="587159"/>
                  </a:lnTo>
                  <a:lnTo>
                    <a:pt x="618197" y="589699"/>
                  </a:lnTo>
                  <a:lnTo>
                    <a:pt x="620445" y="588429"/>
                  </a:lnTo>
                  <a:lnTo>
                    <a:pt x="616991" y="592239"/>
                  </a:lnTo>
                  <a:lnTo>
                    <a:pt x="610704" y="597319"/>
                  </a:lnTo>
                  <a:lnTo>
                    <a:pt x="610704" y="617639"/>
                  </a:lnTo>
                  <a:lnTo>
                    <a:pt x="606158" y="623989"/>
                  </a:lnTo>
                  <a:lnTo>
                    <a:pt x="603211" y="627799"/>
                  </a:lnTo>
                  <a:lnTo>
                    <a:pt x="601027" y="623989"/>
                  </a:lnTo>
                  <a:lnTo>
                    <a:pt x="598055" y="620179"/>
                  </a:lnTo>
                  <a:lnTo>
                    <a:pt x="596557" y="618909"/>
                  </a:lnTo>
                  <a:lnTo>
                    <a:pt x="597801" y="616369"/>
                  </a:lnTo>
                  <a:lnTo>
                    <a:pt x="599059" y="613829"/>
                  </a:lnTo>
                  <a:lnTo>
                    <a:pt x="600786" y="622719"/>
                  </a:lnTo>
                  <a:lnTo>
                    <a:pt x="606666" y="615099"/>
                  </a:lnTo>
                  <a:lnTo>
                    <a:pt x="609295" y="613829"/>
                  </a:lnTo>
                  <a:lnTo>
                    <a:pt x="610704" y="617639"/>
                  </a:lnTo>
                  <a:lnTo>
                    <a:pt x="610704" y="597319"/>
                  </a:lnTo>
                  <a:lnTo>
                    <a:pt x="609117" y="598589"/>
                  </a:lnTo>
                  <a:lnTo>
                    <a:pt x="593686" y="607961"/>
                  </a:lnTo>
                  <a:lnTo>
                    <a:pt x="593686" y="616369"/>
                  </a:lnTo>
                  <a:lnTo>
                    <a:pt x="593229" y="617639"/>
                  </a:lnTo>
                  <a:lnTo>
                    <a:pt x="591362" y="617639"/>
                  </a:lnTo>
                  <a:lnTo>
                    <a:pt x="589495" y="620179"/>
                  </a:lnTo>
                  <a:lnTo>
                    <a:pt x="587654" y="623989"/>
                  </a:lnTo>
                  <a:lnTo>
                    <a:pt x="585965" y="632879"/>
                  </a:lnTo>
                  <a:lnTo>
                    <a:pt x="582599" y="622719"/>
                  </a:lnTo>
                  <a:lnTo>
                    <a:pt x="580910" y="627799"/>
                  </a:lnTo>
                  <a:lnTo>
                    <a:pt x="578662" y="632879"/>
                  </a:lnTo>
                  <a:lnTo>
                    <a:pt x="576389" y="635419"/>
                  </a:lnTo>
                  <a:lnTo>
                    <a:pt x="576033" y="634149"/>
                  </a:lnTo>
                  <a:lnTo>
                    <a:pt x="574624" y="629069"/>
                  </a:lnTo>
                  <a:lnTo>
                    <a:pt x="574268" y="627799"/>
                  </a:lnTo>
                  <a:lnTo>
                    <a:pt x="572858" y="622719"/>
                  </a:lnTo>
                  <a:lnTo>
                    <a:pt x="571538" y="623989"/>
                  </a:lnTo>
                  <a:lnTo>
                    <a:pt x="570204" y="627799"/>
                  </a:lnTo>
                  <a:lnTo>
                    <a:pt x="569620" y="627126"/>
                  </a:lnTo>
                  <a:lnTo>
                    <a:pt x="569620" y="629069"/>
                  </a:lnTo>
                  <a:lnTo>
                    <a:pt x="568159" y="632879"/>
                  </a:lnTo>
                  <a:lnTo>
                    <a:pt x="567423" y="634149"/>
                  </a:lnTo>
                  <a:lnTo>
                    <a:pt x="567207" y="634149"/>
                  </a:lnTo>
                  <a:lnTo>
                    <a:pt x="564299" y="632879"/>
                  </a:lnTo>
                  <a:lnTo>
                    <a:pt x="563753" y="630339"/>
                  </a:lnTo>
                  <a:lnTo>
                    <a:pt x="565658" y="629069"/>
                  </a:lnTo>
                  <a:lnTo>
                    <a:pt x="569620" y="629069"/>
                  </a:lnTo>
                  <a:lnTo>
                    <a:pt x="569620" y="627126"/>
                  </a:lnTo>
                  <a:lnTo>
                    <a:pt x="566928" y="623989"/>
                  </a:lnTo>
                  <a:lnTo>
                    <a:pt x="565619" y="621449"/>
                  </a:lnTo>
                  <a:lnTo>
                    <a:pt x="566623" y="620179"/>
                  </a:lnTo>
                  <a:lnTo>
                    <a:pt x="578421" y="621449"/>
                  </a:lnTo>
                  <a:lnTo>
                    <a:pt x="577189" y="620179"/>
                  </a:lnTo>
                  <a:lnTo>
                    <a:pt x="573481" y="616369"/>
                  </a:lnTo>
                  <a:lnTo>
                    <a:pt x="572477" y="612559"/>
                  </a:lnTo>
                  <a:lnTo>
                    <a:pt x="574929" y="612559"/>
                  </a:lnTo>
                  <a:lnTo>
                    <a:pt x="581647" y="615099"/>
                  </a:lnTo>
                  <a:lnTo>
                    <a:pt x="586397" y="616369"/>
                  </a:lnTo>
                  <a:lnTo>
                    <a:pt x="585089" y="615099"/>
                  </a:lnTo>
                  <a:lnTo>
                    <a:pt x="587248" y="615099"/>
                  </a:lnTo>
                  <a:lnTo>
                    <a:pt x="585609" y="622719"/>
                  </a:lnTo>
                  <a:lnTo>
                    <a:pt x="590702" y="617639"/>
                  </a:lnTo>
                  <a:lnTo>
                    <a:pt x="593686" y="616369"/>
                  </a:lnTo>
                  <a:lnTo>
                    <a:pt x="593686" y="607961"/>
                  </a:lnTo>
                  <a:lnTo>
                    <a:pt x="584009" y="613829"/>
                  </a:lnTo>
                  <a:lnTo>
                    <a:pt x="583057" y="612559"/>
                  </a:lnTo>
                  <a:lnTo>
                    <a:pt x="580199" y="608749"/>
                  </a:lnTo>
                  <a:lnTo>
                    <a:pt x="579247" y="607479"/>
                  </a:lnTo>
                  <a:lnTo>
                    <a:pt x="590537" y="603669"/>
                  </a:lnTo>
                  <a:lnTo>
                    <a:pt x="575221" y="601129"/>
                  </a:lnTo>
                  <a:lnTo>
                    <a:pt x="565505" y="597319"/>
                  </a:lnTo>
                  <a:lnTo>
                    <a:pt x="563384" y="596049"/>
                  </a:lnTo>
                  <a:lnTo>
                    <a:pt x="563308" y="594779"/>
                  </a:lnTo>
                  <a:lnTo>
                    <a:pt x="566813" y="592239"/>
                  </a:lnTo>
                  <a:lnTo>
                    <a:pt x="572985" y="592239"/>
                  </a:lnTo>
                  <a:lnTo>
                    <a:pt x="577443" y="593509"/>
                  </a:lnTo>
                  <a:lnTo>
                    <a:pt x="576910" y="592239"/>
                  </a:lnTo>
                  <a:lnTo>
                    <a:pt x="575843" y="589699"/>
                  </a:lnTo>
                  <a:lnTo>
                    <a:pt x="573709" y="584619"/>
                  </a:lnTo>
                  <a:lnTo>
                    <a:pt x="581317" y="584619"/>
                  </a:lnTo>
                  <a:lnTo>
                    <a:pt x="580593" y="583349"/>
                  </a:lnTo>
                  <a:lnTo>
                    <a:pt x="578434" y="579539"/>
                  </a:lnTo>
                  <a:lnTo>
                    <a:pt x="578866" y="578269"/>
                  </a:lnTo>
                  <a:lnTo>
                    <a:pt x="579297" y="576999"/>
                  </a:lnTo>
                  <a:lnTo>
                    <a:pt x="581025" y="571919"/>
                  </a:lnTo>
                  <a:lnTo>
                    <a:pt x="570865" y="576999"/>
                  </a:lnTo>
                  <a:lnTo>
                    <a:pt x="565645" y="575729"/>
                  </a:lnTo>
                  <a:lnTo>
                    <a:pt x="561327" y="576999"/>
                  </a:lnTo>
                  <a:lnTo>
                    <a:pt x="559625" y="574459"/>
                  </a:lnTo>
                  <a:lnTo>
                    <a:pt x="562038" y="570649"/>
                  </a:lnTo>
                  <a:lnTo>
                    <a:pt x="562838" y="569379"/>
                  </a:lnTo>
                  <a:lnTo>
                    <a:pt x="568947" y="570649"/>
                  </a:lnTo>
                  <a:lnTo>
                    <a:pt x="568515" y="569379"/>
                  </a:lnTo>
                  <a:lnTo>
                    <a:pt x="567639" y="566839"/>
                  </a:lnTo>
                  <a:lnTo>
                    <a:pt x="567766" y="565569"/>
                  </a:lnTo>
                  <a:lnTo>
                    <a:pt x="569429" y="563029"/>
                  </a:lnTo>
                  <a:lnTo>
                    <a:pt x="570268" y="561759"/>
                  </a:lnTo>
                  <a:lnTo>
                    <a:pt x="563930" y="563029"/>
                  </a:lnTo>
                  <a:lnTo>
                    <a:pt x="559130" y="563029"/>
                  </a:lnTo>
                  <a:lnTo>
                    <a:pt x="558266" y="560489"/>
                  </a:lnTo>
                  <a:lnTo>
                    <a:pt x="558711" y="555409"/>
                  </a:lnTo>
                  <a:lnTo>
                    <a:pt x="560590" y="551599"/>
                  </a:lnTo>
                  <a:lnTo>
                    <a:pt x="561543" y="549059"/>
                  </a:lnTo>
                  <a:lnTo>
                    <a:pt x="563422" y="546519"/>
                  </a:lnTo>
                  <a:lnTo>
                    <a:pt x="560946" y="546519"/>
                  </a:lnTo>
                  <a:lnTo>
                    <a:pt x="557606" y="542709"/>
                  </a:lnTo>
                  <a:lnTo>
                    <a:pt x="557669" y="530009"/>
                  </a:lnTo>
                  <a:lnTo>
                    <a:pt x="556526" y="528739"/>
                  </a:lnTo>
                  <a:lnTo>
                    <a:pt x="554342" y="530009"/>
                  </a:lnTo>
                  <a:lnTo>
                    <a:pt x="554736" y="541439"/>
                  </a:lnTo>
                  <a:lnTo>
                    <a:pt x="553618" y="545249"/>
                  </a:lnTo>
                  <a:lnTo>
                    <a:pt x="548589" y="545249"/>
                  </a:lnTo>
                  <a:lnTo>
                    <a:pt x="554024" y="557949"/>
                  </a:lnTo>
                  <a:lnTo>
                    <a:pt x="552970" y="563029"/>
                  </a:lnTo>
                  <a:lnTo>
                    <a:pt x="538848" y="560489"/>
                  </a:lnTo>
                  <a:lnTo>
                    <a:pt x="545934" y="566839"/>
                  </a:lnTo>
                  <a:lnTo>
                    <a:pt x="545198" y="571919"/>
                  </a:lnTo>
                  <a:lnTo>
                    <a:pt x="548894" y="570649"/>
                  </a:lnTo>
                  <a:lnTo>
                    <a:pt x="551789" y="570649"/>
                  </a:lnTo>
                  <a:lnTo>
                    <a:pt x="552907" y="573189"/>
                  </a:lnTo>
                  <a:lnTo>
                    <a:pt x="548017" y="578269"/>
                  </a:lnTo>
                  <a:lnTo>
                    <a:pt x="528218" y="571919"/>
                  </a:lnTo>
                  <a:lnTo>
                    <a:pt x="531660" y="575729"/>
                  </a:lnTo>
                  <a:lnTo>
                    <a:pt x="529590" y="580809"/>
                  </a:lnTo>
                  <a:lnTo>
                    <a:pt x="535813" y="579539"/>
                  </a:lnTo>
                  <a:lnTo>
                    <a:pt x="530606" y="588429"/>
                  </a:lnTo>
                  <a:lnTo>
                    <a:pt x="542175" y="583349"/>
                  </a:lnTo>
                  <a:lnTo>
                    <a:pt x="538226" y="590969"/>
                  </a:lnTo>
                  <a:lnTo>
                    <a:pt x="544690" y="589699"/>
                  </a:lnTo>
                  <a:lnTo>
                    <a:pt x="548779" y="589699"/>
                  </a:lnTo>
                  <a:lnTo>
                    <a:pt x="546823" y="593509"/>
                  </a:lnTo>
                  <a:lnTo>
                    <a:pt x="544512" y="596049"/>
                  </a:lnTo>
                  <a:lnTo>
                    <a:pt x="534619" y="598589"/>
                  </a:lnTo>
                  <a:lnTo>
                    <a:pt x="521373" y="598589"/>
                  </a:lnTo>
                  <a:lnTo>
                    <a:pt x="529399" y="604939"/>
                  </a:lnTo>
                  <a:lnTo>
                    <a:pt x="525145" y="611289"/>
                  </a:lnTo>
                  <a:lnTo>
                    <a:pt x="535305" y="608749"/>
                  </a:lnTo>
                  <a:lnTo>
                    <a:pt x="531787" y="616369"/>
                  </a:lnTo>
                  <a:lnTo>
                    <a:pt x="546392" y="608749"/>
                  </a:lnTo>
                  <a:lnTo>
                    <a:pt x="548195" y="608749"/>
                  </a:lnTo>
                  <a:lnTo>
                    <a:pt x="548386" y="611289"/>
                  </a:lnTo>
                  <a:lnTo>
                    <a:pt x="544906" y="616369"/>
                  </a:lnTo>
                  <a:lnTo>
                    <a:pt x="542607" y="620179"/>
                  </a:lnTo>
                  <a:lnTo>
                    <a:pt x="532853" y="626529"/>
                  </a:lnTo>
                  <a:lnTo>
                    <a:pt x="539889" y="626529"/>
                  </a:lnTo>
                  <a:lnTo>
                    <a:pt x="538226" y="632879"/>
                  </a:lnTo>
                  <a:lnTo>
                    <a:pt x="544271" y="629069"/>
                  </a:lnTo>
                  <a:lnTo>
                    <a:pt x="546684" y="629069"/>
                  </a:lnTo>
                  <a:lnTo>
                    <a:pt x="545325" y="632879"/>
                  </a:lnTo>
                  <a:lnTo>
                    <a:pt x="542937" y="635419"/>
                  </a:lnTo>
                  <a:lnTo>
                    <a:pt x="538607" y="636689"/>
                  </a:lnTo>
                  <a:lnTo>
                    <a:pt x="536854" y="635419"/>
                  </a:lnTo>
                  <a:lnTo>
                    <a:pt x="533387" y="627799"/>
                  </a:lnTo>
                  <a:lnTo>
                    <a:pt x="528866" y="632879"/>
                  </a:lnTo>
                  <a:lnTo>
                    <a:pt x="524306" y="635419"/>
                  </a:lnTo>
                  <a:lnTo>
                    <a:pt x="519760" y="629069"/>
                  </a:lnTo>
                  <a:lnTo>
                    <a:pt x="515188" y="630339"/>
                  </a:lnTo>
                  <a:lnTo>
                    <a:pt x="510679" y="635419"/>
                  </a:lnTo>
                  <a:lnTo>
                    <a:pt x="509765" y="634149"/>
                  </a:lnTo>
                  <a:lnTo>
                    <a:pt x="506120" y="629069"/>
                  </a:lnTo>
                  <a:lnTo>
                    <a:pt x="504634" y="627799"/>
                  </a:lnTo>
                  <a:lnTo>
                    <a:pt x="503135" y="626529"/>
                  </a:lnTo>
                  <a:lnTo>
                    <a:pt x="501789" y="624814"/>
                  </a:lnTo>
                  <a:lnTo>
                    <a:pt x="503021" y="622719"/>
                  </a:lnTo>
                  <a:lnTo>
                    <a:pt x="504507" y="620179"/>
                  </a:lnTo>
                  <a:lnTo>
                    <a:pt x="510794" y="622719"/>
                  </a:lnTo>
                  <a:lnTo>
                    <a:pt x="508063" y="620179"/>
                  </a:lnTo>
                  <a:lnTo>
                    <a:pt x="506704" y="618909"/>
                  </a:lnTo>
                  <a:lnTo>
                    <a:pt x="502615" y="615099"/>
                  </a:lnTo>
                  <a:lnTo>
                    <a:pt x="508965" y="612559"/>
                  </a:lnTo>
                  <a:lnTo>
                    <a:pt x="502234" y="607479"/>
                  </a:lnTo>
                  <a:lnTo>
                    <a:pt x="510578" y="608749"/>
                  </a:lnTo>
                  <a:lnTo>
                    <a:pt x="506476" y="604939"/>
                  </a:lnTo>
                  <a:lnTo>
                    <a:pt x="509384" y="602399"/>
                  </a:lnTo>
                  <a:lnTo>
                    <a:pt x="498513" y="605066"/>
                  </a:lnTo>
                  <a:lnTo>
                    <a:pt x="498513" y="622719"/>
                  </a:lnTo>
                  <a:lnTo>
                    <a:pt x="497166" y="622719"/>
                  </a:lnTo>
                  <a:lnTo>
                    <a:pt x="495490" y="620179"/>
                  </a:lnTo>
                  <a:lnTo>
                    <a:pt x="498513" y="622719"/>
                  </a:lnTo>
                  <a:lnTo>
                    <a:pt x="498513" y="605066"/>
                  </a:lnTo>
                  <a:lnTo>
                    <a:pt x="488594" y="607479"/>
                  </a:lnTo>
                  <a:lnTo>
                    <a:pt x="482041" y="602399"/>
                  </a:lnTo>
                  <a:lnTo>
                    <a:pt x="486283" y="603669"/>
                  </a:lnTo>
                  <a:lnTo>
                    <a:pt x="486257" y="602399"/>
                  </a:lnTo>
                  <a:lnTo>
                    <a:pt x="486194" y="599859"/>
                  </a:lnTo>
                  <a:lnTo>
                    <a:pt x="486168" y="598589"/>
                  </a:lnTo>
                  <a:lnTo>
                    <a:pt x="490842" y="601129"/>
                  </a:lnTo>
                  <a:lnTo>
                    <a:pt x="490270" y="598589"/>
                  </a:lnTo>
                  <a:lnTo>
                    <a:pt x="489699" y="596049"/>
                  </a:lnTo>
                  <a:lnTo>
                    <a:pt x="496798" y="593509"/>
                  </a:lnTo>
                  <a:lnTo>
                    <a:pt x="489407" y="592239"/>
                  </a:lnTo>
                  <a:lnTo>
                    <a:pt x="481863" y="588429"/>
                  </a:lnTo>
                  <a:lnTo>
                    <a:pt x="490702" y="585889"/>
                  </a:lnTo>
                  <a:lnTo>
                    <a:pt x="487819" y="583349"/>
                  </a:lnTo>
                  <a:lnTo>
                    <a:pt x="491718" y="579539"/>
                  </a:lnTo>
                  <a:lnTo>
                    <a:pt x="481291" y="575729"/>
                  </a:lnTo>
                  <a:lnTo>
                    <a:pt x="485165" y="573189"/>
                  </a:lnTo>
                  <a:lnTo>
                    <a:pt x="480834" y="570649"/>
                  </a:lnTo>
                  <a:lnTo>
                    <a:pt x="478688" y="564299"/>
                  </a:lnTo>
                  <a:lnTo>
                    <a:pt x="478383" y="552869"/>
                  </a:lnTo>
                  <a:lnTo>
                    <a:pt x="476783" y="550329"/>
                  </a:lnTo>
                  <a:lnTo>
                    <a:pt x="475640" y="556679"/>
                  </a:lnTo>
                  <a:lnTo>
                    <a:pt x="474383" y="570649"/>
                  </a:lnTo>
                  <a:lnTo>
                    <a:pt x="470789" y="571919"/>
                  </a:lnTo>
                  <a:lnTo>
                    <a:pt x="468414" y="573189"/>
                  </a:lnTo>
                  <a:lnTo>
                    <a:pt x="474548" y="579539"/>
                  </a:lnTo>
                  <a:lnTo>
                    <a:pt x="465175" y="578269"/>
                  </a:lnTo>
                  <a:lnTo>
                    <a:pt x="468477" y="582079"/>
                  </a:lnTo>
                  <a:lnTo>
                    <a:pt x="465048" y="583349"/>
                  </a:lnTo>
                  <a:lnTo>
                    <a:pt x="459397" y="580809"/>
                  </a:lnTo>
                  <a:lnTo>
                    <a:pt x="464223" y="587159"/>
                  </a:lnTo>
                  <a:lnTo>
                    <a:pt x="458965" y="590969"/>
                  </a:lnTo>
                  <a:lnTo>
                    <a:pt x="466839" y="592239"/>
                  </a:lnTo>
                  <a:lnTo>
                    <a:pt x="459638" y="594779"/>
                  </a:lnTo>
                  <a:lnTo>
                    <a:pt x="455218" y="597319"/>
                  </a:lnTo>
                  <a:lnTo>
                    <a:pt x="461556" y="598589"/>
                  </a:lnTo>
                  <a:lnTo>
                    <a:pt x="459066" y="602399"/>
                  </a:lnTo>
                  <a:lnTo>
                    <a:pt x="466140" y="601129"/>
                  </a:lnTo>
                  <a:lnTo>
                    <a:pt x="466153" y="606209"/>
                  </a:lnTo>
                  <a:lnTo>
                    <a:pt x="472059" y="601129"/>
                  </a:lnTo>
                  <a:lnTo>
                    <a:pt x="473532" y="599859"/>
                  </a:lnTo>
                  <a:lnTo>
                    <a:pt x="469125" y="607479"/>
                  </a:lnTo>
                  <a:lnTo>
                    <a:pt x="450545" y="601129"/>
                  </a:lnTo>
                  <a:lnTo>
                    <a:pt x="454672" y="606209"/>
                  </a:lnTo>
                  <a:lnTo>
                    <a:pt x="449122" y="606209"/>
                  </a:lnTo>
                  <a:lnTo>
                    <a:pt x="453529" y="610019"/>
                  </a:lnTo>
                  <a:lnTo>
                    <a:pt x="455028" y="612559"/>
                  </a:lnTo>
                  <a:lnTo>
                    <a:pt x="446963" y="613829"/>
                  </a:lnTo>
                  <a:lnTo>
                    <a:pt x="452615" y="618909"/>
                  </a:lnTo>
                  <a:lnTo>
                    <a:pt x="452221" y="623989"/>
                  </a:lnTo>
                  <a:lnTo>
                    <a:pt x="459638" y="618909"/>
                  </a:lnTo>
                  <a:lnTo>
                    <a:pt x="459549" y="622719"/>
                  </a:lnTo>
                  <a:lnTo>
                    <a:pt x="467296" y="622719"/>
                  </a:lnTo>
                  <a:lnTo>
                    <a:pt x="457898" y="625259"/>
                  </a:lnTo>
                  <a:lnTo>
                    <a:pt x="457212" y="625259"/>
                  </a:lnTo>
                  <a:lnTo>
                    <a:pt x="454901" y="626059"/>
                  </a:lnTo>
                  <a:lnTo>
                    <a:pt x="454901" y="634149"/>
                  </a:lnTo>
                  <a:lnTo>
                    <a:pt x="453961" y="637959"/>
                  </a:lnTo>
                  <a:lnTo>
                    <a:pt x="453034" y="640499"/>
                  </a:lnTo>
                  <a:lnTo>
                    <a:pt x="452843" y="639229"/>
                  </a:lnTo>
                  <a:lnTo>
                    <a:pt x="452107" y="634149"/>
                  </a:lnTo>
                  <a:lnTo>
                    <a:pt x="454901" y="634149"/>
                  </a:lnTo>
                  <a:lnTo>
                    <a:pt x="454901" y="626059"/>
                  </a:lnTo>
                  <a:lnTo>
                    <a:pt x="449757" y="627799"/>
                  </a:lnTo>
                  <a:lnTo>
                    <a:pt x="448500" y="622719"/>
                  </a:lnTo>
                  <a:lnTo>
                    <a:pt x="447255" y="620179"/>
                  </a:lnTo>
                  <a:lnTo>
                    <a:pt x="446024" y="621449"/>
                  </a:lnTo>
                  <a:lnTo>
                    <a:pt x="444792" y="629069"/>
                  </a:lnTo>
                  <a:lnTo>
                    <a:pt x="442417" y="636689"/>
                  </a:lnTo>
                  <a:lnTo>
                    <a:pt x="439978" y="639229"/>
                  </a:lnTo>
                  <a:lnTo>
                    <a:pt x="438277" y="632879"/>
                  </a:lnTo>
                  <a:lnTo>
                    <a:pt x="437603" y="630339"/>
                  </a:lnTo>
                  <a:lnTo>
                    <a:pt x="435825" y="629069"/>
                  </a:lnTo>
                  <a:lnTo>
                    <a:pt x="434035" y="625259"/>
                  </a:lnTo>
                  <a:lnTo>
                    <a:pt x="432244" y="626529"/>
                  </a:lnTo>
                  <a:lnTo>
                    <a:pt x="430453" y="632879"/>
                  </a:lnTo>
                  <a:lnTo>
                    <a:pt x="428663" y="618909"/>
                  </a:lnTo>
                  <a:lnTo>
                    <a:pt x="426910" y="618909"/>
                  </a:lnTo>
                  <a:lnTo>
                    <a:pt x="425119" y="626529"/>
                  </a:lnTo>
                  <a:lnTo>
                    <a:pt x="423265" y="636689"/>
                  </a:lnTo>
                  <a:lnTo>
                    <a:pt x="421005" y="646849"/>
                  </a:lnTo>
                  <a:lnTo>
                    <a:pt x="419735" y="641769"/>
                  </a:lnTo>
                  <a:lnTo>
                    <a:pt x="418769" y="637959"/>
                  </a:lnTo>
                  <a:lnTo>
                    <a:pt x="418452" y="636689"/>
                  </a:lnTo>
                  <a:lnTo>
                    <a:pt x="416064" y="632879"/>
                  </a:lnTo>
                  <a:lnTo>
                    <a:pt x="414286" y="637959"/>
                  </a:lnTo>
                  <a:lnTo>
                    <a:pt x="412496" y="635419"/>
                  </a:lnTo>
                  <a:lnTo>
                    <a:pt x="410705" y="631609"/>
                  </a:lnTo>
                  <a:lnTo>
                    <a:pt x="408914" y="637959"/>
                  </a:lnTo>
                  <a:lnTo>
                    <a:pt x="400151" y="630339"/>
                  </a:lnTo>
                  <a:lnTo>
                    <a:pt x="403707" y="630339"/>
                  </a:lnTo>
                  <a:lnTo>
                    <a:pt x="406095" y="631609"/>
                  </a:lnTo>
                  <a:lnTo>
                    <a:pt x="407670" y="632879"/>
                  </a:lnTo>
                  <a:lnTo>
                    <a:pt x="407123" y="630339"/>
                  </a:lnTo>
                  <a:lnTo>
                    <a:pt x="406019" y="625259"/>
                  </a:lnTo>
                  <a:lnTo>
                    <a:pt x="415023" y="630339"/>
                  </a:lnTo>
                  <a:lnTo>
                    <a:pt x="414489" y="625259"/>
                  </a:lnTo>
                  <a:lnTo>
                    <a:pt x="414350" y="623989"/>
                  </a:lnTo>
                  <a:lnTo>
                    <a:pt x="419633" y="623989"/>
                  </a:lnTo>
                  <a:lnTo>
                    <a:pt x="414540" y="620179"/>
                  </a:lnTo>
                  <a:lnTo>
                    <a:pt x="411060" y="618909"/>
                  </a:lnTo>
                  <a:lnTo>
                    <a:pt x="409346" y="618909"/>
                  </a:lnTo>
                  <a:lnTo>
                    <a:pt x="405866" y="617639"/>
                  </a:lnTo>
                  <a:lnTo>
                    <a:pt x="397002" y="612559"/>
                  </a:lnTo>
                  <a:lnTo>
                    <a:pt x="398881" y="608749"/>
                  </a:lnTo>
                  <a:lnTo>
                    <a:pt x="405612" y="615099"/>
                  </a:lnTo>
                  <a:lnTo>
                    <a:pt x="406552" y="608749"/>
                  </a:lnTo>
                  <a:lnTo>
                    <a:pt x="406742" y="607479"/>
                  </a:lnTo>
                  <a:lnTo>
                    <a:pt x="412635" y="615099"/>
                  </a:lnTo>
                  <a:lnTo>
                    <a:pt x="410641" y="607479"/>
                  </a:lnTo>
                  <a:lnTo>
                    <a:pt x="419773" y="611289"/>
                  </a:lnTo>
                  <a:lnTo>
                    <a:pt x="417753" y="607479"/>
                  </a:lnTo>
                  <a:lnTo>
                    <a:pt x="416407" y="604939"/>
                  </a:lnTo>
                  <a:lnTo>
                    <a:pt x="422008" y="604939"/>
                  </a:lnTo>
                  <a:lnTo>
                    <a:pt x="404063" y="598589"/>
                  </a:lnTo>
                  <a:lnTo>
                    <a:pt x="396887" y="596049"/>
                  </a:lnTo>
                  <a:lnTo>
                    <a:pt x="403123" y="592239"/>
                  </a:lnTo>
                  <a:lnTo>
                    <a:pt x="396963" y="588429"/>
                  </a:lnTo>
                  <a:lnTo>
                    <a:pt x="395605" y="587159"/>
                  </a:lnTo>
                  <a:lnTo>
                    <a:pt x="392874" y="584619"/>
                  </a:lnTo>
                  <a:lnTo>
                    <a:pt x="398449" y="587159"/>
                  </a:lnTo>
                  <a:lnTo>
                    <a:pt x="406819" y="589699"/>
                  </a:lnTo>
                  <a:lnTo>
                    <a:pt x="404304" y="584619"/>
                  </a:lnTo>
                  <a:lnTo>
                    <a:pt x="408940" y="583349"/>
                  </a:lnTo>
                  <a:lnTo>
                    <a:pt x="395046" y="576999"/>
                  </a:lnTo>
                  <a:lnTo>
                    <a:pt x="399770" y="571919"/>
                  </a:lnTo>
                  <a:lnTo>
                    <a:pt x="393433" y="568109"/>
                  </a:lnTo>
                  <a:lnTo>
                    <a:pt x="394322" y="565569"/>
                  </a:lnTo>
                  <a:lnTo>
                    <a:pt x="390245" y="561759"/>
                  </a:lnTo>
                  <a:lnTo>
                    <a:pt x="391591" y="560489"/>
                  </a:lnTo>
                  <a:lnTo>
                    <a:pt x="389407" y="557949"/>
                  </a:lnTo>
                  <a:lnTo>
                    <a:pt x="388061" y="546519"/>
                  </a:lnTo>
                  <a:lnTo>
                    <a:pt x="386194" y="559219"/>
                  </a:lnTo>
                  <a:lnTo>
                    <a:pt x="383730" y="561759"/>
                  </a:lnTo>
                  <a:lnTo>
                    <a:pt x="385114" y="565569"/>
                  </a:lnTo>
                  <a:lnTo>
                    <a:pt x="379349" y="568109"/>
                  </a:lnTo>
                  <a:lnTo>
                    <a:pt x="380034" y="570649"/>
                  </a:lnTo>
                  <a:lnTo>
                    <a:pt x="372084" y="573189"/>
                  </a:lnTo>
                  <a:lnTo>
                    <a:pt x="383844" y="575729"/>
                  </a:lnTo>
                  <a:lnTo>
                    <a:pt x="367944" y="583349"/>
                  </a:lnTo>
                  <a:lnTo>
                    <a:pt x="374027" y="585889"/>
                  </a:lnTo>
                  <a:lnTo>
                    <a:pt x="370586" y="589699"/>
                  </a:lnTo>
                  <a:lnTo>
                    <a:pt x="376593" y="588429"/>
                  </a:lnTo>
                  <a:lnTo>
                    <a:pt x="382168" y="587159"/>
                  </a:lnTo>
                  <a:lnTo>
                    <a:pt x="377342" y="589699"/>
                  </a:lnTo>
                  <a:lnTo>
                    <a:pt x="370903" y="592239"/>
                  </a:lnTo>
                  <a:lnTo>
                    <a:pt x="367779" y="596049"/>
                  </a:lnTo>
                  <a:lnTo>
                    <a:pt x="375069" y="596049"/>
                  </a:lnTo>
                  <a:lnTo>
                    <a:pt x="372135" y="599859"/>
                  </a:lnTo>
                  <a:lnTo>
                    <a:pt x="377596" y="598589"/>
                  </a:lnTo>
                  <a:lnTo>
                    <a:pt x="379463" y="601129"/>
                  </a:lnTo>
                  <a:lnTo>
                    <a:pt x="376313" y="602399"/>
                  </a:lnTo>
                  <a:lnTo>
                    <a:pt x="371627" y="606209"/>
                  </a:lnTo>
                  <a:lnTo>
                    <a:pt x="354355" y="613829"/>
                  </a:lnTo>
                  <a:lnTo>
                    <a:pt x="361975" y="613829"/>
                  </a:lnTo>
                  <a:lnTo>
                    <a:pt x="360997" y="615099"/>
                  </a:lnTo>
                  <a:lnTo>
                    <a:pt x="360527" y="616369"/>
                  </a:lnTo>
                  <a:lnTo>
                    <a:pt x="359549" y="617639"/>
                  </a:lnTo>
                  <a:lnTo>
                    <a:pt x="366763" y="613829"/>
                  </a:lnTo>
                  <a:lnTo>
                    <a:pt x="366001" y="620179"/>
                  </a:lnTo>
                  <a:lnTo>
                    <a:pt x="371132" y="613829"/>
                  </a:lnTo>
                  <a:lnTo>
                    <a:pt x="375704" y="613829"/>
                  </a:lnTo>
                  <a:lnTo>
                    <a:pt x="373634" y="618909"/>
                  </a:lnTo>
                  <a:lnTo>
                    <a:pt x="364375" y="623989"/>
                  </a:lnTo>
                  <a:lnTo>
                    <a:pt x="363270" y="624547"/>
                  </a:lnTo>
                  <a:lnTo>
                    <a:pt x="363270" y="634149"/>
                  </a:lnTo>
                  <a:lnTo>
                    <a:pt x="360972" y="636689"/>
                  </a:lnTo>
                  <a:lnTo>
                    <a:pt x="356743" y="637959"/>
                  </a:lnTo>
                  <a:lnTo>
                    <a:pt x="355117" y="634149"/>
                  </a:lnTo>
                  <a:lnTo>
                    <a:pt x="363270" y="634149"/>
                  </a:lnTo>
                  <a:lnTo>
                    <a:pt x="363270" y="624547"/>
                  </a:lnTo>
                  <a:lnTo>
                    <a:pt x="359308" y="626529"/>
                  </a:lnTo>
                  <a:lnTo>
                    <a:pt x="363080" y="629069"/>
                  </a:lnTo>
                  <a:lnTo>
                    <a:pt x="355053" y="634009"/>
                  </a:lnTo>
                  <a:lnTo>
                    <a:pt x="353479" y="630339"/>
                  </a:lnTo>
                  <a:lnTo>
                    <a:pt x="351828" y="640499"/>
                  </a:lnTo>
                  <a:lnTo>
                    <a:pt x="349859" y="641769"/>
                  </a:lnTo>
                  <a:lnTo>
                    <a:pt x="346583" y="637959"/>
                  </a:lnTo>
                  <a:lnTo>
                    <a:pt x="343306" y="640499"/>
                  </a:lnTo>
                  <a:lnTo>
                    <a:pt x="340017" y="644309"/>
                  </a:lnTo>
                  <a:lnTo>
                    <a:pt x="336715" y="646849"/>
                  </a:lnTo>
                  <a:lnTo>
                    <a:pt x="334403" y="646849"/>
                  </a:lnTo>
                  <a:lnTo>
                    <a:pt x="333248" y="648119"/>
                  </a:lnTo>
                  <a:lnTo>
                    <a:pt x="333565" y="646849"/>
                  </a:lnTo>
                  <a:lnTo>
                    <a:pt x="329476" y="644309"/>
                  </a:lnTo>
                  <a:lnTo>
                    <a:pt x="330835" y="643039"/>
                  </a:lnTo>
                  <a:lnTo>
                    <a:pt x="328650" y="639229"/>
                  </a:lnTo>
                  <a:lnTo>
                    <a:pt x="327304" y="629069"/>
                  </a:lnTo>
                  <a:lnTo>
                    <a:pt x="325437" y="640499"/>
                  </a:lnTo>
                  <a:lnTo>
                    <a:pt x="322973" y="643039"/>
                  </a:lnTo>
                  <a:lnTo>
                    <a:pt x="324358" y="646849"/>
                  </a:lnTo>
                  <a:lnTo>
                    <a:pt x="322110" y="648119"/>
                  </a:lnTo>
                  <a:lnTo>
                    <a:pt x="320357" y="644309"/>
                  </a:lnTo>
                  <a:lnTo>
                    <a:pt x="316814" y="651929"/>
                  </a:lnTo>
                  <a:lnTo>
                    <a:pt x="315061" y="650659"/>
                  </a:lnTo>
                  <a:lnTo>
                    <a:pt x="313220" y="645579"/>
                  </a:lnTo>
                  <a:lnTo>
                    <a:pt x="311404" y="636689"/>
                  </a:lnTo>
                  <a:lnTo>
                    <a:pt x="309600" y="635419"/>
                  </a:lnTo>
                  <a:lnTo>
                    <a:pt x="307784" y="650659"/>
                  </a:lnTo>
                  <a:lnTo>
                    <a:pt x="304177" y="637959"/>
                  </a:lnTo>
                  <a:lnTo>
                    <a:pt x="300570" y="634149"/>
                  </a:lnTo>
                  <a:lnTo>
                    <a:pt x="296951" y="637959"/>
                  </a:lnTo>
                  <a:lnTo>
                    <a:pt x="293319" y="650659"/>
                  </a:lnTo>
                  <a:lnTo>
                    <a:pt x="291515" y="641769"/>
                  </a:lnTo>
                  <a:lnTo>
                    <a:pt x="289737" y="635419"/>
                  </a:lnTo>
                  <a:lnTo>
                    <a:pt x="287947" y="635419"/>
                  </a:lnTo>
                  <a:lnTo>
                    <a:pt x="286143" y="650659"/>
                  </a:lnTo>
                  <a:lnTo>
                    <a:pt x="284327" y="649389"/>
                  </a:lnTo>
                  <a:lnTo>
                    <a:pt x="282498" y="646849"/>
                  </a:lnTo>
                  <a:lnTo>
                    <a:pt x="280682" y="648119"/>
                  </a:lnTo>
                  <a:lnTo>
                    <a:pt x="278866" y="654469"/>
                  </a:lnTo>
                  <a:lnTo>
                    <a:pt x="276517" y="654469"/>
                  </a:lnTo>
                  <a:lnTo>
                    <a:pt x="274104" y="651929"/>
                  </a:lnTo>
                  <a:lnTo>
                    <a:pt x="271665" y="657009"/>
                  </a:lnTo>
                  <a:lnTo>
                    <a:pt x="269862" y="655739"/>
                  </a:lnTo>
                  <a:lnTo>
                    <a:pt x="268071" y="651929"/>
                  </a:lnTo>
                  <a:lnTo>
                    <a:pt x="266268" y="650659"/>
                  </a:lnTo>
                  <a:lnTo>
                    <a:pt x="264439" y="658279"/>
                  </a:lnTo>
                  <a:lnTo>
                    <a:pt x="262089" y="665899"/>
                  </a:lnTo>
                  <a:lnTo>
                    <a:pt x="259638" y="658279"/>
                  </a:lnTo>
                  <a:lnTo>
                    <a:pt x="257251" y="658279"/>
                  </a:lnTo>
                  <a:lnTo>
                    <a:pt x="254863" y="667169"/>
                  </a:lnTo>
                  <a:lnTo>
                    <a:pt x="252437" y="663359"/>
                  </a:lnTo>
                  <a:lnTo>
                    <a:pt x="251244" y="660819"/>
                  </a:lnTo>
                  <a:lnTo>
                    <a:pt x="250050" y="658279"/>
                  </a:lnTo>
                  <a:lnTo>
                    <a:pt x="245249" y="660819"/>
                  </a:lnTo>
                  <a:lnTo>
                    <a:pt x="240398" y="658279"/>
                  </a:lnTo>
                  <a:lnTo>
                    <a:pt x="235635" y="660819"/>
                  </a:lnTo>
                  <a:lnTo>
                    <a:pt x="230822" y="667169"/>
                  </a:lnTo>
                  <a:lnTo>
                    <a:pt x="226021" y="662089"/>
                  </a:lnTo>
                  <a:lnTo>
                    <a:pt x="221284" y="662089"/>
                  </a:lnTo>
                  <a:lnTo>
                    <a:pt x="220484" y="660819"/>
                  </a:lnTo>
                  <a:lnTo>
                    <a:pt x="219684" y="659549"/>
                  </a:lnTo>
                  <a:lnTo>
                    <a:pt x="216484" y="654469"/>
                  </a:lnTo>
                  <a:lnTo>
                    <a:pt x="211721" y="659549"/>
                  </a:lnTo>
                  <a:lnTo>
                    <a:pt x="206921" y="658279"/>
                  </a:lnTo>
                  <a:lnTo>
                    <a:pt x="205092" y="660819"/>
                  </a:lnTo>
                  <a:lnTo>
                    <a:pt x="203238" y="655739"/>
                  </a:lnTo>
                  <a:lnTo>
                    <a:pt x="201434" y="651929"/>
                  </a:lnTo>
                  <a:lnTo>
                    <a:pt x="199771" y="657009"/>
                  </a:lnTo>
                  <a:lnTo>
                    <a:pt x="197840" y="668439"/>
                  </a:lnTo>
                  <a:lnTo>
                    <a:pt x="196075" y="673519"/>
                  </a:lnTo>
                  <a:lnTo>
                    <a:pt x="194348" y="672249"/>
                  </a:lnTo>
                  <a:lnTo>
                    <a:pt x="194068" y="670979"/>
                  </a:lnTo>
                  <a:lnTo>
                    <a:pt x="192608" y="664629"/>
                  </a:lnTo>
                  <a:lnTo>
                    <a:pt x="192125" y="662089"/>
                  </a:lnTo>
                  <a:lnTo>
                    <a:pt x="190195" y="651929"/>
                  </a:lnTo>
                  <a:lnTo>
                    <a:pt x="187845" y="655739"/>
                  </a:lnTo>
                  <a:lnTo>
                    <a:pt x="185496" y="662089"/>
                  </a:lnTo>
                  <a:lnTo>
                    <a:pt x="183680" y="653199"/>
                  </a:lnTo>
                  <a:lnTo>
                    <a:pt x="181876" y="651929"/>
                  </a:lnTo>
                  <a:lnTo>
                    <a:pt x="180098" y="655739"/>
                  </a:lnTo>
                  <a:lnTo>
                    <a:pt x="178308" y="665899"/>
                  </a:lnTo>
                  <a:lnTo>
                    <a:pt x="173596" y="670979"/>
                  </a:lnTo>
                  <a:lnTo>
                    <a:pt x="168783" y="669709"/>
                  </a:lnTo>
                  <a:lnTo>
                    <a:pt x="164096" y="667169"/>
                  </a:lnTo>
                  <a:lnTo>
                    <a:pt x="160540" y="672249"/>
                  </a:lnTo>
                  <a:lnTo>
                    <a:pt x="153466" y="665899"/>
                  </a:lnTo>
                  <a:lnTo>
                    <a:pt x="149923" y="670979"/>
                  </a:lnTo>
                  <a:lnTo>
                    <a:pt x="145199" y="679869"/>
                  </a:lnTo>
                  <a:lnTo>
                    <a:pt x="139306" y="673519"/>
                  </a:lnTo>
                  <a:lnTo>
                    <a:pt x="135801" y="669709"/>
                  </a:lnTo>
                  <a:lnTo>
                    <a:pt x="135483" y="668439"/>
                  </a:lnTo>
                  <a:lnTo>
                    <a:pt x="132918" y="658279"/>
                  </a:lnTo>
                  <a:lnTo>
                    <a:pt x="130035" y="663359"/>
                  </a:lnTo>
                  <a:lnTo>
                    <a:pt x="127215" y="668439"/>
                  </a:lnTo>
                  <a:lnTo>
                    <a:pt x="125056" y="662089"/>
                  </a:lnTo>
                  <a:lnTo>
                    <a:pt x="122923" y="659549"/>
                  </a:lnTo>
                  <a:lnTo>
                    <a:pt x="120815" y="660819"/>
                  </a:lnTo>
                  <a:lnTo>
                    <a:pt x="118745" y="669709"/>
                  </a:lnTo>
                  <a:lnTo>
                    <a:pt x="116611" y="659549"/>
                  </a:lnTo>
                  <a:lnTo>
                    <a:pt x="114503" y="665899"/>
                  </a:lnTo>
                  <a:lnTo>
                    <a:pt x="112382" y="673519"/>
                  </a:lnTo>
                  <a:lnTo>
                    <a:pt x="110248" y="672249"/>
                  </a:lnTo>
                  <a:lnTo>
                    <a:pt x="108178" y="678599"/>
                  </a:lnTo>
                  <a:lnTo>
                    <a:pt x="106095" y="682409"/>
                  </a:lnTo>
                  <a:lnTo>
                    <a:pt x="104013" y="681139"/>
                  </a:lnTo>
                  <a:lnTo>
                    <a:pt x="103720" y="679869"/>
                  </a:lnTo>
                  <a:lnTo>
                    <a:pt x="101942" y="672249"/>
                  </a:lnTo>
                  <a:lnTo>
                    <a:pt x="99174" y="679869"/>
                  </a:lnTo>
                  <a:lnTo>
                    <a:pt x="96418" y="677329"/>
                  </a:lnTo>
                  <a:lnTo>
                    <a:pt x="95034" y="674789"/>
                  </a:lnTo>
                  <a:lnTo>
                    <a:pt x="93649" y="672249"/>
                  </a:lnTo>
                  <a:lnTo>
                    <a:pt x="90893" y="674789"/>
                  </a:lnTo>
                  <a:lnTo>
                    <a:pt x="88163" y="669709"/>
                  </a:lnTo>
                  <a:lnTo>
                    <a:pt x="85471" y="672249"/>
                  </a:lnTo>
                  <a:lnTo>
                    <a:pt x="83426" y="673519"/>
                  </a:lnTo>
                  <a:lnTo>
                    <a:pt x="81394" y="676059"/>
                  </a:lnTo>
                  <a:lnTo>
                    <a:pt x="79349" y="677329"/>
                  </a:lnTo>
                  <a:lnTo>
                    <a:pt x="77990" y="674789"/>
                  </a:lnTo>
                  <a:lnTo>
                    <a:pt x="77304" y="673519"/>
                  </a:lnTo>
                  <a:lnTo>
                    <a:pt x="75323" y="667169"/>
                  </a:lnTo>
                  <a:lnTo>
                    <a:pt x="73329" y="662089"/>
                  </a:lnTo>
                  <a:lnTo>
                    <a:pt x="71310" y="663359"/>
                  </a:lnTo>
                  <a:lnTo>
                    <a:pt x="69278" y="674789"/>
                  </a:lnTo>
                  <a:lnTo>
                    <a:pt x="66649" y="669709"/>
                  </a:lnTo>
                  <a:lnTo>
                    <a:pt x="63969" y="670979"/>
                  </a:lnTo>
                  <a:lnTo>
                    <a:pt x="61302" y="678599"/>
                  </a:lnTo>
                  <a:lnTo>
                    <a:pt x="59321" y="686219"/>
                  </a:lnTo>
                  <a:lnTo>
                    <a:pt x="57340" y="683679"/>
                  </a:lnTo>
                  <a:lnTo>
                    <a:pt x="56845" y="682409"/>
                  </a:lnTo>
                  <a:lnTo>
                    <a:pt x="55854" y="679869"/>
                  </a:lnTo>
                  <a:lnTo>
                    <a:pt x="55359" y="678599"/>
                  </a:lnTo>
                  <a:lnTo>
                    <a:pt x="53390" y="677329"/>
                  </a:lnTo>
                  <a:lnTo>
                    <a:pt x="51422" y="679869"/>
                  </a:lnTo>
                  <a:lnTo>
                    <a:pt x="47523" y="674789"/>
                  </a:lnTo>
                  <a:lnTo>
                    <a:pt x="45580" y="678599"/>
                  </a:lnTo>
                  <a:lnTo>
                    <a:pt x="43611" y="682409"/>
                  </a:lnTo>
                  <a:lnTo>
                    <a:pt x="41668" y="679869"/>
                  </a:lnTo>
                  <a:lnTo>
                    <a:pt x="41173" y="678599"/>
                  </a:lnTo>
                  <a:lnTo>
                    <a:pt x="39712" y="674789"/>
                  </a:lnTo>
                  <a:lnTo>
                    <a:pt x="37757" y="674789"/>
                  </a:lnTo>
                  <a:lnTo>
                    <a:pt x="35839" y="678599"/>
                  </a:lnTo>
                  <a:lnTo>
                    <a:pt x="33909" y="673519"/>
                  </a:lnTo>
                  <a:lnTo>
                    <a:pt x="31965" y="669709"/>
                  </a:lnTo>
                  <a:lnTo>
                    <a:pt x="30022" y="674789"/>
                  </a:lnTo>
                  <a:lnTo>
                    <a:pt x="27520" y="679869"/>
                  </a:lnTo>
                  <a:lnTo>
                    <a:pt x="24955" y="672249"/>
                  </a:lnTo>
                  <a:lnTo>
                    <a:pt x="22415" y="676059"/>
                  </a:lnTo>
                  <a:lnTo>
                    <a:pt x="19913" y="683679"/>
                  </a:lnTo>
                  <a:lnTo>
                    <a:pt x="17360" y="688759"/>
                  </a:lnTo>
                  <a:lnTo>
                    <a:pt x="14808" y="677329"/>
                  </a:lnTo>
                  <a:lnTo>
                    <a:pt x="12966" y="676059"/>
                  </a:lnTo>
                  <a:lnTo>
                    <a:pt x="11099" y="672249"/>
                  </a:lnTo>
                  <a:lnTo>
                    <a:pt x="9232" y="669709"/>
                  </a:lnTo>
                  <a:lnTo>
                    <a:pt x="7366" y="674789"/>
                  </a:lnTo>
                  <a:lnTo>
                    <a:pt x="5486" y="677329"/>
                  </a:lnTo>
                  <a:lnTo>
                    <a:pt x="3632" y="672249"/>
                  </a:lnTo>
                  <a:lnTo>
                    <a:pt x="1778" y="669709"/>
                  </a:lnTo>
                  <a:lnTo>
                    <a:pt x="0" y="673519"/>
                  </a:lnTo>
                  <a:lnTo>
                    <a:pt x="0" y="742099"/>
                  </a:lnTo>
                  <a:lnTo>
                    <a:pt x="1838071" y="742099"/>
                  </a:lnTo>
                  <a:lnTo>
                    <a:pt x="1838071" y="711517"/>
                  </a:lnTo>
                  <a:lnTo>
                    <a:pt x="3131693" y="711517"/>
                  </a:lnTo>
                  <a:lnTo>
                    <a:pt x="3131693" y="162877"/>
                  </a:lnTo>
                  <a:lnTo>
                    <a:pt x="3128010" y="160337"/>
                  </a:lnTo>
                  <a:lnTo>
                    <a:pt x="3127438" y="159067"/>
                  </a:lnTo>
                  <a:lnTo>
                    <a:pt x="3129445" y="159067"/>
                  </a:lnTo>
                  <a:lnTo>
                    <a:pt x="3125825" y="155257"/>
                  </a:lnTo>
                  <a:lnTo>
                    <a:pt x="3131693" y="159067"/>
                  </a:lnTo>
                  <a:lnTo>
                    <a:pt x="3131693" y="155257"/>
                  </a:lnTo>
                  <a:lnTo>
                    <a:pt x="3131693" y="145097"/>
                  </a:lnTo>
                  <a:lnTo>
                    <a:pt x="3131693" y="143827"/>
                  </a:lnTo>
                  <a:lnTo>
                    <a:pt x="3131693" y="128587"/>
                  </a:lnTo>
                  <a:lnTo>
                    <a:pt x="3129242" y="128587"/>
                  </a:lnTo>
                  <a:lnTo>
                    <a:pt x="3126752" y="126047"/>
                  </a:lnTo>
                  <a:lnTo>
                    <a:pt x="3131693" y="127317"/>
                  </a:lnTo>
                  <a:lnTo>
                    <a:pt x="3131693" y="126047"/>
                  </a:lnTo>
                  <a:lnTo>
                    <a:pt x="3131693" y="119697"/>
                  </a:lnTo>
                  <a:lnTo>
                    <a:pt x="3128645" y="118427"/>
                  </a:lnTo>
                  <a:lnTo>
                    <a:pt x="3127337" y="115887"/>
                  </a:lnTo>
                  <a:lnTo>
                    <a:pt x="3128670" y="115887"/>
                  </a:lnTo>
                  <a:lnTo>
                    <a:pt x="3131693" y="118427"/>
                  </a:lnTo>
                  <a:lnTo>
                    <a:pt x="3131693" y="115887"/>
                  </a:lnTo>
                  <a:lnTo>
                    <a:pt x="3131693" y="101917"/>
                  </a:lnTo>
                  <a:lnTo>
                    <a:pt x="3131693" y="96837"/>
                  </a:lnTo>
                  <a:lnTo>
                    <a:pt x="3122803" y="100647"/>
                  </a:lnTo>
                  <a:lnTo>
                    <a:pt x="3119094" y="101917"/>
                  </a:lnTo>
                  <a:lnTo>
                    <a:pt x="3118751" y="100647"/>
                  </a:lnTo>
                  <a:lnTo>
                    <a:pt x="3116783" y="98107"/>
                  </a:lnTo>
                  <a:lnTo>
                    <a:pt x="3116745" y="95567"/>
                  </a:lnTo>
                  <a:lnTo>
                    <a:pt x="3119932" y="98107"/>
                  </a:lnTo>
                  <a:lnTo>
                    <a:pt x="3122066" y="99377"/>
                  </a:lnTo>
                  <a:lnTo>
                    <a:pt x="3122079" y="95567"/>
                  </a:lnTo>
                  <a:lnTo>
                    <a:pt x="3129153" y="95567"/>
                  </a:lnTo>
                  <a:lnTo>
                    <a:pt x="3128149" y="94297"/>
                  </a:lnTo>
                  <a:lnTo>
                    <a:pt x="3127667" y="94297"/>
                  </a:lnTo>
                  <a:lnTo>
                    <a:pt x="3126663" y="91757"/>
                  </a:lnTo>
                  <a:lnTo>
                    <a:pt x="3131693" y="90487"/>
                  </a:lnTo>
                  <a:close/>
                </a:path>
                <a:path w="5760085" h="742314">
                  <a:moveTo>
                    <a:pt x="5759983" y="54610"/>
                  </a:moveTo>
                  <a:lnTo>
                    <a:pt x="5745454" y="54610"/>
                  </a:lnTo>
                  <a:lnTo>
                    <a:pt x="5740743" y="52070"/>
                  </a:lnTo>
                  <a:lnTo>
                    <a:pt x="5738380" y="50800"/>
                  </a:lnTo>
                  <a:lnTo>
                    <a:pt x="5738711" y="49530"/>
                  </a:lnTo>
                  <a:lnTo>
                    <a:pt x="5739041" y="48260"/>
                  </a:lnTo>
                  <a:lnTo>
                    <a:pt x="5748921" y="52070"/>
                  </a:lnTo>
                  <a:lnTo>
                    <a:pt x="5748045" y="46990"/>
                  </a:lnTo>
                  <a:lnTo>
                    <a:pt x="5755716" y="48260"/>
                  </a:lnTo>
                  <a:lnTo>
                    <a:pt x="5755297" y="46990"/>
                  </a:lnTo>
                  <a:lnTo>
                    <a:pt x="5754040" y="43180"/>
                  </a:lnTo>
                  <a:lnTo>
                    <a:pt x="5754903" y="41910"/>
                  </a:lnTo>
                  <a:lnTo>
                    <a:pt x="5759183" y="35560"/>
                  </a:lnTo>
                  <a:lnTo>
                    <a:pt x="5743829" y="41910"/>
                  </a:lnTo>
                  <a:lnTo>
                    <a:pt x="5737504" y="39370"/>
                  </a:lnTo>
                  <a:lnTo>
                    <a:pt x="5739841" y="34290"/>
                  </a:lnTo>
                  <a:lnTo>
                    <a:pt x="5746242" y="34290"/>
                  </a:lnTo>
                  <a:lnTo>
                    <a:pt x="5744692" y="31750"/>
                  </a:lnTo>
                  <a:lnTo>
                    <a:pt x="5747372" y="27940"/>
                  </a:lnTo>
                  <a:lnTo>
                    <a:pt x="5749150" y="25400"/>
                  </a:lnTo>
                  <a:lnTo>
                    <a:pt x="5739409" y="27940"/>
                  </a:lnTo>
                  <a:lnTo>
                    <a:pt x="5737593" y="24130"/>
                  </a:lnTo>
                  <a:lnTo>
                    <a:pt x="5739206" y="21590"/>
                  </a:lnTo>
                  <a:lnTo>
                    <a:pt x="5740819" y="19050"/>
                  </a:lnTo>
                  <a:lnTo>
                    <a:pt x="5738533" y="21590"/>
                  </a:lnTo>
                  <a:lnTo>
                    <a:pt x="5735218" y="17780"/>
                  </a:lnTo>
                  <a:lnTo>
                    <a:pt x="5735447" y="1270"/>
                  </a:lnTo>
                  <a:lnTo>
                    <a:pt x="5733491" y="0"/>
                  </a:lnTo>
                  <a:lnTo>
                    <a:pt x="5732335" y="3810"/>
                  </a:lnTo>
                  <a:lnTo>
                    <a:pt x="5732157" y="13970"/>
                  </a:lnTo>
                  <a:lnTo>
                    <a:pt x="5728982" y="19050"/>
                  </a:lnTo>
                  <a:lnTo>
                    <a:pt x="5723890" y="19050"/>
                  </a:lnTo>
                  <a:lnTo>
                    <a:pt x="5728881" y="22860"/>
                  </a:lnTo>
                  <a:lnTo>
                    <a:pt x="5729884" y="27940"/>
                  </a:lnTo>
                  <a:lnTo>
                    <a:pt x="5715774" y="24130"/>
                  </a:lnTo>
                  <a:lnTo>
                    <a:pt x="5721426" y="30480"/>
                  </a:lnTo>
                  <a:lnTo>
                    <a:pt x="5719864" y="35560"/>
                  </a:lnTo>
                  <a:lnTo>
                    <a:pt x="5725122" y="34290"/>
                  </a:lnTo>
                  <a:lnTo>
                    <a:pt x="5728855" y="34290"/>
                  </a:lnTo>
                  <a:lnTo>
                    <a:pt x="5728513" y="36830"/>
                  </a:lnTo>
                  <a:lnTo>
                    <a:pt x="5728259" y="38100"/>
                  </a:lnTo>
                  <a:lnTo>
                    <a:pt x="5721782" y="38100"/>
                  </a:lnTo>
                  <a:lnTo>
                    <a:pt x="5723318" y="41910"/>
                  </a:lnTo>
                  <a:lnTo>
                    <a:pt x="5726506" y="43180"/>
                  </a:lnTo>
                  <a:lnTo>
                    <a:pt x="5722810" y="43180"/>
                  </a:lnTo>
                  <a:lnTo>
                    <a:pt x="5713666" y="40640"/>
                  </a:lnTo>
                  <a:lnTo>
                    <a:pt x="5705437" y="36830"/>
                  </a:lnTo>
                  <a:lnTo>
                    <a:pt x="5707367" y="41910"/>
                  </a:lnTo>
                  <a:lnTo>
                    <a:pt x="5708675" y="45720"/>
                  </a:lnTo>
                  <a:lnTo>
                    <a:pt x="5705106" y="48260"/>
                  </a:lnTo>
                  <a:lnTo>
                    <a:pt x="5708650" y="48260"/>
                  </a:lnTo>
                  <a:lnTo>
                    <a:pt x="5705881" y="54610"/>
                  </a:lnTo>
                  <a:lnTo>
                    <a:pt x="5715762" y="49530"/>
                  </a:lnTo>
                  <a:lnTo>
                    <a:pt x="5715749" y="54610"/>
                  </a:lnTo>
                  <a:lnTo>
                    <a:pt x="5723102" y="52070"/>
                  </a:lnTo>
                  <a:lnTo>
                    <a:pt x="5724690" y="57150"/>
                  </a:lnTo>
                  <a:lnTo>
                    <a:pt x="5718556" y="59690"/>
                  </a:lnTo>
                  <a:lnTo>
                    <a:pt x="5705195" y="59690"/>
                  </a:lnTo>
                  <a:lnTo>
                    <a:pt x="5709526" y="63500"/>
                  </a:lnTo>
                  <a:lnTo>
                    <a:pt x="5706605" y="69850"/>
                  </a:lnTo>
                  <a:lnTo>
                    <a:pt x="5715940" y="66040"/>
                  </a:lnTo>
                  <a:lnTo>
                    <a:pt x="5716003" y="69850"/>
                  </a:lnTo>
                  <a:lnTo>
                    <a:pt x="5710326" y="74930"/>
                  </a:lnTo>
                  <a:lnTo>
                    <a:pt x="5720905" y="72390"/>
                  </a:lnTo>
                  <a:lnTo>
                    <a:pt x="5723471" y="74930"/>
                  </a:lnTo>
                  <a:lnTo>
                    <a:pt x="5718378" y="81280"/>
                  </a:lnTo>
                  <a:lnTo>
                    <a:pt x="5701754" y="88900"/>
                  </a:lnTo>
                  <a:lnTo>
                    <a:pt x="5686247" y="88900"/>
                  </a:lnTo>
                  <a:lnTo>
                    <a:pt x="5690984" y="95250"/>
                  </a:lnTo>
                  <a:lnTo>
                    <a:pt x="5684977" y="102870"/>
                  </a:lnTo>
                  <a:lnTo>
                    <a:pt x="5697080" y="97790"/>
                  </a:lnTo>
                  <a:lnTo>
                    <a:pt x="5696661" y="101600"/>
                  </a:lnTo>
                  <a:lnTo>
                    <a:pt x="5689930" y="111760"/>
                  </a:lnTo>
                  <a:lnTo>
                    <a:pt x="5696026" y="106680"/>
                  </a:lnTo>
                  <a:lnTo>
                    <a:pt x="5697893" y="111760"/>
                  </a:lnTo>
                  <a:lnTo>
                    <a:pt x="5704725" y="106680"/>
                  </a:lnTo>
                  <a:lnTo>
                    <a:pt x="5706427" y="105410"/>
                  </a:lnTo>
                  <a:lnTo>
                    <a:pt x="5707456" y="109220"/>
                  </a:lnTo>
                  <a:lnTo>
                    <a:pt x="5709475" y="107950"/>
                  </a:lnTo>
                  <a:lnTo>
                    <a:pt x="5711482" y="105410"/>
                  </a:lnTo>
                  <a:lnTo>
                    <a:pt x="5712485" y="104140"/>
                  </a:lnTo>
                  <a:lnTo>
                    <a:pt x="5712790" y="107950"/>
                  </a:lnTo>
                  <a:lnTo>
                    <a:pt x="5712968" y="109220"/>
                  </a:lnTo>
                  <a:lnTo>
                    <a:pt x="5713273" y="113030"/>
                  </a:lnTo>
                  <a:lnTo>
                    <a:pt x="5720613" y="105410"/>
                  </a:lnTo>
                  <a:lnTo>
                    <a:pt x="5719775" y="109220"/>
                  </a:lnTo>
                  <a:lnTo>
                    <a:pt x="5718073" y="113030"/>
                  </a:lnTo>
                  <a:lnTo>
                    <a:pt x="5717032" y="113855"/>
                  </a:lnTo>
                  <a:lnTo>
                    <a:pt x="5717032" y="127000"/>
                  </a:lnTo>
                  <a:lnTo>
                    <a:pt x="5711825" y="133350"/>
                  </a:lnTo>
                  <a:lnTo>
                    <a:pt x="5712536" y="135890"/>
                  </a:lnTo>
                  <a:lnTo>
                    <a:pt x="5714784" y="134620"/>
                  </a:lnTo>
                  <a:lnTo>
                    <a:pt x="5714263" y="135204"/>
                  </a:lnTo>
                  <a:lnTo>
                    <a:pt x="5714263" y="175260"/>
                  </a:lnTo>
                  <a:lnTo>
                    <a:pt x="5713590" y="177800"/>
                  </a:lnTo>
                  <a:lnTo>
                    <a:pt x="5709031" y="185420"/>
                  </a:lnTo>
                  <a:lnTo>
                    <a:pt x="5703087" y="191770"/>
                  </a:lnTo>
                  <a:lnTo>
                    <a:pt x="5700954" y="196850"/>
                  </a:lnTo>
                  <a:lnTo>
                    <a:pt x="5697956" y="195580"/>
                  </a:lnTo>
                  <a:lnTo>
                    <a:pt x="5697283" y="195580"/>
                  </a:lnTo>
                  <a:lnTo>
                    <a:pt x="5697982" y="191770"/>
                  </a:lnTo>
                  <a:lnTo>
                    <a:pt x="5698744" y="190500"/>
                  </a:lnTo>
                  <a:lnTo>
                    <a:pt x="5702173" y="190500"/>
                  </a:lnTo>
                  <a:lnTo>
                    <a:pt x="5701703" y="187960"/>
                  </a:lnTo>
                  <a:lnTo>
                    <a:pt x="5704421" y="187960"/>
                  </a:lnTo>
                  <a:lnTo>
                    <a:pt x="5707037" y="186690"/>
                  </a:lnTo>
                  <a:lnTo>
                    <a:pt x="5705360" y="186690"/>
                  </a:lnTo>
                  <a:lnTo>
                    <a:pt x="5709780" y="180340"/>
                  </a:lnTo>
                  <a:lnTo>
                    <a:pt x="5712422" y="176530"/>
                  </a:lnTo>
                  <a:lnTo>
                    <a:pt x="5714263" y="175260"/>
                  </a:lnTo>
                  <a:lnTo>
                    <a:pt x="5714263" y="135204"/>
                  </a:lnTo>
                  <a:lnTo>
                    <a:pt x="5711342" y="138430"/>
                  </a:lnTo>
                  <a:lnTo>
                    <a:pt x="5705043" y="143510"/>
                  </a:lnTo>
                  <a:lnTo>
                    <a:pt x="5705043" y="163830"/>
                  </a:lnTo>
                  <a:lnTo>
                    <a:pt x="5701385" y="168910"/>
                  </a:lnTo>
                  <a:lnTo>
                    <a:pt x="5696750" y="166370"/>
                  </a:lnTo>
                  <a:lnTo>
                    <a:pt x="5701004" y="161290"/>
                  </a:lnTo>
                  <a:lnTo>
                    <a:pt x="5703633" y="160020"/>
                  </a:lnTo>
                  <a:lnTo>
                    <a:pt x="5705043" y="163830"/>
                  </a:lnTo>
                  <a:lnTo>
                    <a:pt x="5705043" y="143510"/>
                  </a:lnTo>
                  <a:lnTo>
                    <a:pt x="5703455" y="144780"/>
                  </a:lnTo>
                  <a:lnTo>
                    <a:pt x="5696712" y="148475"/>
                  </a:lnTo>
                  <a:lnTo>
                    <a:pt x="5696712" y="173990"/>
                  </a:lnTo>
                  <a:lnTo>
                    <a:pt x="5694172" y="176530"/>
                  </a:lnTo>
                  <a:lnTo>
                    <a:pt x="5688622" y="180340"/>
                  </a:lnTo>
                  <a:lnTo>
                    <a:pt x="5684469" y="177800"/>
                  </a:lnTo>
                  <a:lnTo>
                    <a:pt x="5680938" y="173990"/>
                  </a:lnTo>
                  <a:lnTo>
                    <a:pt x="5678627" y="168910"/>
                  </a:lnTo>
                  <a:lnTo>
                    <a:pt x="5686552" y="175260"/>
                  </a:lnTo>
                  <a:lnTo>
                    <a:pt x="5687631" y="168910"/>
                  </a:lnTo>
                  <a:lnTo>
                    <a:pt x="5688736" y="168910"/>
                  </a:lnTo>
                  <a:lnTo>
                    <a:pt x="5696712" y="173990"/>
                  </a:lnTo>
                  <a:lnTo>
                    <a:pt x="5696712" y="148475"/>
                  </a:lnTo>
                  <a:lnTo>
                    <a:pt x="5691835" y="151130"/>
                  </a:lnTo>
                  <a:lnTo>
                    <a:pt x="5680951" y="149860"/>
                  </a:lnTo>
                  <a:lnTo>
                    <a:pt x="5678932" y="148590"/>
                  </a:lnTo>
                  <a:lnTo>
                    <a:pt x="5682373" y="144780"/>
                  </a:lnTo>
                  <a:lnTo>
                    <a:pt x="5681510" y="144475"/>
                  </a:lnTo>
                  <a:lnTo>
                    <a:pt x="5687072" y="142240"/>
                  </a:lnTo>
                  <a:lnTo>
                    <a:pt x="5690235" y="139700"/>
                  </a:lnTo>
                  <a:lnTo>
                    <a:pt x="5696572" y="137160"/>
                  </a:lnTo>
                  <a:lnTo>
                    <a:pt x="5697639" y="143510"/>
                  </a:lnTo>
                  <a:lnTo>
                    <a:pt x="5700255" y="139700"/>
                  </a:lnTo>
                  <a:lnTo>
                    <a:pt x="5700420" y="137160"/>
                  </a:lnTo>
                  <a:lnTo>
                    <a:pt x="5700585" y="134620"/>
                  </a:lnTo>
                  <a:lnTo>
                    <a:pt x="5701639" y="130810"/>
                  </a:lnTo>
                  <a:lnTo>
                    <a:pt x="5704484" y="134620"/>
                  </a:lnTo>
                  <a:lnTo>
                    <a:pt x="5704891" y="138430"/>
                  </a:lnTo>
                  <a:lnTo>
                    <a:pt x="5707710" y="138430"/>
                  </a:lnTo>
                  <a:lnTo>
                    <a:pt x="5712688" y="130810"/>
                  </a:lnTo>
                  <a:lnTo>
                    <a:pt x="5717032" y="127000"/>
                  </a:lnTo>
                  <a:lnTo>
                    <a:pt x="5717032" y="113855"/>
                  </a:lnTo>
                  <a:lnTo>
                    <a:pt x="5711647" y="118110"/>
                  </a:lnTo>
                  <a:lnTo>
                    <a:pt x="5702833" y="121920"/>
                  </a:lnTo>
                  <a:lnTo>
                    <a:pt x="5693613" y="124460"/>
                  </a:lnTo>
                  <a:lnTo>
                    <a:pt x="5690819" y="125564"/>
                  </a:lnTo>
                  <a:lnTo>
                    <a:pt x="5690819" y="134620"/>
                  </a:lnTo>
                  <a:lnTo>
                    <a:pt x="5681167" y="144360"/>
                  </a:lnTo>
                  <a:lnTo>
                    <a:pt x="5675122" y="142240"/>
                  </a:lnTo>
                  <a:lnTo>
                    <a:pt x="5666143" y="138430"/>
                  </a:lnTo>
                  <a:lnTo>
                    <a:pt x="5663933" y="133350"/>
                  </a:lnTo>
                  <a:lnTo>
                    <a:pt x="5677090" y="139700"/>
                  </a:lnTo>
                  <a:lnTo>
                    <a:pt x="5676328" y="135890"/>
                  </a:lnTo>
                  <a:lnTo>
                    <a:pt x="5682348" y="135890"/>
                  </a:lnTo>
                  <a:lnTo>
                    <a:pt x="5682107" y="138430"/>
                  </a:lnTo>
                  <a:lnTo>
                    <a:pt x="5687923" y="135890"/>
                  </a:lnTo>
                  <a:lnTo>
                    <a:pt x="5690819" y="134620"/>
                  </a:lnTo>
                  <a:lnTo>
                    <a:pt x="5690819" y="125564"/>
                  </a:lnTo>
                  <a:lnTo>
                    <a:pt x="5687161" y="127000"/>
                  </a:lnTo>
                  <a:lnTo>
                    <a:pt x="5686590" y="126123"/>
                  </a:lnTo>
                  <a:lnTo>
                    <a:pt x="5686590" y="127000"/>
                  </a:lnTo>
                  <a:lnTo>
                    <a:pt x="5677535" y="129540"/>
                  </a:lnTo>
                  <a:lnTo>
                    <a:pt x="5682666" y="132080"/>
                  </a:lnTo>
                  <a:lnTo>
                    <a:pt x="5682475" y="133350"/>
                  </a:lnTo>
                  <a:lnTo>
                    <a:pt x="5675261" y="128270"/>
                  </a:lnTo>
                  <a:lnTo>
                    <a:pt x="5677230" y="127000"/>
                  </a:lnTo>
                  <a:lnTo>
                    <a:pt x="5674030" y="123190"/>
                  </a:lnTo>
                  <a:lnTo>
                    <a:pt x="5672950" y="121920"/>
                  </a:lnTo>
                  <a:lnTo>
                    <a:pt x="5677649" y="123190"/>
                  </a:lnTo>
                  <a:lnTo>
                    <a:pt x="5680532" y="128270"/>
                  </a:lnTo>
                  <a:lnTo>
                    <a:pt x="5681205" y="123190"/>
                  </a:lnTo>
                  <a:lnTo>
                    <a:pt x="5686590" y="127000"/>
                  </a:lnTo>
                  <a:lnTo>
                    <a:pt x="5686590" y="126123"/>
                  </a:lnTo>
                  <a:lnTo>
                    <a:pt x="5684698" y="123190"/>
                  </a:lnTo>
                  <a:lnTo>
                    <a:pt x="5683872" y="121920"/>
                  </a:lnTo>
                  <a:lnTo>
                    <a:pt x="5683047" y="120650"/>
                  </a:lnTo>
                  <a:lnTo>
                    <a:pt x="5686183" y="121920"/>
                  </a:lnTo>
                  <a:lnTo>
                    <a:pt x="5686145" y="120650"/>
                  </a:lnTo>
                  <a:lnTo>
                    <a:pt x="5686056" y="118110"/>
                  </a:lnTo>
                  <a:lnTo>
                    <a:pt x="5693892" y="114300"/>
                  </a:lnTo>
                  <a:lnTo>
                    <a:pt x="5668137" y="109220"/>
                  </a:lnTo>
                  <a:lnTo>
                    <a:pt x="5665101" y="107950"/>
                  </a:lnTo>
                  <a:lnTo>
                    <a:pt x="5667870" y="106680"/>
                  </a:lnTo>
                  <a:lnTo>
                    <a:pt x="5664886" y="102870"/>
                  </a:lnTo>
                  <a:lnTo>
                    <a:pt x="5678944" y="106680"/>
                  </a:lnTo>
                  <a:lnTo>
                    <a:pt x="5677128" y="102870"/>
                  </a:lnTo>
                  <a:lnTo>
                    <a:pt x="5680735" y="99060"/>
                  </a:lnTo>
                  <a:lnTo>
                    <a:pt x="5658777" y="93980"/>
                  </a:lnTo>
                  <a:lnTo>
                    <a:pt x="5666791" y="93980"/>
                  </a:lnTo>
                  <a:lnTo>
                    <a:pt x="5666765" y="92710"/>
                  </a:lnTo>
                  <a:lnTo>
                    <a:pt x="5666740" y="91440"/>
                  </a:lnTo>
                  <a:lnTo>
                    <a:pt x="5666702" y="90170"/>
                  </a:lnTo>
                  <a:lnTo>
                    <a:pt x="5674118" y="95250"/>
                  </a:lnTo>
                  <a:lnTo>
                    <a:pt x="5673725" y="90170"/>
                  </a:lnTo>
                  <a:lnTo>
                    <a:pt x="5679376" y="85090"/>
                  </a:lnTo>
                  <a:lnTo>
                    <a:pt x="5671312" y="83820"/>
                  </a:lnTo>
                  <a:lnTo>
                    <a:pt x="5672810" y="81280"/>
                  </a:lnTo>
                  <a:lnTo>
                    <a:pt x="5677230" y="77470"/>
                  </a:lnTo>
                  <a:lnTo>
                    <a:pt x="5671655" y="77470"/>
                  </a:lnTo>
                  <a:lnTo>
                    <a:pt x="5675808" y="72390"/>
                  </a:lnTo>
                  <a:lnTo>
                    <a:pt x="5657215" y="78740"/>
                  </a:lnTo>
                  <a:lnTo>
                    <a:pt x="5654281" y="73660"/>
                  </a:lnTo>
                  <a:lnTo>
                    <a:pt x="5652808" y="71120"/>
                  </a:lnTo>
                  <a:lnTo>
                    <a:pt x="5660187" y="77470"/>
                  </a:lnTo>
                  <a:lnTo>
                    <a:pt x="5660212" y="72390"/>
                  </a:lnTo>
                  <a:lnTo>
                    <a:pt x="5667273" y="73660"/>
                  </a:lnTo>
                  <a:lnTo>
                    <a:pt x="5666448" y="72390"/>
                  </a:lnTo>
                  <a:lnTo>
                    <a:pt x="5665622" y="71120"/>
                  </a:lnTo>
                  <a:lnTo>
                    <a:pt x="5664784" y="69850"/>
                  </a:lnTo>
                  <a:lnTo>
                    <a:pt x="5671134" y="68580"/>
                  </a:lnTo>
                  <a:lnTo>
                    <a:pt x="5666702" y="66040"/>
                  </a:lnTo>
                  <a:lnTo>
                    <a:pt x="5662384" y="64770"/>
                  </a:lnTo>
                  <a:lnTo>
                    <a:pt x="5659513" y="63500"/>
                  </a:lnTo>
                  <a:lnTo>
                    <a:pt x="5667375" y="62230"/>
                  </a:lnTo>
                  <a:lnTo>
                    <a:pt x="5662117" y="58420"/>
                  </a:lnTo>
                  <a:lnTo>
                    <a:pt x="5665025" y="54610"/>
                  </a:lnTo>
                  <a:lnTo>
                    <a:pt x="5666956" y="52070"/>
                  </a:lnTo>
                  <a:lnTo>
                    <a:pt x="5661304" y="54610"/>
                  </a:lnTo>
                  <a:lnTo>
                    <a:pt x="5657875" y="53340"/>
                  </a:lnTo>
                  <a:lnTo>
                    <a:pt x="5660085" y="50800"/>
                  </a:lnTo>
                  <a:lnTo>
                    <a:pt x="5661177" y="49530"/>
                  </a:lnTo>
                  <a:lnTo>
                    <a:pt x="5651805" y="50800"/>
                  </a:lnTo>
                  <a:lnTo>
                    <a:pt x="5657926" y="44450"/>
                  </a:lnTo>
                  <a:lnTo>
                    <a:pt x="5651970" y="41910"/>
                  </a:lnTo>
                  <a:lnTo>
                    <a:pt x="5650700" y="27940"/>
                  </a:lnTo>
                  <a:lnTo>
                    <a:pt x="5649557" y="21590"/>
                  </a:lnTo>
                  <a:lnTo>
                    <a:pt x="5648909" y="22860"/>
                  </a:lnTo>
                  <a:lnTo>
                    <a:pt x="5648604" y="22860"/>
                  </a:lnTo>
                  <a:lnTo>
                    <a:pt x="5647956" y="24130"/>
                  </a:lnTo>
                  <a:lnTo>
                    <a:pt x="5647652" y="35560"/>
                  </a:lnTo>
                  <a:lnTo>
                    <a:pt x="5645518" y="41910"/>
                  </a:lnTo>
                  <a:lnTo>
                    <a:pt x="5642902" y="43180"/>
                  </a:lnTo>
                  <a:lnTo>
                    <a:pt x="5641187" y="44450"/>
                  </a:lnTo>
                  <a:lnTo>
                    <a:pt x="5645048" y="46990"/>
                  </a:lnTo>
                  <a:lnTo>
                    <a:pt x="5634621" y="50800"/>
                  </a:lnTo>
                  <a:lnTo>
                    <a:pt x="5638533" y="54610"/>
                  </a:lnTo>
                  <a:lnTo>
                    <a:pt x="5635637" y="57150"/>
                  </a:lnTo>
                  <a:lnTo>
                    <a:pt x="5644489" y="59690"/>
                  </a:lnTo>
                  <a:lnTo>
                    <a:pt x="5636946" y="63500"/>
                  </a:lnTo>
                  <a:lnTo>
                    <a:pt x="5629541" y="64770"/>
                  </a:lnTo>
                  <a:lnTo>
                    <a:pt x="5636641" y="67310"/>
                  </a:lnTo>
                  <a:lnTo>
                    <a:pt x="5635498" y="72390"/>
                  </a:lnTo>
                  <a:lnTo>
                    <a:pt x="5640159" y="69850"/>
                  </a:lnTo>
                  <a:lnTo>
                    <a:pt x="5640057" y="74930"/>
                  </a:lnTo>
                  <a:lnTo>
                    <a:pt x="5644299" y="73660"/>
                  </a:lnTo>
                  <a:lnTo>
                    <a:pt x="5637758" y="78740"/>
                  </a:lnTo>
                  <a:lnTo>
                    <a:pt x="5616956" y="73660"/>
                  </a:lnTo>
                  <a:lnTo>
                    <a:pt x="5619864" y="76200"/>
                  </a:lnTo>
                  <a:lnTo>
                    <a:pt x="5615762" y="80010"/>
                  </a:lnTo>
                  <a:lnTo>
                    <a:pt x="5624093" y="78740"/>
                  </a:lnTo>
                  <a:lnTo>
                    <a:pt x="5617375" y="83820"/>
                  </a:lnTo>
                  <a:lnTo>
                    <a:pt x="5623725" y="86360"/>
                  </a:lnTo>
                  <a:lnTo>
                    <a:pt x="5615546" y="93980"/>
                  </a:lnTo>
                  <a:lnTo>
                    <a:pt x="5621845" y="91440"/>
                  </a:lnTo>
                  <a:lnTo>
                    <a:pt x="5624804" y="96520"/>
                  </a:lnTo>
                  <a:lnTo>
                    <a:pt x="5630837" y="91440"/>
                  </a:lnTo>
                  <a:lnTo>
                    <a:pt x="5627471" y="97790"/>
                  </a:lnTo>
                  <a:lnTo>
                    <a:pt x="5625198" y="101600"/>
                  </a:lnTo>
                  <a:lnTo>
                    <a:pt x="5630519" y="97790"/>
                  </a:lnTo>
                  <a:lnTo>
                    <a:pt x="5635015" y="101600"/>
                  </a:lnTo>
                  <a:lnTo>
                    <a:pt x="5636996" y="97790"/>
                  </a:lnTo>
                  <a:lnTo>
                    <a:pt x="5639613" y="92710"/>
                  </a:lnTo>
                  <a:lnTo>
                    <a:pt x="5641086" y="99060"/>
                  </a:lnTo>
                  <a:lnTo>
                    <a:pt x="5630380" y="105410"/>
                  </a:lnTo>
                  <a:lnTo>
                    <a:pt x="5611800" y="109220"/>
                  </a:lnTo>
                  <a:lnTo>
                    <a:pt x="5613260" y="111760"/>
                  </a:lnTo>
                  <a:lnTo>
                    <a:pt x="5604459" y="111760"/>
                  </a:lnTo>
                  <a:lnTo>
                    <a:pt x="5613578" y="118110"/>
                  </a:lnTo>
                  <a:lnTo>
                    <a:pt x="5609831" y="121920"/>
                  </a:lnTo>
                  <a:lnTo>
                    <a:pt x="5624500" y="118110"/>
                  </a:lnTo>
                  <a:lnTo>
                    <a:pt x="5622861" y="121920"/>
                  </a:lnTo>
                  <a:lnTo>
                    <a:pt x="5613959" y="129540"/>
                  </a:lnTo>
                  <a:lnTo>
                    <a:pt x="5620956" y="129540"/>
                  </a:lnTo>
                  <a:lnTo>
                    <a:pt x="5621579" y="134620"/>
                  </a:lnTo>
                  <a:lnTo>
                    <a:pt x="5626684" y="127000"/>
                  </a:lnTo>
                  <a:lnTo>
                    <a:pt x="5629834" y="130810"/>
                  </a:lnTo>
                  <a:lnTo>
                    <a:pt x="5630456" y="127000"/>
                  </a:lnTo>
                  <a:lnTo>
                    <a:pt x="5631065" y="123190"/>
                  </a:lnTo>
                  <a:lnTo>
                    <a:pt x="5634037" y="124460"/>
                  </a:lnTo>
                  <a:lnTo>
                    <a:pt x="5636006" y="128270"/>
                  </a:lnTo>
                  <a:lnTo>
                    <a:pt x="5627408" y="135890"/>
                  </a:lnTo>
                  <a:lnTo>
                    <a:pt x="5634291" y="138430"/>
                  </a:lnTo>
                  <a:lnTo>
                    <a:pt x="5631929" y="142240"/>
                  </a:lnTo>
                  <a:lnTo>
                    <a:pt x="5631713" y="142303"/>
                  </a:lnTo>
                  <a:lnTo>
                    <a:pt x="5631713" y="160020"/>
                  </a:lnTo>
                  <a:lnTo>
                    <a:pt x="5627471" y="166370"/>
                  </a:lnTo>
                  <a:lnTo>
                    <a:pt x="5621845" y="168757"/>
                  </a:lnTo>
                  <a:lnTo>
                    <a:pt x="5621845" y="271780"/>
                  </a:lnTo>
                  <a:lnTo>
                    <a:pt x="5618200" y="273050"/>
                  </a:lnTo>
                  <a:lnTo>
                    <a:pt x="5620118" y="267970"/>
                  </a:lnTo>
                  <a:lnTo>
                    <a:pt x="5621845" y="271780"/>
                  </a:lnTo>
                  <a:lnTo>
                    <a:pt x="5621845" y="168757"/>
                  </a:lnTo>
                  <a:lnTo>
                    <a:pt x="5618772" y="170065"/>
                  </a:lnTo>
                  <a:lnTo>
                    <a:pt x="5618772" y="208280"/>
                  </a:lnTo>
                  <a:lnTo>
                    <a:pt x="5611685" y="223520"/>
                  </a:lnTo>
                  <a:lnTo>
                    <a:pt x="5614771" y="223520"/>
                  </a:lnTo>
                  <a:lnTo>
                    <a:pt x="5613438" y="226060"/>
                  </a:lnTo>
                  <a:lnTo>
                    <a:pt x="5609958" y="227330"/>
                  </a:lnTo>
                  <a:lnTo>
                    <a:pt x="5605970" y="227330"/>
                  </a:lnTo>
                  <a:lnTo>
                    <a:pt x="5599239" y="226060"/>
                  </a:lnTo>
                  <a:lnTo>
                    <a:pt x="5600027" y="224790"/>
                  </a:lnTo>
                  <a:lnTo>
                    <a:pt x="5601601" y="222250"/>
                  </a:lnTo>
                  <a:lnTo>
                    <a:pt x="5603786" y="226060"/>
                  </a:lnTo>
                  <a:lnTo>
                    <a:pt x="5605399" y="222250"/>
                  </a:lnTo>
                  <a:lnTo>
                    <a:pt x="5606466" y="219710"/>
                  </a:lnTo>
                  <a:lnTo>
                    <a:pt x="5606897" y="215900"/>
                  </a:lnTo>
                  <a:lnTo>
                    <a:pt x="5607037" y="214630"/>
                  </a:lnTo>
                  <a:lnTo>
                    <a:pt x="5608510" y="215900"/>
                  </a:lnTo>
                  <a:lnTo>
                    <a:pt x="5612612" y="215900"/>
                  </a:lnTo>
                  <a:lnTo>
                    <a:pt x="5612955" y="214630"/>
                  </a:lnTo>
                  <a:lnTo>
                    <a:pt x="5614327" y="209550"/>
                  </a:lnTo>
                  <a:lnTo>
                    <a:pt x="5614886" y="207010"/>
                  </a:lnTo>
                  <a:lnTo>
                    <a:pt x="5615444" y="204470"/>
                  </a:lnTo>
                  <a:lnTo>
                    <a:pt x="5616575" y="204470"/>
                  </a:lnTo>
                  <a:lnTo>
                    <a:pt x="5616651" y="209550"/>
                  </a:lnTo>
                  <a:lnTo>
                    <a:pt x="5618772" y="208280"/>
                  </a:lnTo>
                  <a:lnTo>
                    <a:pt x="5618772" y="170065"/>
                  </a:lnTo>
                  <a:lnTo>
                    <a:pt x="5609514" y="173990"/>
                  </a:lnTo>
                  <a:lnTo>
                    <a:pt x="5613743" y="176530"/>
                  </a:lnTo>
                  <a:lnTo>
                    <a:pt x="5603799" y="182880"/>
                  </a:lnTo>
                  <a:lnTo>
                    <a:pt x="5596458" y="185051"/>
                  </a:lnTo>
                  <a:lnTo>
                    <a:pt x="5596458" y="217170"/>
                  </a:lnTo>
                  <a:lnTo>
                    <a:pt x="5596204" y="218440"/>
                  </a:lnTo>
                  <a:lnTo>
                    <a:pt x="5595150" y="224790"/>
                  </a:lnTo>
                  <a:lnTo>
                    <a:pt x="5589168" y="220980"/>
                  </a:lnTo>
                  <a:lnTo>
                    <a:pt x="5590210" y="219710"/>
                  </a:lnTo>
                  <a:lnTo>
                    <a:pt x="5592292" y="217170"/>
                  </a:lnTo>
                  <a:lnTo>
                    <a:pt x="5593321" y="215900"/>
                  </a:lnTo>
                  <a:lnTo>
                    <a:pt x="5596458" y="217170"/>
                  </a:lnTo>
                  <a:lnTo>
                    <a:pt x="5596458" y="185051"/>
                  </a:lnTo>
                  <a:lnTo>
                    <a:pt x="5590870" y="186690"/>
                  </a:lnTo>
                  <a:lnTo>
                    <a:pt x="5584126" y="182880"/>
                  </a:lnTo>
                  <a:lnTo>
                    <a:pt x="5579580" y="179997"/>
                  </a:lnTo>
                  <a:lnTo>
                    <a:pt x="5579580" y="205740"/>
                  </a:lnTo>
                  <a:lnTo>
                    <a:pt x="5577332" y="207010"/>
                  </a:lnTo>
                  <a:lnTo>
                    <a:pt x="5576570" y="203200"/>
                  </a:lnTo>
                  <a:lnTo>
                    <a:pt x="5578043" y="200660"/>
                  </a:lnTo>
                  <a:lnTo>
                    <a:pt x="5579580" y="205740"/>
                  </a:lnTo>
                  <a:lnTo>
                    <a:pt x="5579580" y="179997"/>
                  </a:lnTo>
                  <a:lnTo>
                    <a:pt x="5576125" y="177800"/>
                  </a:lnTo>
                  <a:lnTo>
                    <a:pt x="5575300" y="176530"/>
                  </a:lnTo>
                  <a:lnTo>
                    <a:pt x="5570321" y="168910"/>
                  </a:lnTo>
                  <a:lnTo>
                    <a:pt x="5568708" y="165100"/>
                  </a:lnTo>
                  <a:lnTo>
                    <a:pt x="5575300" y="172720"/>
                  </a:lnTo>
                  <a:lnTo>
                    <a:pt x="5578322" y="175260"/>
                  </a:lnTo>
                  <a:lnTo>
                    <a:pt x="5579288" y="172720"/>
                  </a:lnTo>
                  <a:lnTo>
                    <a:pt x="5585879" y="179070"/>
                  </a:lnTo>
                  <a:lnTo>
                    <a:pt x="5584939" y="175260"/>
                  </a:lnTo>
                  <a:lnTo>
                    <a:pt x="5584507" y="172720"/>
                  </a:lnTo>
                  <a:lnTo>
                    <a:pt x="5584291" y="171450"/>
                  </a:lnTo>
                  <a:lnTo>
                    <a:pt x="5581066" y="168910"/>
                  </a:lnTo>
                  <a:lnTo>
                    <a:pt x="5581967" y="165100"/>
                  </a:lnTo>
                  <a:lnTo>
                    <a:pt x="5588063" y="168910"/>
                  </a:lnTo>
                  <a:lnTo>
                    <a:pt x="5590883" y="176530"/>
                  </a:lnTo>
                  <a:lnTo>
                    <a:pt x="5593473" y="172720"/>
                  </a:lnTo>
                  <a:lnTo>
                    <a:pt x="5597741" y="180340"/>
                  </a:lnTo>
                  <a:lnTo>
                    <a:pt x="5600573" y="175260"/>
                  </a:lnTo>
                  <a:lnTo>
                    <a:pt x="5604726" y="177800"/>
                  </a:lnTo>
                  <a:lnTo>
                    <a:pt x="5604129" y="175260"/>
                  </a:lnTo>
                  <a:lnTo>
                    <a:pt x="5603532" y="172720"/>
                  </a:lnTo>
                  <a:lnTo>
                    <a:pt x="5603227" y="171450"/>
                  </a:lnTo>
                  <a:lnTo>
                    <a:pt x="5595048" y="165100"/>
                  </a:lnTo>
                  <a:lnTo>
                    <a:pt x="5594286" y="161290"/>
                  </a:lnTo>
                  <a:lnTo>
                    <a:pt x="5596572" y="162560"/>
                  </a:lnTo>
                  <a:lnTo>
                    <a:pt x="5596814" y="162560"/>
                  </a:lnTo>
                  <a:lnTo>
                    <a:pt x="5602135" y="166370"/>
                  </a:lnTo>
                  <a:lnTo>
                    <a:pt x="5608193" y="166370"/>
                  </a:lnTo>
                  <a:lnTo>
                    <a:pt x="5607329" y="163830"/>
                  </a:lnTo>
                  <a:lnTo>
                    <a:pt x="5611787" y="160020"/>
                  </a:lnTo>
                  <a:lnTo>
                    <a:pt x="5610212" y="168910"/>
                  </a:lnTo>
                  <a:lnTo>
                    <a:pt x="5616549" y="165100"/>
                  </a:lnTo>
                  <a:lnTo>
                    <a:pt x="5619724" y="167640"/>
                  </a:lnTo>
                  <a:lnTo>
                    <a:pt x="5620067" y="165100"/>
                  </a:lnTo>
                  <a:lnTo>
                    <a:pt x="5620740" y="160020"/>
                  </a:lnTo>
                  <a:lnTo>
                    <a:pt x="5621071" y="157480"/>
                  </a:lnTo>
                  <a:lnTo>
                    <a:pt x="5624588" y="161290"/>
                  </a:lnTo>
                  <a:lnTo>
                    <a:pt x="5631713" y="160020"/>
                  </a:lnTo>
                  <a:lnTo>
                    <a:pt x="5631713" y="142303"/>
                  </a:lnTo>
                  <a:lnTo>
                    <a:pt x="5592991" y="153670"/>
                  </a:lnTo>
                  <a:lnTo>
                    <a:pt x="5589295" y="152400"/>
                  </a:lnTo>
                  <a:lnTo>
                    <a:pt x="5578475" y="147320"/>
                  </a:lnTo>
                  <a:lnTo>
                    <a:pt x="5570626" y="139700"/>
                  </a:lnTo>
                  <a:lnTo>
                    <a:pt x="5569242" y="135890"/>
                  </a:lnTo>
                  <a:lnTo>
                    <a:pt x="5568302" y="133350"/>
                  </a:lnTo>
                  <a:lnTo>
                    <a:pt x="5568848" y="129540"/>
                  </a:lnTo>
                  <a:lnTo>
                    <a:pt x="5577344" y="140970"/>
                  </a:lnTo>
                  <a:lnTo>
                    <a:pt x="5576621" y="134620"/>
                  </a:lnTo>
                  <a:lnTo>
                    <a:pt x="5575300" y="129540"/>
                  </a:lnTo>
                  <a:lnTo>
                    <a:pt x="5574627" y="127000"/>
                  </a:lnTo>
                  <a:lnTo>
                    <a:pt x="5584393" y="143510"/>
                  </a:lnTo>
                  <a:lnTo>
                    <a:pt x="5586234" y="137160"/>
                  </a:lnTo>
                  <a:lnTo>
                    <a:pt x="5592953" y="147320"/>
                  </a:lnTo>
                  <a:lnTo>
                    <a:pt x="5592381" y="142240"/>
                  </a:lnTo>
                  <a:lnTo>
                    <a:pt x="5593753" y="140970"/>
                  </a:lnTo>
                  <a:lnTo>
                    <a:pt x="5598553" y="143510"/>
                  </a:lnTo>
                  <a:lnTo>
                    <a:pt x="5601297" y="140970"/>
                  </a:lnTo>
                  <a:lnTo>
                    <a:pt x="5602668" y="139700"/>
                  </a:lnTo>
                  <a:lnTo>
                    <a:pt x="5596801" y="137160"/>
                  </a:lnTo>
                  <a:lnTo>
                    <a:pt x="5593854" y="135890"/>
                  </a:lnTo>
                  <a:lnTo>
                    <a:pt x="5586666" y="129540"/>
                  </a:lnTo>
                  <a:lnTo>
                    <a:pt x="5585523" y="127000"/>
                  </a:lnTo>
                  <a:lnTo>
                    <a:pt x="5584939" y="125730"/>
                  </a:lnTo>
                  <a:lnTo>
                    <a:pt x="5587568" y="120650"/>
                  </a:lnTo>
                  <a:lnTo>
                    <a:pt x="5589765" y="124460"/>
                  </a:lnTo>
                  <a:lnTo>
                    <a:pt x="5595810" y="130810"/>
                  </a:lnTo>
                  <a:lnTo>
                    <a:pt x="5594502" y="120650"/>
                  </a:lnTo>
                  <a:lnTo>
                    <a:pt x="5601919" y="127000"/>
                  </a:lnTo>
                  <a:lnTo>
                    <a:pt x="5600611" y="120650"/>
                  </a:lnTo>
                  <a:lnTo>
                    <a:pt x="5600077" y="118110"/>
                  </a:lnTo>
                  <a:lnTo>
                    <a:pt x="5610961" y="116840"/>
                  </a:lnTo>
                  <a:lnTo>
                    <a:pt x="5595086" y="111760"/>
                  </a:lnTo>
                  <a:lnTo>
                    <a:pt x="5594401" y="110490"/>
                  </a:lnTo>
                  <a:lnTo>
                    <a:pt x="5597525" y="109220"/>
                  </a:lnTo>
                  <a:lnTo>
                    <a:pt x="5589625" y="106680"/>
                  </a:lnTo>
                  <a:lnTo>
                    <a:pt x="5585663" y="105410"/>
                  </a:lnTo>
                  <a:lnTo>
                    <a:pt x="5577751" y="102870"/>
                  </a:lnTo>
                  <a:lnTo>
                    <a:pt x="5574792" y="99060"/>
                  </a:lnTo>
                  <a:lnTo>
                    <a:pt x="5569839" y="92710"/>
                  </a:lnTo>
                  <a:lnTo>
                    <a:pt x="5568747" y="87630"/>
                  </a:lnTo>
                  <a:lnTo>
                    <a:pt x="5571401" y="88900"/>
                  </a:lnTo>
                  <a:lnTo>
                    <a:pt x="5579923" y="99060"/>
                  </a:lnTo>
                  <a:lnTo>
                    <a:pt x="5580265" y="96520"/>
                  </a:lnTo>
                  <a:lnTo>
                    <a:pt x="5579707" y="92710"/>
                  </a:lnTo>
                  <a:lnTo>
                    <a:pt x="5580964" y="92710"/>
                  </a:lnTo>
                  <a:lnTo>
                    <a:pt x="5583072" y="95250"/>
                  </a:lnTo>
                  <a:lnTo>
                    <a:pt x="5587835" y="100330"/>
                  </a:lnTo>
                  <a:lnTo>
                    <a:pt x="5587454" y="93980"/>
                  </a:lnTo>
                  <a:lnTo>
                    <a:pt x="5589841" y="93980"/>
                  </a:lnTo>
                  <a:lnTo>
                    <a:pt x="5596712" y="97790"/>
                  </a:lnTo>
                  <a:lnTo>
                    <a:pt x="5594972" y="93980"/>
                  </a:lnTo>
                  <a:lnTo>
                    <a:pt x="5594388" y="92710"/>
                  </a:lnTo>
                  <a:lnTo>
                    <a:pt x="5603278" y="88900"/>
                  </a:lnTo>
                  <a:lnTo>
                    <a:pt x="5591581" y="87630"/>
                  </a:lnTo>
                  <a:lnTo>
                    <a:pt x="5585320" y="86360"/>
                  </a:lnTo>
                  <a:lnTo>
                    <a:pt x="5589346" y="83820"/>
                  </a:lnTo>
                  <a:lnTo>
                    <a:pt x="5575287" y="80010"/>
                  </a:lnTo>
                  <a:lnTo>
                    <a:pt x="5569356" y="74930"/>
                  </a:lnTo>
                  <a:lnTo>
                    <a:pt x="5569636" y="72390"/>
                  </a:lnTo>
                  <a:lnTo>
                    <a:pt x="5576938" y="73660"/>
                  </a:lnTo>
                  <a:lnTo>
                    <a:pt x="5575643" y="72390"/>
                  </a:lnTo>
                  <a:lnTo>
                    <a:pt x="5570448" y="67310"/>
                  </a:lnTo>
                  <a:lnTo>
                    <a:pt x="5566549" y="63500"/>
                  </a:lnTo>
                  <a:lnTo>
                    <a:pt x="5572480" y="63500"/>
                  </a:lnTo>
                  <a:lnTo>
                    <a:pt x="5580367" y="67310"/>
                  </a:lnTo>
                  <a:lnTo>
                    <a:pt x="5580405" y="63500"/>
                  </a:lnTo>
                  <a:lnTo>
                    <a:pt x="5580431" y="59690"/>
                  </a:lnTo>
                  <a:lnTo>
                    <a:pt x="5586590" y="55880"/>
                  </a:lnTo>
                  <a:lnTo>
                    <a:pt x="5570613" y="55880"/>
                  </a:lnTo>
                  <a:lnTo>
                    <a:pt x="5565889" y="53340"/>
                  </a:lnTo>
                  <a:lnTo>
                    <a:pt x="5563527" y="52070"/>
                  </a:lnTo>
                  <a:lnTo>
                    <a:pt x="5563806" y="52070"/>
                  </a:lnTo>
                  <a:lnTo>
                    <a:pt x="5563921" y="50800"/>
                  </a:lnTo>
                  <a:lnTo>
                    <a:pt x="5564200" y="49530"/>
                  </a:lnTo>
                  <a:lnTo>
                    <a:pt x="5574081" y="53340"/>
                  </a:lnTo>
                  <a:lnTo>
                    <a:pt x="5573192" y="48260"/>
                  </a:lnTo>
                  <a:lnTo>
                    <a:pt x="5580888" y="50800"/>
                  </a:lnTo>
                  <a:lnTo>
                    <a:pt x="5580037" y="48260"/>
                  </a:lnTo>
                  <a:lnTo>
                    <a:pt x="5579186" y="45720"/>
                  </a:lnTo>
                  <a:lnTo>
                    <a:pt x="5580659" y="43180"/>
                  </a:lnTo>
                  <a:lnTo>
                    <a:pt x="5584329" y="36830"/>
                  </a:lnTo>
                  <a:lnTo>
                    <a:pt x="5568975" y="43180"/>
                  </a:lnTo>
                  <a:lnTo>
                    <a:pt x="5562663" y="40640"/>
                  </a:lnTo>
                  <a:lnTo>
                    <a:pt x="5565000" y="35560"/>
                  </a:lnTo>
                  <a:lnTo>
                    <a:pt x="5571401" y="35560"/>
                  </a:lnTo>
                  <a:lnTo>
                    <a:pt x="5569864" y="33020"/>
                  </a:lnTo>
                  <a:lnTo>
                    <a:pt x="5572531" y="29210"/>
                  </a:lnTo>
                  <a:lnTo>
                    <a:pt x="5574322" y="26670"/>
                  </a:lnTo>
                  <a:lnTo>
                    <a:pt x="5564568" y="29210"/>
                  </a:lnTo>
                  <a:lnTo>
                    <a:pt x="5562765" y="26670"/>
                  </a:lnTo>
                  <a:lnTo>
                    <a:pt x="5564695" y="22860"/>
                  </a:lnTo>
                  <a:lnTo>
                    <a:pt x="5565978" y="20320"/>
                  </a:lnTo>
                  <a:lnTo>
                    <a:pt x="5563692" y="22860"/>
                  </a:lnTo>
                  <a:lnTo>
                    <a:pt x="5560365" y="19050"/>
                  </a:lnTo>
                  <a:lnTo>
                    <a:pt x="5560606" y="2540"/>
                  </a:lnTo>
                  <a:lnTo>
                    <a:pt x="5558663" y="1270"/>
                  </a:lnTo>
                  <a:lnTo>
                    <a:pt x="5557494" y="5080"/>
                  </a:lnTo>
                  <a:lnTo>
                    <a:pt x="5557317" y="15240"/>
                  </a:lnTo>
                  <a:lnTo>
                    <a:pt x="5554142" y="20320"/>
                  </a:lnTo>
                  <a:lnTo>
                    <a:pt x="5549062" y="20320"/>
                  </a:lnTo>
                  <a:lnTo>
                    <a:pt x="5554027" y="24130"/>
                  </a:lnTo>
                  <a:lnTo>
                    <a:pt x="5555056" y="29210"/>
                  </a:lnTo>
                  <a:lnTo>
                    <a:pt x="5540934" y="25400"/>
                  </a:lnTo>
                  <a:lnTo>
                    <a:pt x="5546585" y="31750"/>
                  </a:lnTo>
                  <a:lnTo>
                    <a:pt x="5545010" y="36830"/>
                  </a:lnTo>
                  <a:lnTo>
                    <a:pt x="5550281" y="35560"/>
                  </a:lnTo>
                  <a:lnTo>
                    <a:pt x="5554015" y="35560"/>
                  </a:lnTo>
                  <a:lnTo>
                    <a:pt x="5553418" y="39370"/>
                  </a:lnTo>
                  <a:lnTo>
                    <a:pt x="5549506" y="40640"/>
                  </a:lnTo>
                  <a:lnTo>
                    <a:pt x="5546941" y="39370"/>
                  </a:lnTo>
                  <a:lnTo>
                    <a:pt x="5548490" y="43180"/>
                  </a:lnTo>
                  <a:lnTo>
                    <a:pt x="5551665" y="44450"/>
                  </a:lnTo>
                  <a:lnTo>
                    <a:pt x="5547969" y="45720"/>
                  </a:lnTo>
                  <a:lnTo>
                    <a:pt x="5538825" y="41910"/>
                  </a:lnTo>
                  <a:lnTo>
                    <a:pt x="5530596" y="38100"/>
                  </a:lnTo>
                  <a:lnTo>
                    <a:pt x="5533822" y="46990"/>
                  </a:lnTo>
                  <a:lnTo>
                    <a:pt x="5530266" y="49530"/>
                  </a:lnTo>
                  <a:lnTo>
                    <a:pt x="5533809" y="49530"/>
                  </a:lnTo>
                  <a:lnTo>
                    <a:pt x="5531040" y="55880"/>
                  </a:lnTo>
                  <a:lnTo>
                    <a:pt x="5540921" y="50800"/>
                  </a:lnTo>
                  <a:lnTo>
                    <a:pt x="5540895" y="55880"/>
                  </a:lnTo>
                  <a:lnTo>
                    <a:pt x="5548261" y="53340"/>
                  </a:lnTo>
                  <a:lnTo>
                    <a:pt x="5548884" y="55880"/>
                  </a:lnTo>
                  <a:lnTo>
                    <a:pt x="5549849" y="58420"/>
                  </a:lnTo>
                  <a:lnTo>
                    <a:pt x="5543715" y="60960"/>
                  </a:lnTo>
                  <a:lnTo>
                    <a:pt x="5530342" y="60960"/>
                  </a:lnTo>
                  <a:lnTo>
                    <a:pt x="5534685" y="64770"/>
                  </a:lnTo>
                  <a:lnTo>
                    <a:pt x="5531751" y="71120"/>
                  </a:lnTo>
                  <a:lnTo>
                    <a:pt x="5541099" y="67310"/>
                  </a:lnTo>
                  <a:lnTo>
                    <a:pt x="5541175" y="72390"/>
                  </a:lnTo>
                  <a:lnTo>
                    <a:pt x="5535485" y="76200"/>
                  </a:lnTo>
                  <a:lnTo>
                    <a:pt x="5545798" y="74930"/>
                  </a:lnTo>
                  <a:lnTo>
                    <a:pt x="5548630" y="76200"/>
                  </a:lnTo>
                  <a:lnTo>
                    <a:pt x="5543524" y="82550"/>
                  </a:lnTo>
                  <a:lnTo>
                    <a:pt x="5526900" y="90170"/>
                  </a:lnTo>
                  <a:lnTo>
                    <a:pt x="5511393" y="90170"/>
                  </a:lnTo>
                  <a:lnTo>
                    <a:pt x="5516143" y="96520"/>
                  </a:lnTo>
                  <a:lnTo>
                    <a:pt x="5510136" y="104140"/>
                  </a:lnTo>
                  <a:lnTo>
                    <a:pt x="5522226" y="99060"/>
                  </a:lnTo>
                  <a:lnTo>
                    <a:pt x="5521807" y="102870"/>
                  </a:lnTo>
                  <a:lnTo>
                    <a:pt x="5515089" y="113030"/>
                  </a:lnTo>
                  <a:lnTo>
                    <a:pt x="5521172" y="107950"/>
                  </a:lnTo>
                  <a:lnTo>
                    <a:pt x="5531586" y="99060"/>
                  </a:lnTo>
                  <a:lnTo>
                    <a:pt x="5532196" y="106680"/>
                  </a:lnTo>
                  <a:lnTo>
                    <a:pt x="5532615" y="110490"/>
                  </a:lnTo>
                  <a:lnTo>
                    <a:pt x="5537632" y="105410"/>
                  </a:lnTo>
                  <a:lnTo>
                    <a:pt x="5538432" y="114300"/>
                  </a:lnTo>
                  <a:lnTo>
                    <a:pt x="5545760" y="106680"/>
                  </a:lnTo>
                  <a:lnTo>
                    <a:pt x="5544934" y="110490"/>
                  </a:lnTo>
                  <a:lnTo>
                    <a:pt x="5543232" y="114300"/>
                  </a:lnTo>
                  <a:lnTo>
                    <a:pt x="5536806" y="119380"/>
                  </a:lnTo>
                  <a:lnTo>
                    <a:pt x="5527992" y="123190"/>
                  </a:lnTo>
                  <a:lnTo>
                    <a:pt x="5522455" y="124460"/>
                  </a:lnTo>
                  <a:lnTo>
                    <a:pt x="5518772" y="125730"/>
                  </a:lnTo>
                  <a:lnTo>
                    <a:pt x="5502694" y="130810"/>
                  </a:lnTo>
                  <a:lnTo>
                    <a:pt x="5507812" y="133350"/>
                  </a:lnTo>
                  <a:lnTo>
                    <a:pt x="5507266" y="139700"/>
                  </a:lnTo>
                  <a:lnTo>
                    <a:pt x="5515965" y="135890"/>
                  </a:lnTo>
                  <a:lnTo>
                    <a:pt x="5505894" y="146050"/>
                  </a:lnTo>
                  <a:lnTo>
                    <a:pt x="5512232" y="143510"/>
                  </a:lnTo>
                  <a:lnTo>
                    <a:pt x="5515394" y="140970"/>
                  </a:lnTo>
                  <a:lnTo>
                    <a:pt x="5521731" y="138430"/>
                  </a:lnTo>
                  <a:lnTo>
                    <a:pt x="5522798" y="144780"/>
                  </a:lnTo>
                  <a:lnTo>
                    <a:pt x="5524805" y="138430"/>
                  </a:lnTo>
                  <a:lnTo>
                    <a:pt x="5525605" y="135890"/>
                  </a:lnTo>
                  <a:lnTo>
                    <a:pt x="5526798" y="132080"/>
                  </a:lnTo>
                  <a:lnTo>
                    <a:pt x="5529643" y="135890"/>
                  </a:lnTo>
                  <a:lnTo>
                    <a:pt x="5530037" y="139700"/>
                  </a:lnTo>
                  <a:lnTo>
                    <a:pt x="5532856" y="139700"/>
                  </a:lnTo>
                  <a:lnTo>
                    <a:pt x="5537847" y="132080"/>
                  </a:lnTo>
                  <a:lnTo>
                    <a:pt x="5539575" y="130810"/>
                  </a:lnTo>
                  <a:lnTo>
                    <a:pt x="5542204" y="129540"/>
                  </a:lnTo>
                  <a:lnTo>
                    <a:pt x="5536984" y="134620"/>
                  </a:lnTo>
                  <a:lnTo>
                    <a:pt x="5537682" y="137160"/>
                  </a:lnTo>
                  <a:lnTo>
                    <a:pt x="5539041" y="135890"/>
                  </a:lnTo>
                  <a:lnTo>
                    <a:pt x="5539930" y="135890"/>
                  </a:lnTo>
                  <a:lnTo>
                    <a:pt x="5539422" y="136652"/>
                  </a:lnTo>
                  <a:lnTo>
                    <a:pt x="5539422" y="176530"/>
                  </a:lnTo>
                  <a:lnTo>
                    <a:pt x="5538749" y="179070"/>
                  </a:lnTo>
                  <a:lnTo>
                    <a:pt x="5534190" y="186690"/>
                  </a:lnTo>
                  <a:lnTo>
                    <a:pt x="5528246" y="193040"/>
                  </a:lnTo>
                  <a:lnTo>
                    <a:pt x="5525998" y="198120"/>
                  </a:lnTo>
                  <a:lnTo>
                    <a:pt x="5529554" y="198120"/>
                  </a:lnTo>
                  <a:lnTo>
                    <a:pt x="5528869" y="201587"/>
                  </a:lnTo>
                  <a:lnTo>
                    <a:pt x="5528869" y="219710"/>
                  </a:lnTo>
                  <a:lnTo>
                    <a:pt x="5524589" y="226060"/>
                  </a:lnTo>
                  <a:lnTo>
                    <a:pt x="5522887" y="227685"/>
                  </a:lnTo>
                  <a:lnTo>
                    <a:pt x="5522887" y="289560"/>
                  </a:lnTo>
                  <a:lnTo>
                    <a:pt x="5520791" y="293370"/>
                  </a:lnTo>
                  <a:lnTo>
                    <a:pt x="5515711" y="292100"/>
                  </a:lnTo>
                  <a:lnTo>
                    <a:pt x="5522887" y="289560"/>
                  </a:lnTo>
                  <a:lnTo>
                    <a:pt x="5522887" y="227685"/>
                  </a:lnTo>
                  <a:lnTo>
                    <a:pt x="5517921" y="232410"/>
                  </a:lnTo>
                  <a:lnTo>
                    <a:pt x="5515432" y="233654"/>
                  </a:lnTo>
                  <a:lnTo>
                    <a:pt x="5515432" y="284480"/>
                  </a:lnTo>
                  <a:lnTo>
                    <a:pt x="5514645" y="292100"/>
                  </a:lnTo>
                  <a:lnTo>
                    <a:pt x="5512955" y="290830"/>
                  </a:lnTo>
                  <a:lnTo>
                    <a:pt x="5515432" y="284480"/>
                  </a:lnTo>
                  <a:lnTo>
                    <a:pt x="5515432" y="233654"/>
                  </a:lnTo>
                  <a:lnTo>
                    <a:pt x="5512803" y="234950"/>
                  </a:lnTo>
                  <a:lnTo>
                    <a:pt x="5511203" y="234264"/>
                  </a:lnTo>
                  <a:lnTo>
                    <a:pt x="5511203" y="266700"/>
                  </a:lnTo>
                  <a:lnTo>
                    <a:pt x="5504192" y="273050"/>
                  </a:lnTo>
                  <a:lnTo>
                    <a:pt x="5500205" y="274320"/>
                  </a:lnTo>
                  <a:lnTo>
                    <a:pt x="5495950" y="270510"/>
                  </a:lnTo>
                  <a:lnTo>
                    <a:pt x="5495595" y="269240"/>
                  </a:lnTo>
                  <a:lnTo>
                    <a:pt x="5494858" y="266700"/>
                  </a:lnTo>
                  <a:lnTo>
                    <a:pt x="5494134" y="264160"/>
                  </a:lnTo>
                  <a:lnTo>
                    <a:pt x="5493029" y="260350"/>
                  </a:lnTo>
                  <a:lnTo>
                    <a:pt x="5492661" y="259080"/>
                  </a:lnTo>
                  <a:lnTo>
                    <a:pt x="5495849" y="257810"/>
                  </a:lnTo>
                  <a:lnTo>
                    <a:pt x="5495874" y="259080"/>
                  </a:lnTo>
                  <a:lnTo>
                    <a:pt x="5496433" y="257810"/>
                  </a:lnTo>
                  <a:lnTo>
                    <a:pt x="5499976" y="264160"/>
                  </a:lnTo>
                  <a:lnTo>
                    <a:pt x="5497919" y="265430"/>
                  </a:lnTo>
                  <a:lnTo>
                    <a:pt x="5500395" y="264160"/>
                  </a:lnTo>
                  <a:lnTo>
                    <a:pt x="5504612" y="270510"/>
                  </a:lnTo>
                  <a:lnTo>
                    <a:pt x="5505234" y="264160"/>
                  </a:lnTo>
                  <a:lnTo>
                    <a:pt x="5505475" y="261620"/>
                  </a:lnTo>
                  <a:lnTo>
                    <a:pt x="5505920" y="261620"/>
                  </a:lnTo>
                  <a:lnTo>
                    <a:pt x="5508218" y="267970"/>
                  </a:lnTo>
                  <a:lnTo>
                    <a:pt x="5510314" y="264160"/>
                  </a:lnTo>
                  <a:lnTo>
                    <a:pt x="5511203" y="266700"/>
                  </a:lnTo>
                  <a:lnTo>
                    <a:pt x="5511203" y="234264"/>
                  </a:lnTo>
                  <a:lnTo>
                    <a:pt x="5509857" y="233680"/>
                  </a:lnTo>
                  <a:lnTo>
                    <a:pt x="5498046" y="228600"/>
                  </a:lnTo>
                  <a:lnTo>
                    <a:pt x="5483974" y="213360"/>
                  </a:lnTo>
                  <a:lnTo>
                    <a:pt x="5487848" y="210820"/>
                  </a:lnTo>
                  <a:lnTo>
                    <a:pt x="5492953" y="217170"/>
                  </a:lnTo>
                  <a:lnTo>
                    <a:pt x="5492229" y="210820"/>
                  </a:lnTo>
                  <a:lnTo>
                    <a:pt x="5491924" y="208280"/>
                  </a:lnTo>
                  <a:lnTo>
                    <a:pt x="5492877" y="203200"/>
                  </a:lnTo>
                  <a:lnTo>
                    <a:pt x="5495455" y="205740"/>
                  </a:lnTo>
                  <a:lnTo>
                    <a:pt x="5499278" y="213360"/>
                  </a:lnTo>
                  <a:lnTo>
                    <a:pt x="5501856" y="218440"/>
                  </a:lnTo>
                  <a:lnTo>
                    <a:pt x="5505043" y="209550"/>
                  </a:lnTo>
                  <a:lnTo>
                    <a:pt x="5505564" y="207010"/>
                  </a:lnTo>
                  <a:lnTo>
                    <a:pt x="5506085" y="208280"/>
                  </a:lnTo>
                  <a:lnTo>
                    <a:pt x="5506885" y="208280"/>
                  </a:lnTo>
                  <a:lnTo>
                    <a:pt x="5510276" y="212090"/>
                  </a:lnTo>
                  <a:lnTo>
                    <a:pt x="5509806" y="213360"/>
                  </a:lnTo>
                  <a:lnTo>
                    <a:pt x="5511724" y="213360"/>
                  </a:lnTo>
                  <a:lnTo>
                    <a:pt x="5516486" y="217170"/>
                  </a:lnTo>
                  <a:lnTo>
                    <a:pt x="5499570" y="224790"/>
                  </a:lnTo>
                  <a:lnTo>
                    <a:pt x="5506542" y="224790"/>
                  </a:lnTo>
                  <a:lnTo>
                    <a:pt x="5506174" y="231140"/>
                  </a:lnTo>
                  <a:lnTo>
                    <a:pt x="5510530" y="226060"/>
                  </a:lnTo>
                  <a:lnTo>
                    <a:pt x="5514530" y="223520"/>
                  </a:lnTo>
                  <a:lnTo>
                    <a:pt x="5514022" y="229870"/>
                  </a:lnTo>
                  <a:lnTo>
                    <a:pt x="5517591" y="228600"/>
                  </a:lnTo>
                  <a:lnTo>
                    <a:pt x="5524043" y="223520"/>
                  </a:lnTo>
                  <a:lnTo>
                    <a:pt x="5528869" y="219710"/>
                  </a:lnTo>
                  <a:lnTo>
                    <a:pt x="5528869" y="201587"/>
                  </a:lnTo>
                  <a:lnTo>
                    <a:pt x="5528297" y="204470"/>
                  </a:lnTo>
                  <a:lnTo>
                    <a:pt x="5519534" y="215900"/>
                  </a:lnTo>
                  <a:lnTo>
                    <a:pt x="5517337" y="217170"/>
                  </a:lnTo>
                  <a:lnTo>
                    <a:pt x="5514492" y="209550"/>
                  </a:lnTo>
                  <a:lnTo>
                    <a:pt x="5515889" y="207010"/>
                  </a:lnTo>
                  <a:lnTo>
                    <a:pt x="5517286" y="204470"/>
                  </a:lnTo>
                  <a:lnTo>
                    <a:pt x="5521909" y="207010"/>
                  </a:lnTo>
                  <a:lnTo>
                    <a:pt x="5521795" y="204470"/>
                  </a:lnTo>
                  <a:lnTo>
                    <a:pt x="5525401" y="207010"/>
                  </a:lnTo>
                  <a:lnTo>
                    <a:pt x="5524932" y="204470"/>
                  </a:lnTo>
                  <a:lnTo>
                    <a:pt x="5524690" y="203200"/>
                  </a:lnTo>
                  <a:lnTo>
                    <a:pt x="5523484" y="196850"/>
                  </a:lnTo>
                  <a:lnTo>
                    <a:pt x="5526316" y="194310"/>
                  </a:lnTo>
                  <a:lnTo>
                    <a:pt x="5529148" y="191770"/>
                  </a:lnTo>
                  <a:lnTo>
                    <a:pt x="5524576" y="190500"/>
                  </a:lnTo>
                  <a:lnTo>
                    <a:pt x="5526329" y="187960"/>
                  </a:lnTo>
                  <a:lnTo>
                    <a:pt x="5527205" y="186690"/>
                  </a:lnTo>
                  <a:lnTo>
                    <a:pt x="5529275" y="189230"/>
                  </a:lnTo>
                  <a:lnTo>
                    <a:pt x="5531129" y="186690"/>
                  </a:lnTo>
                  <a:lnTo>
                    <a:pt x="5532044" y="185420"/>
                  </a:lnTo>
                  <a:lnTo>
                    <a:pt x="5537581" y="177800"/>
                  </a:lnTo>
                  <a:lnTo>
                    <a:pt x="5539422" y="176530"/>
                  </a:lnTo>
                  <a:lnTo>
                    <a:pt x="5539422" y="136652"/>
                  </a:lnTo>
                  <a:lnTo>
                    <a:pt x="5536489" y="140970"/>
                  </a:lnTo>
                  <a:lnTo>
                    <a:pt x="5530202" y="145021"/>
                  </a:lnTo>
                  <a:lnTo>
                    <a:pt x="5530202" y="165100"/>
                  </a:lnTo>
                  <a:lnTo>
                    <a:pt x="5525643" y="172720"/>
                  </a:lnTo>
                  <a:lnTo>
                    <a:pt x="5519331" y="177800"/>
                  </a:lnTo>
                  <a:lnTo>
                    <a:pt x="5511558" y="182880"/>
                  </a:lnTo>
                  <a:lnTo>
                    <a:pt x="5505564" y="185420"/>
                  </a:lnTo>
                  <a:lnTo>
                    <a:pt x="5491569" y="184150"/>
                  </a:lnTo>
                  <a:lnTo>
                    <a:pt x="5483796" y="180340"/>
                  </a:lnTo>
                  <a:lnTo>
                    <a:pt x="5483250" y="177800"/>
                  </a:lnTo>
                  <a:lnTo>
                    <a:pt x="5484025" y="176530"/>
                  </a:lnTo>
                  <a:lnTo>
                    <a:pt x="5491175" y="176530"/>
                  </a:lnTo>
                  <a:lnTo>
                    <a:pt x="5488800" y="173990"/>
                  </a:lnTo>
                  <a:lnTo>
                    <a:pt x="5486412" y="171450"/>
                  </a:lnTo>
                  <a:lnTo>
                    <a:pt x="5485117" y="170180"/>
                  </a:lnTo>
                  <a:lnTo>
                    <a:pt x="5486133" y="167640"/>
                  </a:lnTo>
                  <a:lnTo>
                    <a:pt x="5497919" y="168910"/>
                  </a:lnTo>
                  <a:lnTo>
                    <a:pt x="5496687" y="167640"/>
                  </a:lnTo>
                  <a:lnTo>
                    <a:pt x="5492978" y="163830"/>
                  </a:lnTo>
                  <a:lnTo>
                    <a:pt x="5491962" y="161290"/>
                  </a:lnTo>
                  <a:lnTo>
                    <a:pt x="5494426" y="160020"/>
                  </a:lnTo>
                  <a:lnTo>
                    <a:pt x="5501144" y="162560"/>
                  </a:lnTo>
                  <a:lnTo>
                    <a:pt x="5505907" y="165100"/>
                  </a:lnTo>
                  <a:lnTo>
                    <a:pt x="5504573" y="162560"/>
                  </a:lnTo>
                  <a:lnTo>
                    <a:pt x="5506732" y="162560"/>
                  </a:lnTo>
                  <a:lnTo>
                    <a:pt x="5505107" y="170180"/>
                  </a:lnTo>
                  <a:lnTo>
                    <a:pt x="5510200" y="165100"/>
                  </a:lnTo>
                  <a:lnTo>
                    <a:pt x="5513184" y="163830"/>
                  </a:lnTo>
                  <a:lnTo>
                    <a:pt x="5511457" y="171450"/>
                  </a:lnTo>
                  <a:lnTo>
                    <a:pt x="5515140" y="168910"/>
                  </a:lnTo>
                  <a:lnTo>
                    <a:pt x="5517413" y="163830"/>
                  </a:lnTo>
                  <a:lnTo>
                    <a:pt x="5518543" y="161290"/>
                  </a:lnTo>
                  <a:lnTo>
                    <a:pt x="5520271" y="170180"/>
                  </a:lnTo>
                  <a:lnTo>
                    <a:pt x="5526151" y="162560"/>
                  </a:lnTo>
                  <a:lnTo>
                    <a:pt x="5528780" y="161290"/>
                  </a:lnTo>
                  <a:lnTo>
                    <a:pt x="5530202" y="165100"/>
                  </a:lnTo>
                  <a:lnTo>
                    <a:pt x="5530202" y="145021"/>
                  </a:lnTo>
                  <a:lnTo>
                    <a:pt x="5528602" y="146050"/>
                  </a:lnTo>
                  <a:lnTo>
                    <a:pt x="5503507" y="161290"/>
                  </a:lnTo>
                  <a:lnTo>
                    <a:pt x="5502554" y="160020"/>
                  </a:lnTo>
                  <a:lnTo>
                    <a:pt x="5500649" y="157480"/>
                  </a:lnTo>
                  <a:lnTo>
                    <a:pt x="5499697" y="156210"/>
                  </a:lnTo>
                  <a:lnTo>
                    <a:pt x="5498744" y="154940"/>
                  </a:lnTo>
                  <a:lnTo>
                    <a:pt x="5510034" y="151130"/>
                  </a:lnTo>
                  <a:lnTo>
                    <a:pt x="5494718" y="148590"/>
                  </a:lnTo>
                  <a:lnTo>
                    <a:pt x="5485003" y="144780"/>
                  </a:lnTo>
                  <a:lnTo>
                    <a:pt x="5482882" y="143510"/>
                  </a:lnTo>
                  <a:lnTo>
                    <a:pt x="5482806" y="142240"/>
                  </a:lnTo>
                  <a:lnTo>
                    <a:pt x="5484203" y="140970"/>
                  </a:lnTo>
                  <a:lnTo>
                    <a:pt x="5484914" y="140970"/>
                  </a:lnTo>
                  <a:lnTo>
                    <a:pt x="5486311" y="139700"/>
                  </a:lnTo>
                  <a:lnTo>
                    <a:pt x="5492483" y="139700"/>
                  </a:lnTo>
                  <a:lnTo>
                    <a:pt x="5496941" y="140970"/>
                  </a:lnTo>
                  <a:lnTo>
                    <a:pt x="5496407" y="139700"/>
                  </a:lnTo>
                  <a:lnTo>
                    <a:pt x="5495341" y="137160"/>
                  </a:lnTo>
                  <a:lnTo>
                    <a:pt x="5493207" y="132080"/>
                  </a:lnTo>
                  <a:lnTo>
                    <a:pt x="5500814" y="132080"/>
                  </a:lnTo>
                  <a:lnTo>
                    <a:pt x="5500103" y="130810"/>
                  </a:lnTo>
                  <a:lnTo>
                    <a:pt x="5497931" y="127000"/>
                  </a:lnTo>
                  <a:lnTo>
                    <a:pt x="5498452" y="125730"/>
                  </a:lnTo>
                  <a:lnTo>
                    <a:pt x="5500522" y="120650"/>
                  </a:lnTo>
                  <a:lnTo>
                    <a:pt x="5494426" y="123190"/>
                  </a:lnTo>
                  <a:lnTo>
                    <a:pt x="5490362" y="125730"/>
                  </a:lnTo>
                  <a:lnTo>
                    <a:pt x="5487759" y="124460"/>
                  </a:lnTo>
                  <a:lnTo>
                    <a:pt x="5485142" y="123190"/>
                  </a:lnTo>
                  <a:lnTo>
                    <a:pt x="5480824" y="124460"/>
                  </a:lnTo>
                  <a:lnTo>
                    <a:pt x="5479110" y="121920"/>
                  </a:lnTo>
                  <a:lnTo>
                    <a:pt x="5482336" y="118110"/>
                  </a:lnTo>
                  <a:lnTo>
                    <a:pt x="5488444" y="118110"/>
                  </a:lnTo>
                  <a:lnTo>
                    <a:pt x="5487136" y="115570"/>
                  </a:lnTo>
                  <a:lnTo>
                    <a:pt x="5487263" y="113030"/>
                  </a:lnTo>
                  <a:lnTo>
                    <a:pt x="5488927" y="110490"/>
                  </a:lnTo>
                  <a:lnTo>
                    <a:pt x="5489753" y="109220"/>
                  </a:lnTo>
                  <a:lnTo>
                    <a:pt x="5483428" y="110490"/>
                  </a:lnTo>
                  <a:lnTo>
                    <a:pt x="5478615" y="110490"/>
                  </a:lnTo>
                  <a:lnTo>
                    <a:pt x="5477764" y="107950"/>
                  </a:lnTo>
                  <a:lnTo>
                    <a:pt x="5478196" y="102870"/>
                  </a:lnTo>
                  <a:lnTo>
                    <a:pt x="5482907" y="93980"/>
                  </a:lnTo>
                  <a:lnTo>
                    <a:pt x="5480431" y="93980"/>
                  </a:lnTo>
                  <a:lnTo>
                    <a:pt x="5477103" y="91440"/>
                  </a:lnTo>
                  <a:lnTo>
                    <a:pt x="5477167" y="78740"/>
                  </a:lnTo>
                  <a:lnTo>
                    <a:pt x="5476024" y="76200"/>
                  </a:lnTo>
                  <a:lnTo>
                    <a:pt x="5473839" y="77470"/>
                  </a:lnTo>
                  <a:lnTo>
                    <a:pt x="5474233" y="88900"/>
                  </a:lnTo>
                  <a:lnTo>
                    <a:pt x="5473116" y="92710"/>
                  </a:lnTo>
                  <a:lnTo>
                    <a:pt x="5468086" y="92710"/>
                  </a:lnTo>
                  <a:lnTo>
                    <a:pt x="5473522" y="106680"/>
                  </a:lnTo>
                  <a:lnTo>
                    <a:pt x="5472481" y="110490"/>
                  </a:lnTo>
                  <a:lnTo>
                    <a:pt x="5458333" y="107950"/>
                  </a:lnTo>
                  <a:lnTo>
                    <a:pt x="5465445" y="114300"/>
                  </a:lnTo>
                  <a:lnTo>
                    <a:pt x="5464988" y="116840"/>
                  </a:lnTo>
                  <a:lnTo>
                    <a:pt x="5464708" y="119380"/>
                  </a:lnTo>
                  <a:lnTo>
                    <a:pt x="5468378" y="118110"/>
                  </a:lnTo>
                  <a:lnTo>
                    <a:pt x="5471287" y="118110"/>
                  </a:lnTo>
                  <a:lnTo>
                    <a:pt x="5472404" y="121920"/>
                  </a:lnTo>
                  <a:lnTo>
                    <a:pt x="5467515" y="125730"/>
                  </a:lnTo>
                  <a:lnTo>
                    <a:pt x="5447716" y="120650"/>
                  </a:lnTo>
                  <a:lnTo>
                    <a:pt x="5451157" y="124460"/>
                  </a:lnTo>
                  <a:lnTo>
                    <a:pt x="5449100" y="129540"/>
                  </a:lnTo>
                  <a:lnTo>
                    <a:pt x="5455297" y="127000"/>
                  </a:lnTo>
                  <a:lnTo>
                    <a:pt x="5450090" y="135890"/>
                  </a:lnTo>
                  <a:lnTo>
                    <a:pt x="5457050" y="133350"/>
                  </a:lnTo>
                  <a:lnTo>
                    <a:pt x="5461673" y="130810"/>
                  </a:lnTo>
                  <a:lnTo>
                    <a:pt x="5457736" y="139700"/>
                  </a:lnTo>
                  <a:lnTo>
                    <a:pt x="5464187" y="137160"/>
                  </a:lnTo>
                  <a:lnTo>
                    <a:pt x="5468277" y="137160"/>
                  </a:lnTo>
                  <a:lnTo>
                    <a:pt x="5466308" y="140970"/>
                  </a:lnTo>
                  <a:lnTo>
                    <a:pt x="5464010" y="143510"/>
                  </a:lnTo>
                  <a:lnTo>
                    <a:pt x="5454116" y="146050"/>
                  </a:lnTo>
                  <a:lnTo>
                    <a:pt x="5440870" y="146050"/>
                  </a:lnTo>
                  <a:lnTo>
                    <a:pt x="5448897" y="152400"/>
                  </a:lnTo>
                  <a:lnTo>
                    <a:pt x="5444642" y="158750"/>
                  </a:lnTo>
                  <a:lnTo>
                    <a:pt x="5454789" y="156210"/>
                  </a:lnTo>
                  <a:lnTo>
                    <a:pt x="5453380" y="160020"/>
                  </a:lnTo>
                  <a:lnTo>
                    <a:pt x="5452694" y="161290"/>
                  </a:lnTo>
                  <a:lnTo>
                    <a:pt x="5451284" y="165100"/>
                  </a:lnTo>
                  <a:lnTo>
                    <a:pt x="5465902" y="157480"/>
                  </a:lnTo>
                  <a:lnTo>
                    <a:pt x="5467693" y="157480"/>
                  </a:lnTo>
                  <a:lnTo>
                    <a:pt x="5467883" y="160020"/>
                  </a:lnTo>
                  <a:lnTo>
                    <a:pt x="5464416" y="163830"/>
                  </a:lnTo>
                  <a:lnTo>
                    <a:pt x="5462092" y="167640"/>
                  </a:lnTo>
                  <a:lnTo>
                    <a:pt x="5452351" y="175260"/>
                  </a:lnTo>
                  <a:lnTo>
                    <a:pt x="5459387" y="173990"/>
                  </a:lnTo>
                  <a:lnTo>
                    <a:pt x="5457736" y="180340"/>
                  </a:lnTo>
                  <a:lnTo>
                    <a:pt x="5463756" y="176530"/>
                  </a:lnTo>
                  <a:lnTo>
                    <a:pt x="5466207" y="176530"/>
                  </a:lnTo>
                  <a:lnTo>
                    <a:pt x="5465800" y="180340"/>
                  </a:lnTo>
                  <a:lnTo>
                    <a:pt x="5462930" y="182511"/>
                  </a:lnTo>
                  <a:lnTo>
                    <a:pt x="5462930" y="204470"/>
                  </a:lnTo>
                  <a:lnTo>
                    <a:pt x="5462790" y="212090"/>
                  </a:lnTo>
                  <a:lnTo>
                    <a:pt x="5459615" y="219138"/>
                  </a:lnTo>
                  <a:lnTo>
                    <a:pt x="5459615" y="264160"/>
                  </a:lnTo>
                  <a:lnTo>
                    <a:pt x="5458345" y="263855"/>
                  </a:lnTo>
                  <a:lnTo>
                    <a:pt x="5458345" y="270510"/>
                  </a:lnTo>
                  <a:lnTo>
                    <a:pt x="5457914" y="273050"/>
                  </a:lnTo>
                  <a:lnTo>
                    <a:pt x="5455691" y="275590"/>
                  </a:lnTo>
                  <a:lnTo>
                    <a:pt x="5452656" y="271780"/>
                  </a:lnTo>
                  <a:lnTo>
                    <a:pt x="5455894" y="271780"/>
                  </a:lnTo>
                  <a:lnTo>
                    <a:pt x="5456326" y="269240"/>
                  </a:lnTo>
                  <a:lnTo>
                    <a:pt x="5458345" y="270510"/>
                  </a:lnTo>
                  <a:lnTo>
                    <a:pt x="5458345" y="263855"/>
                  </a:lnTo>
                  <a:lnTo>
                    <a:pt x="5454383" y="262890"/>
                  </a:lnTo>
                  <a:lnTo>
                    <a:pt x="5455793" y="260350"/>
                  </a:lnTo>
                  <a:lnTo>
                    <a:pt x="5458930" y="261620"/>
                  </a:lnTo>
                  <a:lnTo>
                    <a:pt x="5459615" y="264160"/>
                  </a:lnTo>
                  <a:lnTo>
                    <a:pt x="5459615" y="219138"/>
                  </a:lnTo>
                  <a:lnTo>
                    <a:pt x="5457634" y="223520"/>
                  </a:lnTo>
                  <a:lnTo>
                    <a:pt x="5450357" y="228600"/>
                  </a:lnTo>
                  <a:lnTo>
                    <a:pt x="5439486" y="225577"/>
                  </a:lnTo>
                  <a:lnTo>
                    <a:pt x="5439486" y="298450"/>
                  </a:lnTo>
                  <a:lnTo>
                    <a:pt x="5431447" y="300990"/>
                  </a:lnTo>
                  <a:lnTo>
                    <a:pt x="5431079" y="299720"/>
                  </a:lnTo>
                  <a:lnTo>
                    <a:pt x="5434152" y="299720"/>
                  </a:lnTo>
                  <a:lnTo>
                    <a:pt x="5430024" y="290830"/>
                  </a:lnTo>
                  <a:lnTo>
                    <a:pt x="5429428" y="289560"/>
                  </a:lnTo>
                  <a:lnTo>
                    <a:pt x="5343207" y="289560"/>
                  </a:lnTo>
                  <a:lnTo>
                    <a:pt x="5343207" y="318770"/>
                  </a:lnTo>
                  <a:lnTo>
                    <a:pt x="5339943" y="320040"/>
                  </a:lnTo>
                  <a:lnTo>
                    <a:pt x="5339385" y="320040"/>
                  </a:lnTo>
                  <a:lnTo>
                    <a:pt x="5338648" y="318770"/>
                  </a:lnTo>
                  <a:lnTo>
                    <a:pt x="5337899" y="317500"/>
                  </a:lnTo>
                  <a:lnTo>
                    <a:pt x="5338178" y="316230"/>
                  </a:lnTo>
                  <a:lnTo>
                    <a:pt x="5338292" y="314960"/>
                  </a:lnTo>
                  <a:lnTo>
                    <a:pt x="5338572" y="313690"/>
                  </a:lnTo>
                  <a:lnTo>
                    <a:pt x="5340350" y="313690"/>
                  </a:lnTo>
                  <a:lnTo>
                    <a:pt x="5343207" y="318770"/>
                  </a:lnTo>
                  <a:lnTo>
                    <a:pt x="5343207" y="289560"/>
                  </a:lnTo>
                  <a:lnTo>
                    <a:pt x="5270411" y="289560"/>
                  </a:lnTo>
                  <a:lnTo>
                    <a:pt x="5268887" y="289560"/>
                  </a:lnTo>
                  <a:lnTo>
                    <a:pt x="5267185" y="290830"/>
                  </a:lnTo>
                  <a:lnTo>
                    <a:pt x="5264556" y="288290"/>
                  </a:lnTo>
                  <a:lnTo>
                    <a:pt x="5259273" y="283210"/>
                  </a:lnTo>
                  <a:lnTo>
                    <a:pt x="5258676" y="279400"/>
                  </a:lnTo>
                  <a:lnTo>
                    <a:pt x="5261876" y="279400"/>
                  </a:lnTo>
                  <a:lnTo>
                    <a:pt x="5263451" y="284480"/>
                  </a:lnTo>
                  <a:lnTo>
                    <a:pt x="5268849" y="281940"/>
                  </a:lnTo>
                  <a:lnTo>
                    <a:pt x="5269001" y="281940"/>
                  </a:lnTo>
                  <a:lnTo>
                    <a:pt x="5264709" y="285750"/>
                  </a:lnTo>
                  <a:lnTo>
                    <a:pt x="5269547" y="284480"/>
                  </a:lnTo>
                  <a:lnTo>
                    <a:pt x="5269623" y="285750"/>
                  </a:lnTo>
                  <a:lnTo>
                    <a:pt x="5266944" y="285750"/>
                  </a:lnTo>
                  <a:lnTo>
                    <a:pt x="5270106" y="288290"/>
                  </a:lnTo>
                  <a:lnTo>
                    <a:pt x="5270258" y="288899"/>
                  </a:lnTo>
                  <a:lnTo>
                    <a:pt x="5270703" y="288899"/>
                  </a:lnTo>
                  <a:lnTo>
                    <a:pt x="5429123" y="288899"/>
                  </a:lnTo>
                  <a:lnTo>
                    <a:pt x="5428843" y="288290"/>
                  </a:lnTo>
                  <a:lnTo>
                    <a:pt x="5427065" y="284480"/>
                  </a:lnTo>
                  <a:lnTo>
                    <a:pt x="5429186" y="285750"/>
                  </a:lnTo>
                  <a:lnTo>
                    <a:pt x="5429212" y="284480"/>
                  </a:lnTo>
                  <a:lnTo>
                    <a:pt x="5429262" y="281940"/>
                  </a:lnTo>
                  <a:lnTo>
                    <a:pt x="5429313" y="279400"/>
                  </a:lnTo>
                  <a:lnTo>
                    <a:pt x="5429351" y="276860"/>
                  </a:lnTo>
                  <a:lnTo>
                    <a:pt x="5432476" y="289560"/>
                  </a:lnTo>
                  <a:lnTo>
                    <a:pt x="5433212" y="293370"/>
                  </a:lnTo>
                  <a:lnTo>
                    <a:pt x="5437327" y="292100"/>
                  </a:lnTo>
                  <a:lnTo>
                    <a:pt x="5438813" y="290830"/>
                  </a:lnTo>
                  <a:lnTo>
                    <a:pt x="5439092" y="293370"/>
                  </a:lnTo>
                  <a:lnTo>
                    <a:pt x="5438191" y="294640"/>
                  </a:lnTo>
                  <a:lnTo>
                    <a:pt x="5439219" y="294640"/>
                  </a:lnTo>
                  <a:lnTo>
                    <a:pt x="5439486" y="298450"/>
                  </a:lnTo>
                  <a:lnTo>
                    <a:pt x="5439486" y="225577"/>
                  </a:lnTo>
                  <a:lnTo>
                    <a:pt x="5438178" y="225209"/>
                  </a:lnTo>
                  <a:lnTo>
                    <a:pt x="5438178" y="241300"/>
                  </a:lnTo>
                  <a:lnTo>
                    <a:pt x="5436870" y="243840"/>
                  </a:lnTo>
                  <a:lnTo>
                    <a:pt x="5435981" y="245110"/>
                  </a:lnTo>
                  <a:lnTo>
                    <a:pt x="5428640" y="247650"/>
                  </a:lnTo>
                  <a:lnTo>
                    <a:pt x="5423497" y="245110"/>
                  </a:lnTo>
                  <a:lnTo>
                    <a:pt x="5420931" y="243840"/>
                  </a:lnTo>
                  <a:lnTo>
                    <a:pt x="5418353" y="242570"/>
                  </a:lnTo>
                  <a:lnTo>
                    <a:pt x="5415826" y="238760"/>
                  </a:lnTo>
                  <a:lnTo>
                    <a:pt x="5414124" y="236220"/>
                  </a:lnTo>
                  <a:lnTo>
                    <a:pt x="5421249" y="238760"/>
                  </a:lnTo>
                  <a:lnTo>
                    <a:pt x="5423014" y="236220"/>
                  </a:lnTo>
                  <a:lnTo>
                    <a:pt x="5424767" y="233680"/>
                  </a:lnTo>
                  <a:lnTo>
                    <a:pt x="5426113" y="243840"/>
                  </a:lnTo>
                  <a:lnTo>
                    <a:pt x="5429301" y="241300"/>
                  </a:lnTo>
                  <a:lnTo>
                    <a:pt x="5435638" y="245110"/>
                  </a:lnTo>
                  <a:lnTo>
                    <a:pt x="5435054" y="241300"/>
                  </a:lnTo>
                  <a:lnTo>
                    <a:pt x="5434850" y="240030"/>
                  </a:lnTo>
                  <a:lnTo>
                    <a:pt x="5438178" y="241300"/>
                  </a:lnTo>
                  <a:lnTo>
                    <a:pt x="5438178" y="225209"/>
                  </a:lnTo>
                  <a:lnTo>
                    <a:pt x="5432145" y="223520"/>
                  </a:lnTo>
                  <a:lnTo>
                    <a:pt x="5413921" y="218440"/>
                  </a:lnTo>
                  <a:lnTo>
                    <a:pt x="5411546" y="214630"/>
                  </a:lnTo>
                  <a:lnTo>
                    <a:pt x="5418442" y="212090"/>
                  </a:lnTo>
                  <a:lnTo>
                    <a:pt x="5415572" y="209550"/>
                  </a:lnTo>
                  <a:lnTo>
                    <a:pt x="5409831" y="204470"/>
                  </a:lnTo>
                  <a:lnTo>
                    <a:pt x="5411787" y="200660"/>
                  </a:lnTo>
                  <a:lnTo>
                    <a:pt x="5414759" y="199390"/>
                  </a:lnTo>
                  <a:lnTo>
                    <a:pt x="5416004" y="208280"/>
                  </a:lnTo>
                  <a:lnTo>
                    <a:pt x="5419153" y="203200"/>
                  </a:lnTo>
                  <a:lnTo>
                    <a:pt x="5424246" y="210820"/>
                  </a:lnTo>
                  <a:lnTo>
                    <a:pt x="5424881" y="205740"/>
                  </a:lnTo>
                  <a:lnTo>
                    <a:pt x="5431028" y="207010"/>
                  </a:lnTo>
                  <a:lnTo>
                    <a:pt x="5427954" y="209550"/>
                  </a:lnTo>
                  <a:lnTo>
                    <a:pt x="5442178" y="203200"/>
                  </a:lnTo>
                  <a:lnTo>
                    <a:pt x="5441531" y="207010"/>
                  </a:lnTo>
                  <a:lnTo>
                    <a:pt x="5437505" y="217170"/>
                  </a:lnTo>
                  <a:lnTo>
                    <a:pt x="5445163" y="212090"/>
                  </a:lnTo>
                  <a:lnTo>
                    <a:pt x="5448046" y="220980"/>
                  </a:lnTo>
                  <a:lnTo>
                    <a:pt x="5451068" y="212090"/>
                  </a:lnTo>
                  <a:lnTo>
                    <a:pt x="5452364" y="208280"/>
                  </a:lnTo>
                  <a:lnTo>
                    <a:pt x="5453875" y="205740"/>
                  </a:lnTo>
                  <a:lnTo>
                    <a:pt x="5457710" y="210820"/>
                  </a:lnTo>
                  <a:lnTo>
                    <a:pt x="5460123" y="205740"/>
                  </a:lnTo>
                  <a:lnTo>
                    <a:pt x="5461317" y="203200"/>
                  </a:lnTo>
                  <a:lnTo>
                    <a:pt x="5462930" y="204470"/>
                  </a:lnTo>
                  <a:lnTo>
                    <a:pt x="5462930" y="182511"/>
                  </a:lnTo>
                  <a:lnTo>
                    <a:pt x="5462435" y="182880"/>
                  </a:lnTo>
                  <a:lnTo>
                    <a:pt x="5447728" y="187960"/>
                  </a:lnTo>
                  <a:lnTo>
                    <a:pt x="5439461" y="186334"/>
                  </a:lnTo>
                  <a:lnTo>
                    <a:pt x="5439461" y="195580"/>
                  </a:lnTo>
                  <a:lnTo>
                    <a:pt x="5437898" y="198120"/>
                  </a:lnTo>
                  <a:lnTo>
                    <a:pt x="5431333" y="205740"/>
                  </a:lnTo>
                  <a:lnTo>
                    <a:pt x="5428551" y="203200"/>
                  </a:lnTo>
                  <a:lnTo>
                    <a:pt x="5424373" y="199390"/>
                  </a:lnTo>
                  <a:lnTo>
                    <a:pt x="5422976" y="198120"/>
                  </a:lnTo>
                  <a:lnTo>
                    <a:pt x="5422430" y="196850"/>
                  </a:lnTo>
                  <a:lnTo>
                    <a:pt x="5421325" y="194310"/>
                  </a:lnTo>
                  <a:lnTo>
                    <a:pt x="5425783" y="195580"/>
                  </a:lnTo>
                  <a:lnTo>
                    <a:pt x="5424411" y="198120"/>
                  </a:lnTo>
                  <a:lnTo>
                    <a:pt x="5428564" y="196850"/>
                  </a:lnTo>
                  <a:lnTo>
                    <a:pt x="5436006" y="199390"/>
                  </a:lnTo>
                  <a:lnTo>
                    <a:pt x="5434050" y="196850"/>
                  </a:lnTo>
                  <a:lnTo>
                    <a:pt x="5433060" y="195580"/>
                  </a:lnTo>
                  <a:lnTo>
                    <a:pt x="5436438" y="194310"/>
                  </a:lnTo>
                  <a:lnTo>
                    <a:pt x="5439461" y="195580"/>
                  </a:lnTo>
                  <a:lnTo>
                    <a:pt x="5439461" y="186334"/>
                  </a:lnTo>
                  <a:lnTo>
                    <a:pt x="5415458" y="181610"/>
                  </a:lnTo>
                  <a:lnTo>
                    <a:pt x="5411178" y="179070"/>
                  </a:lnTo>
                  <a:lnTo>
                    <a:pt x="5404751" y="175260"/>
                  </a:lnTo>
                  <a:lnTo>
                    <a:pt x="5406225" y="170180"/>
                  </a:lnTo>
                  <a:lnTo>
                    <a:pt x="5410835" y="177800"/>
                  </a:lnTo>
                  <a:lnTo>
                    <a:pt x="5415318" y="175260"/>
                  </a:lnTo>
                  <a:lnTo>
                    <a:pt x="5420639" y="177800"/>
                  </a:lnTo>
                  <a:lnTo>
                    <a:pt x="5419229" y="175260"/>
                  </a:lnTo>
                  <a:lnTo>
                    <a:pt x="5414988" y="167640"/>
                  </a:lnTo>
                  <a:lnTo>
                    <a:pt x="5421046" y="172720"/>
                  </a:lnTo>
                  <a:lnTo>
                    <a:pt x="5422811" y="170180"/>
                  </a:lnTo>
                  <a:lnTo>
                    <a:pt x="5424005" y="168910"/>
                  </a:lnTo>
                  <a:lnTo>
                    <a:pt x="5430291" y="170180"/>
                  </a:lnTo>
                  <a:lnTo>
                    <a:pt x="5428932" y="168910"/>
                  </a:lnTo>
                  <a:lnTo>
                    <a:pt x="5427573" y="167640"/>
                  </a:lnTo>
                  <a:lnTo>
                    <a:pt x="5426214" y="166370"/>
                  </a:lnTo>
                  <a:lnTo>
                    <a:pt x="5422125" y="162560"/>
                  </a:lnTo>
                  <a:lnTo>
                    <a:pt x="5428475" y="160020"/>
                  </a:lnTo>
                  <a:lnTo>
                    <a:pt x="5423420" y="156210"/>
                  </a:lnTo>
                  <a:lnTo>
                    <a:pt x="5421731" y="154940"/>
                  </a:lnTo>
                  <a:lnTo>
                    <a:pt x="5430075" y="156210"/>
                  </a:lnTo>
                  <a:lnTo>
                    <a:pt x="5425973" y="153670"/>
                  </a:lnTo>
                  <a:lnTo>
                    <a:pt x="5428869" y="149860"/>
                  </a:lnTo>
                  <a:lnTo>
                    <a:pt x="5408079" y="154940"/>
                  </a:lnTo>
                  <a:lnTo>
                    <a:pt x="5401538" y="149860"/>
                  </a:lnTo>
                  <a:lnTo>
                    <a:pt x="5405780" y="151130"/>
                  </a:lnTo>
                  <a:lnTo>
                    <a:pt x="5405755" y="149860"/>
                  </a:lnTo>
                  <a:lnTo>
                    <a:pt x="5405729" y="148590"/>
                  </a:lnTo>
                  <a:lnTo>
                    <a:pt x="5405666" y="146050"/>
                  </a:lnTo>
                  <a:lnTo>
                    <a:pt x="5410352" y="148590"/>
                  </a:lnTo>
                  <a:lnTo>
                    <a:pt x="5409781" y="146050"/>
                  </a:lnTo>
                  <a:lnTo>
                    <a:pt x="5409196" y="143510"/>
                  </a:lnTo>
                  <a:lnTo>
                    <a:pt x="5416296" y="140970"/>
                  </a:lnTo>
                  <a:lnTo>
                    <a:pt x="5408904" y="139700"/>
                  </a:lnTo>
                  <a:lnTo>
                    <a:pt x="5401348" y="135890"/>
                  </a:lnTo>
                  <a:lnTo>
                    <a:pt x="5410200" y="133350"/>
                  </a:lnTo>
                  <a:lnTo>
                    <a:pt x="5407304" y="130810"/>
                  </a:lnTo>
                  <a:lnTo>
                    <a:pt x="5411216" y="128270"/>
                  </a:lnTo>
                  <a:lnTo>
                    <a:pt x="5408612" y="127000"/>
                  </a:lnTo>
                  <a:lnTo>
                    <a:pt x="5400789" y="123190"/>
                  </a:lnTo>
                  <a:lnTo>
                    <a:pt x="5404663" y="120650"/>
                  </a:lnTo>
                  <a:lnTo>
                    <a:pt x="5400332" y="118110"/>
                  </a:lnTo>
                  <a:lnTo>
                    <a:pt x="5398186" y="111760"/>
                  </a:lnTo>
                  <a:lnTo>
                    <a:pt x="5397881" y="100330"/>
                  </a:lnTo>
                  <a:lnTo>
                    <a:pt x="5396293" y="97790"/>
                  </a:lnTo>
                  <a:lnTo>
                    <a:pt x="5395138" y="104140"/>
                  </a:lnTo>
                  <a:lnTo>
                    <a:pt x="5393868" y="118110"/>
                  </a:lnTo>
                  <a:lnTo>
                    <a:pt x="5387899" y="121920"/>
                  </a:lnTo>
                  <a:lnTo>
                    <a:pt x="5394033" y="127000"/>
                  </a:lnTo>
                  <a:lnTo>
                    <a:pt x="5384673" y="125730"/>
                  </a:lnTo>
                  <a:lnTo>
                    <a:pt x="5387975" y="129540"/>
                  </a:lnTo>
                  <a:lnTo>
                    <a:pt x="5384533" y="130810"/>
                  </a:lnTo>
                  <a:lnTo>
                    <a:pt x="5378894" y="128270"/>
                  </a:lnTo>
                  <a:lnTo>
                    <a:pt x="5383720" y="134620"/>
                  </a:lnTo>
                  <a:lnTo>
                    <a:pt x="5378462" y="138430"/>
                  </a:lnTo>
                  <a:lnTo>
                    <a:pt x="5386336" y="139700"/>
                  </a:lnTo>
                  <a:lnTo>
                    <a:pt x="5382006" y="140970"/>
                  </a:lnTo>
                  <a:lnTo>
                    <a:pt x="5379148" y="142240"/>
                  </a:lnTo>
                  <a:lnTo>
                    <a:pt x="5374716" y="144780"/>
                  </a:lnTo>
                  <a:lnTo>
                    <a:pt x="5381053" y="146050"/>
                  </a:lnTo>
                  <a:lnTo>
                    <a:pt x="5378577" y="149860"/>
                  </a:lnTo>
                  <a:lnTo>
                    <a:pt x="5385625" y="148590"/>
                  </a:lnTo>
                  <a:lnTo>
                    <a:pt x="5385663" y="153670"/>
                  </a:lnTo>
                  <a:lnTo>
                    <a:pt x="5393029" y="148590"/>
                  </a:lnTo>
                  <a:lnTo>
                    <a:pt x="5388622" y="156210"/>
                  </a:lnTo>
                  <a:lnTo>
                    <a:pt x="5370042" y="148590"/>
                  </a:lnTo>
                  <a:lnTo>
                    <a:pt x="5374183" y="154940"/>
                  </a:lnTo>
                  <a:lnTo>
                    <a:pt x="5368607" y="154940"/>
                  </a:lnTo>
                  <a:lnTo>
                    <a:pt x="5373027" y="157480"/>
                  </a:lnTo>
                  <a:lnTo>
                    <a:pt x="5374525" y="161290"/>
                  </a:lnTo>
                  <a:lnTo>
                    <a:pt x="5366461" y="161290"/>
                  </a:lnTo>
                  <a:lnTo>
                    <a:pt x="5372112" y="166370"/>
                  </a:lnTo>
                  <a:lnTo>
                    <a:pt x="5371719" y="171450"/>
                  </a:lnTo>
                  <a:lnTo>
                    <a:pt x="5379136" y="166370"/>
                  </a:lnTo>
                  <a:lnTo>
                    <a:pt x="5379047" y="170180"/>
                  </a:lnTo>
                  <a:lnTo>
                    <a:pt x="5387073" y="170180"/>
                  </a:lnTo>
                  <a:lnTo>
                    <a:pt x="5381917" y="171678"/>
                  </a:lnTo>
                  <a:lnTo>
                    <a:pt x="5381917" y="209550"/>
                  </a:lnTo>
                  <a:lnTo>
                    <a:pt x="5379707" y="214630"/>
                  </a:lnTo>
                  <a:lnTo>
                    <a:pt x="5372824" y="218440"/>
                  </a:lnTo>
                  <a:lnTo>
                    <a:pt x="5372824" y="214630"/>
                  </a:lnTo>
                  <a:lnTo>
                    <a:pt x="5377370" y="212090"/>
                  </a:lnTo>
                  <a:lnTo>
                    <a:pt x="5381917" y="209550"/>
                  </a:lnTo>
                  <a:lnTo>
                    <a:pt x="5381917" y="171678"/>
                  </a:lnTo>
                  <a:lnTo>
                    <a:pt x="5365089" y="176530"/>
                  </a:lnTo>
                  <a:lnTo>
                    <a:pt x="5368709" y="180340"/>
                  </a:lnTo>
                  <a:lnTo>
                    <a:pt x="5366893" y="184150"/>
                  </a:lnTo>
                  <a:lnTo>
                    <a:pt x="5380964" y="179070"/>
                  </a:lnTo>
                  <a:lnTo>
                    <a:pt x="5377980" y="182880"/>
                  </a:lnTo>
                  <a:lnTo>
                    <a:pt x="5380736" y="184150"/>
                  </a:lnTo>
                  <a:lnTo>
                    <a:pt x="5377700" y="185420"/>
                  </a:lnTo>
                  <a:lnTo>
                    <a:pt x="5351945" y="190500"/>
                  </a:lnTo>
                  <a:lnTo>
                    <a:pt x="5359781" y="195580"/>
                  </a:lnTo>
                  <a:lnTo>
                    <a:pt x="5359654" y="198120"/>
                  </a:lnTo>
                  <a:lnTo>
                    <a:pt x="5362791" y="196850"/>
                  </a:lnTo>
                  <a:lnTo>
                    <a:pt x="5358041" y="203200"/>
                  </a:lnTo>
                  <a:lnTo>
                    <a:pt x="5364632" y="200660"/>
                  </a:lnTo>
                  <a:lnTo>
                    <a:pt x="5365305" y="204470"/>
                  </a:lnTo>
                  <a:lnTo>
                    <a:pt x="5367464" y="200660"/>
                  </a:lnTo>
                  <a:lnTo>
                    <a:pt x="5368175" y="199390"/>
                  </a:lnTo>
                  <a:lnTo>
                    <a:pt x="5372900" y="198120"/>
                  </a:lnTo>
                  <a:lnTo>
                    <a:pt x="5368607" y="204470"/>
                  </a:lnTo>
                  <a:lnTo>
                    <a:pt x="5370576" y="204470"/>
                  </a:lnTo>
                  <a:lnTo>
                    <a:pt x="5367210" y="207403"/>
                  </a:lnTo>
                  <a:lnTo>
                    <a:pt x="5367210" y="245110"/>
                  </a:lnTo>
                  <a:lnTo>
                    <a:pt x="5364962" y="250190"/>
                  </a:lnTo>
                  <a:lnTo>
                    <a:pt x="5364061" y="251460"/>
                  </a:lnTo>
                  <a:lnTo>
                    <a:pt x="5347500" y="259080"/>
                  </a:lnTo>
                  <a:lnTo>
                    <a:pt x="5343296" y="259080"/>
                  </a:lnTo>
                  <a:lnTo>
                    <a:pt x="5336438" y="254000"/>
                  </a:lnTo>
                  <a:lnTo>
                    <a:pt x="5331282" y="250190"/>
                  </a:lnTo>
                  <a:lnTo>
                    <a:pt x="5330622" y="248920"/>
                  </a:lnTo>
                  <a:lnTo>
                    <a:pt x="5328628" y="245110"/>
                  </a:lnTo>
                  <a:lnTo>
                    <a:pt x="5333619" y="247650"/>
                  </a:lnTo>
                  <a:lnTo>
                    <a:pt x="5335117" y="245110"/>
                  </a:lnTo>
                  <a:lnTo>
                    <a:pt x="5335854" y="243840"/>
                  </a:lnTo>
                  <a:lnTo>
                    <a:pt x="5339550" y="250190"/>
                  </a:lnTo>
                  <a:lnTo>
                    <a:pt x="5342255" y="246380"/>
                  </a:lnTo>
                  <a:lnTo>
                    <a:pt x="5344122" y="252730"/>
                  </a:lnTo>
                  <a:lnTo>
                    <a:pt x="5348148" y="254000"/>
                  </a:lnTo>
                  <a:lnTo>
                    <a:pt x="5349087" y="251460"/>
                  </a:lnTo>
                  <a:lnTo>
                    <a:pt x="5352135" y="248920"/>
                  </a:lnTo>
                  <a:lnTo>
                    <a:pt x="5354752" y="250190"/>
                  </a:lnTo>
                  <a:lnTo>
                    <a:pt x="5354129" y="248920"/>
                  </a:lnTo>
                  <a:lnTo>
                    <a:pt x="5353507" y="247650"/>
                  </a:lnTo>
                  <a:lnTo>
                    <a:pt x="5355501" y="246380"/>
                  </a:lnTo>
                  <a:lnTo>
                    <a:pt x="5357482" y="245110"/>
                  </a:lnTo>
                  <a:lnTo>
                    <a:pt x="5358054" y="245110"/>
                  </a:lnTo>
                  <a:lnTo>
                    <a:pt x="5359298" y="252730"/>
                  </a:lnTo>
                  <a:lnTo>
                    <a:pt x="5367210" y="245110"/>
                  </a:lnTo>
                  <a:lnTo>
                    <a:pt x="5367210" y="207403"/>
                  </a:lnTo>
                  <a:lnTo>
                    <a:pt x="5361813" y="212090"/>
                  </a:lnTo>
                  <a:lnTo>
                    <a:pt x="5359425" y="210820"/>
                  </a:lnTo>
                  <a:lnTo>
                    <a:pt x="5354485" y="208280"/>
                  </a:lnTo>
                  <a:lnTo>
                    <a:pt x="5351208" y="207010"/>
                  </a:lnTo>
                  <a:lnTo>
                    <a:pt x="5354421" y="215900"/>
                  </a:lnTo>
                  <a:lnTo>
                    <a:pt x="5350865" y="217170"/>
                  </a:lnTo>
                  <a:lnTo>
                    <a:pt x="5354396" y="218440"/>
                  </a:lnTo>
                  <a:lnTo>
                    <a:pt x="5351640" y="224790"/>
                  </a:lnTo>
                  <a:lnTo>
                    <a:pt x="5361508" y="218440"/>
                  </a:lnTo>
                  <a:lnTo>
                    <a:pt x="5361495" y="224790"/>
                  </a:lnTo>
                  <a:lnTo>
                    <a:pt x="5365547" y="223520"/>
                  </a:lnTo>
                  <a:lnTo>
                    <a:pt x="5366905" y="224790"/>
                  </a:lnTo>
                  <a:lnTo>
                    <a:pt x="5364886" y="227330"/>
                  </a:lnTo>
                  <a:lnTo>
                    <a:pt x="5341505" y="229870"/>
                  </a:lnTo>
                  <a:lnTo>
                    <a:pt x="5346166" y="233680"/>
                  </a:lnTo>
                  <a:lnTo>
                    <a:pt x="5343068" y="236220"/>
                  </a:lnTo>
                  <a:lnTo>
                    <a:pt x="5350599" y="237490"/>
                  </a:lnTo>
                  <a:lnTo>
                    <a:pt x="5352732" y="238760"/>
                  </a:lnTo>
                  <a:lnTo>
                    <a:pt x="5352351" y="240030"/>
                  </a:lnTo>
                  <a:lnTo>
                    <a:pt x="5353253" y="238760"/>
                  </a:lnTo>
                  <a:lnTo>
                    <a:pt x="5354129" y="240030"/>
                  </a:lnTo>
                  <a:lnTo>
                    <a:pt x="5350307" y="242570"/>
                  </a:lnTo>
                  <a:lnTo>
                    <a:pt x="5349646" y="241300"/>
                  </a:lnTo>
                  <a:lnTo>
                    <a:pt x="5338165" y="233680"/>
                  </a:lnTo>
                  <a:lnTo>
                    <a:pt x="5332425" y="229870"/>
                  </a:lnTo>
                  <a:lnTo>
                    <a:pt x="5329580" y="222250"/>
                  </a:lnTo>
                  <a:lnTo>
                    <a:pt x="5336464" y="227330"/>
                  </a:lnTo>
                  <a:lnTo>
                    <a:pt x="5340362" y="224790"/>
                  </a:lnTo>
                  <a:lnTo>
                    <a:pt x="5343588" y="224790"/>
                  </a:lnTo>
                  <a:lnTo>
                    <a:pt x="5345747" y="226060"/>
                  </a:lnTo>
                  <a:lnTo>
                    <a:pt x="5344884" y="224790"/>
                  </a:lnTo>
                  <a:lnTo>
                    <a:pt x="5343156" y="222250"/>
                  </a:lnTo>
                  <a:lnTo>
                    <a:pt x="5341429" y="219710"/>
                  </a:lnTo>
                  <a:lnTo>
                    <a:pt x="5340566" y="218440"/>
                  </a:lnTo>
                  <a:lnTo>
                    <a:pt x="5338546" y="217170"/>
                  </a:lnTo>
                  <a:lnTo>
                    <a:pt x="5332450" y="213360"/>
                  </a:lnTo>
                  <a:lnTo>
                    <a:pt x="5320030" y="201930"/>
                  </a:lnTo>
                  <a:lnTo>
                    <a:pt x="5319433" y="198120"/>
                  </a:lnTo>
                  <a:lnTo>
                    <a:pt x="5322633" y="198120"/>
                  </a:lnTo>
                  <a:lnTo>
                    <a:pt x="5324208" y="203200"/>
                  </a:lnTo>
                  <a:lnTo>
                    <a:pt x="5329606" y="199390"/>
                  </a:lnTo>
                  <a:lnTo>
                    <a:pt x="5331168" y="208280"/>
                  </a:lnTo>
                  <a:lnTo>
                    <a:pt x="5333492" y="204470"/>
                  </a:lnTo>
                  <a:lnTo>
                    <a:pt x="5340324" y="208280"/>
                  </a:lnTo>
                  <a:lnTo>
                    <a:pt x="5340007" y="204470"/>
                  </a:lnTo>
                  <a:lnTo>
                    <a:pt x="5341061" y="204470"/>
                  </a:lnTo>
                  <a:lnTo>
                    <a:pt x="5341759" y="203200"/>
                  </a:lnTo>
                  <a:lnTo>
                    <a:pt x="5346916" y="204470"/>
                  </a:lnTo>
                  <a:lnTo>
                    <a:pt x="5346827" y="203200"/>
                  </a:lnTo>
                  <a:lnTo>
                    <a:pt x="5346636" y="200660"/>
                  </a:lnTo>
                  <a:lnTo>
                    <a:pt x="5344338" y="199390"/>
                  </a:lnTo>
                  <a:lnTo>
                    <a:pt x="5342026" y="198120"/>
                  </a:lnTo>
                  <a:lnTo>
                    <a:pt x="5330469" y="191770"/>
                  </a:lnTo>
                  <a:lnTo>
                    <a:pt x="5330075" y="190500"/>
                  </a:lnTo>
                  <a:lnTo>
                    <a:pt x="5329682" y="189230"/>
                  </a:lnTo>
                  <a:lnTo>
                    <a:pt x="5332730" y="189230"/>
                  </a:lnTo>
                  <a:lnTo>
                    <a:pt x="5319636" y="177800"/>
                  </a:lnTo>
                  <a:lnTo>
                    <a:pt x="5323205" y="177800"/>
                  </a:lnTo>
                  <a:lnTo>
                    <a:pt x="5327167" y="180340"/>
                  </a:lnTo>
                  <a:lnTo>
                    <a:pt x="5326621" y="177800"/>
                  </a:lnTo>
                  <a:lnTo>
                    <a:pt x="5325503" y="172720"/>
                  </a:lnTo>
                  <a:lnTo>
                    <a:pt x="5334520" y="177800"/>
                  </a:lnTo>
                  <a:lnTo>
                    <a:pt x="5333987" y="172720"/>
                  </a:lnTo>
                  <a:lnTo>
                    <a:pt x="5333847" y="171450"/>
                  </a:lnTo>
                  <a:lnTo>
                    <a:pt x="5339131" y="171450"/>
                  </a:lnTo>
                  <a:lnTo>
                    <a:pt x="5334025" y="167640"/>
                  </a:lnTo>
                  <a:lnTo>
                    <a:pt x="5325376" y="165100"/>
                  </a:lnTo>
                  <a:lnTo>
                    <a:pt x="5316499" y="160020"/>
                  </a:lnTo>
                  <a:lnTo>
                    <a:pt x="5318379" y="156210"/>
                  </a:lnTo>
                  <a:lnTo>
                    <a:pt x="5325097" y="162560"/>
                  </a:lnTo>
                  <a:lnTo>
                    <a:pt x="5326050" y="156210"/>
                  </a:lnTo>
                  <a:lnTo>
                    <a:pt x="5326240" y="154940"/>
                  </a:lnTo>
                  <a:lnTo>
                    <a:pt x="5332120" y="162560"/>
                  </a:lnTo>
                  <a:lnTo>
                    <a:pt x="5330126" y="154940"/>
                  </a:lnTo>
                  <a:lnTo>
                    <a:pt x="5339258" y="158750"/>
                  </a:lnTo>
                  <a:lnTo>
                    <a:pt x="5337251" y="154940"/>
                  </a:lnTo>
                  <a:lnTo>
                    <a:pt x="5335905" y="152400"/>
                  </a:lnTo>
                  <a:lnTo>
                    <a:pt x="5341505" y="152400"/>
                  </a:lnTo>
                  <a:lnTo>
                    <a:pt x="5323573" y="146050"/>
                  </a:lnTo>
                  <a:lnTo>
                    <a:pt x="5316385" y="143510"/>
                  </a:lnTo>
                  <a:lnTo>
                    <a:pt x="5322608" y="140970"/>
                  </a:lnTo>
                  <a:lnTo>
                    <a:pt x="5315305" y="134620"/>
                  </a:lnTo>
                  <a:lnTo>
                    <a:pt x="5312372" y="132080"/>
                  </a:lnTo>
                  <a:lnTo>
                    <a:pt x="5326316" y="137160"/>
                  </a:lnTo>
                  <a:lnTo>
                    <a:pt x="5323802" y="133350"/>
                  </a:lnTo>
                  <a:lnTo>
                    <a:pt x="5326113" y="132080"/>
                  </a:lnTo>
                  <a:lnTo>
                    <a:pt x="5328424" y="130810"/>
                  </a:lnTo>
                  <a:lnTo>
                    <a:pt x="5314531" y="124460"/>
                  </a:lnTo>
                  <a:lnTo>
                    <a:pt x="5319255" y="119380"/>
                  </a:lnTo>
                  <a:lnTo>
                    <a:pt x="5312930" y="116840"/>
                  </a:lnTo>
                  <a:lnTo>
                    <a:pt x="5313807" y="113030"/>
                  </a:lnTo>
                  <a:lnTo>
                    <a:pt x="5309730" y="110490"/>
                  </a:lnTo>
                  <a:lnTo>
                    <a:pt x="5311089" y="109220"/>
                  </a:lnTo>
                  <a:lnTo>
                    <a:pt x="5308917" y="105410"/>
                  </a:lnTo>
                  <a:lnTo>
                    <a:pt x="5307558" y="95250"/>
                  </a:lnTo>
                  <a:lnTo>
                    <a:pt x="5305679" y="106680"/>
                  </a:lnTo>
                  <a:lnTo>
                    <a:pt x="5303228" y="109220"/>
                  </a:lnTo>
                  <a:lnTo>
                    <a:pt x="5304599" y="113030"/>
                  </a:lnTo>
                  <a:lnTo>
                    <a:pt x="5302288" y="114300"/>
                  </a:lnTo>
                  <a:lnTo>
                    <a:pt x="5301145" y="114300"/>
                  </a:lnTo>
                  <a:lnTo>
                    <a:pt x="5298846" y="115570"/>
                  </a:lnTo>
                  <a:lnTo>
                    <a:pt x="5299253" y="116840"/>
                  </a:lnTo>
                  <a:lnTo>
                    <a:pt x="5299545" y="118110"/>
                  </a:lnTo>
                  <a:lnTo>
                    <a:pt x="5291594" y="120650"/>
                  </a:lnTo>
                  <a:lnTo>
                    <a:pt x="5303329" y="123190"/>
                  </a:lnTo>
                  <a:lnTo>
                    <a:pt x="5287429" y="130810"/>
                  </a:lnTo>
                  <a:lnTo>
                    <a:pt x="5289880" y="132080"/>
                  </a:lnTo>
                  <a:lnTo>
                    <a:pt x="5291086" y="133350"/>
                  </a:lnTo>
                  <a:lnTo>
                    <a:pt x="5293525" y="134620"/>
                  </a:lnTo>
                  <a:lnTo>
                    <a:pt x="5290070" y="138430"/>
                  </a:lnTo>
                  <a:lnTo>
                    <a:pt x="5296078" y="135890"/>
                  </a:lnTo>
                  <a:lnTo>
                    <a:pt x="5301666" y="134620"/>
                  </a:lnTo>
                  <a:lnTo>
                    <a:pt x="5296827" y="138430"/>
                  </a:lnTo>
                  <a:lnTo>
                    <a:pt x="5290401" y="139700"/>
                  </a:lnTo>
                  <a:lnTo>
                    <a:pt x="5287276" y="143510"/>
                  </a:lnTo>
                  <a:lnTo>
                    <a:pt x="5294566" y="143510"/>
                  </a:lnTo>
                  <a:lnTo>
                    <a:pt x="5291620" y="147320"/>
                  </a:lnTo>
                  <a:lnTo>
                    <a:pt x="5297081" y="146050"/>
                  </a:lnTo>
                  <a:lnTo>
                    <a:pt x="5298948" y="148590"/>
                  </a:lnTo>
                  <a:lnTo>
                    <a:pt x="5291112" y="153670"/>
                  </a:lnTo>
                  <a:lnTo>
                    <a:pt x="5273853" y="161290"/>
                  </a:lnTo>
                  <a:lnTo>
                    <a:pt x="5281473" y="161290"/>
                  </a:lnTo>
                  <a:lnTo>
                    <a:pt x="5279047" y="165100"/>
                  </a:lnTo>
                  <a:lnTo>
                    <a:pt x="5286248" y="162560"/>
                  </a:lnTo>
                  <a:lnTo>
                    <a:pt x="5285803" y="165100"/>
                  </a:lnTo>
                  <a:lnTo>
                    <a:pt x="5285486" y="167640"/>
                  </a:lnTo>
                  <a:lnTo>
                    <a:pt x="5290629" y="162560"/>
                  </a:lnTo>
                  <a:lnTo>
                    <a:pt x="5295189" y="161290"/>
                  </a:lnTo>
                  <a:lnTo>
                    <a:pt x="5293131" y="166370"/>
                  </a:lnTo>
                  <a:lnTo>
                    <a:pt x="5287569" y="170180"/>
                  </a:lnTo>
                  <a:lnTo>
                    <a:pt x="5283860" y="171450"/>
                  </a:lnTo>
                  <a:lnTo>
                    <a:pt x="5278793" y="173990"/>
                  </a:lnTo>
                  <a:lnTo>
                    <a:pt x="5282577" y="176530"/>
                  </a:lnTo>
                  <a:lnTo>
                    <a:pt x="5274335" y="181610"/>
                  </a:lnTo>
                  <a:lnTo>
                    <a:pt x="5282768" y="181610"/>
                  </a:lnTo>
                  <a:lnTo>
                    <a:pt x="5280469" y="184150"/>
                  </a:lnTo>
                  <a:lnTo>
                    <a:pt x="5268773" y="189230"/>
                  </a:lnTo>
                  <a:lnTo>
                    <a:pt x="5262384" y="193040"/>
                  </a:lnTo>
                  <a:lnTo>
                    <a:pt x="5271071" y="193040"/>
                  </a:lnTo>
                  <a:lnTo>
                    <a:pt x="5271097" y="199390"/>
                  </a:lnTo>
                  <a:lnTo>
                    <a:pt x="5278996" y="191770"/>
                  </a:lnTo>
                  <a:lnTo>
                    <a:pt x="5279491" y="198120"/>
                  </a:lnTo>
                  <a:lnTo>
                    <a:pt x="5285244" y="193040"/>
                  </a:lnTo>
                  <a:lnTo>
                    <a:pt x="5288089" y="191770"/>
                  </a:lnTo>
                  <a:lnTo>
                    <a:pt x="5290921" y="190500"/>
                  </a:lnTo>
                  <a:lnTo>
                    <a:pt x="5286210" y="196824"/>
                  </a:lnTo>
                  <a:lnTo>
                    <a:pt x="5286210" y="233680"/>
                  </a:lnTo>
                  <a:lnTo>
                    <a:pt x="5281752" y="239534"/>
                  </a:lnTo>
                  <a:lnTo>
                    <a:pt x="5281752" y="271780"/>
                  </a:lnTo>
                  <a:lnTo>
                    <a:pt x="5280990" y="271780"/>
                  </a:lnTo>
                  <a:lnTo>
                    <a:pt x="5277485" y="273050"/>
                  </a:lnTo>
                  <a:lnTo>
                    <a:pt x="5273726" y="275590"/>
                  </a:lnTo>
                  <a:lnTo>
                    <a:pt x="5271465" y="274167"/>
                  </a:lnTo>
                  <a:lnTo>
                    <a:pt x="5271465" y="288290"/>
                  </a:lnTo>
                  <a:lnTo>
                    <a:pt x="5270843" y="288607"/>
                  </a:lnTo>
                  <a:lnTo>
                    <a:pt x="5270970" y="288290"/>
                  </a:lnTo>
                  <a:lnTo>
                    <a:pt x="5271465" y="288290"/>
                  </a:lnTo>
                  <a:lnTo>
                    <a:pt x="5271465" y="274167"/>
                  </a:lnTo>
                  <a:lnTo>
                    <a:pt x="5269712" y="273050"/>
                  </a:lnTo>
                  <a:lnTo>
                    <a:pt x="5269319" y="271780"/>
                  </a:lnTo>
                  <a:lnTo>
                    <a:pt x="5268925" y="270510"/>
                  </a:lnTo>
                  <a:lnTo>
                    <a:pt x="5271973" y="270510"/>
                  </a:lnTo>
                  <a:lnTo>
                    <a:pt x="5269217" y="269240"/>
                  </a:lnTo>
                  <a:lnTo>
                    <a:pt x="5269801" y="266700"/>
                  </a:lnTo>
                  <a:lnTo>
                    <a:pt x="5272278" y="267970"/>
                  </a:lnTo>
                  <a:lnTo>
                    <a:pt x="5273764" y="273050"/>
                  </a:lnTo>
                  <a:lnTo>
                    <a:pt x="5277294" y="269240"/>
                  </a:lnTo>
                  <a:lnTo>
                    <a:pt x="5280787" y="270510"/>
                  </a:lnTo>
                  <a:lnTo>
                    <a:pt x="5281752" y="271780"/>
                  </a:lnTo>
                  <a:lnTo>
                    <a:pt x="5281752" y="239534"/>
                  </a:lnTo>
                  <a:lnTo>
                    <a:pt x="5277497" y="245110"/>
                  </a:lnTo>
                  <a:lnTo>
                    <a:pt x="5270182" y="248920"/>
                  </a:lnTo>
                  <a:lnTo>
                    <a:pt x="5269750" y="248831"/>
                  </a:lnTo>
                  <a:lnTo>
                    <a:pt x="5269750" y="256540"/>
                  </a:lnTo>
                  <a:lnTo>
                    <a:pt x="5269712" y="257810"/>
                  </a:lnTo>
                  <a:lnTo>
                    <a:pt x="5265928" y="259080"/>
                  </a:lnTo>
                  <a:lnTo>
                    <a:pt x="5264759" y="254000"/>
                  </a:lnTo>
                  <a:lnTo>
                    <a:pt x="5269750" y="256540"/>
                  </a:lnTo>
                  <a:lnTo>
                    <a:pt x="5269750" y="248831"/>
                  </a:lnTo>
                  <a:lnTo>
                    <a:pt x="5264620" y="247650"/>
                  </a:lnTo>
                  <a:lnTo>
                    <a:pt x="5255742" y="241300"/>
                  </a:lnTo>
                  <a:lnTo>
                    <a:pt x="5257622" y="238760"/>
                  </a:lnTo>
                  <a:lnTo>
                    <a:pt x="5264340" y="243840"/>
                  </a:lnTo>
                  <a:lnTo>
                    <a:pt x="5265102" y="238760"/>
                  </a:lnTo>
                  <a:lnTo>
                    <a:pt x="5265483" y="236220"/>
                  </a:lnTo>
                  <a:lnTo>
                    <a:pt x="5271363" y="243840"/>
                  </a:lnTo>
                  <a:lnTo>
                    <a:pt x="5269535" y="237490"/>
                  </a:lnTo>
                  <a:lnTo>
                    <a:pt x="5269814" y="237490"/>
                  </a:lnTo>
                  <a:lnTo>
                    <a:pt x="5278513" y="240030"/>
                  </a:lnTo>
                  <a:lnTo>
                    <a:pt x="5277167" y="237490"/>
                  </a:lnTo>
                  <a:lnTo>
                    <a:pt x="5276494" y="236220"/>
                  </a:lnTo>
                  <a:lnTo>
                    <a:pt x="5275148" y="233680"/>
                  </a:lnTo>
                  <a:lnTo>
                    <a:pt x="5280749" y="234950"/>
                  </a:lnTo>
                  <a:lnTo>
                    <a:pt x="5278069" y="233680"/>
                  </a:lnTo>
                  <a:lnTo>
                    <a:pt x="5280914" y="231140"/>
                  </a:lnTo>
                  <a:lnTo>
                    <a:pt x="5284241" y="224790"/>
                  </a:lnTo>
                  <a:lnTo>
                    <a:pt x="5284902" y="223520"/>
                  </a:lnTo>
                  <a:lnTo>
                    <a:pt x="5285562" y="222250"/>
                  </a:lnTo>
                  <a:lnTo>
                    <a:pt x="5282387" y="234950"/>
                  </a:lnTo>
                  <a:lnTo>
                    <a:pt x="5286210" y="233680"/>
                  </a:lnTo>
                  <a:lnTo>
                    <a:pt x="5286210" y="196824"/>
                  </a:lnTo>
                  <a:lnTo>
                    <a:pt x="5285244" y="198120"/>
                  </a:lnTo>
                  <a:lnTo>
                    <a:pt x="5283962" y="203200"/>
                  </a:lnTo>
                  <a:lnTo>
                    <a:pt x="5280126" y="207010"/>
                  </a:lnTo>
                  <a:lnTo>
                    <a:pt x="5277485" y="208838"/>
                  </a:lnTo>
                  <a:lnTo>
                    <a:pt x="5277485" y="233680"/>
                  </a:lnTo>
                  <a:lnTo>
                    <a:pt x="5273408" y="231140"/>
                  </a:lnTo>
                  <a:lnTo>
                    <a:pt x="5275300" y="228600"/>
                  </a:lnTo>
                  <a:lnTo>
                    <a:pt x="5277485" y="233680"/>
                  </a:lnTo>
                  <a:lnTo>
                    <a:pt x="5277485" y="208838"/>
                  </a:lnTo>
                  <a:lnTo>
                    <a:pt x="5269077" y="214630"/>
                  </a:lnTo>
                  <a:lnTo>
                    <a:pt x="5268734" y="214820"/>
                  </a:lnTo>
                  <a:lnTo>
                    <a:pt x="5268734" y="224790"/>
                  </a:lnTo>
                  <a:lnTo>
                    <a:pt x="5266067" y="228600"/>
                  </a:lnTo>
                  <a:lnTo>
                    <a:pt x="5261559" y="227330"/>
                  </a:lnTo>
                  <a:lnTo>
                    <a:pt x="5268734" y="224790"/>
                  </a:lnTo>
                  <a:lnTo>
                    <a:pt x="5268734" y="214820"/>
                  </a:lnTo>
                  <a:lnTo>
                    <a:pt x="5264493" y="217170"/>
                  </a:lnTo>
                  <a:lnTo>
                    <a:pt x="5263045" y="214630"/>
                  </a:lnTo>
                  <a:lnTo>
                    <a:pt x="5267668" y="213360"/>
                  </a:lnTo>
                  <a:lnTo>
                    <a:pt x="5262727" y="211112"/>
                  </a:lnTo>
                  <a:lnTo>
                    <a:pt x="5262727" y="218440"/>
                  </a:lnTo>
                  <a:lnTo>
                    <a:pt x="5261457" y="218897"/>
                  </a:lnTo>
                  <a:lnTo>
                    <a:pt x="5261457" y="227330"/>
                  </a:lnTo>
                  <a:lnTo>
                    <a:pt x="5255628" y="224790"/>
                  </a:lnTo>
                  <a:lnTo>
                    <a:pt x="5257419" y="223520"/>
                  </a:lnTo>
                  <a:lnTo>
                    <a:pt x="5260530" y="223520"/>
                  </a:lnTo>
                  <a:lnTo>
                    <a:pt x="5261457" y="227330"/>
                  </a:lnTo>
                  <a:lnTo>
                    <a:pt x="5261457" y="218897"/>
                  </a:lnTo>
                  <a:lnTo>
                    <a:pt x="5259133" y="219710"/>
                  </a:lnTo>
                  <a:lnTo>
                    <a:pt x="5254625" y="215900"/>
                  </a:lnTo>
                  <a:lnTo>
                    <a:pt x="5251615" y="213360"/>
                  </a:lnTo>
                  <a:lnTo>
                    <a:pt x="5262727" y="218440"/>
                  </a:lnTo>
                  <a:lnTo>
                    <a:pt x="5262727" y="211112"/>
                  </a:lnTo>
                  <a:lnTo>
                    <a:pt x="5253787" y="207010"/>
                  </a:lnTo>
                  <a:lnTo>
                    <a:pt x="5258511" y="201930"/>
                  </a:lnTo>
                  <a:lnTo>
                    <a:pt x="5252174" y="198120"/>
                  </a:lnTo>
                  <a:lnTo>
                    <a:pt x="5253050" y="194310"/>
                  </a:lnTo>
                  <a:lnTo>
                    <a:pt x="5248973" y="191770"/>
                  </a:lnTo>
                  <a:lnTo>
                    <a:pt x="5250332" y="190500"/>
                  </a:lnTo>
                  <a:lnTo>
                    <a:pt x="5248148" y="187960"/>
                  </a:lnTo>
                  <a:lnTo>
                    <a:pt x="5246802" y="176530"/>
                  </a:lnTo>
                  <a:lnTo>
                    <a:pt x="5244922" y="187960"/>
                  </a:lnTo>
                  <a:lnTo>
                    <a:pt x="5242471" y="191770"/>
                  </a:lnTo>
                  <a:lnTo>
                    <a:pt x="5243842" y="195580"/>
                  </a:lnTo>
                  <a:lnTo>
                    <a:pt x="5241531" y="195580"/>
                  </a:lnTo>
                  <a:lnTo>
                    <a:pt x="5240388" y="196850"/>
                  </a:lnTo>
                  <a:lnTo>
                    <a:pt x="5238077" y="196850"/>
                  </a:lnTo>
                  <a:lnTo>
                    <a:pt x="5238788" y="200660"/>
                  </a:lnTo>
                  <a:lnTo>
                    <a:pt x="5230838" y="203200"/>
                  </a:lnTo>
                  <a:lnTo>
                    <a:pt x="5242572" y="205740"/>
                  </a:lnTo>
                  <a:lnTo>
                    <a:pt x="5226672" y="212090"/>
                  </a:lnTo>
                  <a:lnTo>
                    <a:pt x="5232768" y="215900"/>
                  </a:lnTo>
                  <a:lnTo>
                    <a:pt x="5229314" y="219710"/>
                  </a:lnTo>
                  <a:lnTo>
                    <a:pt x="5235321" y="217170"/>
                  </a:lnTo>
                  <a:lnTo>
                    <a:pt x="5240909" y="215900"/>
                  </a:lnTo>
                  <a:lnTo>
                    <a:pt x="5236070" y="219710"/>
                  </a:lnTo>
                  <a:lnTo>
                    <a:pt x="5229644" y="222250"/>
                  </a:lnTo>
                  <a:lnTo>
                    <a:pt x="5226520" y="224790"/>
                  </a:lnTo>
                  <a:lnTo>
                    <a:pt x="5233809" y="224790"/>
                  </a:lnTo>
                  <a:lnTo>
                    <a:pt x="5230863" y="229870"/>
                  </a:lnTo>
                  <a:lnTo>
                    <a:pt x="5236337" y="227330"/>
                  </a:lnTo>
                  <a:lnTo>
                    <a:pt x="5238191" y="229870"/>
                  </a:lnTo>
                  <a:lnTo>
                    <a:pt x="5230368" y="234950"/>
                  </a:lnTo>
                  <a:lnTo>
                    <a:pt x="5213096" y="242570"/>
                  </a:lnTo>
                  <a:lnTo>
                    <a:pt x="5220716" y="242570"/>
                  </a:lnTo>
                  <a:lnTo>
                    <a:pt x="5218290" y="246380"/>
                  </a:lnTo>
                  <a:lnTo>
                    <a:pt x="5225491" y="243840"/>
                  </a:lnTo>
                  <a:lnTo>
                    <a:pt x="5225046" y="246380"/>
                  </a:lnTo>
                  <a:lnTo>
                    <a:pt x="5224729" y="248920"/>
                  </a:lnTo>
                  <a:lnTo>
                    <a:pt x="5232501" y="243840"/>
                  </a:lnTo>
                  <a:lnTo>
                    <a:pt x="5234444" y="242570"/>
                  </a:lnTo>
                  <a:lnTo>
                    <a:pt x="5232374" y="247650"/>
                  </a:lnTo>
                  <a:lnTo>
                    <a:pt x="5223103" y="254000"/>
                  </a:lnTo>
                  <a:lnTo>
                    <a:pt x="5218049" y="255270"/>
                  </a:lnTo>
                  <a:lnTo>
                    <a:pt x="5221821" y="259080"/>
                  </a:lnTo>
                  <a:lnTo>
                    <a:pt x="5213591" y="262890"/>
                  </a:lnTo>
                  <a:lnTo>
                    <a:pt x="5222011" y="262890"/>
                  </a:lnTo>
                  <a:lnTo>
                    <a:pt x="5219712" y="266700"/>
                  </a:lnTo>
                  <a:lnTo>
                    <a:pt x="5208016" y="270510"/>
                  </a:lnTo>
                  <a:lnTo>
                    <a:pt x="5201628" y="274320"/>
                  </a:lnTo>
                  <a:lnTo>
                    <a:pt x="5210314" y="274320"/>
                  </a:lnTo>
                  <a:lnTo>
                    <a:pt x="5210340" y="280670"/>
                  </a:lnTo>
                  <a:lnTo>
                    <a:pt x="5218239" y="274320"/>
                  </a:lnTo>
                  <a:lnTo>
                    <a:pt x="5218735" y="279400"/>
                  </a:lnTo>
                  <a:lnTo>
                    <a:pt x="5230165" y="271780"/>
                  </a:lnTo>
                  <a:lnTo>
                    <a:pt x="5224488" y="280670"/>
                  </a:lnTo>
                  <a:lnTo>
                    <a:pt x="5223205" y="284480"/>
                  </a:lnTo>
                  <a:lnTo>
                    <a:pt x="5219979" y="288290"/>
                  </a:lnTo>
                  <a:lnTo>
                    <a:pt x="5219090" y="280670"/>
                  </a:lnTo>
                  <a:lnTo>
                    <a:pt x="5217642" y="289560"/>
                  </a:lnTo>
                  <a:lnTo>
                    <a:pt x="5208333" y="295910"/>
                  </a:lnTo>
                  <a:lnTo>
                    <a:pt x="5197018" y="302260"/>
                  </a:lnTo>
                  <a:lnTo>
                    <a:pt x="5195646" y="306070"/>
                  </a:lnTo>
                  <a:lnTo>
                    <a:pt x="5199773" y="304800"/>
                  </a:lnTo>
                  <a:lnTo>
                    <a:pt x="5200726" y="308610"/>
                  </a:lnTo>
                  <a:lnTo>
                    <a:pt x="5204726" y="307340"/>
                  </a:lnTo>
                  <a:lnTo>
                    <a:pt x="5206936" y="307340"/>
                  </a:lnTo>
                  <a:lnTo>
                    <a:pt x="5202948" y="314960"/>
                  </a:lnTo>
                  <a:lnTo>
                    <a:pt x="5198961" y="316230"/>
                  </a:lnTo>
                  <a:lnTo>
                    <a:pt x="5201183" y="317500"/>
                  </a:lnTo>
                  <a:lnTo>
                    <a:pt x="5200104" y="320040"/>
                  </a:lnTo>
                  <a:lnTo>
                    <a:pt x="5202440" y="318770"/>
                  </a:lnTo>
                  <a:lnTo>
                    <a:pt x="5205057" y="320040"/>
                  </a:lnTo>
                  <a:lnTo>
                    <a:pt x="5201602" y="323850"/>
                  </a:lnTo>
                  <a:lnTo>
                    <a:pt x="5207609" y="321310"/>
                  </a:lnTo>
                  <a:lnTo>
                    <a:pt x="5213197" y="320040"/>
                  </a:lnTo>
                  <a:lnTo>
                    <a:pt x="5208359" y="323850"/>
                  </a:lnTo>
                  <a:lnTo>
                    <a:pt x="5201932" y="326390"/>
                  </a:lnTo>
                  <a:lnTo>
                    <a:pt x="5198808" y="328930"/>
                  </a:lnTo>
                  <a:lnTo>
                    <a:pt x="5206098" y="328930"/>
                  </a:lnTo>
                  <a:lnTo>
                    <a:pt x="5203164" y="334010"/>
                  </a:lnTo>
                  <a:lnTo>
                    <a:pt x="5208625" y="331470"/>
                  </a:lnTo>
                  <a:lnTo>
                    <a:pt x="5210480" y="334010"/>
                  </a:lnTo>
                  <a:lnTo>
                    <a:pt x="5206733" y="336448"/>
                  </a:lnTo>
                  <a:lnTo>
                    <a:pt x="5206733" y="346710"/>
                  </a:lnTo>
                  <a:lnTo>
                    <a:pt x="5204663" y="351790"/>
                  </a:lnTo>
                  <a:lnTo>
                    <a:pt x="5196929" y="357098"/>
                  </a:lnTo>
                  <a:lnTo>
                    <a:pt x="5196929" y="383540"/>
                  </a:lnTo>
                  <a:lnTo>
                    <a:pt x="5196776" y="384810"/>
                  </a:lnTo>
                  <a:lnTo>
                    <a:pt x="5195506" y="388620"/>
                  </a:lnTo>
                  <a:lnTo>
                    <a:pt x="5194389" y="389890"/>
                  </a:lnTo>
                  <a:lnTo>
                    <a:pt x="5190528" y="387350"/>
                  </a:lnTo>
                  <a:lnTo>
                    <a:pt x="5184737" y="383540"/>
                  </a:lnTo>
                  <a:lnTo>
                    <a:pt x="5189156" y="379730"/>
                  </a:lnTo>
                  <a:lnTo>
                    <a:pt x="5190325" y="381000"/>
                  </a:lnTo>
                  <a:lnTo>
                    <a:pt x="5190795" y="381000"/>
                  </a:lnTo>
                  <a:lnTo>
                    <a:pt x="5191023" y="383540"/>
                  </a:lnTo>
                  <a:lnTo>
                    <a:pt x="5194224" y="381000"/>
                  </a:lnTo>
                  <a:lnTo>
                    <a:pt x="5194897" y="383540"/>
                  </a:lnTo>
                  <a:lnTo>
                    <a:pt x="5196929" y="383540"/>
                  </a:lnTo>
                  <a:lnTo>
                    <a:pt x="5196929" y="357098"/>
                  </a:lnTo>
                  <a:lnTo>
                    <a:pt x="5195405" y="358140"/>
                  </a:lnTo>
                  <a:lnTo>
                    <a:pt x="5190325" y="359410"/>
                  </a:lnTo>
                  <a:lnTo>
                    <a:pt x="5192611" y="361950"/>
                  </a:lnTo>
                  <a:lnTo>
                    <a:pt x="5194109" y="363220"/>
                  </a:lnTo>
                  <a:lnTo>
                    <a:pt x="5190045" y="364490"/>
                  </a:lnTo>
                  <a:lnTo>
                    <a:pt x="5183200" y="360680"/>
                  </a:lnTo>
                  <a:lnTo>
                    <a:pt x="5180355" y="353060"/>
                  </a:lnTo>
                  <a:lnTo>
                    <a:pt x="5187239" y="358140"/>
                  </a:lnTo>
                  <a:lnTo>
                    <a:pt x="5191137" y="355600"/>
                  </a:lnTo>
                  <a:lnTo>
                    <a:pt x="5196522" y="356870"/>
                  </a:lnTo>
                  <a:lnTo>
                    <a:pt x="5195570" y="355600"/>
                  </a:lnTo>
                  <a:lnTo>
                    <a:pt x="5193665" y="353060"/>
                  </a:lnTo>
                  <a:lnTo>
                    <a:pt x="5191760" y="350520"/>
                  </a:lnTo>
                  <a:lnTo>
                    <a:pt x="5197792" y="347980"/>
                  </a:lnTo>
                  <a:lnTo>
                    <a:pt x="5197030" y="353060"/>
                  </a:lnTo>
                  <a:lnTo>
                    <a:pt x="5202161" y="347980"/>
                  </a:lnTo>
                  <a:lnTo>
                    <a:pt x="5206733" y="346710"/>
                  </a:lnTo>
                  <a:lnTo>
                    <a:pt x="5206733" y="336448"/>
                  </a:lnTo>
                  <a:lnTo>
                    <a:pt x="5202656" y="339090"/>
                  </a:lnTo>
                  <a:lnTo>
                    <a:pt x="5193017" y="343522"/>
                  </a:lnTo>
                  <a:lnTo>
                    <a:pt x="5193017" y="346710"/>
                  </a:lnTo>
                  <a:lnTo>
                    <a:pt x="5191226" y="350520"/>
                  </a:lnTo>
                  <a:lnTo>
                    <a:pt x="5186654" y="346710"/>
                  </a:lnTo>
                  <a:lnTo>
                    <a:pt x="5193017" y="346710"/>
                  </a:lnTo>
                  <a:lnTo>
                    <a:pt x="5193017" y="343522"/>
                  </a:lnTo>
                  <a:lnTo>
                    <a:pt x="5186045" y="346710"/>
                  </a:lnTo>
                  <a:lnTo>
                    <a:pt x="5183225" y="345440"/>
                  </a:lnTo>
                  <a:lnTo>
                    <a:pt x="5180749" y="342900"/>
                  </a:lnTo>
                  <a:lnTo>
                    <a:pt x="5170805" y="332740"/>
                  </a:lnTo>
                  <a:lnTo>
                    <a:pt x="5170208" y="328930"/>
                  </a:lnTo>
                  <a:lnTo>
                    <a:pt x="5173408" y="328930"/>
                  </a:lnTo>
                  <a:lnTo>
                    <a:pt x="5174983" y="334010"/>
                  </a:lnTo>
                  <a:lnTo>
                    <a:pt x="5180381" y="330200"/>
                  </a:lnTo>
                  <a:lnTo>
                    <a:pt x="5181943" y="339090"/>
                  </a:lnTo>
                  <a:lnTo>
                    <a:pt x="5184267" y="335280"/>
                  </a:lnTo>
                  <a:lnTo>
                    <a:pt x="5191099" y="339090"/>
                  </a:lnTo>
                  <a:lnTo>
                    <a:pt x="5190782" y="336550"/>
                  </a:lnTo>
                  <a:lnTo>
                    <a:pt x="5191658" y="335280"/>
                  </a:lnTo>
                  <a:lnTo>
                    <a:pt x="5192534" y="334010"/>
                  </a:lnTo>
                  <a:lnTo>
                    <a:pt x="5197691" y="335280"/>
                  </a:lnTo>
                  <a:lnTo>
                    <a:pt x="5196052" y="334010"/>
                  </a:lnTo>
                  <a:lnTo>
                    <a:pt x="5191112" y="330200"/>
                  </a:lnTo>
                  <a:lnTo>
                    <a:pt x="5189474" y="328930"/>
                  </a:lnTo>
                  <a:lnTo>
                    <a:pt x="5181244" y="322580"/>
                  </a:lnTo>
                  <a:lnTo>
                    <a:pt x="5180457" y="320040"/>
                  </a:lnTo>
                  <a:lnTo>
                    <a:pt x="5183517" y="320040"/>
                  </a:lnTo>
                  <a:lnTo>
                    <a:pt x="5170411" y="308610"/>
                  </a:lnTo>
                  <a:lnTo>
                    <a:pt x="5173980" y="308610"/>
                  </a:lnTo>
                  <a:lnTo>
                    <a:pt x="5177942" y="311150"/>
                  </a:lnTo>
                  <a:lnTo>
                    <a:pt x="5177396" y="308610"/>
                  </a:lnTo>
                  <a:lnTo>
                    <a:pt x="5176291" y="303530"/>
                  </a:lnTo>
                  <a:lnTo>
                    <a:pt x="5185295" y="308610"/>
                  </a:lnTo>
                  <a:lnTo>
                    <a:pt x="5184762" y="303530"/>
                  </a:lnTo>
                  <a:lnTo>
                    <a:pt x="5184622" y="302260"/>
                  </a:lnTo>
                  <a:lnTo>
                    <a:pt x="5189906" y="302260"/>
                  </a:lnTo>
                  <a:lnTo>
                    <a:pt x="5176151" y="295910"/>
                  </a:lnTo>
                  <a:lnTo>
                    <a:pt x="5167274" y="290830"/>
                  </a:lnTo>
                  <a:lnTo>
                    <a:pt x="5169154" y="287020"/>
                  </a:lnTo>
                  <a:lnTo>
                    <a:pt x="5175872" y="293370"/>
                  </a:lnTo>
                  <a:lnTo>
                    <a:pt x="5176825" y="287020"/>
                  </a:lnTo>
                  <a:lnTo>
                    <a:pt x="5177015" y="285750"/>
                  </a:lnTo>
                  <a:lnTo>
                    <a:pt x="5182895" y="293370"/>
                  </a:lnTo>
                  <a:lnTo>
                    <a:pt x="5180901" y="287020"/>
                  </a:lnTo>
                  <a:lnTo>
                    <a:pt x="5190045" y="289560"/>
                  </a:lnTo>
                  <a:lnTo>
                    <a:pt x="5188699" y="287020"/>
                  </a:lnTo>
                  <a:lnTo>
                    <a:pt x="5188026" y="285750"/>
                  </a:lnTo>
                  <a:lnTo>
                    <a:pt x="5186680" y="283210"/>
                  </a:lnTo>
                  <a:lnTo>
                    <a:pt x="5192280" y="284480"/>
                  </a:lnTo>
                  <a:lnTo>
                    <a:pt x="5189601" y="283210"/>
                  </a:lnTo>
                  <a:lnTo>
                    <a:pt x="5181524" y="279400"/>
                  </a:lnTo>
                  <a:lnTo>
                    <a:pt x="5174348" y="276860"/>
                  </a:lnTo>
                  <a:lnTo>
                    <a:pt x="5167173" y="274320"/>
                  </a:lnTo>
                  <a:lnTo>
                    <a:pt x="5170894" y="273050"/>
                  </a:lnTo>
                  <a:lnTo>
                    <a:pt x="5173383" y="271780"/>
                  </a:lnTo>
                  <a:lnTo>
                    <a:pt x="5166080" y="265430"/>
                  </a:lnTo>
                  <a:lnTo>
                    <a:pt x="5163147" y="262890"/>
                  </a:lnTo>
                  <a:lnTo>
                    <a:pt x="5177091" y="267970"/>
                  </a:lnTo>
                  <a:lnTo>
                    <a:pt x="5174577" y="264160"/>
                  </a:lnTo>
                  <a:lnTo>
                    <a:pt x="5179199" y="262890"/>
                  </a:lnTo>
                  <a:lnTo>
                    <a:pt x="5165318" y="255270"/>
                  </a:lnTo>
                  <a:lnTo>
                    <a:pt x="5170043" y="250190"/>
                  </a:lnTo>
                  <a:lnTo>
                    <a:pt x="5163705" y="247650"/>
                  </a:lnTo>
                  <a:lnTo>
                    <a:pt x="5164582" y="243840"/>
                  </a:lnTo>
                  <a:lnTo>
                    <a:pt x="5160505" y="241300"/>
                  </a:lnTo>
                  <a:lnTo>
                    <a:pt x="5161864" y="240030"/>
                  </a:lnTo>
                  <a:lnTo>
                    <a:pt x="5159680" y="237490"/>
                  </a:lnTo>
                  <a:lnTo>
                    <a:pt x="5158333" y="226060"/>
                  </a:lnTo>
                  <a:lnTo>
                    <a:pt x="5156466" y="237490"/>
                  </a:lnTo>
                  <a:lnTo>
                    <a:pt x="5154003" y="241300"/>
                  </a:lnTo>
                  <a:lnTo>
                    <a:pt x="5155374" y="243840"/>
                  </a:lnTo>
                  <a:lnTo>
                    <a:pt x="5149621" y="246380"/>
                  </a:lnTo>
                  <a:lnTo>
                    <a:pt x="5150320" y="248920"/>
                  </a:lnTo>
                  <a:lnTo>
                    <a:pt x="5142369" y="251460"/>
                  </a:lnTo>
                  <a:lnTo>
                    <a:pt x="5154104" y="255270"/>
                  </a:lnTo>
                  <a:lnTo>
                    <a:pt x="5138204" y="261620"/>
                  </a:lnTo>
                  <a:lnTo>
                    <a:pt x="5144300" y="265430"/>
                  </a:lnTo>
                  <a:lnTo>
                    <a:pt x="5140845" y="269240"/>
                  </a:lnTo>
                  <a:lnTo>
                    <a:pt x="5146853" y="266700"/>
                  </a:lnTo>
                  <a:lnTo>
                    <a:pt x="5152441" y="265430"/>
                  </a:lnTo>
                  <a:lnTo>
                    <a:pt x="5147602" y="269240"/>
                  </a:lnTo>
                  <a:lnTo>
                    <a:pt x="5143754" y="270510"/>
                  </a:lnTo>
                  <a:lnTo>
                    <a:pt x="5141176" y="271780"/>
                  </a:lnTo>
                  <a:lnTo>
                    <a:pt x="5138051" y="274320"/>
                  </a:lnTo>
                  <a:lnTo>
                    <a:pt x="5145341" y="274320"/>
                  </a:lnTo>
                  <a:lnTo>
                    <a:pt x="5142408" y="279400"/>
                  </a:lnTo>
                  <a:lnTo>
                    <a:pt x="5147869" y="276860"/>
                  </a:lnTo>
                  <a:lnTo>
                    <a:pt x="5149723" y="279400"/>
                  </a:lnTo>
                  <a:lnTo>
                    <a:pt x="5141900" y="284480"/>
                  </a:lnTo>
                  <a:lnTo>
                    <a:pt x="5124628" y="292100"/>
                  </a:lnTo>
                  <a:lnTo>
                    <a:pt x="5132248" y="292100"/>
                  </a:lnTo>
                  <a:lnTo>
                    <a:pt x="5129822" y="295910"/>
                  </a:lnTo>
                  <a:lnTo>
                    <a:pt x="5137035" y="293370"/>
                  </a:lnTo>
                  <a:lnTo>
                    <a:pt x="5136261" y="298450"/>
                  </a:lnTo>
                  <a:lnTo>
                    <a:pt x="5141404" y="293370"/>
                  </a:lnTo>
                  <a:lnTo>
                    <a:pt x="5145976" y="292100"/>
                  </a:lnTo>
                  <a:lnTo>
                    <a:pt x="5143906" y="297180"/>
                  </a:lnTo>
                  <a:lnTo>
                    <a:pt x="5141696" y="298704"/>
                  </a:lnTo>
                  <a:lnTo>
                    <a:pt x="5141696" y="321310"/>
                  </a:lnTo>
                  <a:lnTo>
                    <a:pt x="5136985" y="328688"/>
                  </a:lnTo>
                  <a:lnTo>
                    <a:pt x="5136985" y="365760"/>
                  </a:lnTo>
                  <a:lnTo>
                    <a:pt x="5132400" y="370840"/>
                  </a:lnTo>
                  <a:lnTo>
                    <a:pt x="5132184" y="370522"/>
                  </a:lnTo>
                  <a:lnTo>
                    <a:pt x="5132184" y="370840"/>
                  </a:lnTo>
                  <a:lnTo>
                    <a:pt x="5128285" y="375920"/>
                  </a:lnTo>
                  <a:lnTo>
                    <a:pt x="5126126" y="377190"/>
                  </a:lnTo>
                  <a:lnTo>
                    <a:pt x="5121287" y="372922"/>
                  </a:lnTo>
                  <a:lnTo>
                    <a:pt x="5121287" y="383540"/>
                  </a:lnTo>
                  <a:lnTo>
                    <a:pt x="5120716" y="387350"/>
                  </a:lnTo>
                  <a:lnTo>
                    <a:pt x="5120233" y="387350"/>
                  </a:lnTo>
                  <a:lnTo>
                    <a:pt x="5118239" y="386080"/>
                  </a:lnTo>
                  <a:lnTo>
                    <a:pt x="5117236" y="384810"/>
                  </a:lnTo>
                  <a:lnTo>
                    <a:pt x="5115242" y="383540"/>
                  </a:lnTo>
                  <a:lnTo>
                    <a:pt x="5121287" y="383540"/>
                  </a:lnTo>
                  <a:lnTo>
                    <a:pt x="5121287" y="372922"/>
                  </a:lnTo>
                  <a:lnTo>
                    <a:pt x="5120373" y="372110"/>
                  </a:lnTo>
                  <a:lnTo>
                    <a:pt x="5122342" y="372110"/>
                  </a:lnTo>
                  <a:lnTo>
                    <a:pt x="5120106" y="368300"/>
                  </a:lnTo>
                  <a:lnTo>
                    <a:pt x="5121326" y="367030"/>
                  </a:lnTo>
                  <a:lnTo>
                    <a:pt x="5122773" y="367030"/>
                  </a:lnTo>
                  <a:lnTo>
                    <a:pt x="5125644" y="372110"/>
                  </a:lnTo>
                  <a:lnTo>
                    <a:pt x="5126317" y="368300"/>
                  </a:lnTo>
                  <a:lnTo>
                    <a:pt x="5132184" y="370840"/>
                  </a:lnTo>
                  <a:lnTo>
                    <a:pt x="5132184" y="370522"/>
                  </a:lnTo>
                  <a:lnTo>
                    <a:pt x="5130711" y="368300"/>
                  </a:lnTo>
                  <a:lnTo>
                    <a:pt x="5129860" y="367030"/>
                  </a:lnTo>
                  <a:lnTo>
                    <a:pt x="5128158" y="364490"/>
                  </a:lnTo>
                  <a:lnTo>
                    <a:pt x="5131295" y="365760"/>
                  </a:lnTo>
                  <a:lnTo>
                    <a:pt x="5131244" y="364490"/>
                  </a:lnTo>
                  <a:lnTo>
                    <a:pt x="5131181" y="363220"/>
                  </a:lnTo>
                  <a:lnTo>
                    <a:pt x="5132870" y="361950"/>
                  </a:lnTo>
                  <a:lnTo>
                    <a:pt x="5134546" y="360680"/>
                  </a:lnTo>
                  <a:lnTo>
                    <a:pt x="5133175" y="367030"/>
                  </a:lnTo>
                  <a:lnTo>
                    <a:pt x="5136985" y="365760"/>
                  </a:lnTo>
                  <a:lnTo>
                    <a:pt x="5136985" y="328688"/>
                  </a:lnTo>
                  <a:lnTo>
                    <a:pt x="5136019" y="330200"/>
                  </a:lnTo>
                  <a:lnTo>
                    <a:pt x="5134737" y="334010"/>
                  </a:lnTo>
                  <a:lnTo>
                    <a:pt x="5130901" y="337820"/>
                  </a:lnTo>
                  <a:lnTo>
                    <a:pt x="5123510" y="342900"/>
                  </a:lnTo>
                  <a:lnTo>
                    <a:pt x="5117782" y="341426"/>
                  </a:lnTo>
                  <a:lnTo>
                    <a:pt x="5117782" y="381000"/>
                  </a:lnTo>
                  <a:lnTo>
                    <a:pt x="5114150" y="383540"/>
                  </a:lnTo>
                  <a:lnTo>
                    <a:pt x="5111254" y="382270"/>
                  </a:lnTo>
                  <a:lnTo>
                    <a:pt x="5109032" y="377190"/>
                  </a:lnTo>
                  <a:lnTo>
                    <a:pt x="5117782" y="381000"/>
                  </a:lnTo>
                  <a:lnTo>
                    <a:pt x="5117782" y="341426"/>
                  </a:lnTo>
                  <a:lnTo>
                    <a:pt x="5103876" y="337820"/>
                  </a:lnTo>
                  <a:lnTo>
                    <a:pt x="5111915" y="337820"/>
                  </a:lnTo>
                  <a:lnTo>
                    <a:pt x="5111864" y="335280"/>
                  </a:lnTo>
                  <a:lnTo>
                    <a:pt x="5111813" y="334010"/>
                  </a:lnTo>
                  <a:lnTo>
                    <a:pt x="5119230" y="339090"/>
                  </a:lnTo>
                  <a:lnTo>
                    <a:pt x="5119065" y="337820"/>
                  </a:lnTo>
                  <a:lnTo>
                    <a:pt x="5118836" y="334010"/>
                  </a:lnTo>
                  <a:lnTo>
                    <a:pt x="5124488" y="328930"/>
                  </a:lnTo>
                  <a:lnTo>
                    <a:pt x="5123408" y="328930"/>
                  </a:lnTo>
                  <a:lnTo>
                    <a:pt x="5129771" y="323850"/>
                  </a:lnTo>
                  <a:lnTo>
                    <a:pt x="5130266" y="328930"/>
                  </a:lnTo>
                  <a:lnTo>
                    <a:pt x="5136019" y="323850"/>
                  </a:lnTo>
                  <a:lnTo>
                    <a:pt x="5141696" y="321310"/>
                  </a:lnTo>
                  <a:lnTo>
                    <a:pt x="5141696" y="298704"/>
                  </a:lnTo>
                  <a:lnTo>
                    <a:pt x="5134648" y="303530"/>
                  </a:lnTo>
                  <a:lnTo>
                    <a:pt x="5129581" y="304800"/>
                  </a:lnTo>
                  <a:lnTo>
                    <a:pt x="5133352" y="307340"/>
                  </a:lnTo>
                  <a:lnTo>
                    <a:pt x="5125123" y="312420"/>
                  </a:lnTo>
                  <a:lnTo>
                    <a:pt x="5133543" y="312420"/>
                  </a:lnTo>
                  <a:lnTo>
                    <a:pt x="5131244" y="316230"/>
                  </a:lnTo>
                  <a:lnTo>
                    <a:pt x="5121859" y="319290"/>
                  </a:lnTo>
                  <a:lnTo>
                    <a:pt x="5121859" y="323850"/>
                  </a:lnTo>
                  <a:lnTo>
                    <a:pt x="5121859" y="328930"/>
                  </a:lnTo>
                  <a:lnTo>
                    <a:pt x="5116436" y="328930"/>
                  </a:lnTo>
                  <a:lnTo>
                    <a:pt x="5117922" y="325120"/>
                  </a:lnTo>
                  <a:lnTo>
                    <a:pt x="5119789" y="323850"/>
                  </a:lnTo>
                  <a:lnTo>
                    <a:pt x="5121859" y="323850"/>
                  </a:lnTo>
                  <a:lnTo>
                    <a:pt x="5121859" y="319290"/>
                  </a:lnTo>
                  <a:lnTo>
                    <a:pt x="5119548" y="320040"/>
                  </a:lnTo>
                  <a:lnTo>
                    <a:pt x="5117287" y="321310"/>
                  </a:lnTo>
                  <a:lnTo>
                    <a:pt x="5120906" y="316230"/>
                  </a:lnTo>
                  <a:lnTo>
                    <a:pt x="5102326" y="323850"/>
                  </a:lnTo>
                  <a:lnTo>
                    <a:pt x="5099189" y="317500"/>
                  </a:lnTo>
                  <a:lnTo>
                    <a:pt x="5097919" y="314960"/>
                  </a:lnTo>
                  <a:lnTo>
                    <a:pt x="5105285" y="321310"/>
                  </a:lnTo>
                  <a:lnTo>
                    <a:pt x="5105324" y="316230"/>
                  </a:lnTo>
                  <a:lnTo>
                    <a:pt x="5112385" y="317500"/>
                  </a:lnTo>
                  <a:lnTo>
                    <a:pt x="5111635" y="316230"/>
                  </a:lnTo>
                  <a:lnTo>
                    <a:pt x="5110886" y="314960"/>
                  </a:lnTo>
                  <a:lnTo>
                    <a:pt x="5109908" y="313690"/>
                  </a:lnTo>
                  <a:lnTo>
                    <a:pt x="5113706" y="312420"/>
                  </a:lnTo>
                  <a:lnTo>
                    <a:pt x="5116246" y="312420"/>
                  </a:lnTo>
                  <a:lnTo>
                    <a:pt x="5111813" y="309880"/>
                  </a:lnTo>
                  <a:lnTo>
                    <a:pt x="5104625" y="307340"/>
                  </a:lnTo>
                  <a:lnTo>
                    <a:pt x="5109349" y="306070"/>
                  </a:lnTo>
                  <a:lnTo>
                    <a:pt x="5112486" y="306070"/>
                  </a:lnTo>
                  <a:lnTo>
                    <a:pt x="5107229" y="302260"/>
                  </a:lnTo>
                  <a:lnTo>
                    <a:pt x="5110124" y="298450"/>
                  </a:lnTo>
                  <a:lnTo>
                    <a:pt x="5112055" y="295910"/>
                  </a:lnTo>
                  <a:lnTo>
                    <a:pt x="5108664" y="297180"/>
                  </a:lnTo>
                  <a:lnTo>
                    <a:pt x="5106416" y="298450"/>
                  </a:lnTo>
                  <a:lnTo>
                    <a:pt x="5102974" y="297180"/>
                  </a:lnTo>
                  <a:lnTo>
                    <a:pt x="5105184" y="294640"/>
                  </a:lnTo>
                  <a:lnTo>
                    <a:pt x="5106276" y="293370"/>
                  </a:lnTo>
                  <a:lnTo>
                    <a:pt x="5096916" y="294640"/>
                  </a:lnTo>
                  <a:lnTo>
                    <a:pt x="5103050" y="288290"/>
                  </a:lnTo>
                  <a:lnTo>
                    <a:pt x="5097081" y="285750"/>
                  </a:lnTo>
                  <a:lnTo>
                    <a:pt x="5095811" y="271780"/>
                  </a:lnTo>
                  <a:lnTo>
                    <a:pt x="5094656" y="265430"/>
                  </a:lnTo>
                  <a:lnTo>
                    <a:pt x="5093068" y="267970"/>
                  </a:lnTo>
                  <a:lnTo>
                    <a:pt x="5092776" y="279400"/>
                  </a:lnTo>
                  <a:lnTo>
                    <a:pt x="5090630" y="285750"/>
                  </a:lnTo>
                  <a:lnTo>
                    <a:pt x="5086299" y="288290"/>
                  </a:lnTo>
                  <a:lnTo>
                    <a:pt x="5090160" y="290830"/>
                  </a:lnTo>
                  <a:lnTo>
                    <a:pt x="5079746" y="295910"/>
                  </a:lnTo>
                  <a:lnTo>
                    <a:pt x="5083645" y="298450"/>
                  </a:lnTo>
                  <a:lnTo>
                    <a:pt x="5080762" y="300990"/>
                  </a:lnTo>
                  <a:lnTo>
                    <a:pt x="5089601" y="303530"/>
                  </a:lnTo>
                  <a:lnTo>
                    <a:pt x="5082057" y="307340"/>
                  </a:lnTo>
                  <a:lnTo>
                    <a:pt x="5074653" y="308610"/>
                  </a:lnTo>
                  <a:lnTo>
                    <a:pt x="5081752" y="311150"/>
                  </a:lnTo>
                  <a:lnTo>
                    <a:pt x="5080597" y="316230"/>
                  </a:lnTo>
                  <a:lnTo>
                    <a:pt x="5085283" y="313690"/>
                  </a:lnTo>
                  <a:lnTo>
                    <a:pt x="5085169" y="318770"/>
                  </a:lnTo>
                  <a:lnTo>
                    <a:pt x="5089410" y="317500"/>
                  </a:lnTo>
                  <a:lnTo>
                    <a:pt x="5082870" y="322580"/>
                  </a:lnTo>
                  <a:lnTo>
                    <a:pt x="5074551" y="320040"/>
                  </a:lnTo>
                  <a:lnTo>
                    <a:pt x="5070386" y="320040"/>
                  </a:lnTo>
                  <a:lnTo>
                    <a:pt x="5062080" y="317500"/>
                  </a:lnTo>
                  <a:lnTo>
                    <a:pt x="5064988" y="321310"/>
                  </a:lnTo>
                  <a:lnTo>
                    <a:pt x="5060874" y="323850"/>
                  </a:lnTo>
                  <a:lnTo>
                    <a:pt x="5069217" y="322580"/>
                  </a:lnTo>
                  <a:lnTo>
                    <a:pt x="5062486" y="327660"/>
                  </a:lnTo>
                  <a:lnTo>
                    <a:pt x="5068836" y="330200"/>
                  </a:lnTo>
                  <a:lnTo>
                    <a:pt x="5060658" y="337820"/>
                  </a:lnTo>
                  <a:lnTo>
                    <a:pt x="5066944" y="335280"/>
                  </a:lnTo>
                  <a:lnTo>
                    <a:pt x="5069916" y="340360"/>
                  </a:lnTo>
                  <a:lnTo>
                    <a:pt x="5075974" y="335280"/>
                  </a:lnTo>
                  <a:lnTo>
                    <a:pt x="5070310" y="345440"/>
                  </a:lnTo>
                  <a:lnTo>
                    <a:pt x="5075631" y="342900"/>
                  </a:lnTo>
                  <a:lnTo>
                    <a:pt x="5080114" y="345440"/>
                  </a:lnTo>
                  <a:lnTo>
                    <a:pt x="5081651" y="342900"/>
                  </a:lnTo>
                  <a:lnTo>
                    <a:pt x="5084724" y="337820"/>
                  </a:lnTo>
                  <a:lnTo>
                    <a:pt x="5086197" y="342900"/>
                  </a:lnTo>
                  <a:lnTo>
                    <a:pt x="5075491" y="349250"/>
                  </a:lnTo>
                  <a:lnTo>
                    <a:pt x="5056911" y="353060"/>
                  </a:lnTo>
                  <a:lnTo>
                    <a:pt x="5057508" y="354330"/>
                  </a:lnTo>
                  <a:lnTo>
                    <a:pt x="5058372" y="355600"/>
                  </a:lnTo>
                  <a:lnTo>
                    <a:pt x="5049571" y="356870"/>
                  </a:lnTo>
                  <a:lnTo>
                    <a:pt x="5058715" y="361950"/>
                  </a:lnTo>
                  <a:lnTo>
                    <a:pt x="5054943" y="367030"/>
                  </a:lnTo>
                  <a:lnTo>
                    <a:pt x="5069624" y="361950"/>
                  </a:lnTo>
                  <a:lnTo>
                    <a:pt x="5059070" y="374650"/>
                  </a:lnTo>
                  <a:lnTo>
                    <a:pt x="5066068" y="373380"/>
                  </a:lnTo>
                  <a:lnTo>
                    <a:pt x="5066703" y="378460"/>
                  </a:lnTo>
                  <a:lnTo>
                    <a:pt x="5070106" y="373380"/>
                  </a:lnTo>
                  <a:lnTo>
                    <a:pt x="5071796" y="370840"/>
                  </a:lnTo>
                  <a:lnTo>
                    <a:pt x="5074945" y="375920"/>
                  </a:lnTo>
                  <a:lnTo>
                    <a:pt x="5075453" y="372110"/>
                  </a:lnTo>
                  <a:lnTo>
                    <a:pt x="5075682" y="370840"/>
                  </a:lnTo>
                  <a:lnTo>
                    <a:pt x="5076190" y="367030"/>
                  </a:lnTo>
                  <a:lnTo>
                    <a:pt x="5079162" y="368300"/>
                  </a:lnTo>
                  <a:lnTo>
                    <a:pt x="5081117" y="372110"/>
                  </a:lnTo>
                  <a:lnTo>
                    <a:pt x="5072519" y="379730"/>
                  </a:lnTo>
                  <a:lnTo>
                    <a:pt x="5079403" y="382270"/>
                  </a:lnTo>
                  <a:lnTo>
                    <a:pt x="5077028" y="386080"/>
                  </a:lnTo>
                  <a:lnTo>
                    <a:pt x="5076825" y="386143"/>
                  </a:lnTo>
                  <a:lnTo>
                    <a:pt x="5076825" y="403860"/>
                  </a:lnTo>
                  <a:lnTo>
                    <a:pt x="5072596" y="410210"/>
                  </a:lnTo>
                  <a:lnTo>
                    <a:pt x="5059172" y="416560"/>
                  </a:lnTo>
                  <a:lnTo>
                    <a:pt x="5050650" y="412750"/>
                  </a:lnTo>
                  <a:lnTo>
                    <a:pt x="5049964" y="412750"/>
                  </a:lnTo>
                  <a:lnTo>
                    <a:pt x="5053101" y="411480"/>
                  </a:lnTo>
                  <a:lnTo>
                    <a:pt x="5046815" y="409067"/>
                  </a:lnTo>
                  <a:lnTo>
                    <a:pt x="5046815" y="427990"/>
                  </a:lnTo>
                  <a:lnTo>
                    <a:pt x="5041455" y="429260"/>
                  </a:lnTo>
                  <a:lnTo>
                    <a:pt x="5040515" y="426720"/>
                  </a:lnTo>
                  <a:lnTo>
                    <a:pt x="5043132" y="422910"/>
                  </a:lnTo>
                  <a:lnTo>
                    <a:pt x="5045341" y="425450"/>
                  </a:lnTo>
                  <a:lnTo>
                    <a:pt x="5046815" y="427990"/>
                  </a:lnTo>
                  <a:lnTo>
                    <a:pt x="5046815" y="409067"/>
                  </a:lnTo>
                  <a:lnTo>
                    <a:pt x="5046510" y="408940"/>
                  </a:lnTo>
                  <a:lnTo>
                    <a:pt x="5042217" y="407289"/>
                  </a:lnTo>
                  <a:lnTo>
                    <a:pt x="5052885" y="401320"/>
                  </a:lnTo>
                  <a:lnTo>
                    <a:pt x="5050548" y="410210"/>
                  </a:lnTo>
                  <a:lnTo>
                    <a:pt x="5056898" y="403860"/>
                  </a:lnTo>
                  <a:lnTo>
                    <a:pt x="5055959" y="408940"/>
                  </a:lnTo>
                  <a:lnTo>
                    <a:pt x="5055311" y="412750"/>
                  </a:lnTo>
                  <a:lnTo>
                    <a:pt x="5061661" y="408940"/>
                  </a:lnTo>
                  <a:lnTo>
                    <a:pt x="5064836" y="411480"/>
                  </a:lnTo>
                  <a:lnTo>
                    <a:pt x="5065179" y="408940"/>
                  </a:lnTo>
                  <a:lnTo>
                    <a:pt x="5065865" y="403860"/>
                  </a:lnTo>
                  <a:lnTo>
                    <a:pt x="5066195" y="401320"/>
                  </a:lnTo>
                  <a:lnTo>
                    <a:pt x="5069700" y="406400"/>
                  </a:lnTo>
                  <a:lnTo>
                    <a:pt x="5076825" y="403860"/>
                  </a:lnTo>
                  <a:lnTo>
                    <a:pt x="5076825" y="386143"/>
                  </a:lnTo>
                  <a:lnTo>
                    <a:pt x="5049977" y="393700"/>
                  </a:lnTo>
                  <a:lnTo>
                    <a:pt x="5058842" y="389890"/>
                  </a:lnTo>
                  <a:lnTo>
                    <a:pt x="5047145" y="389890"/>
                  </a:lnTo>
                  <a:lnTo>
                    <a:pt x="5044948" y="389001"/>
                  </a:lnTo>
                  <a:lnTo>
                    <a:pt x="5044948" y="400050"/>
                  </a:lnTo>
                  <a:lnTo>
                    <a:pt x="5041785" y="407123"/>
                  </a:lnTo>
                  <a:lnTo>
                    <a:pt x="5033327" y="403860"/>
                  </a:lnTo>
                  <a:lnTo>
                    <a:pt x="5031067" y="401320"/>
                  </a:lnTo>
                  <a:lnTo>
                    <a:pt x="5027625" y="397471"/>
                  </a:lnTo>
                  <a:lnTo>
                    <a:pt x="5027625" y="435610"/>
                  </a:lnTo>
                  <a:lnTo>
                    <a:pt x="5027180" y="435610"/>
                  </a:lnTo>
                  <a:lnTo>
                    <a:pt x="5026749" y="436880"/>
                  </a:lnTo>
                  <a:lnTo>
                    <a:pt x="5026304" y="439420"/>
                  </a:lnTo>
                  <a:lnTo>
                    <a:pt x="5025695" y="439420"/>
                  </a:lnTo>
                  <a:lnTo>
                    <a:pt x="5023866" y="435610"/>
                  </a:lnTo>
                  <a:lnTo>
                    <a:pt x="5024425" y="431800"/>
                  </a:lnTo>
                  <a:lnTo>
                    <a:pt x="5027625" y="435610"/>
                  </a:lnTo>
                  <a:lnTo>
                    <a:pt x="5027625" y="397471"/>
                  </a:lnTo>
                  <a:lnTo>
                    <a:pt x="5025402" y="394970"/>
                  </a:lnTo>
                  <a:lnTo>
                    <a:pt x="5024310" y="389890"/>
                  </a:lnTo>
                  <a:lnTo>
                    <a:pt x="5026977" y="389890"/>
                  </a:lnTo>
                  <a:lnTo>
                    <a:pt x="5035499" y="401320"/>
                  </a:lnTo>
                  <a:lnTo>
                    <a:pt x="5035829" y="398780"/>
                  </a:lnTo>
                  <a:lnTo>
                    <a:pt x="5035283" y="394970"/>
                  </a:lnTo>
                  <a:lnTo>
                    <a:pt x="5036540" y="393700"/>
                  </a:lnTo>
                  <a:lnTo>
                    <a:pt x="5038483" y="397510"/>
                  </a:lnTo>
                  <a:lnTo>
                    <a:pt x="5038941" y="397510"/>
                  </a:lnTo>
                  <a:lnTo>
                    <a:pt x="5043398" y="402590"/>
                  </a:lnTo>
                  <a:lnTo>
                    <a:pt x="5043221" y="398780"/>
                  </a:lnTo>
                  <a:lnTo>
                    <a:pt x="5044948" y="400050"/>
                  </a:lnTo>
                  <a:lnTo>
                    <a:pt x="5044948" y="389001"/>
                  </a:lnTo>
                  <a:lnTo>
                    <a:pt x="5040884" y="387350"/>
                  </a:lnTo>
                  <a:lnTo>
                    <a:pt x="5044922" y="386080"/>
                  </a:lnTo>
                  <a:lnTo>
                    <a:pt x="5030876" y="382270"/>
                  </a:lnTo>
                  <a:lnTo>
                    <a:pt x="5024933" y="377190"/>
                  </a:lnTo>
                  <a:lnTo>
                    <a:pt x="5025072" y="375920"/>
                  </a:lnTo>
                  <a:lnTo>
                    <a:pt x="5025199" y="374650"/>
                  </a:lnTo>
                  <a:lnTo>
                    <a:pt x="5032502" y="374650"/>
                  </a:lnTo>
                  <a:lnTo>
                    <a:pt x="5026571" y="369570"/>
                  </a:lnTo>
                  <a:lnTo>
                    <a:pt x="5022113" y="365760"/>
                  </a:lnTo>
                  <a:lnTo>
                    <a:pt x="5028044" y="365760"/>
                  </a:lnTo>
                  <a:lnTo>
                    <a:pt x="5035931" y="369570"/>
                  </a:lnTo>
                  <a:lnTo>
                    <a:pt x="5035969" y="365760"/>
                  </a:lnTo>
                  <a:lnTo>
                    <a:pt x="5035994" y="361950"/>
                  </a:lnTo>
                  <a:lnTo>
                    <a:pt x="5042154" y="358140"/>
                  </a:lnTo>
                  <a:lnTo>
                    <a:pt x="5026190" y="356870"/>
                  </a:lnTo>
                  <a:lnTo>
                    <a:pt x="5022647" y="355600"/>
                  </a:lnTo>
                  <a:lnTo>
                    <a:pt x="5019103" y="354330"/>
                  </a:lnTo>
                  <a:lnTo>
                    <a:pt x="5019764" y="351790"/>
                  </a:lnTo>
                  <a:lnTo>
                    <a:pt x="5029644" y="355600"/>
                  </a:lnTo>
                  <a:lnTo>
                    <a:pt x="5028984" y="351790"/>
                  </a:lnTo>
                  <a:lnTo>
                    <a:pt x="5028755" y="350520"/>
                  </a:lnTo>
                  <a:lnTo>
                    <a:pt x="5036451" y="351790"/>
                  </a:lnTo>
                  <a:lnTo>
                    <a:pt x="5034762" y="346710"/>
                  </a:lnTo>
                  <a:lnTo>
                    <a:pt x="5036477" y="344170"/>
                  </a:lnTo>
                  <a:lnTo>
                    <a:pt x="5039906" y="339090"/>
                  </a:lnTo>
                  <a:lnTo>
                    <a:pt x="5030686" y="342900"/>
                  </a:lnTo>
                  <a:lnTo>
                    <a:pt x="5024539" y="344170"/>
                  </a:lnTo>
                  <a:lnTo>
                    <a:pt x="5018240" y="342900"/>
                  </a:lnTo>
                  <a:lnTo>
                    <a:pt x="5020564" y="337820"/>
                  </a:lnTo>
                  <a:lnTo>
                    <a:pt x="5026965" y="336550"/>
                  </a:lnTo>
                  <a:lnTo>
                    <a:pt x="5025428" y="334010"/>
                  </a:lnTo>
                  <a:lnTo>
                    <a:pt x="5027219" y="331470"/>
                  </a:lnTo>
                  <a:lnTo>
                    <a:pt x="5029886" y="327660"/>
                  </a:lnTo>
                  <a:lnTo>
                    <a:pt x="5020132" y="331470"/>
                  </a:lnTo>
                  <a:lnTo>
                    <a:pt x="5018329" y="327660"/>
                  </a:lnTo>
                  <a:lnTo>
                    <a:pt x="5020754" y="323850"/>
                  </a:lnTo>
                  <a:lnTo>
                    <a:pt x="5021554" y="322580"/>
                  </a:lnTo>
                  <a:lnTo>
                    <a:pt x="5019256" y="323850"/>
                  </a:lnTo>
                  <a:lnTo>
                    <a:pt x="5015941" y="321310"/>
                  </a:lnTo>
                  <a:lnTo>
                    <a:pt x="5016170" y="304800"/>
                  </a:lnTo>
                  <a:lnTo>
                    <a:pt x="5014226" y="303530"/>
                  </a:lnTo>
                  <a:lnTo>
                    <a:pt x="5013058" y="307340"/>
                  </a:lnTo>
                  <a:lnTo>
                    <a:pt x="5012880" y="317500"/>
                  </a:lnTo>
                  <a:lnTo>
                    <a:pt x="5009705" y="321310"/>
                  </a:lnTo>
                  <a:lnTo>
                    <a:pt x="5004625" y="321310"/>
                  </a:lnTo>
                  <a:lnTo>
                    <a:pt x="5009604" y="326390"/>
                  </a:lnTo>
                  <a:lnTo>
                    <a:pt x="5010620" y="331470"/>
                  </a:lnTo>
                  <a:lnTo>
                    <a:pt x="4996497" y="327660"/>
                  </a:lnTo>
                  <a:lnTo>
                    <a:pt x="5002149" y="332740"/>
                  </a:lnTo>
                  <a:lnTo>
                    <a:pt x="5000587" y="339090"/>
                  </a:lnTo>
                  <a:lnTo>
                    <a:pt x="5005844" y="336550"/>
                  </a:lnTo>
                  <a:lnTo>
                    <a:pt x="5009578" y="337820"/>
                  </a:lnTo>
                  <a:lnTo>
                    <a:pt x="5008994" y="341630"/>
                  </a:lnTo>
                  <a:lnTo>
                    <a:pt x="5002517" y="341630"/>
                  </a:lnTo>
                  <a:lnTo>
                    <a:pt x="5004054" y="344170"/>
                  </a:lnTo>
                  <a:lnTo>
                    <a:pt x="5007216" y="346710"/>
                  </a:lnTo>
                  <a:lnTo>
                    <a:pt x="5003546" y="346710"/>
                  </a:lnTo>
                  <a:lnTo>
                    <a:pt x="4994389" y="344170"/>
                  </a:lnTo>
                  <a:lnTo>
                    <a:pt x="4986172" y="340360"/>
                  </a:lnTo>
                  <a:lnTo>
                    <a:pt x="4989385" y="349250"/>
                  </a:lnTo>
                  <a:lnTo>
                    <a:pt x="4985842" y="350520"/>
                  </a:lnTo>
                  <a:lnTo>
                    <a:pt x="4989373" y="350520"/>
                  </a:lnTo>
                  <a:lnTo>
                    <a:pt x="4986604" y="358140"/>
                  </a:lnTo>
                  <a:lnTo>
                    <a:pt x="4996472" y="351790"/>
                  </a:lnTo>
                  <a:lnTo>
                    <a:pt x="4996472" y="358140"/>
                  </a:lnTo>
                  <a:lnTo>
                    <a:pt x="5003825" y="355600"/>
                  </a:lnTo>
                  <a:lnTo>
                    <a:pt x="5005413" y="360680"/>
                  </a:lnTo>
                  <a:lnTo>
                    <a:pt x="4999279" y="363220"/>
                  </a:lnTo>
                  <a:lnTo>
                    <a:pt x="4985905" y="363220"/>
                  </a:lnTo>
                  <a:lnTo>
                    <a:pt x="4990249" y="367030"/>
                  </a:lnTo>
                  <a:lnTo>
                    <a:pt x="4989093" y="369570"/>
                  </a:lnTo>
                  <a:lnTo>
                    <a:pt x="4987328" y="372110"/>
                  </a:lnTo>
                  <a:lnTo>
                    <a:pt x="4996662" y="369570"/>
                  </a:lnTo>
                  <a:lnTo>
                    <a:pt x="4996739" y="373380"/>
                  </a:lnTo>
                  <a:lnTo>
                    <a:pt x="4991049" y="377190"/>
                  </a:lnTo>
                  <a:lnTo>
                    <a:pt x="5001628" y="375920"/>
                  </a:lnTo>
                  <a:lnTo>
                    <a:pt x="5004193" y="378460"/>
                  </a:lnTo>
                  <a:lnTo>
                    <a:pt x="4999101" y="384810"/>
                  </a:lnTo>
                  <a:lnTo>
                    <a:pt x="4982476" y="391160"/>
                  </a:lnTo>
                  <a:lnTo>
                    <a:pt x="4966982" y="392430"/>
                  </a:lnTo>
                  <a:lnTo>
                    <a:pt x="4971707" y="398780"/>
                  </a:lnTo>
                  <a:lnTo>
                    <a:pt x="4965712" y="406400"/>
                  </a:lnTo>
                  <a:lnTo>
                    <a:pt x="4977803" y="401320"/>
                  </a:lnTo>
                  <a:lnTo>
                    <a:pt x="4977384" y="405130"/>
                  </a:lnTo>
                  <a:lnTo>
                    <a:pt x="4970665" y="415290"/>
                  </a:lnTo>
                  <a:lnTo>
                    <a:pt x="4976749" y="410210"/>
                  </a:lnTo>
                  <a:lnTo>
                    <a:pt x="4978628" y="414020"/>
                  </a:lnTo>
                  <a:lnTo>
                    <a:pt x="4985029" y="410210"/>
                  </a:lnTo>
                  <a:lnTo>
                    <a:pt x="4987163" y="408940"/>
                  </a:lnTo>
                  <a:lnTo>
                    <a:pt x="4988191" y="412750"/>
                  </a:lnTo>
                  <a:lnTo>
                    <a:pt x="4991963" y="408940"/>
                  </a:lnTo>
                  <a:lnTo>
                    <a:pt x="4993208" y="407670"/>
                  </a:lnTo>
                  <a:lnTo>
                    <a:pt x="4994008" y="415290"/>
                  </a:lnTo>
                  <a:lnTo>
                    <a:pt x="5001336" y="408940"/>
                  </a:lnTo>
                  <a:lnTo>
                    <a:pt x="5000498" y="412750"/>
                  </a:lnTo>
                  <a:lnTo>
                    <a:pt x="4998809" y="416560"/>
                  </a:lnTo>
                  <a:lnTo>
                    <a:pt x="4997767" y="417182"/>
                  </a:lnTo>
                  <a:lnTo>
                    <a:pt x="4997767" y="430530"/>
                  </a:lnTo>
                  <a:lnTo>
                    <a:pt x="4992548" y="436880"/>
                  </a:lnTo>
                  <a:lnTo>
                    <a:pt x="4993259" y="438150"/>
                  </a:lnTo>
                  <a:lnTo>
                    <a:pt x="4995507" y="438150"/>
                  </a:lnTo>
                  <a:lnTo>
                    <a:pt x="4992065" y="441960"/>
                  </a:lnTo>
                  <a:lnTo>
                    <a:pt x="4989093" y="444500"/>
                  </a:lnTo>
                  <a:lnTo>
                    <a:pt x="4987963" y="441960"/>
                  </a:lnTo>
                  <a:lnTo>
                    <a:pt x="4987379" y="441960"/>
                  </a:lnTo>
                  <a:lnTo>
                    <a:pt x="4988420" y="440690"/>
                  </a:lnTo>
                  <a:lnTo>
                    <a:pt x="4989423" y="439420"/>
                  </a:lnTo>
                  <a:lnTo>
                    <a:pt x="4993411" y="434340"/>
                  </a:lnTo>
                  <a:lnTo>
                    <a:pt x="4997767" y="430530"/>
                  </a:lnTo>
                  <a:lnTo>
                    <a:pt x="4997767" y="417182"/>
                  </a:lnTo>
                  <a:lnTo>
                    <a:pt x="4992370" y="420370"/>
                  </a:lnTo>
                  <a:lnTo>
                    <a:pt x="4985385" y="424408"/>
                  </a:lnTo>
                  <a:lnTo>
                    <a:pt x="4985385" y="439420"/>
                  </a:lnTo>
                  <a:lnTo>
                    <a:pt x="4983962" y="438150"/>
                  </a:lnTo>
                  <a:lnTo>
                    <a:pt x="4981143" y="440690"/>
                  </a:lnTo>
                  <a:lnTo>
                    <a:pt x="4981321" y="438150"/>
                  </a:lnTo>
                  <a:lnTo>
                    <a:pt x="4981676" y="436880"/>
                  </a:lnTo>
                  <a:lnTo>
                    <a:pt x="4982362" y="434340"/>
                  </a:lnTo>
                  <a:lnTo>
                    <a:pt x="4985220" y="438150"/>
                  </a:lnTo>
                  <a:lnTo>
                    <a:pt x="4985385" y="439420"/>
                  </a:lnTo>
                  <a:lnTo>
                    <a:pt x="4985385" y="424408"/>
                  </a:lnTo>
                  <a:lnTo>
                    <a:pt x="4983556" y="425450"/>
                  </a:lnTo>
                  <a:lnTo>
                    <a:pt x="4978044" y="426974"/>
                  </a:lnTo>
                  <a:lnTo>
                    <a:pt x="4978044" y="444500"/>
                  </a:lnTo>
                  <a:lnTo>
                    <a:pt x="4977104" y="445770"/>
                  </a:lnTo>
                  <a:lnTo>
                    <a:pt x="4976596" y="447205"/>
                  </a:lnTo>
                  <a:lnTo>
                    <a:pt x="4973447" y="457200"/>
                  </a:lnTo>
                  <a:lnTo>
                    <a:pt x="4973053" y="455930"/>
                  </a:lnTo>
                  <a:lnTo>
                    <a:pt x="4970615" y="448310"/>
                  </a:lnTo>
                  <a:lnTo>
                    <a:pt x="4970208" y="447040"/>
                  </a:lnTo>
                  <a:lnTo>
                    <a:pt x="4966982" y="445770"/>
                  </a:lnTo>
                  <a:lnTo>
                    <a:pt x="4977295" y="440690"/>
                  </a:lnTo>
                  <a:lnTo>
                    <a:pt x="4978044" y="444500"/>
                  </a:lnTo>
                  <a:lnTo>
                    <a:pt x="4978044" y="426974"/>
                  </a:lnTo>
                  <a:lnTo>
                    <a:pt x="4974348" y="427990"/>
                  </a:lnTo>
                  <a:lnTo>
                    <a:pt x="4971542" y="428548"/>
                  </a:lnTo>
                  <a:lnTo>
                    <a:pt x="4971542" y="438150"/>
                  </a:lnTo>
                  <a:lnTo>
                    <a:pt x="4967503" y="441960"/>
                  </a:lnTo>
                  <a:lnTo>
                    <a:pt x="4965497" y="444500"/>
                  </a:lnTo>
                  <a:lnTo>
                    <a:pt x="4963071" y="446811"/>
                  </a:lnTo>
                  <a:lnTo>
                    <a:pt x="4963071" y="447205"/>
                  </a:lnTo>
                  <a:lnTo>
                    <a:pt x="4962893" y="448310"/>
                  </a:lnTo>
                  <a:lnTo>
                    <a:pt x="4962690" y="448310"/>
                  </a:lnTo>
                  <a:lnTo>
                    <a:pt x="4961890" y="448017"/>
                  </a:lnTo>
                  <a:lnTo>
                    <a:pt x="4963071" y="447205"/>
                  </a:lnTo>
                  <a:lnTo>
                    <a:pt x="4963071" y="446811"/>
                  </a:lnTo>
                  <a:lnTo>
                    <a:pt x="4945075" y="435610"/>
                  </a:lnTo>
                  <a:lnTo>
                    <a:pt x="4957813" y="443230"/>
                  </a:lnTo>
                  <a:lnTo>
                    <a:pt x="4957064" y="439420"/>
                  </a:lnTo>
                  <a:lnTo>
                    <a:pt x="4963084" y="438150"/>
                  </a:lnTo>
                  <a:lnTo>
                    <a:pt x="4962830" y="441960"/>
                  </a:lnTo>
                  <a:lnTo>
                    <a:pt x="4971542" y="438150"/>
                  </a:lnTo>
                  <a:lnTo>
                    <a:pt x="4971542" y="428548"/>
                  </a:lnTo>
                  <a:lnTo>
                    <a:pt x="4967897" y="429260"/>
                  </a:lnTo>
                  <a:lnTo>
                    <a:pt x="4967313" y="428548"/>
                  </a:lnTo>
                  <a:lnTo>
                    <a:pt x="4967313" y="429260"/>
                  </a:lnTo>
                  <a:lnTo>
                    <a:pt x="4961267" y="431800"/>
                  </a:lnTo>
                  <a:lnTo>
                    <a:pt x="4958258" y="433070"/>
                  </a:lnTo>
                  <a:lnTo>
                    <a:pt x="4963388" y="434340"/>
                  </a:lnTo>
                  <a:lnTo>
                    <a:pt x="4963211" y="436880"/>
                  </a:lnTo>
                  <a:lnTo>
                    <a:pt x="4961407" y="435610"/>
                  </a:lnTo>
                  <a:lnTo>
                    <a:pt x="4955997" y="431800"/>
                  </a:lnTo>
                  <a:lnTo>
                    <a:pt x="4957953" y="430530"/>
                  </a:lnTo>
                  <a:lnTo>
                    <a:pt x="4954752" y="426720"/>
                  </a:lnTo>
                  <a:lnTo>
                    <a:pt x="4953673" y="425450"/>
                  </a:lnTo>
                  <a:lnTo>
                    <a:pt x="4958385" y="426720"/>
                  </a:lnTo>
                  <a:lnTo>
                    <a:pt x="4961267" y="431800"/>
                  </a:lnTo>
                  <a:lnTo>
                    <a:pt x="4961928" y="426720"/>
                  </a:lnTo>
                  <a:lnTo>
                    <a:pt x="4967313" y="429260"/>
                  </a:lnTo>
                  <a:lnTo>
                    <a:pt x="4967313" y="428548"/>
                  </a:lnTo>
                  <a:lnTo>
                    <a:pt x="4965839" y="426720"/>
                  </a:lnTo>
                  <a:lnTo>
                    <a:pt x="4964811" y="425450"/>
                  </a:lnTo>
                  <a:lnTo>
                    <a:pt x="4963769" y="424180"/>
                  </a:lnTo>
                  <a:lnTo>
                    <a:pt x="4966919" y="425450"/>
                  </a:lnTo>
                  <a:lnTo>
                    <a:pt x="4966881" y="424180"/>
                  </a:lnTo>
                  <a:lnTo>
                    <a:pt x="4966779" y="421640"/>
                  </a:lnTo>
                  <a:lnTo>
                    <a:pt x="4969916" y="420370"/>
                  </a:lnTo>
                  <a:lnTo>
                    <a:pt x="4974628" y="416560"/>
                  </a:lnTo>
                  <a:lnTo>
                    <a:pt x="4948872" y="412750"/>
                  </a:lnTo>
                  <a:lnTo>
                    <a:pt x="4945837" y="410210"/>
                  </a:lnTo>
                  <a:lnTo>
                    <a:pt x="4948580" y="410210"/>
                  </a:lnTo>
                  <a:lnTo>
                    <a:pt x="4947386" y="408940"/>
                  </a:lnTo>
                  <a:lnTo>
                    <a:pt x="4946802" y="407670"/>
                  </a:lnTo>
                  <a:lnTo>
                    <a:pt x="4945608" y="406400"/>
                  </a:lnTo>
                  <a:lnTo>
                    <a:pt x="4951234" y="407670"/>
                  </a:lnTo>
                  <a:lnTo>
                    <a:pt x="4954041" y="408940"/>
                  </a:lnTo>
                  <a:lnTo>
                    <a:pt x="4959667" y="410210"/>
                  </a:lnTo>
                  <a:lnTo>
                    <a:pt x="4957851" y="406400"/>
                  </a:lnTo>
                  <a:lnTo>
                    <a:pt x="4961471" y="402590"/>
                  </a:lnTo>
                  <a:lnTo>
                    <a:pt x="4939500" y="397510"/>
                  </a:lnTo>
                  <a:lnTo>
                    <a:pt x="4947513" y="396240"/>
                  </a:lnTo>
                  <a:lnTo>
                    <a:pt x="4947437" y="393700"/>
                  </a:lnTo>
                  <a:lnTo>
                    <a:pt x="4954841" y="398780"/>
                  </a:lnTo>
                  <a:lnTo>
                    <a:pt x="4954460" y="393700"/>
                  </a:lnTo>
                  <a:lnTo>
                    <a:pt x="4957838" y="389890"/>
                  </a:lnTo>
                  <a:lnTo>
                    <a:pt x="4960112" y="388620"/>
                  </a:lnTo>
                  <a:lnTo>
                    <a:pt x="4952035" y="387350"/>
                  </a:lnTo>
                  <a:lnTo>
                    <a:pt x="4953533" y="384810"/>
                  </a:lnTo>
                  <a:lnTo>
                    <a:pt x="4957953" y="381000"/>
                  </a:lnTo>
                  <a:lnTo>
                    <a:pt x="4952390" y="381000"/>
                  </a:lnTo>
                  <a:lnTo>
                    <a:pt x="4956530" y="375920"/>
                  </a:lnTo>
                  <a:lnTo>
                    <a:pt x="4937950" y="382270"/>
                  </a:lnTo>
                  <a:lnTo>
                    <a:pt x="4935017" y="377190"/>
                  </a:lnTo>
                  <a:lnTo>
                    <a:pt x="4933543" y="374650"/>
                  </a:lnTo>
                  <a:lnTo>
                    <a:pt x="4940909" y="379730"/>
                  </a:lnTo>
                  <a:lnTo>
                    <a:pt x="4940922" y="375920"/>
                  </a:lnTo>
                  <a:lnTo>
                    <a:pt x="4947996" y="375920"/>
                  </a:lnTo>
                  <a:lnTo>
                    <a:pt x="4946751" y="374650"/>
                  </a:lnTo>
                  <a:lnTo>
                    <a:pt x="4945507" y="373380"/>
                  </a:lnTo>
                  <a:lnTo>
                    <a:pt x="4951844" y="370840"/>
                  </a:lnTo>
                  <a:lnTo>
                    <a:pt x="4947424" y="369570"/>
                  </a:lnTo>
                  <a:lnTo>
                    <a:pt x="4940236" y="367030"/>
                  </a:lnTo>
                  <a:lnTo>
                    <a:pt x="4948098" y="365760"/>
                  </a:lnTo>
                  <a:lnTo>
                    <a:pt x="4942840" y="361950"/>
                  </a:lnTo>
                  <a:lnTo>
                    <a:pt x="4945735" y="358140"/>
                  </a:lnTo>
                  <a:lnTo>
                    <a:pt x="4947666" y="355600"/>
                  </a:lnTo>
                  <a:lnTo>
                    <a:pt x="4942014" y="358140"/>
                  </a:lnTo>
                  <a:lnTo>
                    <a:pt x="4938585" y="356870"/>
                  </a:lnTo>
                  <a:lnTo>
                    <a:pt x="4940249" y="354330"/>
                  </a:lnTo>
                  <a:lnTo>
                    <a:pt x="4941900" y="351790"/>
                  </a:lnTo>
                  <a:lnTo>
                    <a:pt x="4932527" y="354330"/>
                  </a:lnTo>
                  <a:lnTo>
                    <a:pt x="4938649" y="347980"/>
                  </a:lnTo>
                  <a:lnTo>
                    <a:pt x="4932692" y="345440"/>
                  </a:lnTo>
                  <a:lnTo>
                    <a:pt x="4931435" y="330200"/>
                  </a:lnTo>
                  <a:lnTo>
                    <a:pt x="4930279" y="325120"/>
                  </a:lnTo>
                  <a:lnTo>
                    <a:pt x="4928692" y="327660"/>
                  </a:lnTo>
                  <a:lnTo>
                    <a:pt x="4928374" y="339090"/>
                  </a:lnTo>
                  <a:lnTo>
                    <a:pt x="4926241" y="344170"/>
                  </a:lnTo>
                  <a:lnTo>
                    <a:pt x="4921897" y="347980"/>
                  </a:lnTo>
                  <a:lnTo>
                    <a:pt x="4925784" y="350520"/>
                  </a:lnTo>
                  <a:lnTo>
                    <a:pt x="4915344" y="354330"/>
                  </a:lnTo>
                  <a:lnTo>
                    <a:pt x="4919256" y="356870"/>
                  </a:lnTo>
                  <a:lnTo>
                    <a:pt x="4917529" y="359410"/>
                  </a:lnTo>
                  <a:lnTo>
                    <a:pt x="4916360" y="359410"/>
                  </a:lnTo>
                  <a:lnTo>
                    <a:pt x="4921669" y="361950"/>
                  </a:lnTo>
                  <a:lnTo>
                    <a:pt x="4925212" y="361950"/>
                  </a:lnTo>
                  <a:lnTo>
                    <a:pt x="4917668" y="367030"/>
                  </a:lnTo>
                  <a:lnTo>
                    <a:pt x="4910264" y="367030"/>
                  </a:lnTo>
                  <a:lnTo>
                    <a:pt x="4917376" y="370840"/>
                  </a:lnTo>
                  <a:lnTo>
                    <a:pt x="4916221" y="375920"/>
                  </a:lnTo>
                  <a:lnTo>
                    <a:pt x="4920894" y="373380"/>
                  </a:lnTo>
                  <a:lnTo>
                    <a:pt x="4920780" y="378460"/>
                  </a:lnTo>
                  <a:lnTo>
                    <a:pt x="4925034" y="377190"/>
                  </a:lnTo>
                  <a:lnTo>
                    <a:pt x="4918481" y="382270"/>
                  </a:lnTo>
                  <a:lnTo>
                    <a:pt x="4897679" y="375920"/>
                  </a:lnTo>
                  <a:lnTo>
                    <a:pt x="4900587" y="379730"/>
                  </a:lnTo>
                  <a:lnTo>
                    <a:pt x="4896485" y="383540"/>
                  </a:lnTo>
                  <a:lnTo>
                    <a:pt x="4904829" y="382270"/>
                  </a:lnTo>
                  <a:lnTo>
                    <a:pt x="4898098" y="387350"/>
                  </a:lnTo>
                  <a:lnTo>
                    <a:pt x="4904448" y="388620"/>
                  </a:lnTo>
                  <a:lnTo>
                    <a:pt x="4896282" y="397510"/>
                  </a:lnTo>
                  <a:lnTo>
                    <a:pt x="4902568" y="394970"/>
                  </a:lnTo>
                  <a:lnTo>
                    <a:pt x="4905527" y="400050"/>
                  </a:lnTo>
                  <a:lnTo>
                    <a:pt x="4910366" y="394970"/>
                  </a:lnTo>
                  <a:lnTo>
                    <a:pt x="4911572" y="393700"/>
                  </a:lnTo>
                  <a:lnTo>
                    <a:pt x="4905921" y="405130"/>
                  </a:lnTo>
                  <a:lnTo>
                    <a:pt x="4911255" y="401320"/>
                  </a:lnTo>
                  <a:lnTo>
                    <a:pt x="4913033" y="402590"/>
                  </a:lnTo>
                  <a:lnTo>
                    <a:pt x="4913947" y="403860"/>
                  </a:lnTo>
                  <a:lnTo>
                    <a:pt x="4915725" y="405130"/>
                  </a:lnTo>
                  <a:lnTo>
                    <a:pt x="4917706" y="401320"/>
                  </a:lnTo>
                  <a:lnTo>
                    <a:pt x="4920335" y="396240"/>
                  </a:lnTo>
                  <a:lnTo>
                    <a:pt x="4921809" y="402590"/>
                  </a:lnTo>
                  <a:lnTo>
                    <a:pt x="4911102" y="408940"/>
                  </a:lnTo>
                  <a:lnTo>
                    <a:pt x="4892522" y="412750"/>
                  </a:lnTo>
                  <a:lnTo>
                    <a:pt x="4893996" y="415290"/>
                  </a:lnTo>
                  <a:lnTo>
                    <a:pt x="4885182" y="415290"/>
                  </a:lnTo>
                  <a:lnTo>
                    <a:pt x="4894313" y="421640"/>
                  </a:lnTo>
                  <a:lnTo>
                    <a:pt x="4890567" y="425450"/>
                  </a:lnTo>
                  <a:lnTo>
                    <a:pt x="4905235" y="421640"/>
                  </a:lnTo>
                  <a:lnTo>
                    <a:pt x="4903597" y="425450"/>
                  </a:lnTo>
                  <a:lnTo>
                    <a:pt x="4894694" y="433070"/>
                  </a:lnTo>
                  <a:lnTo>
                    <a:pt x="4901679" y="431800"/>
                  </a:lnTo>
                  <a:lnTo>
                    <a:pt x="4902314" y="436880"/>
                  </a:lnTo>
                  <a:lnTo>
                    <a:pt x="4905718" y="431800"/>
                  </a:lnTo>
                  <a:lnTo>
                    <a:pt x="4907407" y="429260"/>
                  </a:lnTo>
                  <a:lnTo>
                    <a:pt x="4910569" y="434340"/>
                  </a:lnTo>
                  <a:lnTo>
                    <a:pt x="4911382" y="429260"/>
                  </a:lnTo>
                  <a:lnTo>
                    <a:pt x="4911788" y="426720"/>
                  </a:lnTo>
                  <a:lnTo>
                    <a:pt x="4914773" y="426720"/>
                  </a:lnTo>
                  <a:lnTo>
                    <a:pt x="4916741" y="431800"/>
                  </a:lnTo>
                  <a:lnTo>
                    <a:pt x="4911572" y="435610"/>
                  </a:lnTo>
                  <a:lnTo>
                    <a:pt x="4908118" y="439420"/>
                  </a:lnTo>
                  <a:lnTo>
                    <a:pt x="4915014" y="441960"/>
                  </a:lnTo>
                  <a:lnTo>
                    <a:pt x="4912639" y="445770"/>
                  </a:lnTo>
                  <a:lnTo>
                    <a:pt x="4892522" y="451027"/>
                  </a:lnTo>
                  <a:lnTo>
                    <a:pt x="4892522" y="462280"/>
                  </a:lnTo>
                  <a:lnTo>
                    <a:pt x="4890922" y="471170"/>
                  </a:lnTo>
                  <a:lnTo>
                    <a:pt x="4892281" y="471170"/>
                  </a:lnTo>
                  <a:lnTo>
                    <a:pt x="4890821" y="477520"/>
                  </a:lnTo>
                  <a:lnTo>
                    <a:pt x="4890465" y="476250"/>
                  </a:lnTo>
                  <a:lnTo>
                    <a:pt x="4889360" y="472440"/>
                  </a:lnTo>
                  <a:lnTo>
                    <a:pt x="4887900" y="468630"/>
                  </a:lnTo>
                  <a:lnTo>
                    <a:pt x="4888916" y="469900"/>
                  </a:lnTo>
                  <a:lnTo>
                    <a:pt x="4888065" y="467360"/>
                  </a:lnTo>
                  <a:lnTo>
                    <a:pt x="4892522" y="462280"/>
                  </a:lnTo>
                  <a:lnTo>
                    <a:pt x="4892522" y="451027"/>
                  </a:lnTo>
                  <a:lnTo>
                    <a:pt x="4886223" y="452666"/>
                  </a:lnTo>
                  <a:lnTo>
                    <a:pt x="4886223" y="468630"/>
                  </a:lnTo>
                  <a:lnTo>
                    <a:pt x="4884115" y="476250"/>
                  </a:lnTo>
                  <a:lnTo>
                    <a:pt x="4882007" y="473710"/>
                  </a:lnTo>
                  <a:lnTo>
                    <a:pt x="4880953" y="471170"/>
                  </a:lnTo>
                  <a:lnTo>
                    <a:pt x="4879886" y="468630"/>
                  </a:lnTo>
                  <a:lnTo>
                    <a:pt x="4879695" y="469900"/>
                  </a:lnTo>
                  <a:lnTo>
                    <a:pt x="4879314" y="471170"/>
                  </a:lnTo>
                  <a:lnTo>
                    <a:pt x="4875771" y="468630"/>
                  </a:lnTo>
                  <a:lnTo>
                    <a:pt x="4875009" y="464820"/>
                  </a:lnTo>
                  <a:lnTo>
                    <a:pt x="4877295" y="466090"/>
                  </a:lnTo>
                  <a:lnTo>
                    <a:pt x="4877549" y="466090"/>
                  </a:lnTo>
                  <a:lnTo>
                    <a:pt x="4882858" y="468630"/>
                  </a:lnTo>
                  <a:lnTo>
                    <a:pt x="4886223" y="468630"/>
                  </a:lnTo>
                  <a:lnTo>
                    <a:pt x="4886223" y="452666"/>
                  </a:lnTo>
                  <a:lnTo>
                    <a:pt x="4873714" y="455930"/>
                  </a:lnTo>
                  <a:lnTo>
                    <a:pt x="4870018" y="455930"/>
                  </a:lnTo>
                  <a:lnTo>
                    <a:pt x="4859198" y="450850"/>
                  </a:lnTo>
                  <a:lnTo>
                    <a:pt x="4851362" y="443230"/>
                  </a:lnTo>
                  <a:lnTo>
                    <a:pt x="4849965" y="439420"/>
                  </a:lnTo>
                  <a:lnTo>
                    <a:pt x="4849025" y="436880"/>
                  </a:lnTo>
                  <a:lnTo>
                    <a:pt x="4849584" y="433070"/>
                  </a:lnTo>
                  <a:lnTo>
                    <a:pt x="4858067" y="443230"/>
                  </a:lnTo>
                  <a:lnTo>
                    <a:pt x="4857343" y="438150"/>
                  </a:lnTo>
                  <a:lnTo>
                    <a:pt x="4856213" y="433070"/>
                  </a:lnTo>
                  <a:lnTo>
                    <a:pt x="4855921" y="431800"/>
                  </a:lnTo>
                  <a:lnTo>
                    <a:pt x="4855349" y="429260"/>
                  </a:lnTo>
                  <a:lnTo>
                    <a:pt x="4865116" y="445770"/>
                  </a:lnTo>
                  <a:lnTo>
                    <a:pt x="4866957" y="440690"/>
                  </a:lnTo>
                  <a:lnTo>
                    <a:pt x="4873676" y="450850"/>
                  </a:lnTo>
                  <a:lnTo>
                    <a:pt x="4873091" y="445770"/>
                  </a:lnTo>
                  <a:lnTo>
                    <a:pt x="4874476" y="444500"/>
                  </a:lnTo>
                  <a:lnTo>
                    <a:pt x="4879289" y="445770"/>
                  </a:lnTo>
                  <a:lnTo>
                    <a:pt x="4881346" y="444500"/>
                  </a:lnTo>
                  <a:lnTo>
                    <a:pt x="4883391" y="443230"/>
                  </a:lnTo>
                  <a:lnTo>
                    <a:pt x="4879873" y="441960"/>
                  </a:lnTo>
                  <a:lnTo>
                    <a:pt x="4877232" y="440690"/>
                  </a:lnTo>
                  <a:lnTo>
                    <a:pt x="4874577" y="439420"/>
                  </a:lnTo>
                  <a:lnTo>
                    <a:pt x="4867402" y="431800"/>
                  </a:lnTo>
                  <a:lnTo>
                    <a:pt x="4865675" y="429260"/>
                  </a:lnTo>
                  <a:lnTo>
                    <a:pt x="4868291" y="424180"/>
                  </a:lnTo>
                  <a:lnTo>
                    <a:pt x="4870501" y="427990"/>
                  </a:lnTo>
                  <a:lnTo>
                    <a:pt x="4876533" y="434340"/>
                  </a:lnTo>
                  <a:lnTo>
                    <a:pt x="4875390" y="424180"/>
                  </a:lnTo>
                  <a:lnTo>
                    <a:pt x="4875238" y="422910"/>
                  </a:lnTo>
                  <a:lnTo>
                    <a:pt x="4882654" y="429260"/>
                  </a:lnTo>
                  <a:lnTo>
                    <a:pt x="4881334" y="422910"/>
                  </a:lnTo>
                  <a:lnTo>
                    <a:pt x="4880800" y="420370"/>
                  </a:lnTo>
                  <a:lnTo>
                    <a:pt x="4891684" y="420370"/>
                  </a:lnTo>
                  <a:lnTo>
                    <a:pt x="4875809" y="414020"/>
                  </a:lnTo>
                  <a:lnTo>
                    <a:pt x="4875136" y="414020"/>
                  </a:lnTo>
                  <a:lnTo>
                    <a:pt x="4878248" y="412750"/>
                  </a:lnTo>
                  <a:lnTo>
                    <a:pt x="4871656" y="410210"/>
                  </a:lnTo>
                  <a:lnTo>
                    <a:pt x="4868367" y="408940"/>
                  </a:lnTo>
                  <a:lnTo>
                    <a:pt x="4858474" y="405130"/>
                  </a:lnTo>
                  <a:lnTo>
                    <a:pt x="4856213" y="402590"/>
                  </a:lnTo>
                  <a:lnTo>
                    <a:pt x="4850562" y="396240"/>
                  </a:lnTo>
                  <a:lnTo>
                    <a:pt x="4849482" y="391160"/>
                  </a:lnTo>
                  <a:lnTo>
                    <a:pt x="4852124" y="391160"/>
                  </a:lnTo>
                  <a:lnTo>
                    <a:pt x="4860645" y="402590"/>
                  </a:lnTo>
                  <a:lnTo>
                    <a:pt x="4860976" y="400050"/>
                  </a:lnTo>
                  <a:lnTo>
                    <a:pt x="4860429" y="396240"/>
                  </a:lnTo>
                  <a:lnTo>
                    <a:pt x="4861687" y="394970"/>
                  </a:lnTo>
                  <a:lnTo>
                    <a:pt x="4863795" y="398780"/>
                  </a:lnTo>
                  <a:lnTo>
                    <a:pt x="4868570" y="403860"/>
                  </a:lnTo>
                  <a:lnTo>
                    <a:pt x="4868189" y="397510"/>
                  </a:lnTo>
                  <a:lnTo>
                    <a:pt x="4870564" y="397510"/>
                  </a:lnTo>
                  <a:lnTo>
                    <a:pt x="4877435" y="401320"/>
                  </a:lnTo>
                  <a:lnTo>
                    <a:pt x="4876050" y="397510"/>
                  </a:lnTo>
                  <a:lnTo>
                    <a:pt x="4875111" y="394970"/>
                  </a:lnTo>
                  <a:lnTo>
                    <a:pt x="4884001" y="391160"/>
                  </a:lnTo>
                  <a:lnTo>
                    <a:pt x="4872291" y="391160"/>
                  </a:lnTo>
                  <a:lnTo>
                    <a:pt x="4866056" y="389890"/>
                  </a:lnTo>
                  <a:lnTo>
                    <a:pt x="4870081" y="387350"/>
                  </a:lnTo>
                  <a:lnTo>
                    <a:pt x="4856023" y="383540"/>
                  </a:lnTo>
                  <a:lnTo>
                    <a:pt x="4850092" y="378460"/>
                  </a:lnTo>
                  <a:lnTo>
                    <a:pt x="4850358" y="375920"/>
                  </a:lnTo>
                  <a:lnTo>
                    <a:pt x="4857661" y="375920"/>
                  </a:lnTo>
                  <a:lnTo>
                    <a:pt x="4853495" y="372110"/>
                  </a:lnTo>
                  <a:lnTo>
                    <a:pt x="4851425" y="370840"/>
                  </a:lnTo>
                  <a:lnTo>
                    <a:pt x="4847260" y="367030"/>
                  </a:lnTo>
                  <a:lnTo>
                    <a:pt x="4853203" y="367030"/>
                  </a:lnTo>
                  <a:lnTo>
                    <a:pt x="4861090" y="370840"/>
                  </a:lnTo>
                  <a:lnTo>
                    <a:pt x="4861115" y="367030"/>
                  </a:lnTo>
                  <a:lnTo>
                    <a:pt x="4861141" y="363220"/>
                  </a:lnTo>
                  <a:lnTo>
                    <a:pt x="4867313" y="359410"/>
                  </a:lnTo>
                  <a:lnTo>
                    <a:pt x="4851336" y="359410"/>
                  </a:lnTo>
                  <a:lnTo>
                    <a:pt x="4846625" y="356870"/>
                  </a:lnTo>
                  <a:lnTo>
                    <a:pt x="4844262" y="355600"/>
                  </a:lnTo>
                  <a:lnTo>
                    <a:pt x="4844923" y="353060"/>
                  </a:lnTo>
                  <a:lnTo>
                    <a:pt x="4854803" y="356870"/>
                  </a:lnTo>
                  <a:lnTo>
                    <a:pt x="4854143" y="353060"/>
                  </a:lnTo>
                  <a:lnTo>
                    <a:pt x="4853914" y="351790"/>
                  </a:lnTo>
                  <a:lnTo>
                    <a:pt x="4861598" y="353060"/>
                  </a:lnTo>
                  <a:lnTo>
                    <a:pt x="4861179" y="351790"/>
                  </a:lnTo>
                  <a:lnTo>
                    <a:pt x="4859921" y="347980"/>
                  </a:lnTo>
                  <a:lnTo>
                    <a:pt x="4860785" y="346710"/>
                  </a:lnTo>
                  <a:lnTo>
                    <a:pt x="4865065" y="340360"/>
                  </a:lnTo>
                  <a:lnTo>
                    <a:pt x="4849698" y="346710"/>
                  </a:lnTo>
                  <a:lnTo>
                    <a:pt x="4843386" y="344170"/>
                  </a:lnTo>
                  <a:lnTo>
                    <a:pt x="4844796" y="340360"/>
                  </a:lnTo>
                  <a:lnTo>
                    <a:pt x="4845710" y="339090"/>
                  </a:lnTo>
                  <a:lnTo>
                    <a:pt x="4852124" y="337820"/>
                  </a:lnTo>
                  <a:lnTo>
                    <a:pt x="4850574" y="336550"/>
                  </a:lnTo>
                  <a:lnTo>
                    <a:pt x="4852809" y="332740"/>
                  </a:lnTo>
                  <a:lnTo>
                    <a:pt x="4855032" y="328930"/>
                  </a:lnTo>
                  <a:lnTo>
                    <a:pt x="4845291" y="332740"/>
                  </a:lnTo>
                  <a:lnTo>
                    <a:pt x="4843488" y="328930"/>
                  </a:lnTo>
                  <a:lnTo>
                    <a:pt x="4845901" y="325120"/>
                  </a:lnTo>
                  <a:lnTo>
                    <a:pt x="4846701" y="323850"/>
                  </a:lnTo>
                  <a:lnTo>
                    <a:pt x="4844402" y="325120"/>
                  </a:lnTo>
                  <a:lnTo>
                    <a:pt x="4842751" y="323850"/>
                  </a:lnTo>
                  <a:lnTo>
                    <a:pt x="4841100" y="322580"/>
                  </a:lnTo>
                  <a:lnTo>
                    <a:pt x="4841316" y="306070"/>
                  </a:lnTo>
                  <a:lnTo>
                    <a:pt x="4839373" y="304800"/>
                  </a:lnTo>
                  <a:lnTo>
                    <a:pt x="4838230" y="308610"/>
                  </a:lnTo>
                  <a:lnTo>
                    <a:pt x="4838039" y="318770"/>
                  </a:lnTo>
                  <a:lnTo>
                    <a:pt x="4834852" y="323850"/>
                  </a:lnTo>
                  <a:lnTo>
                    <a:pt x="4829772" y="322580"/>
                  </a:lnTo>
                  <a:lnTo>
                    <a:pt x="4834763" y="327660"/>
                  </a:lnTo>
                  <a:lnTo>
                    <a:pt x="4835766" y="332740"/>
                  </a:lnTo>
                  <a:lnTo>
                    <a:pt x="4821656" y="328930"/>
                  </a:lnTo>
                  <a:lnTo>
                    <a:pt x="4827308" y="334010"/>
                  </a:lnTo>
                  <a:lnTo>
                    <a:pt x="4825746" y="340360"/>
                  </a:lnTo>
                  <a:lnTo>
                    <a:pt x="4831004" y="339090"/>
                  </a:lnTo>
                  <a:lnTo>
                    <a:pt x="4834737" y="339090"/>
                  </a:lnTo>
                  <a:lnTo>
                    <a:pt x="4834140" y="342900"/>
                  </a:lnTo>
                  <a:lnTo>
                    <a:pt x="4827663" y="342900"/>
                  </a:lnTo>
                  <a:lnTo>
                    <a:pt x="4829200" y="346710"/>
                  </a:lnTo>
                  <a:lnTo>
                    <a:pt x="4832388" y="347980"/>
                  </a:lnTo>
                  <a:lnTo>
                    <a:pt x="4828692" y="347980"/>
                  </a:lnTo>
                  <a:lnTo>
                    <a:pt x="4819548" y="345440"/>
                  </a:lnTo>
                  <a:lnTo>
                    <a:pt x="4811319" y="341630"/>
                  </a:lnTo>
                  <a:lnTo>
                    <a:pt x="4814544" y="350520"/>
                  </a:lnTo>
                  <a:lnTo>
                    <a:pt x="4810988" y="351790"/>
                  </a:lnTo>
                  <a:lnTo>
                    <a:pt x="4814532" y="353060"/>
                  </a:lnTo>
                  <a:lnTo>
                    <a:pt x="4811763" y="359410"/>
                  </a:lnTo>
                  <a:lnTo>
                    <a:pt x="4821644" y="353060"/>
                  </a:lnTo>
                  <a:lnTo>
                    <a:pt x="4821631" y="359410"/>
                  </a:lnTo>
                  <a:lnTo>
                    <a:pt x="4828984" y="356870"/>
                  </a:lnTo>
                  <a:lnTo>
                    <a:pt x="4830572" y="361950"/>
                  </a:lnTo>
                  <a:lnTo>
                    <a:pt x="4824438" y="364490"/>
                  </a:lnTo>
                  <a:lnTo>
                    <a:pt x="4811077" y="364490"/>
                  </a:lnTo>
                  <a:lnTo>
                    <a:pt x="4813668" y="367030"/>
                  </a:lnTo>
                  <a:lnTo>
                    <a:pt x="4815421" y="368300"/>
                  </a:lnTo>
                  <a:lnTo>
                    <a:pt x="4812487" y="374650"/>
                  </a:lnTo>
                  <a:lnTo>
                    <a:pt x="4821821" y="370840"/>
                  </a:lnTo>
                  <a:lnTo>
                    <a:pt x="4821885" y="374650"/>
                  </a:lnTo>
                  <a:lnTo>
                    <a:pt x="4816208" y="378460"/>
                  </a:lnTo>
                  <a:lnTo>
                    <a:pt x="4826520" y="378460"/>
                  </a:lnTo>
                  <a:lnTo>
                    <a:pt x="4829353" y="379730"/>
                  </a:lnTo>
                  <a:lnTo>
                    <a:pt x="4824260" y="386080"/>
                  </a:lnTo>
                  <a:lnTo>
                    <a:pt x="4807636" y="393700"/>
                  </a:lnTo>
                  <a:lnTo>
                    <a:pt x="4792129" y="393700"/>
                  </a:lnTo>
                  <a:lnTo>
                    <a:pt x="4796866" y="400050"/>
                  </a:lnTo>
                  <a:lnTo>
                    <a:pt x="4790859" y="407670"/>
                  </a:lnTo>
                  <a:lnTo>
                    <a:pt x="4802962" y="402590"/>
                  </a:lnTo>
                  <a:lnTo>
                    <a:pt x="4802543" y="406400"/>
                  </a:lnTo>
                  <a:lnTo>
                    <a:pt x="4795825" y="416560"/>
                  </a:lnTo>
                  <a:lnTo>
                    <a:pt x="4801908" y="411480"/>
                  </a:lnTo>
                  <a:lnTo>
                    <a:pt x="4812309" y="402590"/>
                  </a:lnTo>
                  <a:lnTo>
                    <a:pt x="4813351" y="414020"/>
                  </a:lnTo>
                  <a:lnTo>
                    <a:pt x="4818354" y="408940"/>
                  </a:lnTo>
                  <a:lnTo>
                    <a:pt x="4819167" y="417830"/>
                  </a:lnTo>
                  <a:lnTo>
                    <a:pt x="4826495" y="410210"/>
                  </a:lnTo>
                  <a:lnTo>
                    <a:pt x="4799495" y="429260"/>
                  </a:lnTo>
                  <a:lnTo>
                    <a:pt x="4783417" y="434340"/>
                  </a:lnTo>
                  <a:lnTo>
                    <a:pt x="4788547" y="436880"/>
                  </a:lnTo>
                  <a:lnTo>
                    <a:pt x="4787989" y="443230"/>
                  </a:lnTo>
                  <a:lnTo>
                    <a:pt x="4796701" y="439420"/>
                  </a:lnTo>
                  <a:lnTo>
                    <a:pt x="4792662" y="443230"/>
                  </a:lnTo>
                  <a:lnTo>
                    <a:pt x="4790656" y="445770"/>
                  </a:lnTo>
                  <a:lnTo>
                    <a:pt x="4786617" y="449580"/>
                  </a:lnTo>
                  <a:lnTo>
                    <a:pt x="4802454" y="441960"/>
                  </a:lnTo>
                  <a:lnTo>
                    <a:pt x="4803521" y="448310"/>
                  </a:lnTo>
                  <a:lnTo>
                    <a:pt x="4805527" y="441960"/>
                  </a:lnTo>
                  <a:lnTo>
                    <a:pt x="4806327" y="439420"/>
                  </a:lnTo>
                  <a:lnTo>
                    <a:pt x="4807521" y="435610"/>
                  </a:lnTo>
                  <a:lnTo>
                    <a:pt x="4810366" y="439420"/>
                  </a:lnTo>
                  <a:lnTo>
                    <a:pt x="4810772" y="443230"/>
                  </a:lnTo>
                  <a:lnTo>
                    <a:pt x="4813579" y="443230"/>
                  </a:lnTo>
                  <a:lnTo>
                    <a:pt x="4818570" y="435610"/>
                  </a:lnTo>
                  <a:lnTo>
                    <a:pt x="4822914" y="431800"/>
                  </a:lnTo>
                  <a:lnTo>
                    <a:pt x="4817707" y="438150"/>
                  </a:lnTo>
                  <a:lnTo>
                    <a:pt x="4818418" y="440690"/>
                  </a:lnTo>
                  <a:lnTo>
                    <a:pt x="4820666" y="439420"/>
                  </a:lnTo>
                  <a:lnTo>
                    <a:pt x="4817211" y="443230"/>
                  </a:lnTo>
                  <a:lnTo>
                    <a:pt x="4810925" y="448310"/>
                  </a:lnTo>
                  <a:lnTo>
                    <a:pt x="4810925" y="468630"/>
                  </a:lnTo>
                  <a:lnTo>
                    <a:pt x="4806378" y="474980"/>
                  </a:lnTo>
                  <a:lnTo>
                    <a:pt x="4803432" y="478790"/>
                  </a:lnTo>
                  <a:lnTo>
                    <a:pt x="4801247" y="474980"/>
                  </a:lnTo>
                  <a:lnTo>
                    <a:pt x="4798276" y="471170"/>
                  </a:lnTo>
                  <a:lnTo>
                    <a:pt x="4796777" y="469900"/>
                  </a:lnTo>
                  <a:lnTo>
                    <a:pt x="4798034" y="467360"/>
                  </a:lnTo>
                  <a:lnTo>
                    <a:pt x="4799279" y="464820"/>
                  </a:lnTo>
                  <a:lnTo>
                    <a:pt x="4801006" y="473710"/>
                  </a:lnTo>
                  <a:lnTo>
                    <a:pt x="4806886" y="466090"/>
                  </a:lnTo>
                  <a:lnTo>
                    <a:pt x="4809515" y="464820"/>
                  </a:lnTo>
                  <a:lnTo>
                    <a:pt x="4810925" y="468630"/>
                  </a:lnTo>
                  <a:lnTo>
                    <a:pt x="4810925" y="448310"/>
                  </a:lnTo>
                  <a:lnTo>
                    <a:pt x="4809337" y="449580"/>
                  </a:lnTo>
                  <a:lnTo>
                    <a:pt x="4793907" y="458952"/>
                  </a:lnTo>
                  <a:lnTo>
                    <a:pt x="4793907" y="467360"/>
                  </a:lnTo>
                  <a:lnTo>
                    <a:pt x="4793450" y="468630"/>
                  </a:lnTo>
                  <a:lnTo>
                    <a:pt x="4791583" y="468630"/>
                  </a:lnTo>
                  <a:lnTo>
                    <a:pt x="4789716" y="471170"/>
                  </a:lnTo>
                  <a:lnTo>
                    <a:pt x="4787874" y="474980"/>
                  </a:lnTo>
                  <a:lnTo>
                    <a:pt x="4786198" y="483870"/>
                  </a:lnTo>
                  <a:lnTo>
                    <a:pt x="4782832" y="473710"/>
                  </a:lnTo>
                  <a:lnTo>
                    <a:pt x="4781131" y="478790"/>
                  </a:lnTo>
                  <a:lnTo>
                    <a:pt x="4778883" y="483870"/>
                  </a:lnTo>
                  <a:lnTo>
                    <a:pt x="4776609" y="486410"/>
                  </a:lnTo>
                  <a:lnTo>
                    <a:pt x="4776267" y="485140"/>
                  </a:lnTo>
                  <a:lnTo>
                    <a:pt x="4774844" y="480060"/>
                  </a:lnTo>
                  <a:lnTo>
                    <a:pt x="4774501" y="478790"/>
                  </a:lnTo>
                  <a:lnTo>
                    <a:pt x="4773079" y="473710"/>
                  </a:lnTo>
                  <a:lnTo>
                    <a:pt x="4771758" y="474980"/>
                  </a:lnTo>
                  <a:lnTo>
                    <a:pt x="4770425" y="478790"/>
                  </a:lnTo>
                  <a:lnTo>
                    <a:pt x="4769840" y="478116"/>
                  </a:lnTo>
                  <a:lnTo>
                    <a:pt x="4769840" y="480060"/>
                  </a:lnTo>
                  <a:lnTo>
                    <a:pt x="4768380" y="483870"/>
                  </a:lnTo>
                  <a:lnTo>
                    <a:pt x="4767643" y="485140"/>
                  </a:lnTo>
                  <a:lnTo>
                    <a:pt x="4767427" y="485140"/>
                  </a:lnTo>
                  <a:lnTo>
                    <a:pt x="4764519" y="483870"/>
                  </a:lnTo>
                  <a:lnTo>
                    <a:pt x="4763973" y="481330"/>
                  </a:lnTo>
                  <a:lnTo>
                    <a:pt x="4765878" y="480060"/>
                  </a:lnTo>
                  <a:lnTo>
                    <a:pt x="4769840" y="480060"/>
                  </a:lnTo>
                  <a:lnTo>
                    <a:pt x="4769840" y="478116"/>
                  </a:lnTo>
                  <a:lnTo>
                    <a:pt x="4767148" y="474980"/>
                  </a:lnTo>
                  <a:lnTo>
                    <a:pt x="4765840" y="472440"/>
                  </a:lnTo>
                  <a:lnTo>
                    <a:pt x="4766843" y="471170"/>
                  </a:lnTo>
                  <a:lnTo>
                    <a:pt x="4778641" y="472440"/>
                  </a:lnTo>
                  <a:lnTo>
                    <a:pt x="4777410" y="471170"/>
                  </a:lnTo>
                  <a:lnTo>
                    <a:pt x="4773701" y="467360"/>
                  </a:lnTo>
                  <a:lnTo>
                    <a:pt x="4772698" y="463550"/>
                  </a:lnTo>
                  <a:lnTo>
                    <a:pt x="4775149" y="463550"/>
                  </a:lnTo>
                  <a:lnTo>
                    <a:pt x="4781867" y="466090"/>
                  </a:lnTo>
                  <a:lnTo>
                    <a:pt x="4786617" y="467360"/>
                  </a:lnTo>
                  <a:lnTo>
                    <a:pt x="4785309" y="466090"/>
                  </a:lnTo>
                  <a:lnTo>
                    <a:pt x="4787468" y="466090"/>
                  </a:lnTo>
                  <a:lnTo>
                    <a:pt x="4785830" y="473710"/>
                  </a:lnTo>
                  <a:lnTo>
                    <a:pt x="4790922" y="468630"/>
                  </a:lnTo>
                  <a:lnTo>
                    <a:pt x="4793907" y="467360"/>
                  </a:lnTo>
                  <a:lnTo>
                    <a:pt x="4793907" y="458952"/>
                  </a:lnTo>
                  <a:lnTo>
                    <a:pt x="4784229" y="464820"/>
                  </a:lnTo>
                  <a:lnTo>
                    <a:pt x="4783277" y="463550"/>
                  </a:lnTo>
                  <a:lnTo>
                    <a:pt x="4780419" y="459740"/>
                  </a:lnTo>
                  <a:lnTo>
                    <a:pt x="4779467" y="458470"/>
                  </a:lnTo>
                  <a:lnTo>
                    <a:pt x="4790757" y="454660"/>
                  </a:lnTo>
                  <a:lnTo>
                    <a:pt x="4775441" y="452120"/>
                  </a:lnTo>
                  <a:lnTo>
                    <a:pt x="4765726" y="448310"/>
                  </a:lnTo>
                  <a:lnTo>
                    <a:pt x="4763605" y="447040"/>
                  </a:lnTo>
                  <a:lnTo>
                    <a:pt x="4763528" y="445770"/>
                  </a:lnTo>
                  <a:lnTo>
                    <a:pt x="4767034" y="443230"/>
                  </a:lnTo>
                  <a:lnTo>
                    <a:pt x="4773206" y="443230"/>
                  </a:lnTo>
                  <a:lnTo>
                    <a:pt x="4777664" y="444500"/>
                  </a:lnTo>
                  <a:lnTo>
                    <a:pt x="4777130" y="443230"/>
                  </a:lnTo>
                  <a:lnTo>
                    <a:pt x="4776063" y="440690"/>
                  </a:lnTo>
                  <a:lnTo>
                    <a:pt x="4773930" y="435610"/>
                  </a:lnTo>
                  <a:lnTo>
                    <a:pt x="4781537" y="435610"/>
                  </a:lnTo>
                  <a:lnTo>
                    <a:pt x="4780826" y="434340"/>
                  </a:lnTo>
                  <a:lnTo>
                    <a:pt x="4778654" y="430530"/>
                  </a:lnTo>
                  <a:lnTo>
                    <a:pt x="4779086" y="429260"/>
                  </a:lnTo>
                  <a:lnTo>
                    <a:pt x="4779518" y="427990"/>
                  </a:lnTo>
                  <a:lnTo>
                    <a:pt x="4781245" y="422910"/>
                  </a:lnTo>
                  <a:lnTo>
                    <a:pt x="4771085" y="427990"/>
                  </a:lnTo>
                  <a:lnTo>
                    <a:pt x="4765865" y="426720"/>
                  </a:lnTo>
                  <a:lnTo>
                    <a:pt x="4761547" y="427990"/>
                  </a:lnTo>
                  <a:lnTo>
                    <a:pt x="4759845" y="425450"/>
                  </a:lnTo>
                  <a:lnTo>
                    <a:pt x="4762258" y="421640"/>
                  </a:lnTo>
                  <a:lnTo>
                    <a:pt x="4763059" y="420370"/>
                  </a:lnTo>
                  <a:lnTo>
                    <a:pt x="4769167" y="421640"/>
                  </a:lnTo>
                  <a:lnTo>
                    <a:pt x="4768786" y="420370"/>
                  </a:lnTo>
                  <a:lnTo>
                    <a:pt x="4768393" y="419100"/>
                  </a:lnTo>
                  <a:lnTo>
                    <a:pt x="4767859" y="417830"/>
                  </a:lnTo>
                  <a:lnTo>
                    <a:pt x="4767986" y="416560"/>
                  </a:lnTo>
                  <a:lnTo>
                    <a:pt x="4769663" y="414020"/>
                  </a:lnTo>
                  <a:lnTo>
                    <a:pt x="4770488" y="412750"/>
                  </a:lnTo>
                  <a:lnTo>
                    <a:pt x="4764151" y="414020"/>
                  </a:lnTo>
                  <a:lnTo>
                    <a:pt x="4759350" y="414020"/>
                  </a:lnTo>
                  <a:lnTo>
                    <a:pt x="4758487" y="411480"/>
                  </a:lnTo>
                  <a:lnTo>
                    <a:pt x="4758931" y="406400"/>
                  </a:lnTo>
                  <a:lnTo>
                    <a:pt x="4760811" y="402590"/>
                  </a:lnTo>
                  <a:lnTo>
                    <a:pt x="4761763" y="400050"/>
                  </a:lnTo>
                  <a:lnTo>
                    <a:pt x="4763643" y="397510"/>
                  </a:lnTo>
                  <a:lnTo>
                    <a:pt x="4761166" y="397510"/>
                  </a:lnTo>
                  <a:lnTo>
                    <a:pt x="4757826" y="393700"/>
                  </a:lnTo>
                  <a:lnTo>
                    <a:pt x="4757890" y="381000"/>
                  </a:lnTo>
                  <a:lnTo>
                    <a:pt x="4756747" y="379730"/>
                  </a:lnTo>
                  <a:lnTo>
                    <a:pt x="4754562" y="381000"/>
                  </a:lnTo>
                  <a:lnTo>
                    <a:pt x="4754956" y="392430"/>
                  </a:lnTo>
                  <a:lnTo>
                    <a:pt x="4753838" y="396240"/>
                  </a:lnTo>
                  <a:lnTo>
                    <a:pt x="4748809" y="396240"/>
                  </a:lnTo>
                  <a:lnTo>
                    <a:pt x="4754245" y="408940"/>
                  </a:lnTo>
                  <a:lnTo>
                    <a:pt x="4753191" y="414020"/>
                  </a:lnTo>
                  <a:lnTo>
                    <a:pt x="4739068" y="411480"/>
                  </a:lnTo>
                  <a:lnTo>
                    <a:pt x="4746155" y="417830"/>
                  </a:lnTo>
                  <a:lnTo>
                    <a:pt x="4745418" y="422910"/>
                  </a:lnTo>
                  <a:lnTo>
                    <a:pt x="4749114" y="421640"/>
                  </a:lnTo>
                  <a:lnTo>
                    <a:pt x="4752010" y="421640"/>
                  </a:lnTo>
                  <a:lnTo>
                    <a:pt x="4753127" y="424180"/>
                  </a:lnTo>
                  <a:lnTo>
                    <a:pt x="4748238" y="429260"/>
                  </a:lnTo>
                  <a:lnTo>
                    <a:pt x="4728438" y="422910"/>
                  </a:lnTo>
                  <a:lnTo>
                    <a:pt x="4731880" y="426720"/>
                  </a:lnTo>
                  <a:lnTo>
                    <a:pt x="4729810" y="431800"/>
                  </a:lnTo>
                  <a:lnTo>
                    <a:pt x="4736033" y="430530"/>
                  </a:lnTo>
                  <a:lnTo>
                    <a:pt x="4730826" y="439420"/>
                  </a:lnTo>
                  <a:lnTo>
                    <a:pt x="4742396" y="434340"/>
                  </a:lnTo>
                  <a:lnTo>
                    <a:pt x="4738446" y="441960"/>
                  </a:lnTo>
                  <a:lnTo>
                    <a:pt x="4744910" y="440690"/>
                  </a:lnTo>
                  <a:lnTo>
                    <a:pt x="4749000" y="440690"/>
                  </a:lnTo>
                  <a:lnTo>
                    <a:pt x="4747044" y="444500"/>
                  </a:lnTo>
                  <a:lnTo>
                    <a:pt x="4744732" y="447040"/>
                  </a:lnTo>
                  <a:lnTo>
                    <a:pt x="4734839" y="449580"/>
                  </a:lnTo>
                  <a:lnTo>
                    <a:pt x="4721593" y="449580"/>
                  </a:lnTo>
                  <a:lnTo>
                    <a:pt x="4729619" y="455930"/>
                  </a:lnTo>
                  <a:lnTo>
                    <a:pt x="4725365" y="462280"/>
                  </a:lnTo>
                  <a:lnTo>
                    <a:pt x="4735525" y="459740"/>
                  </a:lnTo>
                  <a:lnTo>
                    <a:pt x="4732007" y="467360"/>
                  </a:lnTo>
                  <a:lnTo>
                    <a:pt x="4746612" y="459740"/>
                  </a:lnTo>
                  <a:lnTo>
                    <a:pt x="4748415" y="459740"/>
                  </a:lnTo>
                  <a:lnTo>
                    <a:pt x="4748606" y="462280"/>
                  </a:lnTo>
                  <a:lnTo>
                    <a:pt x="4745126" y="467360"/>
                  </a:lnTo>
                  <a:lnTo>
                    <a:pt x="4742827" y="471170"/>
                  </a:lnTo>
                  <a:lnTo>
                    <a:pt x="4733074" y="477520"/>
                  </a:lnTo>
                  <a:lnTo>
                    <a:pt x="4740110" y="477520"/>
                  </a:lnTo>
                  <a:lnTo>
                    <a:pt x="4738446" y="483870"/>
                  </a:lnTo>
                  <a:lnTo>
                    <a:pt x="4744491" y="480060"/>
                  </a:lnTo>
                  <a:lnTo>
                    <a:pt x="4746904" y="480060"/>
                  </a:lnTo>
                  <a:lnTo>
                    <a:pt x="4745545" y="483870"/>
                  </a:lnTo>
                  <a:lnTo>
                    <a:pt x="4743170" y="486410"/>
                  </a:lnTo>
                  <a:lnTo>
                    <a:pt x="4738827" y="487680"/>
                  </a:lnTo>
                  <a:lnTo>
                    <a:pt x="4737074" y="486410"/>
                  </a:lnTo>
                  <a:lnTo>
                    <a:pt x="4733607" y="478790"/>
                  </a:lnTo>
                  <a:lnTo>
                    <a:pt x="4729086" y="483870"/>
                  </a:lnTo>
                  <a:lnTo>
                    <a:pt x="4724527" y="486410"/>
                  </a:lnTo>
                  <a:lnTo>
                    <a:pt x="4719980" y="480060"/>
                  </a:lnTo>
                  <a:lnTo>
                    <a:pt x="4715408" y="481330"/>
                  </a:lnTo>
                  <a:lnTo>
                    <a:pt x="4710900" y="486410"/>
                  </a:lnTo>
                  <a:lnTo>
                    <a:pt x="4709998" y="485140"/>
                  </a:lnTo>
                  <a:lnTo>
                    <a:pt x="4706340" y="480060"/>
                  </a:lnTo>
                  <a:lnTo>
                    <a:pt x="4704854" y="478790"/>
                  </a:lnTo>
                  <a:lnTo>
                    <a:pt x="4703356" y="477520"/>
                  </a:lnTo>
                  <a:lnTo>
                    <a:pt x="4702022" y="475818"/>
                  </a:lnTo>
                  <a:lnTo>
                    <a:pt x="4703242" y="473710"/>
                  </a:lnTo>
                  <a:lnTo>
                    <a:pt x="4704727" y="471170"/>
                  </a:lnTo>
                  <a:lnTo>
                    <a:pt x="4711014" y="473710"/>
                  </a:lnTo>
                  <a:lnTo>
                    <a:pt x="4708296" y="471170"/>
                  </a:lnTo>
                  <a:lnTo>
                    <a:pt x="4706925" y="469900"/>
                  </a:lnTo>
                  <a:lnTo>
                    <a:pt x="4702835" y="466090"/>
                  </a:lnTo>
                  <a:lnTo>
                    <a:pt x="4709185" y="463550"/>
                  </a:lnTo>
                  <a:lnTo>
                    <a:pt x="4702454" y="458470"/>
                  </a:lnTo>
                  <a:lnTo>
                    <a:pt x="4710798" y="459740"/>
                  </a:lnTo>
                  <a:lnTo>
                    <a:pt x="4706696" y="455930"/>
                  </a:lnTo>
                  <a:lnTo>
                    <a:pt x="4709604" y="453390"/>
                  </a:lnTo>
                  <a:lnTo>
                    <a:pt x="4698733" y="456057"/>
                  </a:lnTo>
                  <a:lnTo>
                    <a:pt x="4698733" y="473710"/>
                  </a:lnTo>
                  <a:lnTo>
                    <a:pt x="4697387" y="473710"/>
                  </a:lnTo>
                  <a:lnTo>
                    <a:pt x="4695710" y="471170"/>
                  </a:lnTo>
                  <a:lnTo>
                    <a:pt x="4698733" y="473710"/>
                  </a:lnTo>
                  <a:lnTo>
                    <a:pt x="4698733" y="456057"/>
                  </a:lnTo>
                  <a:lnTo>
                    <a:pt x="4688814" y="458470"/>
                  </a:lnTo>
                  <a:lnTo>
                    <a:pt x="4682261" y="453390"/>
                  </a:lnTo>
                  <a:lnTo>
                    <a:pt x="4686503" y="454660"/>
                  </a:lnTo>
                  <a:lnTo>
                    <a:pt x="4686478" y="453390"/>
                  </a:lnTo>
                  <a:lnTo>
                    <a:pt x="4686427" y="450850"/>
                  </a:lnTo>
                  <a:lnTo>
                    <a:pt x="4686389" y="449580"/>
                  </a:lnTo>
                  <a:lnTo>
                    <a:pt x="4691062" y="452120"/>
                  </a:lnTo>
                  <a:lnTo>
                    <a:pt x="4690491" y="449580"/>
                  </a:lnTo>
                  <a:lnTo>
                    <a:pt x="4689919" y="447040"/>
                  </a:lnTo>
                  <a:lnTo>
                    <a:pt x="4697019" y="444500"/>
                  </a:lnTo>
                  <a:lnTo>
                    <a:pt x="4689627" y="443230"/>
                  </a:lnTo>
                  <a:lnTo>
                    <a:pt x="4682083" y="439420"/>
                  </a:lnTo>
                  <a:lnTo>
                    <a:pt x="4690923" y="436880"/>
                  </a:lnTo>
                  <a:lnTo>
                    <a:pt x="4688040" y="434340"/>
                  </a:lnTo>
                  <a:lnTo>
                    <a:pt x="4691939" y="430530"/>
                  </a:lnTo>
                  <a:lnTo>
                    <a:pt x="4681512" y="426720"/>
                  </a:lnTo>
                  <a:lnTo>
                    <a:pt x="4685385" y="424180"/>
                  </a:lnTo>
                  <a:lnTo>
                    <a:pt x="4681055" y="421640"/>
                  </a:lnTo>
                  <a:lnTo>
                    <a:pt x="4678908" y="415290"/>
                  </a:lnTo>
                  <a:lnTo>
                    <a:pt x="4678604" y="403860"/>
                  </a:lnTo>
                  <a:lnTo>
                    <a:pt x="4677003" y="401320"/>
                  </a:lnTo>
                  <a:lnTo>
                    <a:pt x="4675860" y="407670"/>
                  </a:lnTo>
                  <a:lnTo>
                    <a:pt x="4674603" y="421640"/>
                  </a:lnTo>
                  <a:lnTo>
                    <a:pt x="4671009" y="422910"/>
                  </a:lnTo>
                  <a:lnTo>
                    <a:pt x="4668634" y="424180"/>
                  </a:lnTo>
                  <a:lnTo>
                    <a:pt x="4674768" y="430530"/>
                  </a:lnTo>
                  <a:lnTo>
                    <a:pt x="4665396" y="429260"/>
                  </a:lnTo>
                  <a:lnTo>
                    <a:pt x="4668698" y="433070"/>
                  </a:lnTo>
                  <a:lnTo>
                    <a:pt x="4665269" y="434340"/>
                  </a:lnTo>
                  <a:lnTo>
                    <a:pt x="4659617" y="431800"/>
                  </a:lnTo>
                  <a:lnTo>
                    <a:pt x="4664443" y="438150"/>
                  </a:lnTo>
                  <a:lnTo>
                    <a:pt x="4659185" y="441960"/>
                  </a:lnTo>
                  <a:lnTo>
                    <a:pt x="4667059" y="443230"/>
                  </a:lnTo>
                  <a:lnTo>
                    <a:pt x="4659858" y="445770"/>
                  </a:lnTo>
                  <a:lnTo>
                    <a:pt x="4655439" y="448310"/>
                  </a:lnTo>
                  <a:lnTo>
                    <a:pt x="4661776" y="449580"/>
                  </a:lnTo>
                  <a:lnTo>
                    <a:pt x="4659287" y="453390"/>
                  </a:lnTo>
                  <a:lnTo>
                    <a:pt x="4666361" y="452120"/>
                  </a:lnTo>
                  <a:lnTo>
                    <a:pt x="4666373" y="457200"/>
                  </a:lnTo>
                  <a:lnTo>
                    <a:pt x="4672279" y="452120"/>
                  </a:lnTo>
                  <a:lnTo>
                    <a:pt x="4673752" y="450850"/>
                  </a:lnTo>
                  <a:lnTo>
                    <a:pt x="4669345" y="458470"/>
                  </a:lnTo>
                  <a:lnTo>
                    <a:pt x="4650765" y="452120"/>
                  </a:lnTo>
                  <a:lnTo>
                    <a:pt x="4654893" y="457200"/>
                  </a:lnTo>
                  <a:lnTo>
                    <a:pt x="4649343" y="457200"/>
                  </a:lnTo>
                  <a:lnTo>
                    <a:pt x="4653750" y="461010"/>
                  </a:lnTo>
                  <a:lnTo>
                    <a:pt x="4654664" y="462280"/>
                  </a:lnTo>
                  <a:lnTo>
                    <a:pt x="4655248" y="463550"/>
                  </a:lnTo>
                  <a:lnTo>
                    <a:pt x="4647184" y="464820"/>
                  </a:lnTo>
                  <a:lnTo>
                    <a:pt x="4652835" y="469900"/>
                  </a:lnTo>
                  <a:lnTo>
                    <a:pt x="4652442" y="474980"/>
                  </a:lnTo>
                  <a:lnTo>
                    <a:pt x="4659858" y="469900"/>
                  </a:lnTo>
                  <a:lnTo>
                    <a:pt x="4659769" y="473710"/>
                  </a:lnTo>
                  <a:lnTo>
                    <a:pt x="4667516" y="473710"/>
                  </a:lnTo>
                  <a:lnTo>
                    <a:pt x="4658118" y="476250"/>
                  </a:lnTo>
                  <a:lnTo>
                    <a:pt x="4657433" y="476250"/>
                  </a:lnTo>
                  <a:lnTo>
                    <a:pt x="4655121" y="477050"/>
                  </a:lnTo>
                  <a:lnTo>
                    <a:pt x="4655121" y="485140"/>
                  </a:lnTo>
                  <a:lnTo>
                    <a:pt x="4654181" y="488950"/>
                  </a:lnTo>
                  <a:lnTo>
                    <a:pt x="4653254" y="491490"/>
                  </a:lnTo>
                  <a:lnTo>
                    <a:pt x="4653077" y="490220"/>
                  </a:lnTo>
                  <a:lnTo>
                    <a:pt x="4652327" y="485140"/>
                  </a:lnTo>
                  <a:lnTo>
                    <a:pt x="4655121" y="485140"/>
                  </a:lnTo>
                  <a:lnTo>
                    <a:pt x="4655121" y="477050"/>
                  </a:lnTo>
                  <a:lnTo>
                    <a:pt x="4649978" y="478790"/>
                  </a:lnTo>
                  <a:lnTo>
                    <a:pt x="4648733" y="473710"/>
                  </a:lnTo>
                  <a:lnTo>
                    <a:pt x="4647489" y="471170"/>
                  </a:lnTo>
                  <a:lnTo>
                    <a:pt x="4646244" y="472440"/>
                  </a:lnTo>
                  <a:lnTo>
                    <a:pt x="4645012" y="480060"/>
                  </a:lnTo>
                  <a:lnTo>
                    <a:pt x="4642637" y="487680"/>
                  </a:lnTo>
                  <a:lnTo>
                    <a:pt x="4640199" y="490220"/>
                  </a:lnTo>
                  <a:lnTo>
                    <a:pt x="4638510" y="483870"/>
                  </a:lnTo>
                  <a:lnTo>
                    <a:pt x="4637824" y="481330"/>
                  </a:lnTo>
                  <a:lnTo>
                    <a:pt x="4636046" y="480060"/>
                  </a:lnTo>
                  <a:lnTo>
                    <a:pt x="4634255" y="476250"/>
                  </a:lnTo>
                  <a:lnTo>
                    <a:pt x="4632464" y="477520"/>
                  </a:lnTo>
                  <a:lnTo>
                    <a:pt x="4630674" y="483870"/>
                  </a:lnTo>
                  <a:lnTo>
                    <a:pt x="4628896" y="469900"/>
                  </a:lnTo>
                  <a:lnTo>
                    <a:pt x="4627130" y="469900"/>
                  </a:lnTo>
                  <a:lnTo>
                    <a:pt x="4625352" y="477520"/>
                  </a:lnTo>
                  <a:lnTo>
                    <a:pt x="4623486" y="487680"/>
                  </a:lnTo>
                  <a:lnTo>
                    <a:pt x="4621225" y="497840"/>
                  </a:lnTo>
                  <a:lnTo>
                    <a:pt x="4619955" y="492760"/>
                  </a:lnTo>
                  <a:lnTo>
                    <a:pt x="4619002" y="488950"/>
                  </a:lnTo>
                  <a:lnTo>
                    <a:pt x="4618672" y="487680"/>
                  </a:lnTo>
                  <a:lnTo>
                    <a:pt x="4616285" y="483870"/>
                  </a:lnTo>
                  <a:lnTo>
                    <a:pt x="4614507" y="488950"/>
                  </a:lnTo>
                  <a:lnTo>
                    <a:pt x="4612716" y="486410"/>
                  </a:lnTo>
                  <a:lnTo>
                    <a:pt x="4610925" y="482600"/>
                  </a:lnTo>
                  <a:lnTo>
                    <a:pt x="4609135" y="488950"/>
                  </a:lnTo>
                  <a:lnTo>
                    <a:pt x="4600372" y="481330"/>
                  </a:lnTo>
                  <a:lnTo>
                    <a:pt x="4603928" y="481330"/>
                  </a:lnTo>
                  <a:lnTo>
                    <a:pt x="4606315" y="482600"/>
                  </a:lnTo>
                  <a:lnTo>
                    <a:pt x="4607890" y="483870"/>
                  </a:lnTo>
                  <a:lnTo>
                    <a:pt x="4607344" y="481330"/>
                  </a:lnTo>
                  <a:lnTo>
                    <a:pt x="4606239" y="476250"/>
                  </a:lnTo>
                  <a:lnTo>
                    <a:pt x="4615243" y="481330"/>
                  </a:lnTo>
                  <a:lnTo>
                    <a:pt x="4614723" y="476250"/>
                  </a:lnTo>
                  <a:lnTo>
                    <a:pt x="4614583" y="474980"/>
                  </a:lnTo>
                  <a:lnTo>
                    <a:pt x="4619853" y="474980"/>
                  </a:lnTo>
                  <a:lnTo>
                    <a:pt x="4614761" y="471170"/>
                  </a:lnTo>
                  <a:lnTo>
                    <a:pt x="4611281" y="469900"/>
                  </a:lnTo>
                  <a:lnTo>
                    <a:pt x="4609566" y="469900"/>
                  </a:lnTo>
                  <a:lnTo>
                    <a:pt x="4606087" y="468630"/>
                  </a:lnTo>
                  <a:lnTo>
                    <a:pt x="4597222" y="463550"/>
                  </a:lnTo>
                  <a:lnTo>
                    <a:pt x="4599102" y="459740"/>
                  </a:lnTo>
                  <a:lnTo>
                    <a:pt x="4605833" y="466090"/>
                  </a:lnTo>
                  <a:lnTo>
                    <a:pt x="4606785" y="459740"/>
                  </a:lnTo>
                  <a:lnTo>
                    <a:pt x="4606963" y="458470"/>
                  </a:lnTo>
                  <a:lnTo>
                    <a:pt x="4612856" y="466090"/>
                  </a:lnTo>
                  <a:lnTo>
                    <a:pt x="4610862" y="458470"/>
                  </a:lnTo>
                  <a:lnTo>
                    <a:pt x="4619993" y="462280"/>
                  </a:lnTo>
                  <a:lnTo>
                    <a:pt x="4617974" y="458470"/>
                  </a:lnTo>
                  <a:lnTo>
                    <a:pt x="4616628" y="455930"/>
                  </a:lnTo>
                  <a:lnTo>
                    <a:pt x="4622228" y="455930"/>
                  </a:lnTo>
                  <a:lnTo>
                    <a:pt x="4604296" y="449580"/>
                  </a:lnTo>
                  <a:lnTo>
                    <a:pt x="4597108" y="447040"/>
                  </a:lnTo>
                  <a:lnTo>
                    <a:pt x="4603343" y="443230"/>
                  </a:lnTo>
                  <a:lnTo>
                    <a:pt x="4597184" y="439420"/>
                  </a:lnTo>
                  <a:lnTo>
                    <a:pt x="4595825" y="438150"/>
                  </a:lnTo>
                  <a:lnTo>
                    <a:pt x="4593094" y="435610"/>
                  </a:lnTo>
                  <a:lnTo>
                    <a:pt x="4598670" y="438150"/>
                  </a:lnTo>
                  <a:lnTo>
                    <a:pt x="4607039" y="440690"/>
                  </a:lnTo>
                  <a:lnTo>
                    <a:pt x="4604524" y="435610"/>
                  </a:lnTo>
                  <a:lnTo>
                    <a:pt x="4609160" y="434340"/>
                  </a:lnTo>
                  <a:lnTo>
                    <a:pt x="4595266" y="427990"/>
                  </a:lnTo>
                  <a:lnTo>
                    <a:pt x="4599991" y="422910"/>
                  </a:lnTo>
                  <a:lnTo>
                    <a:pt x="4593653" y="419100"/>
                  </a:lnTo>
                  <a:lnTo>
                    <a:pt x="4594542" y="416560"/>
                  </a:lnTo>
                  <a:lnTo>
                    <a:pt x="4590466" y="412750"/>
                  </a:lnTo>
                  <a:lnTo>
                    <a:pt x="4591812" y="411480"/>
                  </a:lnTo>
                  <a:lnTo>
                    <a:pt x="4589627" y="408940"/>
                  </a:lnTo>
                  <a:lnTo>
                    <a:pt x="4588281" y="397510"/>
                  </a:lnTo>
                  <a:lnTo>
                    <a:pt x="4586414" y="410210"/>
                  </a:lnTo>
                  <a:lnTo>
                    <a:pt x="4583950" y="412750"/>
                  </a:lnTo>
                  <a:lnTo>
                    <a:pt x="4585335" y="416560"/>
                  </a:lnTo>
                  <a:lnTo>
                    <a:pt x="4579569" y="419100"/>
                  </a:lnTo>
                  <a:lnTo>
                    <a:pt x="4580255" y="421640"/>
                  </a:lnTo>
                  <a:lnTo>
                    <a:pt x="4572305" y="424180"/>
                  </a:lnTo>
                  <a:lnTo>
                    <a:pt x="4584065" y="426720"/>
                  </a:lnTo>
                  <a:lnTo>
                    <a:pt x="4568164" y="434340"/>
                  </a:lnTo>
                  <a:lnTo>
                    <a:pt x="4574248" y="436880"/>
                  </a:lnTo>
                  <a:lnTo>
                    <a:pt x="4570806" y="440690"/>
                  </a:lnTo>
                  <a:lnTo>
                    <a:pt x="4576813" y="439420"/>
                  </a:lnTo>
                  <a:lnTo>
                    <a:pt x="4582388" y="438150"/>
                  </a:lnTo>
                  <a:lnTo>
                    <a:pt x="4577562" y="440690"/>
                  </a:lnTo>
                  <a:lnTo>
                    <a:pt x="4571123" y="443230"/>
                  </a:lnTo>
                  <a:lnTo>
                    <a:pt x="4567999" y="447040"/>
                  </a:lnTo>
                  <a:lnTo>
                    <a:pt x="4575289" y="447040"/>
                  </a:lnTo>
                  <a:lnTo>
                    <a:pt x="4572355" y="450850"/>
                  </a:lnTo>
                  <a:lnTo>
                    <a:pt x="4577816" y="449580"/>
                  </a:lnTo>
                  <a:lnTo>
                    <a:pt x="4579683" y="452120"/>
                  </a:lnTo>
                  <a:lnTo>
                    <a:pt x="4576534" y="453390"/>
                  </a:lnTo>
                  <a:lnTo>
                    <a:pt x="4571847" y="457200"/>
                  </a:lnTo>
                  <a:lnTo>
                    <a:pt x="4554575" y="464820"/>
                  </a:lnTo>
                  <a:lnTo>
                    <a:pt x="4562195" y="464820"/>
                  </a:lnTo>
                  <a:lnTo>
                    <a:pt x="4561217" y="466090"/>
                  </a:lnTo>
                  <a:lnTo>
                    <a:pt x="4560748" y="467360"/>
                  </a:lnTo>
                  <a:lnTo>
                    <a:pt x="4559770" y="468630"/>
                  </a:lnTo>
                  <a:lnTo>
                    <a:pt x="4566983" y="464820"/>
                  </a:lnTo>
                  <a:lnTo>
                    <a:pt x="4566221" y="471170"/>
                  </a:lnTo>
                  <a:lnTo>
                    <a:pt x="4571352" y="464820"/>
                  </a:lnTo>
                  <a:lnTo>
                    <a:pt x="4575924" y="464820"/>
                  </a:lnTo>
                  <a:lnTo>
                    <a:pt x="4573854" y="469900"/>
                  </a:lnTo>
                  <a:lnTo>
                    <a:pt x="4564596" y="474980"/>
                  </a:lnTo>
                  <a:lnTo>
                    <a:pt x="4563491" y="475538"/>
                  </a:lnTo>
                  <a:lnTo>
                    <a:pt x="4563491" y="485140"/>
                  </a:lnTo>
                  <a:lnTo>
                    <a:pt x="4561192" y="487680"/>
                  </a:lnTo>
                  <a:lnTo>
                    <a:pt x="4556963" y="488950"/>
                  </a:lnTo>
                  <a:lnTo>
                    <a:pt x="4555337" y="485140"/>
                  </a:lnTo>
                  <a:lnTo>
                    <a:pt x="4563491" y="485140"/>
                  </a:lnTo>
                  <a:lnTo>
                    <a:pt x="4563491" y="475538"/>
                  </a:lnTo>
                  <a:lnTo>
                    <a:pt x="4559528" y="477520"/>
                  </a:lnTo>
                  <a:lnTo>
                    <a:pt x="4563300" y="480060"/>
                  </a:lnTo>
                  <a:lnTo>
                    <a:pt x="4555287" y="485013"/>
                  </a:lnTo>
                  <a:lnTo>
                    <a:pt x="4553712" y="481330"/>
                  </a:lnTo>
                  <a:lnTo>
                    <a:pt x="4552048" y="491490"/>
                  </a:lnTo>
                  <a:lnTo>
                    <a:pt x="4550080" y="492760"/>
                  </a:lnTo>
                  <a:lnTo>
                    <a:pt x="4546803" y="488950"/>
                  </a:lnTo>
                  <a:lnTo>
                    <a:pt x="4543526" y="491490"/>
                  </a:lnTo>
                  <a:lnTo>
                    <a:pt x="4540237" y="495300"/>
                  </a:lnTo>
                  <a:lnTo>
                    <a:pt x="4536935" y="497840"/>
                  </a:lnTo>
                  <a:lnTo>
                    <a:pt x="4534624" y="497840"/>
                  </a:lnTo>
                  <a:lnTo>
                    <a:pt x="4533468" y="499110"/>
                  </a:lnTo>
                  <a:lnTo>
                    <a:pt x="4533785" y="497840"/>
                  </a:lnTo>
                  <a:lnTo>
                    <a:pt x="4529696" y="495300"/>
                  </a:lnTo>
                  <a:lnTo>
                    <a:pt x="4531055" y="494030"/>
                  </a:lnTo>
                  <a:lnTo>
                    <a:pt x="4528871" y="490220"/>
                  </a:lnTo>
                  <a:lnTo>
                    <a:pt x="4527524" y="480060"/>
                  </a:lnTo>
                  <a:lnTo>
                    <a:pt x="4525657" y="491490"/>
                  </a:lnTo>
                  <a:lnTo>
                    <a:pt x="4523194" y="494030"/>
                  </a:lnTo>
                  <a:lnTo>
                    <a:pt x="4524578" y="497840"/>
                  </a:lnTo>
                  <a:lnTo>
                    <a:pt x="4522330" y="499110"/>
                  </a:lnTo>
                  <a:lnTo>
                    <a:pt x="4520577" y="495300"/>
                  </a:lnTo>
                  <a:lnTo>
                    <a:pt x="4517047" y="502920"/>
                  </a:lnTo>
                  <a:lnTo>
                    <a:pt x="4515282" y="501650"/>
                  </a:lnTo>
                  <a:lnTo>
                    <a:pt x="4513453" y="496570"/>
                  </a:lnTo>
                  <a:lnTo>
                    <a:pt x="4511637" y="487680"/>
                  </a:lnTo>
                  <a:lnTo>
                    <a:pt x="4509833" y="486410"/>
                  </a:lnTo>
                  <a:lnTo>
                    <a:pt x="4508004" y="501650"/>
                  </a:lnTo>
                  <a:lnTo>
                    <a:pt x="4504410" y="488950"/>
                  </a:lnTo>
                  <a:lnTo>
                    <a:pt x="4500791" y="485140"/>
                  </a:lnTo>
                  <a:lnTo>
                    <a:pt x="4497171" y="488950"/>
                  </a:lnTo>
                  <a:lnTo>
                    <a:pt x="4493539" y="501650"/>
                  </a:lnTo>
                  <a:lnTo>
                    <a:pt x="4491748" y="492760"/>
                  </a:lnTo>
                  <a:lnTo>
                    <a:pt x="4489958" y="486410"/>
                  </a:lnTo>
                  <a:lnTo>
                    <a:pt x="4488167" y="486410"/>
                  </a:lnTo>
                  <a:lnTo>
                    <a:pt x="4486364" y="501650"/>
                  </a:lnTo>
                  <a:lnTo>
                    <a:pt x="4484548" y="500380"/>
                  </a:lnTo>
                  <a:lnTo>
                    <a:pt x="4482731" y="497840"/>
                  </a:lnTo>
                  <a:lnTo>
                    <a:pt x="4480903" y="499110"/>
                  </a:lnTo>
                  <a:lnTo>
                    <a:pt x="4479087" y="505460"/>
                  </a:lnTo>
                  <a:lnTo>
                    <a:pt x="4476737" y="505460"/>
                  </a:lnTo>
                  <a:lnTo>
                    <a:pt x="4474324" y="502920"/>
                  </a:lnTo>
                  <a:lnTo>
                    <a:pt x="4471886" y="508000"/>
                  </a:lnTo>
                  <a:lnTo>
                    <a:pt x="4470095" y="506730"/>
                  </a:lnTo>
                  <a:lnTo>
                    <a:pt x="4468292" y="502920"/>
                  </a:lnTo>
                  <a:lnTo>
                    <a:pt x="4466488" y="501650"/>
                  </a:lnTo>
                  <a:lnTo>
                    <a:pt x="4464659" y="509270"/>
                  </a:lnTo>
                  <a:lnTo>
                    <a:pt x="4462310" y="516890"/>
                  </a:lnTo>
                  <a:lnTo>
                    <a:pt x="4459859" y="509270"/>
                  </a:lnTo>
                  <a:lnTo>
                    <a:pt x="4457471" y="509270"/>
                  </a:lnTo>
                  <a:lnTo>
                    <a:pt x="4455084" y="518160"/>
                  </a:lnTo>
                  <a:lnTo>
                    <a:pt x="4452658" y="514350"/>
                  </a:lnTo>
                  <a:lnTo>
                    <a:pt x="4451464" y="511810"/>
                  </a:lnTo>
                  <a:lnTo>
                    <a:pt x="4450270" y="509270"/>
                  </a:lnTo>
                  <a:lnTo>
                    <a:pt x="4445470" y="511810"/>
                  </a:lnTo>
                  <a:lnTo>
                    <a:pt x="4440618" y="509270"/>
                  </a:lnTo>
                  <a:lnTo>
                    <a:pt x="4435856" y="511810"/>
                  </a:lnTo>
                  <a:lnTo>
                    <a:pt x="4431042" y="518160"/>
                  </a:lnTo>
                  <a:lnTo>
                    <a:pt x="4426242" y="513080"/>
                  </a:lnTo>
                  <a:lnTo>
                    <a:pt x="4421505" y="513080"/>
                  </a:lnTo>
                  <a:lnTo>
                    <a:pt x="4420705" y="511810"/>
                  </a:lnTo>
                  <a:lnTo>
                    <a:pt x="4419905" y="510540"/>
                  </a:lnTo>
                  <a:lnTo>
                    <a:pt x="4416704" y="505460"/>
                  </a:lnTo>
                  <a:lnTo>
                    <a:pt x="4411942" y="510540"/>
                  </a:lnTo>
                  <a:lnTo>
                    <a:pt x="4407141" y="509270"/>
                  </a:lnTo>
                  <a:lnTo>
                    <a:pt x="4405312" y="511810"/>
                  </a:lnTo>
                  <a:lnTo>
                    <a:pt x="4403458" y="506730"/>
                  </a:lnTo>
                  <a:lnTo>
                    <a:pt x="4401655" y="502920"/>
                  </a:lnTo>
                  <a:lnTo>
                    <a:pt x="4399991" y="508000"/>
                  </a:lnTo>
                  <a:lnTo>
                    <a:pt x="4398073" y="519430"/>
                  </a:lnTo>
                  <a:lnTo>
                    <a:pt x="4396295" y="524510"/>
                  </a:lnTo>
                  <a:lnTo>
                    <a:pt x="4394581" y="523240"/>
                  </a:lnTo>
                  <a:lnTo>
                    <a:pt x="4394289" y="521970"/>
                  </a:lnTo>
                  <a:lnTo>
                    <a:pt x="4392841" y="515620"/>
                  </a:lnTo>
                  <a:lnTo>
                    <a:pt x="4392358" y="513080"/>
                  </a:lnTo>
                  <a:lnTo>
                    <a:pt x="4390415" y="502920"/>
                  </a:lnTo>
                  <a:lnTo>
                    <a:pt x="4388066" y="506730"/>
                  </a:lnTo>
                  <a:lnTo>
                    <a:pt x="4385716" y="513080"/>
                  </a:lnTo>
                  <a:lnTo>
                    <a:pt x="4383900" y="504190"/>
                  </a:lnTo>
                  <a:lnTo>
                    <a:pt x="4382109" y="502920"/>
                  </a:lnTo>
                  <a:lnTo>
                    <a:pt x="4380319" y="506730"/>
                  </a:lnTo>
                  <a:lnTo>
                    <a:pt x="4378528" y="516890"/>
                  </a:lnTo>
                  <a:lnTo>
                    <a:pt x="4373816" y="521970"/>
                  </a:lnTo>
                  <a:lnTo>
                    <a:pt x="4369003" y="520700"/>
                  </a:lnTo>
                  <a:lnTo>
                    <a:pt x="4364317" y="518160"/>
                  </a:lnTo>
                  <a:lnTo>
                    <a:pt x="4360761" y="523240"/>
                  </a:lnTo>
                  <a:lnTo>
                    <a:pt x="4353687" y="516890"/>
                  </a:lnTo>
                  <a:lnTo>
                    <a:pt x="4350143" y="521970"/>
                  </a:lnTo>
                  <a:lnTo>
                    <a:pt x="4345419" y="530860"/>
                  </a:lnTo>
                  <a:lnTo>
                    <a:pt x="4339526" y="524510"/>
                  </a:lnTo>
                  <a:lnTo>
                    <a:pt x="4336021" y="520700"/>
                  </a:lnTo>
                  <a:lnTo>
                    <a:pt x="4335704" y="519430"/>
                  </a:lnTo>
                  <a:lnTo>
                    <a:pt x="4333138" y="509270"/>
                  </a:lnTo>
                  <a:lnTo>
                    <a:pt x="4330255" y="514350"/>
                  </a:lnTo>
                  <a:lnTo>
                    <a:pt x="4327436" y="519430"/>
                  </a:lnTo>
                  <a:lnTo>
                    <a:pt x="4325290" y="513080"/>
                  </a:lnTo>
                  <a:lnTo>
                    <a:pt x="4323156" y="510540"/>
                  </a:lnTo>
                  <a:lnTo>
                    <a:pt x="4321048" y="511810"/>
                  </a:lnTo>
                  <a:lnTo>
                    <a:pt x="4318965" y="520700"/>
                  </a:lnTo>
                  <a:lnTo>
                    <a:pt x="4316844" y="510540"/>
                  </a:lnTo>
                  <a:lnTo>
                    <a:pt x="4314723" y="516890"/>
                  </a:lnTo>
                  <a:lnTo>
                    <a:pt x="4312602" y="524510"/>
                  </a:lnTo>
                  <a:lnTo>
                    <a:pt x="4310469" y="523240"/>
                  </a:lnTo>
                  <a:lnTo>
                    <a:pt x="4308399" y="529590"/>
                  </a:lnTo>
                  <a:lnTo>
                    <a:pt x="4306316" y="533400"/>
                  </a:lnTo>
                  <a:lnTo>
                    <a:pt x="4304233" y="532130"/>
                  </a:lnTo>
                  <a:lnTo>
                    <a:pt x="4303941" y="530860"/>
                  </a:lnTo>
                  <a:lnTo>
                    <a:pt x="4302163" y="523240"/>
                  </a:lnTo>
                  <a:lnTo>
                    <a:pt x="4299394" y="530860"/>
                  </a:lnTo>
                  <a:lnTo>
                    <a:pt x="4296638" y="528320"/>
                  </a:lnTo>
                  <a:lnTo>
                    <a:pt x="4295254" y="525780"/>
                  </a:lnTo>
                  <a:lnTo>
                    <a:pt x="4293870" y="523240"/>
                  </a:lnTo>
                  <a:lnTo>
                    <a:pt x="4291114" y="525780"/>
                  </a:lnTo>
                  <a:lnTo>
                    <a:pt x="4288383" y="520700"/>
                  </a:lnTo>
                  <a:lnTo>
                    <a:pt x="4285691" y="523240"/>
                  </a:lnTo>
                  <a:lnTo>
                    <a:pt x="4283646" y="524510"/>
                  </a:lnTo>
                  <a:lnTo>
                    <a:pt x="4281614" y="527050"/>
                  </a:lnTo>
                  <a:lnTo>
                    <a:pt x="4279570" y="528320"/>
                  </a:lnTo>
                  <a:lnTo>
                    <a:pt x="4278211" y="525780"/>
                  </a:lnTo>
                  <a:lnTo>
                    <a:pt x="4277525" y="524510"/>
                  </a:lnTo>
                  <a:lnTo>
                    <a:pt x="4275544" y="518160"/>
                  </a:lnTo>
                  <a:lnTo>
                    <a:pt x="4273550" y="513080"/>
                  </a:lnTo>
                  <a:lnTo>
                    <a:pt x="4271530" y="514350"/>
                  </a:lnTo>
                  <a:lnTo>
                    <a:pt x="4269498" y="525780"/>
                  </a:lnTo>
                  <a:lnTo>
                    <a:pt x="4266870" y="520700"/>
                  </a:lnTo>
                  <a:lnTo>
                    <a:pt x="4264190" y="521970"/>
                  </a:lnTo>
                  <a:lnTo>
                    <a:pt x="4261523" y="529590"/>
                  </a:lnTo>
                  <a:lnTo>
                    <a:pt x="4259554" y="537210"/>
                  </a:lnTo>
                  <a:lnTo>
                    <a:pt x="4257560" y="534670"/>
                  </a:lnTo>
                  <a:lnTo>
                    <a:pt x="4257065" y="533400"/>
                  </a:lnTo>
                  <a:lnTo>
                    <a:pt x="4256075" y="530860"/>
                  </a:lnTo>
                  <a:lnTo>
                    <a:pt x="4255579" y="529590"/>
                  </a:lnTo>
                  <a:lnTo>
                    <a:pt x="4253611" y="528320"/>
                  </a:lnTo>
                  <a:lnTo>
                    <a:pt x="4251655" y="530860"/>
                  </a:lnTo>
                  <a:lnTo>
                    <a:pt x="4247743" y="525780"/>
                  </a:lnTo>
                  <a:lnTo>
                    <a:pt x="4245800" y="529590"/>
                  </a:lnTo>
                  <a:lnTo>
                    <a:pt x="4243844" y="533400"/>
                  </a:lnTo>
                  <a:lnTo>
                    <a:pt x="4241889" y="530860"/>
                  </a:lnTo>
                  <a:lnTo>
                    <a:pt x="4241406" y="529590"/>
                  </a:lnTo>
                  <a:lnTo>
                    <a:pt x="4239946" y="525780"/>
                  </a:lnTo>
                  <a:lnTo>
                    <a:pt x="4237977" y="525780"/>
                  </a:lnTo>
                  <a:lnTo>
                    <a:pt x="4236059" y="529590"/>
                  </a:lnTo>
                  <a:lnTo>
                    <a:pt x="4234129" y="524510"/>
                  </a:lnTo>
                  <a:lnTo>
                    <a:pt x="4232186" y="520700"/>
                  </a:lnTo>
                  <a:lnTo>
                    <a:pt x="4230243" y="525780"/>
                  </a:lnTo>
                  <a:lnTo>
                    <a:pt x="4227741" y="530860"/>
                  </a:lnTo>
                  <a:lnTo>
                    <a:pt x="4225175" y="523240"/>
                  </a:lnTo>
                  <a:lnTo>
                    <a:pt x="4222635" y="527050"/>
                  </a:lnTo>
                  <a:lnTo>
                    <a:pt x="4220134" y="534670"/>
                  </a:lnTo>
                  <a:lnTo>
                    <a:pt x="4217581" y="539750"/>
                  </a:lnTo>
                  <a:lnTo>
                    <a:pt x="4216451" y="534670"/>
                  </a:lnTo>
                  <a:lnTo>
                    <a:pt x="4215600" y="530860"/>
                  </a:lnTo>
                  <a:lnTo>
                    <a:pt x="4215028" y="528320"/>
                  </a:lnTo>
                  <a:lnTo>
                    <a:pt x="4213199" y="527050"/>
                  </a:lnTo>
                  <a:lnTo>
                    <a:pt x="4211332" y="523240"/>
                  </a:lnTo>
                  <a:lnTo>
                    <a:pt x="4209453" y="520700"/>
                  </a:lnTo>
                  <a:lnTo>
                    <a:pt x="4207586" y="525780"/>
                  </a:lnTo>
                  <a:lnTo>
                    <a:pt x="4205719" y="528320"/>
                  </a:lnTo>
                  <a:lnTo>
                    <a:pt x="4205249" y="527050"/>
                  </a:lnTo>
                  <a:lnTo>
                    <a:pt x="4203852" y="523240"/>
                  </a:lnTo>
                  <a:lnTo>
                    <a:pt x="4201998" y="520700"/>
                  </a:lnTo>
                  <a:lnTo>
                    <a:pt x="4200144" y="525780"/>
                  </a:lnTo>
                  <a:lnTo>
                    <a:pt x="4198315" y="527050"/>
                  </a:lnTo>
                  <a:lnTo>
                    <a:pt x="4196473" y="524510"/>
                  </a:lnTo>
                  <a:lnTo>
                    <a:pt x="4194606" y="523240"/>
                  </a:lnTo>
                  <a:lnTo>
                    <a:pt x="4192752" y="525780"/>
                  </a:lnTo>
                  <a:lnTo>
                    <a:pt x="4190365" y="528320"/>
                  </a:lnTo>
                  <a:lnTo>
                    <a:pt x="4187863" y="530860"/>
                  </a:lnTo>
                  <a:lnTo>
                    <a:pt x="4186428" y="527050"/>
                  </a:lnTo>
                  <a:lnTo>
                    <a:pt x="4185462" y="524510"/>
                  </a:lnTo>
                  <a:lnTo>
                    <a:pt x="4183659" y="527050"/>
                  </a:lnTo>
                  <a:lnTo>
                    <a:pt x="4180014" y="519430"/>
                  </a:lnTo>
                  <a:lnTo>
                    <a:pt x="4178185" y="525780"/>
                  </a:lnTo>
                  <a:lnTo>
                    <a:pt x="4176433" y="530860"/>
                  </a:lnTo>
                  <a:lnTo>
                    <a:pt x="4174642" y="534670"/>
                  </a:lnTo>
                  <a:lnTo>
                    <a:pt x="4172851" y="534670"/>
                  </a:lnTo>
                  <a:lnTo>
                    <a:pt x="4172496" y="533400"/>
                  </a:lnTo>
                  <a:lnTo>
                    <a:pt x="4171785" y="530860"/>
                  </a:lnTo>
                  <a:lnTo>
                    <a:pt x="4171061" y="528320"/>
                  </a:lnTo>
                  <a:lnTo>
                    <a:pt x="4169295" y="530860"/>
                  </a:lnTo>
                  <a:lnTo>
                    <a:pt x="4167505" y="527050"/>
                  </a:lnTo>
                  <a:lnTo>
                    <a:pt x="4165727" y="523240"/>
                  </a:lnTo>
                  <a:lnTo>
                    <a:pt x="4163936" y="527050"/>
                  </a:lnTo>
                  <a:lnTo>
                    <a:pt x="4160393" y="523240"/>
                  </a:lnTo>
                  <a:lnTo>
                    <a:pt x="4156875" y="520700"/>
                  </a:lnTo>
                  <a:lnTo>
                    <a:pt x="4153382" y="520700"/>
                  </a:lnTo>
                  <a:lnTo>
                    <a:pt x="4149890" y="525780"/>
                  </a:lnTo>
                  <a:lnTo>
                    <a:pt x="4146423" y="527050"/>
                  </a:lnTo>
                  <a:lnTo>
                    <a:pt x="4139527" y="524510"/>
                  </a:lnTo>
                  <a:lnTo>
                    <a:pt x="4136098" y="524510"/>
                  </a:lnTo>
                  <a:lnTo>
                    <a:pt x="4133799" y="529590"/>
                  </a:lnTo>
                  <a:lnTo>
                    <a:pt x="4131538" y="533400"/>
                  </a:lnTo>
                  <a:lnTo>
                    <a:pt x="4130700" y="529590"/>
                  </a:lnTo>
                  <a:lnTo>
                    <a:pt x="4130421" y="528320"/>
                  </a:lnTo>
                  <a:lnTo>
                    <a:pt x="4129290" y="523240"/>
                  </a:lnTo>
                  <a:lnTo>
                    <a:pt x="4127589" y="523240"/>
                  </a:lnTo>
                  <a:lnTo>
                    <a:pt x="4124223" y="528320"/>
                  </a:lnTo>
                  <a:lnTo>
                    <a:pt x="4122547" y="525780"/>
                  </a:lnTo>
                  <a:lnTo>
                    <a:pt x="4119219" y="529590"/>
                  </a:lnTo>
                  <a:lnTo>
                    <a:pt x="4112603" y="520700"/>
                  </a:lnTo>
                  <a:lnTo>
                    <a:pt x="4109212" y="524510"/>
                  </a:lnTo>
                  <a:lnTo>
                    <a:pt x="4107116" y="533400"/>
                  </a:lnTo>
                  <a:lnTo>
                    <a:pt x="4104817" y="532130"/>
                  </a:lnTo>
                  <a:lnTo>
                    <a:pt x="4103890" y="528320"/>
                  </a:lnTo>
                  <a:lnTo>
                    <a:pt x="4103573" y="527050"/>
                  </a:lnTo>
                  <a:lnTo>
                    <a:pt x="4102951" y="524510"/>
                  </a:lnTo>
                  <a:lnTo>
                    <a:pt x="4102633" y="523240"/>
                  </a:lnTo>
                  <a:lnTo>
                    <a:pt x="4100474" y="519430"/>
                  </a:lnTo>
                  <a:lnTo>
                    <a:pt x="4098252" y="524510"/>
                  </a:lnTo>
                  <a:lnTo>
                    <a:pt x="4096080" y="524510"/>
                  </a:lnTo>
                  <a:lnTo>
                    <a:pt x="4093908" y="520700"/>
                  </a:lnTo>
                  <a:lnTo>
                    <a:pt x="4091762" y="524510"/>
                  </a:lnTo>
                  <a:lnTo>
                    <a:pt x="4091063" y="523240"/>
                  </a:lnTo>
                  <a:lnTo>
                    <a:pt x="4089666" y="520700"/>
                  </a:lnTo>
                  <a:lnTo>
                    <a:pt x="4088053" y="510540"/>
                  </a:lnTo>
                  <a:lnTo>
                    <a:pt x="4086441" y="509270"/>
                  </a:lnTo>
                  <a:lnTo>
                    <a:pt x="4084828" y="514350"/>
                  </a:lnTo>
                  <a:lnTo>
                    <a:pt x="4083227" y="523240"/>
                  </a:lnTo>
                  <a:lnTo>
                    <a:pt x="4078948" y="516890"/>
                  </a:lnTo>
                  <a:lnTo>
                    <a:pt x="4074744" y="527050"/>
                  </a:lnTo>
                  <a:lnTo>
                    <a:pt x="4070553" y="524510"/>
                  </a:lnTo>
                  <a:lnTo>
                    <a:pt x="4066375" y="523240"/>
                  </a:lnTo>
                  <a:lnTo>
                    <a:pt x="4062247" y="528320"/>
                  </a:lnTo>
                  <a:lnTo>
                    <a:pt x="4058145" y="523240"/>
                  </a:lnTo>
                  <a:lnTo>
                    <a:pt x="4057739" y="520700"/>
                  </a:lnTo>
                  <a:lnTo>
                    <a:pt x="4056100" y="510540"/>
                  </a:lnTo>
                  <a:lnTo>
                    <a:pt x="4054017" y="520700"/>
                  </a:lnTo>
                  <a:lnTo>
                    <a:pt x="4051973" y="520700"/>
                  </a:lnTo>
                  <a:lnTo>
                    <a:pt x="4049941" y="519430"/>
                  </a:lnTo>
                  <a:lnTo>
                    <a:pt x="4047947" y="511810"/>
                  </a:lnTo>
                  <a:lnTo>
                    <a:pt x="4045902" y="523240"/>
                  </a:lnTo>
                  <a:lnTo>
                    <a:pt x="4037863" y="520700"/>
                  </a:lnTo>
                  <a:lnTo>
                    <a:pt x="4033875" y="523240"/>
                  </a:lnTo>
                  <a:lnTo>
                    <a:pt x="4032389" y="528320"/>
                  </a:lnTo>
                  <a:lnTo>
                    <a:pt x="4030903" y="528320"/>
                  </a:lnTo>
                  <a:lnTo>
                    <a:pt x="4029418" y="525780"/>
                  </a:lnTo>
                  <a:lnTo>
                    <a:pt x="4027906" y="524510"/>
                  </a:lnTo>
                  <a:lnTo>
                    <a:pt x="4025976" y="527050"/>
                  </a:lnTo>
                  <a:lnTo>
                    <a:pt x="4023982" y="534670"/>
                  </a:lnTo>
                  <a:lnTo>
                    <a:pt x="4022585" y="524510"/>
                  </a:lnTo>
                  <a:lnTo>
                    <a:pt x="4022229" y="521970"/>
                  </a:lnTo>
                  <a:lnTo>
                    <a:pt x="4022052" y="520700"/>
                  </a:lnTo>
                  <a:lnTo>
                    <a:pt x="4018115" y="521970"/>
                  </a:lnTo>
                  <a:lnTo>
                    <a:pt x="4016832" y="519430"/>
                  </a:lnTo>
                  <a:lnTo>
                    <a:pt x="4014266" y="514350"/>
                  </a:lnTo>
                  <a:lnTo>
                    <a:pt x="4010406" y="519430"/>
                  </a:lnTo>
                  <a:lnTo>
                    <a:pt x="4010279" y="518160"/>
                  </a:lnTo>
                  <a:lnTo>
                    <a:pt x="4009225" y="508000"/>
                  </a:lnTo>
                  <a:lnTo>
                    <a:pt x="4008958" y="505460"/>
                  </a:lnTo>
                  <a:lnTo>
                    <a:pt x="4007497" y="500380"/>
                  </a:lnTo>
                  <a:lnTo>
                    <a:pt x="4006062" y="500380"/>
                  </a:lnTo>
                  <a:lnTo>
                    <a:pt x="4004640" y="504190"/>
                  </a:lnTo>
                  <a:lnTo>
                    <a:pt x="4002722" y="508000"/>
                  </a:lnTo>
                  <a:lnTo>
                    <a:pt x="4000843" y="506730"/>
                  </a:lnTo>
                  <a:lnTo>
                    <a:pt x="3998950" y="518160"/>
                  </a:lnTo>
                  <a:lnTo>
                    <a:pt x="3997541" y="505460"/>
                  </a:lnTo>
                  <a:lnTo>
                    <a:pt x="3996118" y="511810"/>
                  </a:lnTo>
                  <a:lnTo>
                    <a:pt x="3994696" y="519430"/>
                  </a:lnTo>
                  <a:lnTo>
                    <a:pt x="3993273" y="514350"/>
                  </a:lnTo>
                  <a:lnTo>
                    <a:pt x="3991914" y="508000"/>
                  </a:lnTo>
                  <a:lnTo>
                    <a:pt x="3990530" y="502920"/>
                  </a:lnTo>
                  <a:lnTo>
                    <a:pt x="3989120" y="501650"/>
                  </a:lnTo>
                  <a:lnTo>
                    <a:pt x="3987673" y="510540"/>
                  </a:lnTo>
                  <a:lnTo>
                    <a:pt x="3985006" y="524510"/>
                  </a:lnTo>
                  <a:lnTo>
                    <a:pt x="3982212" y="518160"/>
                  </a:lnTo>
                  <a:lnTo>
                    <a:pt x="3981805" y="516890"/>
                  </a:lnTo>
                  <a:lnTo>
                    <a:pt x="3979380" y="509270"/>
                  </a:lnTo>
                  <a:lnTo>
                    <a:pt x="3976573" y="514350"/>
                  </a:lnTo>
                  <a:lnTo>
                    <a:pt x="3973538" y="516890"/>
                  </a:lnTo>
                  <a:lnTo>
                    <a:pt x="3970502" y="515620"/>
                  </a:lnTo>
                  <a:lnTo>
                    <a:pt x="3968978" y="514350"/>
                  </a:lnTo>
                  <a:lnTo>
                    <a:pt x="3967454" y="513080"/>
                  </a:lnTo>
                  <a:lnTo>
                    <a:pt x="3964394" y="514350"/>
                  </a:lnTo>
                  <a:lnTo>
                    <a:pt x="3962362" y="506730"/>
                  </a:lnTo>
                  <a:lnTo>
                    <a:pt x="3960330" y="504190"/>
                  </a:lnTo>
                  <a:lnTo>
                    <a:pt x="3959923" y="502920"/>
                  </a:lnTo>
                  <a:lnTo>
                    <a:pt x="3958285" y="497840"/>
                  </a:lnTo>
                  <a:lnTo>
                    <a:pt x="3956240" y="502920"/>
                  </a:lnTo>
                  <a:lnTo>
                    <a:pt x="3954183" y="501650"/>
                  </a:lnTo>
                  <a:lnTo>
                    <a:pt x="3952113" y="510540"/>
                  </a:lnTo>
                  <a:lnTo>
                    <a:pt x="3950601" y="527050"/>
                  </a:lnTo>
                  <a:lnTo>
                    <a:pt x="3949077" y="534670"/>
                  </a:lnTo>
                  <a:lnTo>
                    <a:pt x="3947553" y="534670"/>
                  </a:lnTo>
                  <a:lnTo>
                    <a:pt x="3946004" y="528320"/>
                  </a:lnTo>
                  <a:lnTo>
                    <a:pt x="3945852" y="527050"/>
                  </a:lnTo>
                  <a:lnTo>
                    <a:pt x="3945090" y="520700"/>
                  </a:lnTo>
                  <a:lnTo>
                    <a:pt x="3944467" y="515620"/>
                  </a:lnTo>
                  <a:lnTo>
                    <a:pt x="3942931" y="510540"/>
                  </a:lnTo>
                  <a:lnTo>
                    <a:pt x="3939844" y="510540"/>
                  </a:lnTo>
                  <a:lnTo>
                    <a:pt x="3936695" y="516890"/>
                  </a:lnTo>
                  <a:lnTo>
                    <a:pt x="3933469" y="520700"/>
                  </a:lnTo>
                  <a:lnTo>
                    <a:pt x="3930319" y="519430"/>
                  </a:lnTo>
                  <a:lnTo>
                    <a:pt x="3928046" y="510540"/>
                  </a:lnTo>
                  <a:lnTo>
                    <a:pt x="3927386" y="508000"/>
                  </a:lnTo>
                  <a:lnTo>
                    <a:pt x="3924058" y="497840"/>
                  </a:lnTo>
                  <a:lnTo>
                    <a:pt x="3920947" y="502920"/>
                  </a:lnTo>
                  <a:lnTo>
                    <a:pt x="3917924" y="510540"/>
                  </a:lnTo>
                  <a:lnTo>
                    <a:pt x="3914851" y="506730"/>
                  </a:lnTo>
                  <a:lnTo>
                    <a:pt x="3911701" y="525780"/>
                  </a:lnTo>
                  <a:lnTo>
                    <a:pt x="3908552" y="527050"/>
                  </a:lnTo>
                  <a:lnTo>
                    <a:pt x="3905821" y="519430"/>
                  </a:lnTo>
                  <a:lnTo>
                    <a:pt x="3905377" y="518160"/>
                  </a:lnTo>
                  <a:lnTo>
                    <a:pt x="3902494" y="506730"/>
                  </a:lnTo>
                  <a:lnTo>
                    <a:pt x="3902164" y="505460"/>
                  </a:lnTo>
                  <a:lnTo>
                    <a:pt x="3895737" y="495300"/>
                  </a:lnTo>
                  <a:lnTo>
                    <a:pt x="3892499" y="496570"/>
                  </a:lnTo>
                  <a:lnTo>
                    <a:pt x="3889260" y="506730"/>
                  </a:lnTo>
                  <a:lnTo>
                    <a:pt x="3887647" y="506730"/>
                  </a:lnTo>
                  <a:lnTo>
                    <a:pt x="3886022" y="495300"/>
                  </a:lnTo>
                  <a:lnTo>
                    <a:pt x="3884384" y="488950"/>
                  </a:lnTo>
                  <a:lnTo>
                    <a:pt x="3882771" y="506730"/>
                  </a:lnTo>
                  <a:lnTo>
                    <a:pt x="3881145" y="516890"/>
                  </a:lnTo>
                  <a:lnTo>
                    <a:pt x="3879519" y="519430"/>
                  </a:lnTo>
                  <a:lnTo>
                    <a:pt x="3878275" y="515620"/>
                  </a:lnTo>
                  <a:lnTo>
                    <a:pt x="3877868" y="514350"/>
                  </a:lnTo>
                  <a:lnTo>
                    <a:pt x="3877462" y="511810"/>
                  </a:lnTo>
                  <a:lnTo>
                    <a:pt x="3876217" y="504190"/>
                  </a:lnTo>
                  <a:lnTo>
                    <a:pt x="3872903" y="496570"/>
                  </a:lnTo>
                  <a:lnTo>
                    <a:pt x="3871239" y="495300"/>
                  </a:lnTo>
                  <a:lnTo>
                    <a:pt x="3869575" y="504190"/>
                  </a:lnTo>
                  <a:lnTo>
                    <a:pt x="3867899" y="504190"/>
                  </a:lnTo>
                  <a:lnTo>
                    <a:pt x="3866248" y="509270"/>
                  </a:lnTo>
                  <a:lnTo>
                    <a:pt x="3864597" y="511810"/>
                  </a:lnTo>
                  <a:lnTo>
                    <a:pt x="3864368" y="510540"/>
                  </a:lnTo>
                  <a:lnTo>
                    <a:pt x="3862946" y="502920"/>
                  </a:lnTo>
                  <a:lnTo>
                    <a:pt x="3859555" y="505460"/>
                  </a:lnTo>
                  <a:lnTo>
                    <a:pt x="3856164" y="509270"/>
                  </a:lnTo>
                  <a:lnTo>
                    <a:pt x="3852773" y="510540"/>
                  </a:lnTo>
                  <a:lnTo>
                    <a:pt x="3849357" y="502920"/>
                  </a:lnTo>
                  <a:lnTo>
                    <a:pt x="3844785" y="501650"/>
                  </a:lnTo>
                  <a:lnTo>
                    <a:pt x="3840175" y="496570"/>
                  </a:lnTo>
                  <a:lnTo>
                    <a:pt x="3835527" y="505460"/>
                  </a:lnTo>
                  <a:lnTo>
                    <a:pt x="3833787" y="515620"/>
                  </a:lnTo>
                  <a:lnTo>
                    <a:pt x="3832910" y="514350"/>
                  </a:lnTo>
                  <a:lnTo>
                    <a:pt x="3832034" y="513080"/>
                  </a:lnTo>
                  <a:lnTo>
                    <a:pt x="3830866" y="508000"/>
                  </a:lnTo>
                  <a:lnTo>
                    <a:pt x="3830282" y="505460"/>
                  </a:lnTo>
                  <a:lnTo>
                    <a:pt x="3828516" y="502920"/>
                  </a:lnTo>
                  <a:lnTo>
                    <a:pt x="3826129" y="508000"/>
                  </a:lnTo>
                  <a:lnTo>
                    <a:pt x="3823817" y="497840"/>
                  </a:lnTo>
                  <a:lnTo>
                    <a:pt x="3821417" y="501650"/>
                  </a:lnTo>
                  <a:lnTo>
                    <a:pt x="3816667" y="508000"/>
                  </a:lnTo>
                  <a:lnTo>
                    <a:pt x="3811816" y="505460"/>
                  </a:lnTo>
                  <a:lnTo>
                    <a:pt x="3806964" y="500380"/>
                  </a:lnTo>
                  <a:lnTo>
                    <a:pt x="3805148" y="495300"/>
                  </a:lnTo>
                  <a:lnTo>
                    <a:pt x="3803307" y="492760"/>
                  </a:lnTo>
                  <a:lnTo>
                    <a:pt x="3801465" y="494030"/>
                  </a:lnTo>
                  <a:lnTo>
                    <a:pt x="3799611" y="500380"/>
                  </a:lnTo>
                  <a:lnTo>
                    <a:pt x="3797160" y="495300"/>
                  </a:lnTo>
                  <a:lnTo>
                    <a:pt x="3792156" y="500380"/>
                  </a:lnTo>
                  <a:lnTo>
                    <a:pt x="3789680" y="505460"/>
                  </a:lnTo>
                  <a:lnTo>
                    <a:pt x="3787152" y="502920"/>
                  </a:lnTo>
                  <a:lnTo>
                    <a:pt x="3784638" y="501650"/>
                  </a:lnTo>
                  <a:lnTo>
                    <a:pt x="3782110" y="495300"/>
                  </a:lnTo>
                  <a:lnTo>
                    <a:pt x="3779570" y="500380"/>
                  </a:lnTo>
                  <a:lnTo>
                    <a:pt x="3777005" y="501650"/>
                  </a:lnTo>
                  <a:lnTo>
                    <a:pt x="3774440" y="513080"/>
                  </a:lnTo>
                  <a:lnTo>
                    <a:pt x="3771862" y="514350"/>
                  </a:lnTo>
                  <a:lnTo>
                    <a:pt x="3770160" y="509270"/>
                  </a:lnTo>
                  <a:lnTo>
                    <a:pt x="3769728" y="508000"/>
                  </a:lnTo>
                  <a:lnTo>
                    <a:pt x="3769296" y="506730"/>
                  </a:lnTo>
                  <a:lnTo>
                    <a:pt x="3767353" y="506730"/>
                  </a:lnTo>
                  <a:lnTo>
                    <a:pt x="3765385" y="501650"/>
                  </a:lnTo>
                  <a:lnTo>
                    <a:pt x="3763429" y="496570"/>
                  </a:lnTo>
                  <a:lnTo>
                    <a:pt x="3759504" y="501650"/>
                  </a:lnTo>
                  <a:lnTo>
                    <a:pt x="3755529" y="496570"/>
                  </a:lnTo>
                  <a:lnTo>
                    <a:pt x="3753523" y="500380"/>
                  </a:lnTo>
                  <a:lnTo>
                    <a:pt x="3750856" y="508000"/>
                  </a:lnTo>
                  <a:lnTo>
                    <a:pt x="3748938" y="501650"/>
                  </a:lnTo>
                  <a:lnTo>
                    <a:pt x="3748163" y="499110"/>
                  </a:lnTo>
                  <a:lnTo>
                    <a:pt x="3745471" y="497840"/>
                  </a:lnTo>
                  <a:lnTo>
                    <a:pt x="3743452" y="496570"/>
                  </a:lnTo>
                  <a:lnTo>
                    <a:pt x="3739375" y="501650"/>
                  </a:lnTo>
                  <a:lnTo>
                    <a:pt x="3737318" y="499110"/>
                  </a:lnTo>
                  <a:lnTo>
                    <a:pt x="3736810" y="497840"/>
                  </a:lnTo>
                  <a:lnTo>
                    <a:pt x="3735273" y="494030"/>
                  </a:lnTo>
                  <a:lnTo>
                    <a:pt x="3733203" y="490220"/>
                  </a:lnTo>
                  <a:lnTo>
                    <a:pt x="3731133" y="488950"/>
                  </a:lnTo>
                  <a:lnTo>
                    <a:pt x="3729063" y="497840"/>
                  </a:lnTo>
                  <a:lnTo>
                    <a:pt x="3726256" y="488950"/>
                  </a:lnTo>
                  <a:lnTo>
                    <a:pt x="3720655" y="496570"/>
                  </a:lnTo>
                  <a:lnTo>
                    <a:pt x="3718547" y="508000"/>
                  </a:lnTo>
                  <a:lnTo>
                    <a:pt x="3716426" y="506730"/>
                  </a:lnTo>
                  <a:lnTo>
                    <a:pt x="3715994" y="505460"/>
                  </a:lnTo>
                  <a:lnTo>
                    <a:pt x="3714292" y="500380"/>
                  </a:lnTo>
                  <a:lnTo>
                    <a:pt x="3712159" y="497840"/>
                  </a:lnTo>
                  <a:lnTo>
                    <a:pt x="3710013" y="499110"/>
                  </a:lnTo>
                  <a:lnTo>
                    <a:pt x="3707854" y="502920"/>
                  </a:lnTo>
                  <a:lnTo>
                    <a:pt x="3705682" y="505460"/>
                  </a:lnTo>
                  <a:lnTo>
                    <a:pt x="3703510" y="497840"/>
                  </a:lnTo>
                  <a:lnTo>
                    <a:pt x="3701338" y="505460"/>
                  </a:lnTo>
                  <a:lnTo>
                    <a:pt x="3699154" y="499110"/>
                  </a:lnTo>
                  <a:lnTo>
                    <a:pt x="3698786" y="497840"/>
                  </a:lnTo>
                  <a:lnTo>
                    <a:pt x="3698417" y="496570"/>
                  </a:lnTo>
                  <a:lnTo>
                    <a:pt x="3696957" y="491490"/>
                  </a:lnTo>
                  <a:lnTo>
                    <a:pt x="3694760" y="496570"/>
                  </a:lnTo>
                  <a:lnTo>
                    <a:pt x="3693134" y="491490"/>
                  </a:lnTo>
                  <a:lnTo>
                    <a:pt x="3691496" y="494030"/>
                  </a:lnTo>
                  <a:lnTo>
                    <a:pt x="3689858" y="497840"/>
                  </a:lnTo>
                  <a:lnTo>
                    <a:pt x="3688194" y="496570"/>
                  </a:lnTo>
                  <a:lnTo>
                    <a:pt x="3686568" y="487680"/>
                  </a:lnTo>
                  <a:lnTo>
                    <a:pt x="3684930" y="487680"/>
                  </a:lnTo>
                  <a:lnTo>
                    <a:pt x="3683292" y="492760"/>
                  </a:lnTo>
                  <a:lnTo>
                    <a:pt x="3681666" y="499110"/>
                  </a:lnTo>
                  <a:lnTo>
                    <a:pt x="3680028" y="501650"/>
                  </a:lnTo>
                  <a:lnTo>
                    <a:pt x="3678390" y="506730"/>
                  </a:lnTo>
                  <a:lnTo>
                    <a:pt x="3676764" y="509270"/>
                  </a:lnTo>
                  <a:lnTo>
                    <a:pt x="3675138" y="505460"/>
                  </a:lnTo>
                  <a:lnTo>
                    <a:pt x="3673525" y="515620"/>
                  </a:lnTo>
                  <a:lnTo>
                    <a:pt x="3671913" y="514350"/>
                  </a:lnTo>
                  <a:lnTo>
                    <a:pt x="3670516" y="506730"/>
                  </a:lnTo>
                  <a:lnTo>
                    <a:pt x="3668903" y="497840"/>
                  </a:lnTo>
                  <a:lnTo>
                    <a:pt x="3668661" y="496570"/>
                  </a:lnTo>
                  <a:lnTo>
                    <a:pt x="3666528" y="497840"/>
                  </a:lnTo>
                  <a:lnTo>
                    <a:pt x="3664331" y="487680"/>
                  </a:lnTo>
                  <a:lnTo>
                    <a:pt x="3662184" y="497840"/>
                  </a:lnTo>
                  <a:lnTo>
                    <a:pt x="3660571" y="497840"/>
                  </a:lnTo>
                  <a:lnTo>
                    <a:pt x="3659759" y="496570"/>
                  </a:lnTo>
                  <a:lnTo>
                    <a:pt x="3657346" y="492760"/>
                  </a:lnTo>
                  <a:lnTo>
                    <a:pt x="3655733" y="496570"/>
                  </a:lnTo>
                  <a:lnTo>
                    <a:pt x="3654145" y="482600"/>
                  </a:lnTo>
                  <a:lnTo>
                    <a:pt x="3652532" y="480060"/>
                  </a:lnTo>
                  <a:lnTo>
                    <a:pt x="3650919" y="486410"/>
                  </a:lnTo>
                  <a:lnTo>
                    <a:pt x="3649281" y="499110"/>
                  </a:lnTo>
                  <a:lnTo>
                    <a:pt x="3647160" y="506730"/>
                  </a:lnTo>
                  <a:lnTo>
                    <a:pt x="3645027" y="506730"/>
                  </a:lnTo>
                  <a:lnTo>
                    <a:pt x="3644214" y="502920"/>
                  </a:lnTo>
                  <a:lnTo>
                    <a:pt x="3642855" y="496570"/>
                  </a:lnTo>
                  <a:lnTo>
                    <a:pt x="3641267" y="495300"/>
                  </a:lnTo>
                  <a:lnTo>
                    <a:pt x="3638080" y="502920"/>
                  </a:lnTo>
                  <a:lnTo>
                    <a:pt x="3636480" y="499110"/>
                  </a:lnTo>
                  <a:lnTo>
                    <a:pt x="3634892" y="504190"/>
                  </a:lnTo>
                  <a:lnTo>
                    <a:pt x="3633279" y="506730"/>
                  </a:lnTo>
                  <a:lnTo>
                    <a:pt x="3631679" y="505460"/>
                  </a:lnTo>
                  <a:lnTo>
                    <a:pt x="3630345" y="499110"/>
                  </a:lnTo>
                  <a:lnTo>
                    <a:pt x="3630079" y="497840"/>
                  </a:lnTo>
                  <a:lnTo>
                    <a:pt x="3626891" y="490220"/>
                  </a:lnTo>
                  <a:lnTo>
                    <a:pt x="3623716" y="494030"/>
                  </a:lnTo>
                  <a:lnTo>
                    <a:pt x="3620541" y="499110"/>
                  </a:lnTo>
                  <a:lnTo>
                    <a:pt x="3617328" y="496570"/>
                  </a:lnTo>
                  <a:lnTo>
                    <a:pt x="3614166" y="509270"/>
                  </a:lnTo>
                  <a:lnTo>
                    <a:pt x="3610991" y="515620"/>
                  </a:lnTo>
                  <a:lnTo>
                    <a:pt x="3607828" y="513080"/>
                  </a:lnTo>
                  <a:lnTo>
                    <a:pt x="3606469" y="505460"/>
                  </a:lnTo>
                  <a:lnTo>
                    <a:pt x="3606254" y="504190"/>
                  </a:lnTo>
                  <a:lnTo>
                    <a:pt x="3604666" y="495300"/>
                  </a:lnTo>
                  <a:lnTo>
                    <a:pt x="3601491" y="501650"/>
                  </a:lnTo>
                  <a:lnTo>
                    <a:pt x="3598316" y="504190"/>
                  </a:lnTo>
                  <a:lnTo>
                    <a:pt x="3595154" y="501650"/>
                  </a:lnTo>
                  <a:lnTo>
                    <a:pt x="3592004" y="496570"/>
                  </a:lnTo>
                  <a:lnTo>
                    <a:pt x="3588829" y="491490"/>
                  </a:lnTo>
                  <a:lnTo>
                    <a:pt x="3582505" y="496570"/>
                  </a:lnTo>
                  <a:lnTo>
                    <a:pt x="3579330" y="495300"/>
                  </a:lnTo>
                  <a:lnTo>
                    <a:pt x="3576218" y="488950"/>
                  </a:lnTo>
                  <a:lnTo>
                    <a:pt x="3573056" y="482600"/>
                  </a:lnTo>
                  <a:lnTo>
                    <a:pt x="3569868" y="482600"/>
                  </a:lnTo>
                  <a:lnTo>
                    <a:pt x="3566693" y="496570"/>
                  </a:lnTo>
                  <a:lnTo>
                    <a:pt x="3562502" y="501650"/>
                  </a:lnTo>
                  <a:lnTo>
                    <a:pt x="3558248" y="497840"/>
                  </a:lnTo>
                  <a:lnTo>
                    <a:pt x="3554069" y="496570"/>
                  </a:lnTo>
                  <a:lnTo>
                    <a:pt x="3547757" y="504190"/>
                  </a:lnTo>
                  <a:lnTo>
                    <a:pt x="3544608" y="504190"/>
                  </a:lnTo>
                  <a:lnTo>
                    <a:pt x="3541433" y="497840"/>
                  </a:lnTo>
                  <a:lnTo>
                    <a:pt x="3537191" y="505460"/>
                  </a:lnTo>
                  <a:lnTo>
                    <a:pt x="3533038" y="500380"/>
                  </a:lnTo>
                  <a:lnTo>
                    <a:pt x="3532886" y="499110"/>
                  </a:lnTo>
                  <a:lnTo>
                    <a:pt x="3532886" y="593090"/>
                  </a:lnTo>
                  <a:lnTo>
                    <a:pt x="5759983" y="593090"/>
                  </a:lnTo>
                  <a:lnTo>
                    <a:pt x="5759983" y="539750"/>
                  </a:lnTo>
                  <a:lnTo>
                    <a:pt x="5759983" y="537210"/>
                  </a:lnTo>
                  <a:lnTo>
                    <a:pt x="5759983" y="173990"/>
                  </a:lnTo>
                  <a:lnTo>
                    <a:pt x="5759424" y="171450"/>
                  </a:lnTo>
                  <a:lnTo>
                    <a:pt x="5759145" y="170180"/>
                  </a:lnTo>
                  <a:lnTo>
                    <a:pt x="5758383" y="169583"/>
                  </a:lnTo>
                  <a:lnTo>
                    <a:pt x="5758383" y="175260"/>
                  </a:lnTo>
                  <a:lnTo>
                    <a:pt x="5756084" y="175260"/>
                  </a:lnTo>
                  <a:lnTo>
                    <a:pt x="5754941" y="176530"/>
                  </a:lnTo>
                  <a:lnTo>
                    <a:pt x="5752643" y="176530"/>
                  </a:lnTo>
                  <a:lnTo>
                    <a:pt x="5750966" y="175260"/>
                  </a:lnTo>
                  <a:lnTo>
                    <a:pt x="5745162" y="167640"/>
                  </a:lnTo>
                  <a:lnTo>
                    <a:pt x="5743816" y="163830"/>
                  </a:lnTo>
                  <a:lnTo>
                    <a:pt x="5743981" y="163830"/>
                  </a:lnTo>
                  <a:lnTo>
                    <a:pt x="5750153" y="171450"/>
                  </a:lnTo>
                  <a:lnTo>
                    <a:pt x="5753163" y="173990"/>
                  </a:lnTo>
                  <a:lnTo>
                    <a:pt x="5754141" y="171450"/>
                  </a:lnTo>
                  <a:lnTo>
                    <a:pt x="5758383" y="175260"/>
                  </a:lnTo>
                  <a:lnTo>
                    <a:pt x="5758383" y="169583"/>
                  </a:lnTo>
                  <a:lnTo>
                    <a:pt x="5755906" y="167640"/>
                  </a:lnTo>
                  <a:lnTo>
                    <a:pt x="5756808" y="163830"/>
                  </a:lnTo>
                  <a:lnTo>
                    <a:pt x="5759577" y="165100"/>
                  </a:lnTo>
                  <a:lnTo>
                    <a:pt x="5758840" y="168910"/>
                  </a:lnTo>
                  <a:lnTo>
                    <a:pt x="5759983" y="168910"/>
                  </a:lnTo>
                  <a:lnTo>
                    <a:pt x="5759983" y="124460"/>
                  </a:lnTo>
                  <a:lnTo>
                    <a:pt x="5759793" y="124460"/>
                  </a:lnTo>
                  <a:lnTo>
                    <a:pt x="5759983" y="123190"/>
                  </a:lnTo>
                  <a:lnTo>
                    <a:pt x="5759983" y="105410"/>
                  </a:lnTo>
                  <a:lnTo>
                    <a:pt x="5759983" y="104140"/>
                  </a:lnTo>
                  <a:lnTo>
                    <a:pt x="5756795" y="103047"/>
                  </a:lnTo>
                  <a:lnTo>
                    <a:pt x="5756795" y="137160"/>
                  </a:lnTo>
                  <a:lnTo>
                    <a:pt x="5753887" y="140970"/>
                  </a:lnTo>
                  <a:lnTo>
                    <a:pt x="5750255" y="142240"/>
                  </a:lnTo>
                  <a:lnTo>
                    <a:pt x="5745480" y="138430"/>
                  </a:lnTo>
                  <a:lnTo>
                    <a:pt x="5744083" y="134620"/>
                  </a:lnTo>
                  <a:lnTo>
                    <a:pt x="5743143" y="132080"/>
                  </a:lnTo>
                  <a:lnTo>
                    <a:pt x="5743702" y="128270"/>
                  </a:lnTo>
                  <a:lnTo>
                    <a:pt x="5750242" y="135890"/>
                  </a:lnTo>
                  <a:lnTo>
                    <a:pt x="5750230" y="137160"/>
                  </a:lnTo>
                  <a:lnTo>
                    <a:pt x="5752185" y="138430"/>
                  </a:lnTo>
                  <a:lnTo>
                    <a:pt x="5751766" y="135890"/>
                  </a:lnTo>
                  <a:lnTo>
                    <a:pt x="5752630" y="134620"/>
                  </a:lnTo>
                  <a:lnTo>
                    <a:pt x="5753900" y="133350"/>
                  </a:lnTo>
                  <a:lnTo>
                    <a:pt x="5754332" y="137160"/>
                  </a:lnTo>
                  <a:lnTo>
                    <a:pt x="5756795" y="137160"/>
                  </a:lnTo>
                  <a:lnTo>
                    <a:pt x="5756795" y="103047"/>
                  </a:lnTo>
                  <a:lnTo>
                    <a:pt x="5752592" y="101600"/>
                  </a:lnTo>
                  <a:lnTo>
                    <a:pt x="5749633" y="97790"/>
                  </a:lnTo>
                  <a:lnTo>
                    <a:pt x="5744680" y="91440"/>
                  </a:lnTo>
                  <a:lnTo>
                    <a:pt x="5743600" y="86360"/>
                  </a:lnTo>
                  <a:lnTo>
                    <a:pt x="5746254" y="86360"/>
                  </a:lnTo>
                  <a:lnTo>
                    <a:pt x="5754763" y="97790"/>
                  </a:lnTo>
                  <a:lnTo>
                    <a:pt x="5755106" y="95250"/>
                  </a:lnTo>
                  <a:lnTo>
                    <a:pt x="5754560" y="91440"/>
                  </a:lnTo>
                  <a:lnTo>
                    <a:pt x="5755818" y="90170"/>
                  </a:lnTo>
                  <a:lnTo>
                    <a:pt x="5756973" y="92710"/>
                  </a:lnTo>
                  <a:lnTo>
                    <a:pt x="5757761" y="93980"/>
                  </a:lnTo>
                  <a:lnTo>
                    <a:pt x="5758231" y="93980"/>
                  </a:lnTo>
                  <a:lnTo>
                    <a:pt x="5759983" y="96520"/>
                  </a:lnTo>
                  <a:lnTo>
                    <a:pt x="5759983" y="90170"/>
                  </a:lnTo>
                  <a:lnTo>
                    <a:pt x="5759983" y="86360"/>
                  </a:lnTo>
                  <a:lnTo>
                    <a:pt x="5759983" y="81280"/>
                  </a:lnTo>
                  <a:lnTo>
                    <a:pt x="5750141" y="78740"/>
                  </a:lnTo>
                  <a:lnTo>
                    <a:pt x="5744210" y="73660"/>
                  </a:lnTo>
                  <a:lnTo>
                    <a:pt x="5744349" y="72390"/>
                  </a:lnTo>
                  <a:lnTo>
                    <a:pt x="5744476" y="71120"/>
                  </a:lnTo>
                  <a:lnTo>
                    <a:pt x="5751766" y="72390"/>
                  </a:lnTo>
                  <a:lnTo>
                    <a:pt x="5750471" y="71120"/>
                  </a:lnTo>
                  <a:lnTo>
                    <a:pt x="5745289" y="66040"/>
                  </a:lnTo>
                  <a:lnTo>
                    <a:pt x="5741390" y="62230"/>
                  </a:lnTo>
                  <a:lnTo>
                    <a:pt x="5747309" y="62230"/>
                  </a:lnTo>
                  <a:lnTo>
                    <a:pt x="5755208" y="66040"/>
                  </a:lnTo>
                  <a:lnTo>
                    <a:pt x="5755233" y="62230"/>
                  </a:lnTo>
                  <a:lnTo>
                    <a:pt x="5755259" y="58420"/>
                  </a:lnTo>
                  <a:lnTo>
                    <a:pt x="5759983" y="55880"/>
                  </a:lnTo>
                  <a:lnTo>
                    <a:pt x="5759983" y="54610"/>
                  </a:lnTo>
                  <a:close/>
                </a:path>
              </a:pathLst>
            </a:custGeom>
            <a:solidFill>
              <a:srgbClr val="001E1A">
                <a:alpha val="50000"/>
              </a:srgbClr>
            </a:solidFill>
          </p:spPr>
          <p:txBody>
            <a:bodyPr wrap="square" lIns="0" tIns="0" rIns="0" bIns="0" rtlCol="0"/>
            <a:lstStyle/>
            <a:p>
              <a:endParaRPr/>
            </a:p>
          </p:txBody>
        </p:sp>
        <p:sp>
          <p:nvSpPr>
            <p:cNvPr id="9" name="object 9"/>
            <p:cNvSpPr/>
            <p:nvPr/>
          </p:nvSpPr>
          <p:spPr>
            <a:xfrm>
              <a:off x="0" y="3953920"/>
              <a:ext cx="5760085" cy="603250"/>
            </a:xfrm>
            <a:custGeom>
              <a:avLst/>
              <a:gdLst/>
              <a:ahLst/>
              <a:cxnLst/>
              <a:rect l="l" t="t" r="r" b="b"/>
              <a:pathLst>
                <a:path w="5760085" h="603250">
                  <a:moveTo>
                    <a:pt x="0" y="295910"/>
                  </a:moveTo>
                  <a:lnTo>
                    <a:pt x="0" y="603250"/>
                  </a:lnTo>
                  <a:lnTo>
                    <a:pt x="5759996" y="603250"/>
                  </a:lnTo>
                  <a:lnTo>
                    <a:pt x="5759996" y="486410"/>
                  </a:lnTo>
                  <a:lnTo>
                    <a:pt x="4081578" y="486410"/>
                  </a:lnTo>
                  <a:lnTo>
                    <a:pt x="4078476" y="482600"/>
                  </a:lnTo>
                  <a:lnTo>
                    <a:pt x="1899817" y="482600"/>
                  </a:lnTo>
                  <a:lnTo>
                    <a:pt x="1892019" y="480060"/>
                  </a:lnTo>
                  <a:lnTo>
                    <a:pt x="1889730" y="474980"/>
                  </a:lnTo>
                  <a:lnTo>
                    <a:pt x="1844899" y="474980"/>
                  </a:lnTo>
                  <a:lnTo>
                    <a:pt x="1840218" y="471170"/>
                  </a:lnTo>
                  <a:lnTo>
                    <a:pt x="1836820" y="464820"/>
                  </a:lnTo>
                  <a:lnTo>
                    <a:pt x="1825747" y="464820"/>
                  </a:lnTo>
                  <a:lnTo>
                    <a:pt x="1823263" y="463550"/>
                  </a:lnTo>
                  <a:lnTo>
                    <a:pt x="1800134" y="463550"/>
                  </a:lnTo>
                  <a:lnTo>
                    <a:pt x="1794773" y="462280"/>
                  </a:lnTo>
                  <a:lnTo>
                    <a:pt x="1759918" y="462280"/>
                  </a:lnTo>
                  <a:lnTo>
                    <a:pt x="1755163" y="453390"/>
                  </a:lnTo>
                  <a:lnTo>
                    <a:pt x="1732633" y="453390"/>
                  </a:lnTo>
                  <a:lnTo>
                    <a:pt x="1731490" y="452120"/>
                  </a:lnTo>
                  <a:lnTo>
                    <a:pt x="1416182" y="452120"/>
                  </a:lnTo>
                  <a:lnTo>
                    <a:pt x="1410634" y="440690"/>
                  </a:lnTo>
                  <a:lnTo>
                    <a:pt x="1406279" y="403860"/>
                  </a:lnTo>
                  <a:lnTo>
                    <a:pt x="1374690" y="403860"/>
                  </a:lnTo>
                  <a:lnTo>
                    <a:pt x="1373866" y="400050"/>
                  </a:lnTo>
                  <a:lnTo>
                    <a:pt x="1356818" y="400050"/>
                  </a:lnTo>
                  <a:lnTo>
                    <a:pt x="1355109" y="397510"/>
                  </a:lnTo>
                  <a:lnTo>
                    <a:pt x="1206249" y="397510"/>
                  </a:lnTo>
                  <a:lnTo>
                    <a:pt x="1203008" y="388620"/>
                  </a:lnTo>
                  <a:lnTo>
                    <a:pt x="1199784" y="388620"/>
                  </a:lnTo>
                  <a:lnTo>
                    <a:pt x="1197370" y="381000"/>
                  </a:lnTo>
                  <a:lnTo>
                    <a:pt x="1114849" y="381000"/>
                  </a:lnTo>
                  <a:lnTo>
                    <a:pt x="1111009" y="374650"/>
                  </a:lnTo>
                  <a:lnTo>
                    <a:pt x="1107718" y="359410"/>
                  </a:lnTo>
                  <a:lnTo>
                    <a:pt x="1095709" y="359410"/>
                  </a:lnTo>
                  <a:lnTo>
                    <a:pt x="1091885" y="346710"/>
                  </a:lnTo>
                  <a:lnTo>
                    <a:pt x="1091645" y="345440"/>
                  </a:lnTo>
                  <a:lnTo>
                    <a:pt x="1084196" y="345440"/>
                  </a:lnTo>
                  <a:lnTo>
                    <a:pt x="1080347" y="334010"/>
                  </a:lnTo>
                  <a:lnTo>
                    <a:pt x="1079706" y="331470"/>
                  </a:lnTo>
                  <a:lnTo>
                    <a:pt x="1018860" y="331470"/>
                  </a:lnTo>
                  <a:lnTo>
                    <a:pt x="1015966" y="327660"/>
                  </a:lnTo>
                  <a:lnTo>
                    <a:pt x="66019" y="327660"/>
                  </a:lnTo>
                  <a:lnTo>
                    <a:pt x="63770" y="311150"/>
                  </a:lnTo>
                  <a:lnTo>
                    <a:pt x="1601" y="311150"/>
                  </a:lnTo>
                  <a:lnTo>
                    <a:pt x="0" y="295910"/>
                  </a:lnTo>
                  <a:close/>
                </a:path>
                <a:path w="5760085" h="603250">
                  <a:moveTo>
                    <a:pt x="4098174" y="455930"/>
                  </a:moveTo>
                  <a:lnTo>
                    <a:pt x="4094023" y="455930"/>
                  </a:lnTo>
                  <a:lnTo>
                    <a:pt x="4089863" y="461010"/>
                  </a:lnTo>
                  <a:lnTo>
                    <a:pt x="4085705" y="469900"/>
                  </a:lnTo>
                  <a:lnTo>
                    <a:pt x="4081578" y="486410"/>
                  </a:lnTo>
                  <a:lnTo>
                    <a:pt x="5759996" y="486410"/>
                  </a:lnTo>
                  <a:lnTo>
                    <a:pt x="5759996" y="478790"/>
                  </a:lnTo>
                  <a:lnTo>
                    <a:pt x="4178867" y="478790"/>
                  </a:lnTo>
                  <a:lnTo>
                    <a:pt x="4174532" y="476250"/>
                  </a:lnTo>
                  <a:lnTo>
                    <a:pt x="4172378" y="467360"/>
                  </a:lnTo>
                  <a:lnTo>
                    <a:pt x="4123236" y="467360"/>
                  </a:lnTo>
                  <a:lnTo>
                    <a:pt x="4119699" y="461010"/>
                  </a:lnTo>
                  <a:lnTo>
                    <a:pt x="4102304" y="461010"/>
                  </a:lnTo>
                  <a:lnTo>
                    <a:pt x="4098174" y="455930"/>
                  </a:lnTo>
                  <a:close/>
                </a:path>
                <a:path w="5760085" h="603250">
                  <a:moveTo>
                    <a:pt x="1928775" y="449580"/>
                  </a:moveTo>
                  <a:lnTo>
                    <a:pt x="1921823" y="454660"/>
                  </a:lnTo>
                  <a:lnTo>
                    <a:pt x="1914627" y="464820"/>
                  </a:lnTo>
                  <a:lnTo>
                    <a:pt x="1907366" y="476250"/>
                  </a:lnTo>
                  <a:lnTo>
                    <a:pt x="1899817" y="482600"/>
                  </a:lnTo>
                  <a:lnTo>
                    <a:pt x="4078476" y="482600"/>
                  </a:lnTo>
                  <a:lnTo>
                    <a:pt x="4077442" y="481330"/>
                  </a:lnTo>
                  <a:lnTo>
                    <a:pt x="3904981" y="481330"/>
                  </a:lnTo>
                  <a:lnTo>
                    <a:pt x="3901249" y="480060"/>
                  </a:lnTo>
                  <a:lnTo>
                    <a:pt x="3432648" y="480060"/>
                  </a:lnTo>
                  <a:lnTo>
                    <a:pt x="3431192" y="473710"/>
                  </a:lnTo>
                  <a:lnTo>
                    <a:pt x="1954704" y="473710"/>
                  </a:lnTo>
                  <a:lnTo>
                    <a:pt x="1948467" y="468630"/>
                  </a:lnTo>
                  <a:lnTo>
                    <a:pt x="1942047" y="463550"/>
                  </a:lnTo>
                  <a:lnTo>
                    <a:pt x="1935508" y="453390"/>
                  </a:lnTo>
                  <a:lnTo>
                    <a:pt x="1928775" y="449580"/>
                  </a:lnTo>
                  <a:close/>
                </a:path>
                <a:path w="5760085" h="603250">
                  <a:moveTo>
                    <a:pt x="3916166" y="450850"/>
                  </a:moveTo>
                  <a:lnTo>
                    <a:pt x="3912375" y="463550"/>
                  </a:lnTo>
                  <a:lnTo>
                    <a:pt x="3908698" y="473710"/>
                  </a:lnTo>
                  <a:lnTo>
                    <a:pt x="3904981" y="481330"/>
                  </a:lnTo>
                  <a:lnTo>
                    <a:pt x="3996953" y="481330"/>
                  </a:lnTo>
                  <a:lnTo>
                    <a:pt x="3992985" y="478790"/>
                  </a:lnTo>
                  <a:lnTo>
                    <a:pt x="3989449" y="468630"/>
                  </a:lnTo>
                  <a:lnTo>
                    <a:pt x="3935089" y="468630"/>
                  </a:lnTo>
                  <a:lnTo>
                    <a:pt x="3931281" y="466090"/>
                  </a:lnTo>
                  <a:lnTo>
                    <a:pt x="3930528" y="464820"/>
                  </a:lnTo>
                  <a:lnTo>
                    <a:pt x="3923738" y="464820"/>
                  </a:lnTo>
                  <a:lnTo>
                    <a:pt x="3919954" y="455930"/>
                  </a:lnTo>
                  <a:lnTo>
                    <a:pt x="3916166" y="450850"/>
                  </a:lnTo>
                  <a:close/>
                </a:path>
                <a:path w="5760085" h="603250">
                  <a:moveTo>
                    <a:pt x="4008802" y="462280"/>
                  </a:moveTo>
                  <a:lnTo>
                    <a:pt x="4004831" y="464820"/>
                  </a:lnTo>
                  <a:lnTo>
                    <a:pt x="4000903" y="474980"/>
                  </a:lnTo>
                  <a:lnTo>
                    <a:pt x="3996953" y="481330"/>
                  </a:lnTo>
                  <a:lnTo>
                    <a:pt x="4077442" y="481330"/>
                  </a:lnTo>
                  <a:lnTo>
                    <a:pt x="4076984" y="480060"/>
                  </a:lnTo>
                  <a:lnTo>
                    <a:pt x="4048905" y="480060"/>
                  </a:lnTo>
                  <a:lnTo>
                    <a:pt x="4044855" y="472440"/>
                  </a:lnTo>
                  <a:lnTo>
                    <a:pt x="4043843" y="469900"/>
                  </a:lnTo>
                  <a:lnTo>
                    <a:pt x="4032726" y="469900"/>
                  </a:lnTo>
                  <a:lnTo>
                    <a:pt x="4031005" y="466090"/>
                  </a:lnTo>
                  <a:lnTo>
                    <a:pt x="4016710" y="466090"/>
                  </a:lnTo>
                  <a:lnTo>
                    <a:pt x="4012764" y="464820"/>
                  </a:lnTo>
                  <a:lnTo>
                    <a:pt x="4008802" y="462280"/>
                  </a:lnTo>
                  <a:close/>
                </a:path>
                <a:path w="5760085" h="603250">
                  <a:moveTo>
                    <a:pt x="3454985" y="405130"/>
                  </a:moveTo>
                  <a:lnTo>
                    <a:pt x="3451791" y="411480"/>
                  </a:lnTo>
                  <a:lnTo>
                    <a:pt x="3448590" y="415290"/>
                  </a:lnTo>
                  <a:lnTo>
                    <a:pt x="3445380" y="420370"/>
                  </a:lnTo>
                  <a:lnTo>
                    <a:pt x="3442158" y="431800"/>
                  </a:lnTo>
                  <a:lnTo>
                    <a:pt x="3439005" y="463550"/>
                  </a:lnTo>
                  <a:lnTo>
                    <a:pt x="3435835" y="480060"/>
                  </a:lnTo>
                  <a:lnTo>
                    <a:pt x="3901249" y="480060"/>
                  </a:lnTo>
                  <a:lnTo>
                    <a:pt x="3899389" y="473710"/>
                  </a:lnTo>
                  <a:lnTo>
                    <a:pt x="3893855" y="473710"/>
                  </a:lnTo>
                  <a:lnTo>
                    <a:pt x="3893285" y="472440"/>
                  </a:lnTo>
                  <a:lnTo>
                    <a:pt x="3762139" y="472440"/>
                  </a:lnTo>
                  <a:lnTo>
                    <a:pt x="3758668" y="468630"/>
                  </a:lnTo>
                  <a:lnTo>
                    <a:pt x="3593701" y="468630"/>
                  </a:lnTo>
                  <a:lnTo>
                    <a:pt x="3590641" y="466090"/>
                  </a:lnTo>
                  <a:lnTo>
                    <a:pt x="3588981" y="458470"/>
                  </a:lnTo>
                  <a:lnTo>
                    <a:pt x="3511669" y="458470"/>
                  </a:lnTo>
                  <a:lnTo>
                    <a:pt x="3507073" y="454660"/>
                  </a:lnTo>
                  <a:lnTo>
                    <a:pt x="3504548" y="445770"/>
                  </a:lnTo>
                  <a:lnTo>
                    <a:pt x="3486710" y="445770"/>
                  </a:lnTo>
                  <a:lnTo>
                    <a:pt x="3477197" y="438150"/>
                  </a:lnTo>
                  <a:lnTo>
                    <a:pt x="3467672" y="438150"/>
                  </a:lnTo>
                  <a:lnTo>
                    <a:pt x="3464507" y="427990"/>
                  </a:lnTo>
                  <a:lnTo>
                    <a:pt x="3461338" y="420370"/>
                  </a:lnTo>
                  <a:lnTo>
                    <a:pt x="3458164" y="414020"/>
                  </a:lnTo>
                  <a:lnTo>
                    <a:pt x="3454985" y="405130"/>
                  </a:lnTo>
                  <a:close/>
                </a:path>
                <a:path w="5760085" h="603250">
                  <a:moveTo>
                    <a:pt x="4057037" y="463550"/>
                  </a:moveTo>
                  <a:lnTo>
                    <a:pt x="4052990" y="469900"/>
                  </a:lnTo>
                  <a:lnTo>
                    <a:pt x="4048905" y="480060"/>
                  </a:lnTo>
                  <a:lnTo>
                    <a:pt x="4076984" y="480060"/>
                  </a:lnTo>
                  <a:lnTo>
                    <a:pt x="4074238" y="472440"/>
                  </a:lnTo>
                  <a:lnTo>
                    <a:pt x="4065156" y="472440"/>
                  </a:lnTo>
                  <a:lnTo>
                    <a:pt x="4061089" y="467360"/>
                  </a:lnTo>
                  <a:lnTo>
                    <a:pt x="4057037" y="463550"/>
                  </a:lnTo>
                  <a:close/>
                </a:path>
                <a:path w="5760085" h="603250">
                  <a:moveTo>
                    <a:pt x="4187521" y="458470"/>
                  </a:moveTo>
                  <a:lnTo>
                    <a:pt x="4183205" y="471170"/>
                  </a:lnTo>
                  <a:lnTo>
                    <a:pt x="4178867" y="478790"/>
                  </a:lnTo>
                  <a:lnTo>
                    <a:pt x="5759996" y="478790"/>
                  </a:lnTo>
                  <a:lnTo>
                    <a:pt x="5759996" y="464820"/>
                  </a:lnTo>
                  <a:lnTo>
                    <a:pt x="4255307" y="464820"/>
                  </a:lnTo>
                  <a:lnTo>
                    <a:pt x="4249797" y="461010"/>
                  </a:lnTo>
                  <a:lnTo>
                    <a:pt x="4191940" y="461010"/>
                  </a:lnTo>
                  <a:lnTo>
                    <a:pt x="4187521" y="458470"/>
                  </a:lnTo>
                  <a:close/>
                </a:path>
                <a:path w="5760085" h="603250">
                  <a:moveTo>
                    <a:pt x="1849502" y="463550"/>
                  </a:moveTo>
                  <a:lnTo>
                    <a:pt x="1844899" y="474980"/>
                  </a:lnTo>
                  <a:lnTo>
                    <a:pt x="1889730" y="474980"/>
                  </a:lnTo>
                  <a:lnTo>
                    <a:pt x="1885152" y="464820"/>
                  </a:lnTo>
                  <a:lnTo>
                    <a:pt x="1854043" y="464820"/>
                  </a:lnTo>
                  <a:lnTo>
                    <a:pt x="1849502" y="463550"/>
                  </a:lnTo>
                  <a:close/>
                </a:path>
                <a:path w="5760085" h="603250">
                  <a:moveTo>
                    <a:pt x="1972622" y="462280"/>
                  </a:moveTo>
                  <a:lnTo>
                    <a:pt x="1966761" y="462280"/>
                  </a:lnTo>
                  <a:lnTo>
                    <a:pt x="1960790" y="473710"/>
                  </a:lnTo>
                  <a:lnTo>
                    <a:pt x="3431192" y="473710"/>
                  </a:lnTo>
                  <a:lnTo>
                    <a:pt x="3430027" y="468630"/>
                  </a:lnTo>
                  <a:lnTo>
                    <a:pt x="1983940" y="468630"/>
                  </a:lnTo>
                  <a:lnTo>
                    <a:pt x="1978332" y="467360"/>
                  </a:lnTo>
                  <a:lnTo>
                    <a:pt x="1972622" y="462280"/>
                  </a:lnTo>
                  <a:close/>
                </a:path>
                <a:path w="5760085" h="603250">
                  <a:moveTo>
                    <a:pt x="3897529" y="467360"/>
                  </a:moveTo>
                  <a:lnTo>
                    <a:pt x="3893855" y="473710"/>
                  </a:lnTo>
                  <a:lnTo>
                    <a:pt x="3899389" y="473710"/>
                  </a:lnTo>
                  <a:lnTo>
                    <a:pt x="3897529" y="467360"/>
                  </a:lnTo>
                  <a:close/>
                </a:path>
                <a:path w="5760085" h="603250">
                  <a:moveTo>
                    <a:pt x="3775950" y="450850"/>
                  </a:moveTo>
                  <a:lnTo>
                    <a:pt x="3768903" y="461010"/>
                  </a:lnTo>
                  <a:lnTo>
                    <a:pt x="3765570" y="469900"/>
                  </a:lnTo>
                  <a:lnTo>
                    <a:pt x="3762139" y="472440"/>
                  </a:lnTo>
                  <a:lnTo>
                    <a:pt x="3893285" y="472440"/>
                  </a:lnTo>
                  <a:lnTo>
                    <a:pt x="3892714" y="471170"/>
                  </a:lnTo>
                  <a:lnTo>
                    <a:pt x="3789701" y="471170"/>
                  </a:lnTo>
                  <a:lnTo>
                    <a:pt x="3775950" y="450850"/>
                  </a:lnTo>
                  <a:close/>
                </a:path>
                <a:path w="5760085" h="603250">
                  <a:moveTo>
                    <a:pt x="4069246" y="468630"/>
                  </a:moveTo>
                  <a:lnTo>
                    <a:pt x="4065156" y="472440"/>
                  </a:lnTo>
                  <a:lnTo>
                    <a:pt x="4074238" y="472440"/>
                  </a:lnTo>
                  <a:lnTo>
                    <a:pt x="4073323" y="469900"/>
                  </a:lnTo>
                  <a:lnTo>
                    <a:pt x="4069246" y="468630"/>
                  </a:lnTo>
                  <a:close/>
                </a:path>
                <a:path w="5760085" h="603250">
                  <a:moveTo>
                    <a:pt x="3796640" y="461010"/>
                  </a:moveTo>
                  <a:lnTo>
                    <a:pt x="3789701" y="471170"/>
                  </a:lnTo>
                  <a:lnTo>
                    <a:pt x="3817698" y="471170"/>
                  </a:lnTo>
                  <a:lnTo>
                    <a:pt x="3814177" y="468630"/>
                  </a:lnTo>
                  <a:lnTo>
                    <a:pt x="3800114" y="468630"/>
                  </a:lnTo>
                  <a:lnTo>
                    <a:pt x="3796640" y="461010"/>
                  </a:lnTo>
                  <a:close/>
                </a:path>
                <a:path w="5760085" h="603250">
                  <a:moveTo>
                    <a:pt x="3831947" y="458470"/>
                  </a:moveTo>
                  <a:lnTo>
                    <a:pt x="3824809" y="461010"/>
                  </a:lnTo>
                  <a:lnTo>
                    <a:pt x="3821241" y="467360"/>
                  </a:lnTo>
                  <a:lnTo>
                    <a:pt x="3817698" y="471170"/>
                  </a:lnTo>
                  <a:lnTo>
                    <a:pt x="3892714" y="471170"/>
                  </a:lnTo>
                  <a:lnTo>
                    <a:pt x="3890434" y="466090"/>
                  </a:lnTo>
                  <a:lnTo>
                    <a:pt x="3846272" y="466090"/>
                  </a:lnTo>
                  <a:lnTo>
                    <a:pt x="3839093" y="463550"/>
                  </a:lnTo>
                  <a:lnTo>
                    <a:pt x="3831947" y="458470"/>
                  </a:lnTo>
                  <a:close/>
                </a:path>
                <a:path w="5760085" h="603250">
                  <a:moveTo>
                    <a:pt x="4040806" y="462280"/>
                  </a:moveTo>
                  <a:lnTo>
                    <a:pt x="4036721" y="463550"/>
                  </a:lnTo>
                  <a:lnTo>
                    <a:pt x="4032726" y="469900"/>
                  </a:lnTo>
                  <a:lnTo>
                    <a:pt x="4043843" y="469900"/>
                  </a:lnTo>
                  <a:lnTo>
                    <a:pt x="4040806" y="462280"/>
                  </a:lnTo>
                  <a:close/>
                </a:path>
                <a:path w="5760085" h="603250">
                  <a:moveTo>
                    <a:pt x="2000098" y="440690"/>
                  </a:moveTo>
                  <a:lnTo>
                    <a:pt x="1994826" y="441960"/>
                  </a:lnTo>
                  <a:lnTo>
                    <a:pt x="1989494" y="458470"/>
                  </a:lnTo>
                  <a:lnTo>
                    <a:pt x="1983940" y="468630"/>
                  </a:lnTo>
                  <a:lnTo>
                    <a:pt x="3430027" y="468630"/>
                  </a:lnTo>
                  <a:lnTo>
                    <a:pt x="3429445" y="466090"/>
                  </a:lnTo>
                  <a:lnTo>
                    <a:pt x="3351505" y="466090"/>
                  </a:lnTo>
                  <a:lnTo>
                    <a:pt x="3348426" y="457200"/>
                  </a:lnTo>
                  <a:lnTo>
                    <a:pt x="2010474" y="457200"/>
                  </a:lnTo>
                  <a:lnTo>
                    <a:pt x="2005314" y="447040"/>
                  </a:lnTo>
                  <a:lnTo>
                    <a:pt x="2000098" y="440690"/>
                  </a:lnTo>
                  <a:close/>
                </a:path>
                <a:path w="5760085" h="603250">
                  <a:moveTo>
                    <a:pt x="3599803" y="458470"/>
                  </a:moveTo>
                  <a:lnTo>
                    <a:pt x="3596760" y="464820"/>
                  </a:lnTo>
                  <a:lnTo>
                    <a:pt x="3593701" y="468630"/>
                  </a:lnTo>
                  <a:lnTo>
                    <a:pt x="3609109" y="468630"/>
                  </a:lnTo>
                  <a:lnTo>
                    <a:pt x="3606015" y="467360"/>
                  </a:lnTo>
                  <a:lnTo>
                    <a:pt x="3602913" y="461010"/>
                  </a:lnTo>
                  <a:lnTo>
                    <a:pt x="3599803" y="458470"/>
                  </a:lnTo>
                  <a:close/>
                </a:path>
                <a:path w="5760085" h="603250">
                  <a:moveTo>
                    <a:pt x="3624670" y="453390"/>
                  </a:moveTo>
                  <a:lnTo>
                    <a:pt x="3612198" y="455930"/>
                  </a:lnTo>
                  <a:lnTo>
                    <a:pt x="3609109" y="468630"/>
                  </a:lnTo>
                  <a:lnTo>
                    <a:pt x="3758668" y="468630"/>
                  </a:lnTo>
                  <a:lnTo>
                    <a:pt x="3756509" y="462280"/>
                  </a:lnTo>
                  <a:lnTo>
                    <a:pt x="3669094" y="462280"/>
                  </a:lnTo>
                  <a:lnTo>
                    <a:pt x="3662693" y="458470"/>
                  </a:lnTo>
                  <a:lnTo>
                    <a:pt x="3662051" y="455930"/>
                  </a:lnTo>
                  <a:lnTo>
                    <a:pt x="3637217" y="455930"/>
                  </a:lnTo>
                  <a:lnTo>
                    <a:pt x="3624670" y="453390"/>
                  </a:lnTo>
                  <a:close/>
                </a:path>
                <a:path w="5760085" h="603250">
                  <a:moveTo>
                    <a:pt x="3807122" y="455930"/>
                  </a:moveTo>
                  <a:lnTo>
                    <a:pt x="3803605" y="463550"/>
                  </a:lnTo>
                  <a:lnTo>
                    <a:pt x="3800114" y="468630"/>
                  </a:lnTo>
                  <a:lnTo>
                    <a:pt x="3814177" y="468630"/>
                  </a:lnTo>
                  <a:lnTo>
                    <a:pt x="3810674" y="458470"/>
                  </a:lnTo>
                  <a:lnTo>
                    <a:pt x="3807122" y="455930"/>
                  </a:lnTo>
                  <a:close/>
                </a:path>
                <a:path w="5760085" h="603250">
                  <a:moveTo>
                    <a:pt x="3946518" y="457200"/>
                  </a:moveTo>
                  <a:lnTo>
                    <a:pt x="3942665" y="461010"/>
                  </a:lnTo>
                  <a:lnTo>
                    <a:pt x="3938897" y="466090"/>
                  </a:lnTo>
                  <a:lnTo>
                    <a:pt x="3935089" y="468630"/>
                  </a:lnTo>
                  <a:lnTo>
                    <a:pt x="3989449" y="468630"/>
                  </a:lnTo>
                  <a:lnTo>
                    <a:pt x="3989007" y="467360"/>
                  </a:lnTo>
                  <a:lnTo>
                    <a:pt x="3969621" y="467360"/>
                  </a:lnTo>
                  <a:lnTo>
                    <a:pt x="3968514" y="464820"/>
                  </a:lnTo>
                  <a:lnTo>
                    <a:pt x="3954234" y="464820"/>
                  </a:lnTo>
                  <a:lnTo>
                    <a:pt x="3950383" y="459740"/>
                  </a:lnTo>
                  <a:lnTo>
                    <a:pt x="3946518" y="457200"/>
                  </a:lnTo>
                  <a:close/>
                </a:path>
                <a:path w="5760085" h="603250">
                  <a:moveTo>
                    <a:pt x="3977393" y="453390"/>
                  </a:moveTo>
                  <a:lnTo>
                    <a:pt x="3973526" y="463550"/>
                  </a:lnTo>
                  <a:lnTo>
                    <a:pt x="3969621" y="467360"/>
                  </a:lnTo>
                  <a:lnTo>
                    <a:pt x="3989007" y="467360"/>
                  </a:lnTo>
                  <a:lnTo>
                    <a:pt x="3985176" y="466090"/>
                  </a:lnTo>
                  <a:lnTo>
                    <a:pt x="3981290" y="457200"/>
                  </a:lnTo>
                  <a:lnTo>
                    <a:pt x="3977393" y="453390"/>
                  </a:lnTo>
                  <a:close/>
                </a:path>
                <a:path w="5760085" h="603250">
                  <a:moveTo>
                    <a:pt x="4140193" y="457200"/>
                  </a:moveTo>
                  <a:lnTo>
                    <a:pt x="4131715" y="459740"/>
                  </a:lnTo>
                  <a:lnTo>
                    <a:pt x="4127475" y="464820"/>
                  </a:lnTo>
                  <a:lnTo>
                    <a:pt x="4123236" y="467360"/>
                  </a:lnTo>
                  <a:lnTo>
                    <a:pt x="4161600" y="467360"/>
                  </a:lnTo>
                  <a:lnTo>
                    <a:pt x="4157293" y="463550"/>
                  </a:lnTo>
                  <a:lnTo>
                    <a:pt x="4154703" y="459740"/>
                  </a:lnTo>
                  <a:lnTo>
                    <a:pt x="4148700" y="459740"/>
                  </a:lnTo>
                  <a:lnTo>
                    <a:pt x="4140193" y="457200"/>
                  </a:lnTo>
                  <a:close/>
                </a:path>
                <a:path w="5760085" h="603250">
                  <a:moveTo>
                    <a:pt x="4170223" y="458470"/>
                  </a:moveTo>
                  <a:lnTo>
                    <a:pt x="4165907" y="466090"/>
                  </a:lnTo>
                  <a:lnTo>
                    <a:pt x="4161600" y="467360"/>
                  </a:lnTo>
                  <a:lnTo>
                    <a:pt x="4172378" y="467360"/>
                  </a:lnTo>
                  <a:lnTo>
                    <a:pt x="4170223" y="458470"/>
                  </a:lnTo>
                  <a:close/>
                </a:path>
                <a:path w="5760085" h="603250">
                  <a:moveTo>
                    <a:pt x="3364637" y="422910"/>
                  </a:moveTo>
                  <a:lnTo>
                    <a:pt x="3358076" y="463550"/>
                  </a:lnTo>
                  <a:lnTo>
                    <a:pt x="3351505" y="466090"/>
                  </a:lnTo>
                  <a:lnTo>
                    <a:pt x="3429445" y="466090"/>
                  </a:lnTo>
                  <a:lnTo>
                    <a:pt x="3427843" y="453390"/>
                  </a:lnTo>
                  <a:lnTo>
                    <a:pt x="3403332" y="453390"/>
                  </a:lnTo>
                  <a:lnTo>
                    <a:pt x="3396792" y="449580"/>
                  </a:lnTo>
                  <a:lnTo>
                    <a:pt x="3392001" y="430530"/>
                  </a:lnTo>
                  <a:lnTo>
                    <a:pt x="3371015" y="430530"/>
                  </a:lnTo>
                  <a:lnTo>
                    <a:pt x="3364637" y="422910"/>
                  </a:lnTo>
                  <a:close/>
                </a:path>
                <a:path w="5760085" h="603250">
                  <a:moveTo>
                    <a:pt x="3868022" y="450850"/>
                  </a:moveTo>
                  <a:lnTo>
                    <a:pt x="3860754" y="452120"/>
                  </a:lnTo>
                  <a:lnTo>
                    <a:pt x="3853511" y="462280"/>
                  </a:lnTo>
                  <a:lnTo>
                    <a:pt x="3846272" y="466090"/>
                  </a:lnTo>
                  <a:lnTo>
                    <a:pt x="3890434" y="466090"/>
                  </a:lnTo>
                  <a:lnTo>
                    <a:pt x="3889294" y="463550"/>
                  </a:lnTo>
                  <a:lnTo>
                    <a:pt x="3882734" y="463550"/>
                  </a:lnTo>
                  <a:lnTo>
                    <a:pt x="3875340" y="455930"/>
                  </a:lnTo>
                  <a:lnTo>
                    <a:pt x="3868022" y="450850"/>
                  </a:lnTo>
                  <a:close/>
                </a:path>
                <a:path w="5760085" h="603250">
                  <a:moveTo>
                    <a:pt x="4024675" y="453390"/>
                  </a:moveTo>
                  <a:lnTo>
                    <a:pt x="4020630" y="463550"/>
                  </a:lnTo>
                  <a:lnTo>
                    <a:pt x="4016710" y="466090"/>
                  </a:lnTo>
                  <a:lnTo>
                    <a:pt x="4031005" y="466090"/>
                  </a:lnTo>
                  <a:lnTo>
                    <a:pt x="4028709" y="461010"/>
                  </a:lnTo>
                  <a:lnTo>
                    <a:pt x="4024675" y="453390"/>
                  </a:lnTo>
                  <a:close/>
                </a:path>
                <a:path w="5760085" h="603250">
                  <a:moveTo>
                    <a:pt x="1830629" y="455930"/>
                  </a:moveTo>
                  <a:lnTo>
                    <a:pt x="1825747" y="464820"/>
                  </a:lnTo>
                  <a:lnTo>
                    <a:pt x="1836820" y="464820"/>
                  </a:lnTo>
                  <a:lnTo>
                    <a:pt x="1835461" y="462280"/>
                  </a:lnTo>
                  <a:lnTo>
                    <a:pt x="1830629" y="455930"/>
                  </a:lnTo>
                  <a:close/>
                </a:path>
                <a:path w="5760085" h="603250">
                  <a:moveTo>
                    <a:pt x="1862934" y="453390"/>
                  </a:moveTo>
                  <a:lnTo>
                    <a:pt x="1858520" y="458470"/>
                  </a:lnTo>
                  <a:lnTo>
                    <a:pt x="1854043" y="464820"/>
                  </a:lnTo>
                  <a:lnTo>
                    <a:pt x="1885152" y="464820"/>
                  </a:lnTo>
                  <a:lnTo>
                    <a:pt x="1884580" y="463550"/>
                  </a:lnTo>
                  <a:lnTo>
                    <a:pt x="1867282" y="463550"/>
                  </a:lnTo>
                  <a:lnTo>
                    <a:pt x="1862934" y="453390"/>
                  </a:lnTo>
                  <a:close/>
                </a:path>
                <a:path w="5760085" h="603250">
                  <a:moveTo>
                    <a:pt x="3927514" y="459740"/>
                  </a:moveTo>
                  <a:lnTo>
                    <a:pt x="3923738" y="464820"/>
                  </a:lnTo>
                  <a:lnTo>
                    <a:pt x="3930528" y="464820"/>
                  </a:lnTo>
                  <a:lnTo>
                    <a:pt x="3927514" y="459740"/>
                  </a:lnTo>
                  <a:close/>
                </a:path>
                <a:path w="5760085" h="603250">
                  <a:moveTo>
                    <a:pt x="3961892" y="452120"/>
                  </a:moveTo>
                  <a:lnTo>
                    <a:pt x="3958045" y="461010"/>
                  </a:lnTo>
                  <a:lnTo>
                    <a:pt x="3954234" y="464820"/>
                  </a:lnTo>
                  <a:lnTo>
                    <a:pt x="3968514" y="464820"/>
                  </a:lnTo>
                  <a:lnTo>
                    <a:pt x="3965747" y="458470"/>
                  </a:lnTo>
                  <a:lnTo>
                    <a:pt x="3961892" y="452120"/>
                  </a:lnTo>
                  <a:close/>
                </a:path>
                <a:path w="5760085" h="603250">
                  <a:moveTo>
                    <a:pt x="4277405" y="444500"/>
                  </a:moveTo>
                  <a:lnTo>
                    <a:pt x="4270045" y="454660"/>
                  </a:lnTo>
                  <a:lnTo>
                    <a:pt x="4262673" y="463550"/>
                  </a:lnTo>
                  <a:lnTo>
                    <a:pt x="4255307" y="464820"/>
                  </a:lnTo>
                  <a:lnTo>
                    <a:pt x="5759996" y="464820"/>
                  </a:lnTo>
                  <a:lnTo>
                    <a:pt x="5759996" y="459740"/>
                  </a:lnTo>
                  <a:lnTo>
                    <a:pt x="4366024" y="459740"/>
                  </a:lnTo>
                  <a:lnTo>
                    <a:pt x="4362460" y="458470"/>
                  </a:lnTo>
                  <a:lnTo>
                    <a:pt x="4362181" y="457200"/>
                  </a:lnTo>
                  <a:lnTo>
                    <a:pt x="4292114" y="457200"/>
                  </a:lnTo>
                  <a:lnTo>
                    <a:pt x="4277405" y="444500"/>
                  </a:lnTo>
                  <a:close/>
                </a:path>
                <a:path w="5760085" h="603250">
                  <a:moveTo>
                    <a:pt x="1810614" y="453390"/>
                  </a:moveTo>
                  <a:lnTo>
                    <a:pt x="1805413" y="461010"/>
                  </a:lnTo>
                  <a:lnTo>
                    <a:pt x="1800134" y="463550"/>
                  </a:lnTo>
                  <a:lnTo>
                    <a:pt x="1823263" y="463550"/>
                  </a:lnTo>
                  <a:lnTo>
                    <a:pt x="1820779" y="462280"/>
                  </a:lnTo>
                  <a:lnTo>
                    <a:pt x="1815733" y="454660"/>
                  </a:lnTo>
                  <a:lnTo>
                    <a:pt x="1810614" y="453390"/>
                  </a:lnTo>
                  <a:close/>
                </a:path>
                <a:path w="5760085" h="603250">
                  <a:moveTo>
                    <a:pt x="1871565" y="444500"/>
                  </a:moveTo>
                  <a:lnTo>
                    <a:pt x="1867282" y="463550"/>
                  </a:lnTo>
                  <a:lnTo>
                    <a:pt x="1884580" y="463550"/>
                  </a:lnTo>
                  <a:lnTo>
                    <a:pt x="1884008" y="462280"/>
                  </a:lnTo>
                  <a:lnTo>
                    <a:pt x="1879931" y="459740"/>
                  </a:lnTo>
                  <a:lnTo>
                    <a:pt x="1875783" y="448310"/>
                  </a:lnTo>
                  <a:lnTo>
                    <a:pt x="1871565" y="444500"/>
                  </a:lnTo>
                  <a:close/>
                </a:path>
                <a:path w="5760085" h="603250">
                  <a:moveTo>
                    <a:pt x="3886444" y="457200"/>
                  </a:moveTo>
                  <a:lnTo>
                    <a:pt x="3882734" y="463550"/>
                  </a:lnTo>
                  <a:lnTo>
                    <a:pt x="3889294" y="463550"/>
                  </a:lnTo>
                  <a:lnTo>
                    <a:pt x="3886444" y="457200"/>
                  </a:lnTo>
                  <a:close/>
                </a:path>
                <a:path w="5760085" h="603250">
                  <a:moveTo>
                    <a:pt x="1778183" y="454660"/>
                  </a:moveTo>
                  <a:lnTo>
                    <a:pt x="1772479" y="454660"/>
                  </a:lnTo>
                  <a:lnTo>
                    <a:pt x="1766685" y="457200"/>
                  </a:lnTo>
                  <a:lnTo>
                    <a:pt x="1759918" y="462280"/>
                  </a:lnTo>
                  <a:lnTo>
                    <a:pt x="1794773" y="462280"/>
                  </a:lnTo>
                  <a:lnTo>
                    <a:pt x="1783800" y="457200"/>
                  </a:lnTo>
                  <a:lnTo>
                    <a:pt x="1778183" y="454660"/>
                  </a:lnTo>
                  <a:close/>
                </a:path>
                <a:path w="5760085" h="603250">
                  <a:moveTo>
                    <a:pt x="3688500" y="458470"/>
                  </a:moveTo>
                  <a:lnTo>
                    <a:pt x="3669094" y="462280"/>
                  </a:lnTo>
                  <a:lnTo>
                    <a:pt x="3756509" y="462280"/>
                  </a:lnTo>
                  <a:lnTo>
                    <a:pt x="3756077" y="461010"/>
                  </a:lnTo>
                  <a:lnTo>
                    <a:pt x="3741598" y="461010"/>
                  </a:lnTo>
                  <a:lnTo>
                    <a:pt x="3740470" y="459740"/>
                  </a:lnTo>
                  <a:lnTo>
                    <a:pt x="3695036" y="459740"/>
                  </a:lnTo>
                  <a:lnTo>
                    <a:pt x="3688500" y="458470"/>
                  </a:lnTo>
                  <a:close/>
                </a:path>
                <a:path w="5760085" h="603250">
                  <a:moveTo>
                    <a:pt x="3750730" y="449580"/>
                  </a:moveTo>
                  <a:lnTo>
                    <a:pt x="3746082" y="459740"/>
                  </a:lnTo>
                  <a:lnTo>
                    <a:pt x="3741598" y="461010"/>
                  </a:lnTo>
                  <a:lnTo>
                    <a:pt x="3756077" y="461010"/>
                  </a:lnTo>
                  <a:lnTo>
                    <a:pt x="3755213" y="458470"/>
                  </a:lnTo>
                  <a:lnTo>
                    <a:pt x="3750730" y="449580"/>
                  </a:lnTo>
                  <a:close/>
                </a:path>
                <a:path w="5760085" h="603250">
                  <a:moveTo>
                    <a:pt x="4110710" y="436880"/>
                  </a:moveTo>
                  <a:lnTo>
                    <a:pt x="4106520" y="439420"/>
                  </a:lnTo>
                  <a:lnTo>
                    <a:pt x="4102304" y="461010"/>
                  </a:lnTo>
                  <a:lnTo>
                    <a:pt x="4119699" y="461010"/>
                  </a:lnTo>
                  <a:lnTo>
                    <a:pt x="4118992" y="459740"/>
                  </a:lnTo>
                  <a:lnTo>
                    <a:pt x="4114868" y="447040"/>
                  </a:lnTo>
                  <a:lnTo>
                    <a:pt x="4110710" y="436880"/>
                  </a:lnTo>
                  <a:close/>
                </a:path>
                <a:path w="5760085" h="603250">
                  <a:moveTo>
                    <a:pt x="4200755" y="431800"/>
                  </a:moveTo>
                  <a:lnTo>
                    <a:pt x="4196347" y="443230"/>
                  </a:lnTo>
                  <a:lnTo>
                    <a:pt x="4191940" y="461010"/>
                  </a:lnTo>
                  <a:lnTo>
                    <a:pt x="4249797" y="461010"/>
                  </a:lnTo>
                  <a:lnTo>
                    <a:pt x="4247961" y="459740"/>
                  </a:lnTo>
                  <a:lnTo>
                    <a:pt x="4241864" y="453390"/>
                  </a:lnTo>
                  <a:lnTo>
                    <a:pt x="4205174" y="453390"/>
                  </a:lnTo>
                  <a:lnTo>
                    <a:pt x="4200755" y="431800"/>
                  </a:lnTo>
                  <a:close/>
                </a:path>
                <a:path w="5760085" h="603250">
                  <a:moveTo>
                    <a:pt x="3708208" y="453390"/>
                  </a:moveTo>
                  <a:lnTo>
                    <a:pt x="3701601" y="455930"/>
                  </a:lnTo>
                  <a:lnTo>
                    <a:pt x="3695036" y="459740"/>
                  </a:lnTo>
                  <a:lnTo>
                    <a:pt x="3740470" y="459740"/>
                  </a:lnTo>
                  <a:lnTo>
                    <a:pt x="3738213" y="457200"/>
                  </a:lnTo>
                  <a:lnTo>
                    <a:pt x="3734856" y="455930"/>
                  </a:lnTo>
                  <a:lnTo>
                    <a:pt x="3714865" y="455930"/>
                  </a:lnTo>
                  <a:lnTo>
                    <a:pt x="3708208" y="453390"/>
                  </a:lnTo>
                  <a:close/>
                </a:path>
                <a:path w="5760085" h="603250">
                  <a:moveTo>
                    <a:pt x="4152977" y="457200"/>
                  </a:moveTo>
                  <a:lnTo>
                    <a:pt x="4148700" y="459740"/>
                  </a:lnTo>
                  <a:lnTo>
                    <a:pt x="4154703" y="459740"/>
                  </a:lnTo>
                  <a:lnTo>
                    <a:pt x="4152977" y="457200"/>
                  </a:lnTo>
                  <a:close/>
                </a:path>
                <a:path w="5760085" h="603250">
                  <a:moveTo>
                    <a:pt x="4377171" y="415290"/>
                  </a:moveTo>
                  <a:lnTo>
                    <a:pt x="4373703" y="424180"/>
                  </a:lnTo>
                  <a:lnTo>
                    <a:pt x="4369709" y="448310"/>
                  </a:lnTo>
                  <a:lnTo>
                    <a:pt x="4366024" y="459740"/>
                  </a:lnTo>
                  <a:lnTo>
                    <a:pt x="5759996" y="459740"/>
                  </a:lnTo>
                  <a:lnTo>
                    <a:pt x="5759996" y="439420"/>
                  </a:lnTo>
                  <a:lnTo>
                    <a:pt x="4433337" y="439420"/>
                  </a:lnTo>
                  <a:lnTo>
                    <a:pt x="4425886" y="436880"/>
                  </a:lnTo>
                  <a:lnTo>
                    <a:pt x="4418483" y="435610"/>
                  </a:lnTo>
                  <a:lnTo>
                    <a:pt x="4414738" y="431800"/>
                  </a:lnTo>
                  <a:lnTo>
                    <a:pt x="4384770" y="431800"/>
                  </a:lnTo>
                  <a:lnTo>
                    <a:pt x="4380915" y="422910"/>
                  </a:lnTo>
                  <a:lnTo>
                    <a:pt x="4377171" y="415290"/>
                  </a:lnTo>
                  <a:close/>
                </a:path>
                <a:path w="5760085" h="603250">
                  <a:moveTo>
                    <a:pt x="3519110" y="412750"/>
                  </a:moveTo>
                  <a:lnTo>
                    <a:pt x="3516097" y="431800"/>
                  </a:lnTo>
                  <a:lnTo>
                    <a:pt x="3511669" y="458470"/>
                  </a:lnTo>
                  <a:lnTo>
                    <a:pt x="3588981" y="458470"/>
                  </a:lnTo>
                  <a:lnTo>
                    <a:pt x="3587598" y="452120"/>
                  </a:lnTo>
                  <a:lnTo>
                    <a:pt x="3581489" y="450850"/>
                  </a:lnTo>
                  <a:lnTo>
                    <a:pt x="3579470" y="449580"/>
                  </a:lnTo>
                  <a:lnTo>
                    <a:pt x="3530114" y="449580"/>
                  </a:lnTo>
                  <a:lnTo>
                    <a:pt x="3527756" y="438150"/>
                  </a:lnTo>
                  <a:lnTo>
                    <a:pt x="3524907" y="426720"/>
                  </a:lnTo>
                  <a:lnTo>
                    <a:pt x="3522036" y="414020"/>
                  </a:lnTo>
                  <a:lnTo>
                    <a:pt x="3519110" y="412750"/>
                  </a:lnTo>
                  <a:close/>
                </a:path>
                <a:path w="5760085" h="603250">
                  <a:moveTo>
                    <a:pt x="2020621" y="444500"/>
                  </a:moveTo>
                  <a:lnTo>
                    <a:pt x="2015567" y="444500"/>
                  </a:lnTo>
                  <a:lnTo>
                    <a:pt x="2010474" y="457200"/>
                  </a:lnTo>
                  <a:lnTo>
                    <a:pt x="3348426" y="457200"/>
                  </a:lnTo>
                  <a:lnTo>
                    <a:pt x="3347106" y="453390"/>
                  </a:lnTo>
                  <a:lnTo>
                    <a:pt x="2030654" y="453390"/>
                  </a:lnTo>
                  <a:lnTo>
                    <a:pt x="2025647" y="448310"/>
                  </a:lnTo>
                  <a:lnTo>
                    <a:pt x="2020621" y="444500"/>
                  </a:lnTo>
                  <a:close/>
                </a:path>
                <a:path w="5760085" h="603250">
                  <a:moveTo>
                    <a:pt x="4299509" y="447040"/>
                  </a:moveTo>
                  <a:lnTo>
                    <a:pt x="4292114" y="457200"/>
                  </a:lnTo>
                  <a:lnTo>
                    <a:pt x="4362181" y="457200"/>
                  </a:lnTo>
                  <a:lnTo>
                    <a:pt x="4360785" y="450850"/>
                  </a:lnTo>
                  <a:lnTo>
                    <a:pt x="4314278" y="450850"/>
                  </a:lnTo>
                  <a:lnTo>
                    <a:pt x="4306871" y="449580"/>
                  </a:lnTo>
                  <a:lnTo>
                    <a:pt x="4299509" y="447040"/>
                  </a:lnTo>
                  <a:close/>
                </a:path>
                <a:path w="5760085" h="603250">
                  <a:moveTo>
                    <a:pt x="3643531" y="444500"/>
                  </a:moveTo>
                  <a:lnTo>
                    <a:pt x="3640383" y="445770"/>
                  </a:lnTo>
                  <a:lnTo>
                    <a:pt x="3637217" y="455930"/>
                  </a:lnTo>
                  <a:lnTo>
                    <a:pt x="3662051" y="455930"/>
                  </a:lnTo>
                  <a:lnTo>
                    <a:pt x="3660767" y="450850"/>
                  </a:lnTo>
                  <a:lnTo>
                    <a:pt x="3649854" y="450850"/>
                  </a:lnTo>
                  <a:lnTo>
                    <a:pt x="3646681" y="448310"/>
                  </a:lnTo>
                  <a:lnTo>
                    <a:pt x="3643531" y="444500"/>
                  </a:lnTo>
                  <a:close/>
                </a:path>
                <a:path w="5760085" h="603250">
                  <a:moveTo>
                    <a:pt x="3721528" y="429260"/>
                  </a:moveTo>
                  <a:lnTo>
                    <a:pt x="3718185" y="438150"/>
                  </a:lnTo>
                  <a:lnTo>
                    <a:pt x="3714865" y="455930"/>
                  </a:lnTo>
                  <a:lnTo>
                    <a:pt x="3731531" y="455930"/>
                  </a:lnTo>
                  <a:lnTo>
                    <a:pt x="3728238" y="450850"/>
                  </a:lnTo>
                  <a:lnTo>
                    <a:pt x="3724882" y="431800"/>
                  </a:lnTo>
                  <a:lnTo>
                    <a:pt x="3721528" y="429260"/>
                  </a:lnTo>
                  <a:close/>
                </a:path>
                <a:path w="5760085" h="603250">
                  <a:moveTo>
                    <a:pt x="1746307" y="440690"/>
                  </a:moveTo>
                  <a:lnTo>
                    <a:pt x="1739469" y="453390"/>
                  </a:lnTo>
                  <a:lnTo>
                    <a:pt x="1755163" y="453390"/>
                  </a:lnTo>
                  <a:lnTo>
                    <a:pt x="1753125" y="449580"/>
                  </a:lnTo>
                  <a:lnTo>
                    <a:pt x="1746307" y="440690"/>
                  </a:lnTo>
                  <a:close/>
                </a:path>
                <a:path w="5760085" h="603250">
                  <a:moveTo>
                    <a:pt x="2035593" y="429260"/>
                  </a:moveTo>
                  <a:lnTo>
                    <a:pt x="2030654" y="453390"/>
                  </a:lnTo>
                  <a:lnTo>
                    <a:pt x="3347106" y="453390"/>
                  </a:lnTo>
                  <a:lnTo>
                    <a:pt x="3346226" y="450850"/>
                  </a:lnTo>
                  <a:lnTo>
                    <a:pt x="2055336" y="450850"/>
                  </a:lnTo>
                  <a:lnTo>
                    <a:pt x="2050428" y="449580"/>
                  </a:lnTo>
                  <a:lnTo>
                    <a:pt x="2045483" y="449580"/>
                  </a:lnTo>
                  <a:lnTo>
                    <a:pt x="2040537" y="435610"/>
                  </a:lnTo>
                  <a:lnTo>
                    <a:pt x="2035593" y="429260"/>
                  </a:lnTo>
                  <a:close/>
                </a:path>
                <a:path w="5760085" h="603250">
                  <a:moveTo>
                    <a:pt x="3419823" y="430530"/>
                  </a:moveTo>
                  <a:lnTo>
                    <a:pt x="3416618" y="431800"/>
                  </a:lnTo>
                  <a:lnTo>
                    <a:pt x="3410041" y="444500"/>
                  </a:lnTo>
                  <a:lnTo>
                    <a:pt x="3403332" y="453390"/>
                  </a:lnTo>
                  <a:lnTo>
                    <a:pt x="3427843" y="453390"/>
                  </a:lnTo>
                  <a:lnTo>
                    <a:pt x="3426241" y="440690"/>
                  </a:lnTo>
                  <a:lnTo>
                    <a:pt x="3423032" y="431800"/>
                  </a:lnTo>
                  <a:lnTo>
                    <a:pt x="3419823" y="430530"/>
                  </a:lnTo>
                  <a:close/>
                </a:path>
                <a:path w="5760085" h="603250">
                  <a:moveTo>
                    <a:pt x="4213892" y="430530"/>
                  </a:moveTo>
                  <a:lnTo>
                    <a:pt x="4209507" y="434340"/>
                  </a:lnTo>
                  <a:lnTo>
                    <a:pt x="4205174" y="453390"/>
                  </a:lnTo>
                  <a:lnTo>
                    <a:pt x="4241864" y="453390"/>
                  </a:lnTo>
                  <a:lnTo>
                    <a:pt x="4240645" y="452120"/>
                  </a:lnTo>
                  <a:lnTo>
                    <a:pt x="4239646" y="449580"/>
                  </a:lnTo>
                  <a:lnTo>
                    <a:pt x="4222801" y="449580"/>
                  </a:lnTo>
                  <a:lnTo>
                    <a:pt x="4218326" y="436880"/>
                  </a:lnTo>
                  <a:lnTo>
                    <a:pt x="4213892" y="430530"/>
                  </a:lnTo>
                  <a:close/>
                </a:path>
                <a:path w="5760085" h="603250">
                  <a:moveTo>
                    <a:pt x="1432853" y="398780"/>
                  </a:moveTo>
                  <a:lnTo>
                    <a:pt x="1427284" y="417830"/>
                  </a:lnTo>
                  <a:lnTo>
                    <a:pt x="1421730" y="439420"/>
                  </a:lnTo>
                  <a:lnTo>
                    <a:pt x="1416182" y="452120"/>
                  </a:lnTo>
                  <a:lnTo>
                    <a:pt x="1586834" y="452120"/>
                  </a:lnTo>
                  <a:lnTo>
                    <a:pt x="1579823" y="445770"/>
                  </a:lnTo>
                  <a:lnTo>
                    <a:pt x="1558794" y="445770"/>
                  </a:lnTo>
                  <a:lnTo>
                    <a:pt x="1551774" y="444500"/>
                  </a:lnTo>
                  <a:lnTo>
                    <a:pt x="1548883" y="435610"/>
                  </a:lnTo>
                  <a:lnTo>
                    <a:pt x="1485195" y="435610"/>
                  </a:lnTo>
                  <a:lnTo>
                    <a:pt x="1481700" y="429260"/>
                  </a:lnTo>
                  <a:lnTo>
                    <a:pt x="1479821" y="420370"/>
                  </a:lnTo>
                  <a:lnTo>
                    <a:pt x="1436351" y="420370"/>
                  </a:lnTo>
                  <a:lnTo>
                    <a:pt x="1432853" y="398780"/>
                  </a:lnTo>
                  <a:close/>
                </a:path>
                <a:path w="5760085" h="603250">
                  <a:moveTo>
                    <a:pt x="1600861" y="434340"/>
                  </a:moveTo>
                  <a:lnTo>
                    <a:pt x="1593845" y="448310"/>
                  </a:lnTo>
                  <a:lnTo>
                    <a:pt x="1586834" y="452120"/>
                  </a:lnTo>
                  <a:lnTo>
                    <a:pt x="1663639" y="452120"/>
                  </a:lnTo>
                  <a:lnTo>
                    <a:pt x="1659006" y="447040"/>
                  </a:lnTo>
                  <a:lnTo>
                    <a:pt x="1614839" y="447040"/>
                  </a:lnTo>
                  <a:lnTo>
                    <a:pt x="1607843" y="441960"/>
                  </a:lnTo>
                  <a:lnTo>
                    <a:pt x="1600861" y="434340"/>
                  </a:lnTo>
                  <a:close/>
                </a:path>
                <a:path w="5760085" h="603250">
                  <a:moveTo>
                    <a:pt x="1677507" y="449580"/>
                  </a:moveTo>
                  <a:lnTo>
                    <a:pt x="1670578" y="452120"/>
                  </a:lnTo>
                  <a:lnTo>
                    <a:pt x="1711999" y="452120"/>
                  </a:lnTo>
                  <a:lnTo>
                    <a:pt x="1711617" y="450850"/>
                  </a:lnTo>
                  <a:lnTo>
                    <a:pt x="1684427" y="450850"/>
                  </a:lnTo>
                  <a:lnTo>
                    <a:pt x="1677507" y="449580"/>
                  </a:lnTo>
                  <a:close/>
                </a:path>
                <a:path w="5760085" h="603250">
                  <a:moveTo>
                    <a:pt x="1718891" y="443230"/>
                  </a:moveTo>
                  <a:lnTo>
                    <a:pt x="1711999" y="452120"/>
                  </a:lnTo>
                  <a:lnTo>
                    <a:pt x="1731490" y="452120"/>
                  </a:lnTo>
                  <a:lnTo>
                    <a:pt x="1725772" y="445770"/>
                  </a:lnTo>
                  <a:lnTo>
                    <a:pt x="1718891" y="443230"/>
                  </a:lnTo>
                  <a:close/>
                </a:path>
                <a:path w="5760085" h="603250">
                  <a:moveTo>
                    <a:pt x="1698218" y="417830"/>
                  </a:moveTo>
                  <a:lnTo>
                    <a:pt x="1691312" y="424180"/>
                  </a:lnTo>
                  <a:lnTo>
                    <a:pt x="1684427" y="450850"/>
                  </a:lnTo>
                  <a:lnTo>
                    <a:pt x="1711617" y="450850"/>
                  </a:lnTo>
                  <a:lnTo>
                    <a:pt x="1705121" y="429260"/>
                  </a:lnTo>
                  <a:lnTo>
                    <a:pt x="1698218" y="417830"/>
                  </a:lnTo>
                  <a:close/>
                </a:path>
                <a:path w="5760085" h="603250">
                  <a:moveTo>
                    <a:pt x="2065312" y="443230"/>
                  </a:moveTo>
                  <a:lnTo>
                    <a:pt x="2055336" y="450850"/>
                  </a:lnTo>
                  <a:lnTo>
                    <a:pt x="3346226" y="450850"/>
                  </a:lnTo>
                  <a:lnTo>
                    <a:pt x="3345786" y="449580"/>
                  </a:lnTo>
                  <a:lnTo>
                    <a:pt x="2107471" y="449580"/>
                  </a:lnTo>
                  <a:lnTo>
                    <a:pt x="2101895" y="448310"/>
                  </a:lnTo>
                  <a:lnTo>
                    <a:pt x="2098607" y="444500"/>
                  </a:lnTo>
                  <a:lnTo>
                    <a:pt x="2070405" y="444500"/>
                  </a:lnTo>
                  <a:lnTo>
                    <a:pt x="2065312" y="443230"/>
                  </a:lnTo>
                  <a:close/>
                </a:path>
                <a:path w="5760085" h="603250">
                  <a:moveTo>
                    <a:pt x="3656264" y="444500"/>
                  </a:moveTo>
                  <a:lnTo>
                    <a:pt x="3653049" y="448310"/>
                  </a:lnTo>
                  <a:lnTo>
                    <a:pt x="3649854" y="450850"/>
                  </a:lnTo>
                  <a:lnTo>
                    <a:pt x="3660767" y="450850"/>
                  </a:lnTo>
                  <a:lnTo>
                    <a:pt x="3659483" y="445770"/>
                  </a:lnTo>
                  <a:lnTo>
                    <a:pt x="3656264" y="444500"/>
                  </a:lnTo>
                  <a:close/>
                </a:path>
                <a:path w="5760085" h="603250">
                  <a:moveTo>
                    <a:pt x="4336503" y="414020"/>
                  </a:moveTo>
                  <a:lnTo>
                    <a:pt x="4332790" y="422910"/>
                  </a:lnTo>
                  <a:lnTo>
                    <a:pt x="4329075" y="443230"/>
                  </a:lnTo>
                  <a:lnTo>
                    <a:pt x="4321693" y="449580"/>
                  </a:lnTo>
                  <a:lnTo>
                    <a:pt x="4314278" y="450850"/>
                  </a:lnTo>
                  <a:lnTo>
                    <a:pt x="4360785" y="450850"/>
                  </a:lnTo>
                  <a:lnTo>
                    <a:pt x="4358831" y="441960"/>
                  </a:lnTo>
                  <a:lnTo>
                    <a:pt x="4357128" y="435610"/>
                  </a:lnTo>
                  <a:lnTo>
                    <a:pt x="4344036" y="435610"/>
                  </a:lnTo>
                  <a:lnTo>
                    <a:pt x="4340243" y="417830"/>
                  </a:lnTo>
                  <a:lnTo>
                    <a:pt x="4336503" y="414020"/>
                  </a:lnTo>
                  <a:close/>
                </a:path>
                <a:path w="5760085" h="603250">
                  <a:moveTo>
                    <a:pt x="2113166" y="433070"/>
                  </a:moveTo>
                  <a:lnTo>
                    <a:pt x="2107471" y="449580"/>
                  </a:lnTo>
                  <a:lnTo>
                    <a:pt x="3291123" y="449580"/>
                  </a:lnTo>
                  <a:lnTo>
                    <a:pt x="3288984" y="443230"/>
                  </a:lnTo>
                  <a:lnTo>
                    <a:pt x="2862679" y="443230"/>
                  </a:lnTo>
                  <a:lnTo>
                    <a:pt x="2861554" y="441960"/>
                  </a:lnTo>
                  <a:lnTo>
                    <a:pt x="2354277" y="441960"/>
                  </a:lnTo>
                  <a:lnTo>
                    <a:pt x="2353153" y="439420"/>
                  </a:lnTo>
                  <a:lnTo>
                    <a:pt x="2124858" y="439420"/>
                  </a:lnTo>
                  <a:lnTo>
                    <a:pt x="2118941" y="435610"/>
                  </a:lnTo>
                  <a:lnTo>
                    <a:pt x="2113166" y="433070"/>
                  </a:lnTo>
                  <a:close/>
                </a:path>
                <a:path w="5760085" h="603250">
                  <a:moveTo>
                    <a:pt x="3300580" y="388620"/>
                  </a:moveTo>
                  <a:lnTo>
                    <a:pt x="3297899" y="421640"/>
                  </a:lnTo>
                  <a:lnTo>
                    <a:pt x="3294526" y="443230"/>
                  </a:lnTo>
                  <a:lnTo>
                    <a:pt x="3291123" y="449580"/>
                  </a:lnTo>
                  <a:lnTo>
                    <a:pt x="3345786" y="449580"/>
                  </a:lnTo>
                  <a:lnTo>
                    <a:pt x="3344906" y="447040"/>
                  </a:lnTo>
                  <a:lnTo>
                    <a:pt x="3339589" y="426720"/>
                  </a:lnTo>
                  <a:lnTo>
                    <a:pt x="3308711" y="426720"/>
                  </a:lnTo>
                  <a:lnTo>
                    <a:pt x="3305998" y="408940"/>
                  </a:lnTo>
                  <a:lnTo>
                    <a:pt x="3303284" y="389890"/>
                  </a:lnTo>
                  <a:lnTo>
                    <a:pt x="3300580" y="388620"/>
                  </a:lnTo>
                  <a:close/>
                </a:path>
                <a:path w="5760085" h="603250">
                  <a:moveTo>
                    <a:pt x="3537202" y="421640"/>
                  </a:moveTo>
                  <a:lnTo>
                    <a:pt x="3534842" y="425450"/>
                  </a:lnTo>
                  <a:lnTo>
                    <a:pt x="3532478" y="440690"/>
                  </a:lnTo>
                  <a:lnTo>
                    <a:pt x="3530114" y="449580"/>
                  </a:lnTo>
                  <a:lnTo>
                    <a:pt x="3563392" y="449580"/>
                  </a:lnTo>
                  <a:lnTo>
                    <a:pt x="3562997" y="445770"/>
                  </a:lnTo>
                  <a:lnTo>
                    <a:pt x="3539554" y="445770"/>
                  </a:lnTo>
                  <a:lnTo>
                    <a:pt x="3537202" y="421640"/>
                  </a:lnTo>
                  <a:close/>
                </a:path>
                <a:path w="5760085" h="603250">
                  <a:moveTo>
                    <a:pt x="3569408" y="445770"/>
                  </a:moveTo>
                  <a:lnTo>
                    <a:pt x="3563392" y="449580"/>
                  </a:lnTo>
                  <a:lnTo>
                    <a:pt x="3579470" y="449580"/>
                  </a:lnTo>
                  <a:lnTo>
                    <a:pt x="3575433" y="447040"/>
                  </a:lnTo>
                  <a:lnTo>
                    <a:pt x="3569408" y="445770"/>
                  </a:lnTo>
                  <a:close/>
                </a:path>
                <a:path w="5760085" h="603250">
                  <a:moveTo>
                    <a:pt x="4231671" y="438150"/>
                  </a:moveTo>
                  <a:lnTo>
                    <a:pt x="4227217" y="441960"/>
                  </a:lnTo>
                  <a:lnTo>
                    <a:pt x="4222801" y="449580"/>
                  </a:lnTo>
                  <a:lnTo>
                    <a:pt x="4239646" y="449580"/>
                  </a:lnTo>
                  <a:lnTo>
                    <a:pt x="4236151" y="440690"/>
                  </a:lnTo>
                  <a:lnTo>
                    <a:pt x="4231671" y="438150"/>
                  </a:lnTo>
                  <a:close/>
                </a:path>
                <a:path w="5760085" h="603250">
                  <a:moveTo>
                    <a:pt x="1638123" y="429260"/>
                  </a:moveTo>
                  <a:lnTo>
                    <a:pt x="1633424" y="434340"/>
                  </a:lnTo>
                  <a:lnTo>
                    <a:pt x="1628826" y="436880"/>
                  </a:lnTo>
                  <a:lnTo>
                    <a:pt x="1621837" y="447040"/>
                  </a:lnTo>
                  <a:lnTo>
                    <a:pt x="1659006" y="447040"/>
                  </a:lnTo>
                  <a:lnTo>
                    <a:pt x="1656690" y="444500"/>
                  </a:lnTo>
                  <a:lnTo>
                    <a:pt x="1655115" y="431800"/>
                  </a:lnTo>
                  <a:lnTo>
                    <a:pt x="1642784" y="431800"/>
                  </a:lnTo>
                  <a:lnTo>
                    <a:pt x="1638123" y="429260"/>
                  </a:lnTo>
                  <a:close/>
                </a:path>
                <a:path w="5760085" h="603250">
                  <a:moveTo>
                    <a:pt x="1572807" y="427990"/>
                  </a:moveTo>
                  <a:lnTo>
                    <a:pt x="1558794" y="445770"/>
                  </a:lnTo>
                  <a:lnTo>
                    <a:pt x="1579823" y="445770"/>
                  </a:lnTo>
                  <a:lnTo>
                    <a:pt x="1572807" y="427990"/>
                  </a:lnTo>
                  <a:close/>
                </a:path>
                <a:path w="5760085" h="603250">
                  <a:moveTo>
                    <a:pt x="3497676" y="426720"/>
                  </a:moveTo>
                  <a:lnTo>
                    <a:pt x="3493021" y="438150"/>
                  </a:lnTo>
                  <a:lnTo>
                    <a:pt x="3486710" y="445770"/>
                  </a:lnTo>
                  <a:lnTo>
                    <a:pt x="3504548" y="445770"/>
                  </a:lnTo>
                  <a:lnTo>
                    <a:pt x="3502384" y="438150"/>
                  </a:lnTo>
                  <a:lnTo>
                    <a:pt x="3497676" y="426720"/>
                  </a:lnTo>
                  <a:close/>
                </a:path>
                <a:path w="5760085" h="603250">
                  <a:moveTo>
                    <a:pt x="3557336" y="410210"/>
                  </a:moveTo>
                  <a:lnTo>
                    <a:pt x="3554336" y="411480"/>
                  </a:lnTo>
                  <a:lnTo>
                    <a:pt x="3551403" y="416560"/>
                  </a:lnTo>
                  <a:lnTo>
                    <a:pt x="3548418" y="421640"/>
                  </a:lnTo>
                  <a:lnTo>
                    <a:pt x="3545455" y="425450"/>
                  </a:lnTo>
                  <a:lnTo>
                    <a:pt x="3542504" y="433070"/>
                  </a:lnTo>
                  <a:lnTo>
                    <a:pt x="3539554" y="445770"/>
                  </a:lnTo>
                  <a:lnTo>
                    <a:pt x="3562997" y="445770"/>
                  </a:lnTo>
                  <a:lnTo>
                    <a:pt x="3560367" y="420370"/>
                  </a:lnTo>
                  <a:lnTo>
                    <a:pt x="3557336" y="410210"/>
                  </a:lnTo>
                  <a:close/>
                </a:path>
                <a:path w="5760085" h="603250">
                  <a:moveTo>
                    <a:pt x="2075428" y="441960"/>
                  </a:moveTo>
                  <a:lnTo>
                    <a:pt x="2070405" y="444500"/>
                  </a:lnTo>
                  <a:lnTo>
                    <a:pt x="2098607" y="444500"/>
                  </a:lnTo>
                  <a:lnTo>
                    <a:pt x="2097510" y="443230"/>
                  </a:lnTo>
                  <a:lnTo>
                    <a:pt x="2080543" y="443230"/>
                  </a:lnTo>
                  <a:lnTo>
                    <a:pt x="2075428" y="441960"/>
                  </a:lnTo>
                  <a:close/>
                </a:path>
                <a:path w="5760085" h="603250">
                  <a:moveTo>
                    <a:pt x="2091005" y="439420"/>
                  </a:moveTo>
                  <a:lnTo>
                    <a:pt x="2085740" y="443230"/>
                  </a:lnTo>
                  <a:lnTo>
                    <a:pt x="2097510" y="443230"/>
                  </a:lnTo>
                  <a:lnTo>
                    <a:pt x="2096414" y="441960"/>
                  </a:lnTo>
                  <a:lnTo>
                    <a:pt x="2091005" y="439420"/>
                  </a:lnTo>
                  <a:close/>
                </a:path>
                <a:path w="5760085" h="603250">
                  <a:moveTo>
                    <a:pt x="2866048" y="420370"/>
                  </a:moveTo>
                  <a:lnTo>
                    <a:pt x="2862679" y="443230"/>
                  </a:lnTo>
                  <a:lnTo>
                    <a:pt x="3288984" y="443230"/>
                  </a:lnTo>
                  <a:lnTo>
                    <a:pt x="3288556" y="441960"/>
                  </a:lnTo>
                  <a:lnTo>
                    <a:pt x="3196000" y="441960"/>
                  </a:lnTo>
                  <a:lnTo>
                    <a:pt x="3192354" y="435610"/>
                  </a:lnTo>
                  <a:lnTo>
                    <a:pt x="3191747" y="433070"/>
                  </a:lnTo>
                  <a:lnTo>
                    <a:pt x="3069908" y="433070"/>
                  </a:lnTo>
                  <a:lnTo>
                    <a:pt x="3065899" y="431800"/>
                  </a:lnTo>
                  <a:lnTo>
                    <a:pt x="3064183" y="427990"/>
                  </a:lnTo>
                  <a:lnTo>
                    <a:pt x="2869415" y="427990"/>
                  </a:lnTo>
                  <a:lnTo>
                    <a:pt x="2866048" y="420370"/>
                  </a:lnTo>
                  <a:close/>
                </a:path>
                <a:path w="5760085" h="603250">
                  <a:moveTo>
                    <a:pt x="2367859" y="401320"/>
                  </a:moveTo>
                  <a:lnTo>
                    <a:pt x="2364435" y="402590"/>
                  </a:lnTo>
                  <a:lnTo>
                    <a:pt x="2361121" y="417830"/>
                  </a:lnTo>
                  <a:lnTo>
                    <a:pt x="2357663" y="436880"/>
                  </a:lnTo>
                  <a:lnTo>
                    <a:pt x="2354277" y="441960"/>
                  </a:lnTo>
                  <a:lnTo>
                    <a:pt x="2732612" y="441960"/>
                  </a:lnTo>
                  <a:lnTo>
                    <a:pt x="2726028" y="435610"/>
                  </a:lnTo>
                  <a:lnTo>
                    <a:pt x="2725575" y="433070"/>
                  </a:lnTo>
                  <a:lnTo>
                    <a:pt x="2538516" y="433070"/>
                  </a:lnTo>
                  <a:lnTo>
                    <a:pt x="2537608" y="425450"/>
                  </a:lnTo>
                  <a:lnTo>
                    <a:pt x="2502172" y="425450"/>
                  </a:lnTo>
                  <a:lnTo>
                    <a:pt x="2495524" y="417830"/>
                  </a:lnTo>
                  <a:lnTo>
                    <a:pt x="2460092" y="417830"/>
                  </a:lnTo>
                  <a:lnTo>
                    <a:pt x="2457104" y="412750"/>
                  </a:lnTo>
                  <a:lnTo>
                    <a:pt x="2448931" y="412750"/>
                  </a:lnTo>
                  <a:lnTo>
                    <a:pt x="2446696" y="410210"/>
                  </a:lnTo>
                  <a:lnTo>
                    <a:pt x="2374786" y="410210"/>
                  </a:lnTo>
                  <a:lnTo>
                    <a:pt x="2371330" y="407670"/>
                  </a:lnTo>
                  <a:lnTo>
                    <a:pt x="2367859" y="401320"/>
                  </a:lnTo>
                  <a:close/>
                </a:path>
                <a:path w="5760085" h="603250">
                  <a:moveTo>
                    <a:pt x="2745791" y="401320"/>
                  </a:moveTo>
                  <a:lnTo>
                    <a:pt x="2739201" y="427990"/>
                  </a:lnTo>
                  <a:lnTo>
                    <a:pt x="2732612" y="441960"/>
                  </a:lnTo>
                  <a:lnTo>
                    <a:pt x="2861554" y="441960"/>
                  </a:lnTo>
                  <a:lnTo>
                    <a:pt x="2859304" y="439420"/>
                  </a:lnTo>
                  <a:lnTo>
                    <a:pt x="2856170" y="422910"/>
                  </a:lnTo>
                  <a:lnTo>
                    <a:pt x="2778975" y="422910"/>
                  </a:lnTo>
                  <a:lnTo>
                    <a:pt x="2775643" y="421640"/>
                  </a:lnTo>
                  <a:lnTo>
                    <a:pt x="2773033" y="407670"/>
                  </a:lnTo>
                  <a:lnTo>
                    <a:pt x="2752455" y="407670"/>
                  </a:lnTo>
                  <a:lnTo>
                    <a:pt x="2745791" y="401320"/>
                  </a:lnTo>
                  <a:close/>
                </a:path>
                <a:path w="5760085" h="603250">
                  <a:moveTo>
                    <a:pt x="3214096" y="410210"/>
                  </a:moveTo>
                  <a:lnTo>
                    <a:pt x="3206896" y="411480"/>
                  </a:lnTo>
                  <a:lnTo>
                    <a:pt x="3199664" y="420370"/>
                  </a:lnTo>
                  <a:lnTo>
                    <a:pt x="3196000" y="441960"/>
                  </a:lnTo>
                  <a:lnTo>
                    <a:pt x="3288556" y="441960"/>
                  </a:lnTo>
                  <a:lnTo>
                    <a:pt x="3287701" y="439420"/>
                  </a:lnTo>
                  <a:lnTo>
                    <a:pt x="3286692" y="433070"/>
                  </a:lnTo>
                  <a:lnTo>
                    <a:pt x="3260106" y="433070"/>
                  </a:lnTo>
                  <a:lnTo>
                    <a:pt x="3259618" y="430530"/>
                  </a:lnTo>
                  <a:lnTo>
                    <a:pt x="3235499" y="430530"/>
                  </a:lnTo>
                  <a:lnTo>
                    <a:pt x="3228404" y="415290"/>
                  </a:lnTo>
                  <a:lnTo>
                    <a:pt x="3214096" y="410210"/>
                  </a:lnTo>
                  <a:close/>
                </a:path>
                <a:path w="5760085" h="603250">
                  <a:moveTo>
                    <a:pt x="2137131" y="430530"/>
                  </a:moveTo>
                  <a:lnTo>
                    <a:pt x="2130920" y="439420"/>
                  </a:lnTo>
                  <a:lnTo>
                    <a:pt x="2143488" y="439420"/>
                  </a:lnTo>
                  <a:lnTo>
                    <a:pt x="2140298" y="434340"/>
                  </a:lnTo>
                  <a:lnTo>
                    <a:pt x="2137131" y="430530"/>
                  </a:lnTo>
                  <a:close/>
                </a:path>
                <a:path w="5760085" h="603250">
                  <a:moveTo>
                    <a:pt x="2153354" y="417830"/>
                  </a:moveTo>
                  <a:lnTo>
                    <a:pt x="2150034" y="422910"/>
                  </a:lnTo>
                  <a:lnTo>
                    <a:pt x="2146725" y="438150"/>
                  </a:lnTo>
                  <a:lnTo>
                    <a:pt x="2143488" y="439420"/>
                  </a:lnTo>
                  <a:lnTo>
                    <a:pt x="2353153" y="439420"/>
                  </a:lnTo>
                  <a:lnTo>
                    <a:pt x="2352591" y="438150"/>
                  </a:lnTo>
                  <a:lnTo>
                    <a:pt x="2258881" y="438150"/>
                  </a:lnTo>
                  <a:lnTo>
                    <a:pt x="2254022" y="436880"/>
                  </a:lnTo>
                  <a:lnTo>
                    <a:pt x="2249229" y="426720"/>
                  </a:lnTo>
                  <a:lnTo>
                    <a:pt x="2160141" y="426720"/>
                  </a:lnTo>
                  <a:lnTo>
                    <a:pt x="2156723" y="421640"/>
                  </a:lnTo>
                  <a:lnTo>
                    <a:pt x="2153354" y="417830"/>
                  </a:lnTo>
                  <a:close/>
                </a:path>
                <a:path w="5760085" h="603250">
                  <a:moveTo>
                    <a:pt x="4478300" y="427990"/>
                  </a:moveTo>
                  <a:lnTo>
                    <a:pt x="4470797" y="430530"/>
                  </a:lnTo>
                  <a:lnTo>
                    <a:pt x="4455776" y="430530"/>
                  </a:lnTo>
                  <a:lnTo>
                    <a:pt x="4448315" y="433070"/>
                  </a:lnTo>
                  <a:lnTo>
                    <a:pt x="4440820" y="439420"/>
                  </a:lnTo>
                  <a:lnTo>
                    <a:pt x="4485785" y="439420"/>
                  </a:lnTo>
                  <a:lnTo>
                    <a:pt x="4482040" y="435610"/>
                  </a:lnTo>
                  <a:lnTo>
                    <a:pt x="4478300" y="427990"/>
                  </a:lnTo>
                  <a:close/>
                </a:path>
                <a:path w="5760085" h="603250">
                  <a:moveTo>
                    <a:pt x="4493261" y="429260"/>
                  </a:moveTo>
                  <a:lnTo>
                    <a:pt x="4489528" y="438150"/>
                  </a:lnTo>
                  <a:lnTo>
                    <a:pt x="4485785" y="439420"/>
                  </a:lnTo>
                  <a:lnTo>
                    <a:pt x="5759996" y="439420"/>
                  </a:lnTo>
                  <a:lnTo>
                    <a:pt x="5759996" y="435610"/>
                  </a:lnTo>
                  <a:lnTo>
                    <a:pt x="4504537" y="435610"/>
                  </a:lnTo>
                  <a:lnTo>
                    <a:pt x="4500785" y="434340"/>
                  </a:lnTo>
                  <a:lnTo>
                    <a:pt x="4493261" y="429260"/>
                  </a:lnTo>
                  <a:close/>
                </a:path>
                <a:path w="5760085" h="603250">
                  <a:moveTo>
                    <a:pt x="2263788" y="415290"/>
                  </a:moveTo>
                  <a:lnTo>
                    <a:pt x="2258881" y="438150"/>
                  </a:lnTo>
                  <a:lnTo>
                    <a:pt x="2352591" y="438150"/>
                  </a:lnTo>
                  <a:lnTo>
                    <a:pt x="2350904" y="434340"/>
                  </a:lnTo>
                  <a:lnTo>
                    <a:pt x="2263929" y="434340"/>
                  </a:lnTo>
                  <a:lnTo>
                    <a:pt x="2263788" y="415290"/>
                  </a:lnTo>
                  <a:close/>
                </a:path>
                <a:path w="5760085" h="603250">
                  <a:moveTo>
                    <a:pt x="3474026" y="435610"/>
                  </a:moveTo>
                  <a:lnTo>
                    <a:pt x="3467672" y="438150"/>
                  </a:lnTo>
                  <a:lnTo>
                    <a:pt x="3477197" y="438150"/>
                  </a:lnTo>
                  <a:lnTo>
                    <a:pt x="3474026" y="435610"/>
                  </a:lnTo>
                  <a:close/>
                </a:path>
                <a:path w="5760085" h="603250">
                  <a:moveTo>
                    <a:pt x="1488707" y="411480"/>
                  </a:moveTo>
                  <a:lnTo>
                    <a:pt x="1485195" y="435610"/>
                  </a:lnTo>
                  <a:lnTo>
                    <a:pt x="1548883" y="435610"/>
                  </a:lnTo>
                  <a:lnTo>
                    <a:pt x="1548057" y="433070"/>
                  </a:lnTo>
                  <a:lnTo>
                    <a:pt x="1523732" y="433070"/>
                  </a:lnTo>
                  <a:lnTo>
                    <a:pt x="1516736" y="417830"/>
                  </a:lnTo>
                  <a:lnTo>
                    <a:pt x="1515178" y="412750"/>
                  </a:lnTo>
                  <a:lnTo>
                    <a:pt x="1492208" y="412750"/>
                  </a:lnTo>
                  <a:lnTo>
                    <a:pt x="1488707" y="411480"/>
                  </a:lnTo>
                  <a:close/>
                </a:path>
                <a:path w="5760085" h="603250">
                  <a:moveTo>
                    <a:pt x="4351381" y="424180"/>
                  </a:moveTo>
                  <a:lnTo>
                    <a:pt x="4347703" y="426720"/>
                  </a:lnTo>
                  <a:lnTo>
                    <a:pt x="4344036" y="435610"/>
                  </a:lnTo>
                  <a:lnTo>
                    <a:pt x="4357128" y="435610"/>
                  </a:lnTo>
                  <a:lnTo>
                    <a:pt x="4355085" y="427990"/>
                  </a:lnTo>
                  <a:lnTo>
                    <a:pt x="4351381" y="424180"/>
                  </a:lnTo>
                  <a:close/>
                </a:path>
                <a:path w="5760085" h="603250">
                  <a:moveTo>
                    <a:pt x="4512033" y="411480"/>
                  </a:moveTo>
                  <a:lnTo>
                    <a:pt x="4508234" y="427990"/>
                  </a:lnTo>
                  <a:lnTo>
                    <a:pt x="4504537" y="435610"/>
                  </a:lnTo>
                  <a:lnTo>
                    <a:pt x="5759996" y="435610"/>
                  </a:lnTo>
                  <a:lnTo>
                    <a:pt x="5759996" y="426720"/>
                  </a:lnTo>
                  <a:lnTo>
                    <a:pt x="4523258" y="426720"/>
                  </a:lnTo>
                  <a:lnTo>
                    <a:pt x="4519509" y="424180"/>
                  </a:lnTo>
                  <a:lnTo>
                    <a:pt x="4515779" y="415290"/>
                  </a:lnTo>
                  <a:lnTo>
                    <a:pt x="4512033" y="411480"/>
                  </a:lnTo>
                  <a:close/>
                </a:path>
                <a:path w="5760085" h="603250">
                  <a:moveTo>
                    <a:pt x="2267773" y="414020"/>
                  </a:moveTo>
                  <a:lnTo>
                    <a:pt x="2264220" y="415290"/>
                  </a:lnTo>
                  <a:lnTo>
                    <a:pt x="2264129" y="417830"/>
                  </a:lnTo>
                  <a:lnTo>
                    <a:pt x="2264048" y="427990"/>
                  </a:lnTo>
                  <a:lnTo>
                    <a:pt x="2263929" y="434340"/>
                  </a:lnTo>
                  <a:lnTo>
                    <a:pt x="2350904" y="434340"/>
                  </a:lnTo>
                  <a:lnTo>
                    <a:pt x="2350143" y="429260"/>
                  </a:lnTo>
                  <a:lnTo>
                    <a:pt x="2281768" y="429260"/>
                  </a:lnTo>
                  <a:lnTo>
                    <a:pt x="2279074" y="420370"/>
                  </a:lnTo>
                  <a:lnTo>
                    <a:pt x="2274816" y="420370"/>
                  </a:lnTo>
                  <a:lnTo>
                    <a:pt x="2271305" y="417830"/>
                  </a:lnTo>
                  <a:lnTo>
                    <a:pt x="2267773" y="414020"/>
                  </a:lnTo>
                  <a:close/>
                </a:path>
                <a:path w="5760085" h="603250">
                  <a:moveTo>
                    <a:pt x="1544752" y="422910"/>
                  </a:moveTo>
                  <a:lnTo>
                    <a:pt x="1537728" y="422910"/>
                  </a:lnTo>
                  <a:lnTo>
                    <a:pt x="1530725" y="430530"/>
                  </a:lnTo>
                  <a:lnTo>
                    <a:pt x="1523732" y="433070"/>
                  </a:lnTo>
                  <a:lnTo>
                    <a:pt x="1548057" y="433070"/>
                  </a:lnTo>
                  <a:lnTo>
                    <a:pt x="1544752" y="422910"/>
                  </a:lnTo>
                  <a:close/>
                </a:path>
                <a:path w="5760085" h="603250">
                  <a:moveTo>
                    <a:pt x="2545139" y="403860"/>
                  </a:moveTo>
                  <a:lnTo>
                    <a:pt x="2541839" y="422910"/>
                  </a:lnTo>
                  <a:lnTo>
                    <a:pt x="2538516" y="433070"/>
                  </a:lnTo>
                  <a:lnTo>
                    <a:pt x="2725575" y="433070"/>
                  </a:lnTo>
                  <a:lnTo>
                    <a:pt x="2722853" y="417830"/>
                  </a:lnTo>
                  <a:lnTo>
                    <a:pt x="2555009" y="417830"/>
                  </a:lnTo>
                  <a:lnTo>
                    <a:pt x="2551699" y="415290"/>
                  </a:lnTo>
                  <a:lnTo>
                    <a:pt x="2548395" y="407670"/>
                  </a:lnTo>
                  <a:lnTo>
                    <a:pt x="2545139" y="403860"/>
                  </a:lnTo>
                  <a:close/>
                </a:path>
                <a:path w="5760085" h="603250">
                  <a:moveTo>
                    <a:pt x="3089852" y="406400"/>
                  </a:moveTo>
                  <a:lnTo>
                    <a:pt x="3085888" y="406400"/>
                  </a:lnTo>
                  <a:lnTo>
                    <a:pt x="3081910" y="408940"/>
                  </a:lnTo>
                  <a:lnTo>
                    <a:pt x="3077922" y="412750"/>
                  </a:lnTo>
                  <a:lnTo>
                    <a:pt x="3073917" y="426720"/>
                  </a:lnTo>
                  <a:lnTo>
                    <a:pt x="3069908" y="433070"/>
                  </a:lnTo>
                  <a:lnTo>
                    <a:pt x="3191747" y="433070"/>
                  </a:lnTo>
                  <a:lnTo>
                    <a:pt x="3188714" y="420370"/>
                  </a:lnTo>
                  <a:lnTo>
                    <a:pt x="3155338" y="420370"/>
                  </a:lnTo>
                  <a:lnTo>
                    <a:pt x="3147795" y="416560"/>
                  </a:lnTo>
                  <a:lnTo>
                    <a:pt x="3101641" y="416560"/>
                  </a:lnTo>
                  <a:lnTo>
                    <a:pt x="3097722" y="415290"/>
                  </a:lnTo>
                  <a:lnTo>
                    <a:pt x="3093797" y="412750"/>
                  </a:lnTo>
                  <a:lnTo>
                    <a:pt x="3089852" y="406400"/>
                  </a:lnTo>
                  <a:close/>
                </a:path>
                <a:path w="5760085" h="603250">
                  <a:moveTo>
                    <a:pt x="3266983" y="416560"/>
                  </a:moveTo>
                  <a:lnTo>
                    <a:pt x="3263534" y="427990"/>
                  </a:lnTo>
                  <a:lnTo>
                    <a:pt x="3260106" y="433070"/>
                  </a:lnTo>
                  <a:lnTo>
                    <a:pt x="3286692" y="433070"/>
                  </a:lnTo>
                  <a:lnTo>
                    <a:pt x="3284271" y="417830"/>
                  </a:lnTo>
                  <a:lnTo>
                    <a:pt x="3270467" y="417830"/>
                  </a:lnTo>
                  <a:lnTo>
                    <a:pt x="3266983" y="416560"/>
                  </a:lnTo>
                  <a:close/>
                </a:path>
                <a:path w="5760085" h="603250">
                  <a:moveTo>
                    <a:pt x="1653224" y="416560"/>
                  </a:moveTo>
                  <a:lnTo>
                    <a:pt x="1649747" y="419100"/>
                  </a:lnTo>
                  <a:lnTo>
                    <a:pt x="1646264" y="431800"/>
                  </a:lnTo>
                  <a:lnTo>
                    <a:pt x="1655115" y="431800"/>
                  </a:lnTo>
                  <a:lnTo>
                    <a:pt x="1653224" y="416560"/>
                  </a:lnTo>
                  <a:close/>
                </a:path>
                <a:path w="5760085" h="603250">
                  <a:moveTo>
                    <a:pt x="4403524" y="426720"/>
                  </a:moveTo>
                  <a:lnTo>
                    <a:pt x="4388575" y="429260"/>
                  </a:lnTo>
                  <a:lnTo>
                    <a:pt x="4384770" y="431800"/>
                  </a:lnTo>
                  <a:lnTo>
                    <a:pt x="4414738" y="431800"/>
                  </a:lnTo>
                  <a:lnTo>
                    <a:pt x="4410993" y="427990"/>
                  </a:lnTo>
                  <a:lnTo>
                    <a:pt x="4403524" y="426720"/>
                  </a:lnTo>
                  <a:close/>
                </a:path>
                <a:path w="5760085" h="603250">
                  <a:moveTo>
                    <a:pt x="3256687" y="415290"/>
                  </a:moveTo>
                  <a:lnTo>
                    <a:pt x="3249621" y="420370"/>
                  </a:lnTo>
                  <a:lnTo>
                    <a:pt x="3242565" y="429260"/>
                  </a:lnTo>
                  <a:lnTo>
                    <a:pt x="3235499" y="430530"/>
                  </a:lnTo>
                  <a:lnTo>
                    <a:pt x="3259618" y="430530"/>
                  </a:lnTo>
                  <a:lnTo>
                    <a:pt x="3256687" y="415290"/>
                  </a:lnTo>
                  <a:close/>
                </a:path>
                <a:path w="5760085" h="603250">
                  <a:moveTo>
                    <a:pt x="3383781" y="403860"/>
                  </a:moveTo>
                  <a:lnTo>
                    <a:pt x="3377304" y="414020"/>
                  </a:lnTo>
                  <a:lnTo>
                    <a:pt x="3371015" y="430530"/>
                  </a:lnTo>
                  <a:lnTo>
                    <a:pt x="3392001" y="430530"/>
                  </a:lnTo>
                  <a:lnTo>
                    <a:pt x="3390723" y="425450"/>
                  </a:lnTo>
                  <a:lnTo>
                    <a:pt x="3383781" y="403860"/>
                  </a:lnTo>
                  <a:close/>
                </a:path>
                <a:path w="5760085" h="603250">
                  <a:moveTo>
                    <a:pt x="2288784" y="408940"/>
                  </a:moveTo>
                  <a:lnTo>
                    <a:pt x="2285274" y="420370"/>
                  </a:lnTo>
                  <a:lnTo>
                    <a:pt x="2281768" y="429260"/>
                  </a:lnTo>
                  <a:lnTo>
                    <a:pt x="2350143" y="429260"/>
                  </a:lnTo>
                  <a:lnTo>
                    <a:pt x="2348242" y="416560"/>
                  </a:lnTo>
                  <a:lnTo>
                    <a:pt x="2330296" y="416560"/>
                  </a:lnTo>
                  <a:lnTo>
                    <a:pt x="2329916" y="415290"/>
                  </a:lnTo>
                  <a:lnTo>
                    <a:pt x="2309587" y="415290"/>
                  </a:lnTo>
                  <a:lnTo>
                    <a:pt x="2308710" y="412750"/>
                  </a:lnTo>
                  <a:lnTo>
                    <a:pt x="2292262" y="412750"/>
                  </a:lnTo>
                  <a:lnTo>
                    <a:pt x="2288784" y="408940"/>
                  </a:lnTo>
                  <a:close/>
                </a:path>
                <a:path w="5760085" h="603250">
                  <a:moveTo>
                    <a:pt x="2886390" y="383540"/>
                  </a:moveTo>
                  <a:lnTo>
                    <a:pt x="2882990" y="393700"/>
                  </a:lnTo>
                  <a:lnTo>
                    <a:pt x="2879611" y="406400"/>
                  </a:lnTo>
                  <a:lnTo>
                    <a:pt x="2876194" y="412750"/>
                  </a:lnTo>
                  <a:lnTo>
                    <a:pt x="2872796" y="422910"/>
                  </a:lnTo>
                  <a:lnTo>
                    <a:pt x="2869415" y="427990"/>
                  </a:lnTo>
                  <a:lnTo>
                    <a:pt x="3064183" y="427990"/>
                  </a:lnTo>
                  <a:lnTo>
                    <a:pt x="3062467" y="424180"/>
                  </a:lnTo>
                  <a:lnTo>
                    <a:pt x="2956326" y="424180"/>
                  </a:lnTo>
                  <a:lnTo>
                    <a:pt x="2951905" y="422910"/>
                  </a:lnTo>
                  <a:lnTo>
                    <a:pt x="2951412" y="421640"/>
                  </a:lnTo>
                  <a:lnTo>
                    <a:pt x="2920524" y="421640"/>
                  </a:lnTo>
                  <a:lnTo>
                    <a:pt x="2915211" y="403860"/>
                  </a:lnTo>
                  <a:lnTo>
                    <a:pt x="2896628" y="403860"/>
                  </a:lnTo>
                  <a:lnTo>
                    <a:pt x="2893188" y="402590"/>
                  </a:lnTo>
                  <a:lnTo>
                    <a:pt x="2889795" y="384810"/>
                  </a:lnTo>
                  <a:lnTo>
                    <a:pt x="2886390" y="383540"/>
                  </a:lnTo>
                  <a:close/>
                </a:path>
                <a:path w="5760085" h="603250">
                  <a:moveTo>
                    <a:pt x="2174328" y="405130"/>
                  </a:moveTo>
                  <a:lnTo>
                    <a:pt x="2170721" y="408940"/>
                  </a:lnTo>
                  <a:lnTo>
                    <a:pt x="2167150" y="420370"/>
                  </a:lnTo>
                  <a:lnTo>
                    <a:pt x="2163611" y="424180"/>
                  </a:lnTo>
                  <a:lnTo>
                    <a:pt x="2160141" y="426720"/>
                  </a:lnTo>
                  <a:lnTo>
                    <a:pt x="2209267" y="426720"/>
                  </a:lnTo>
                  <a:lnTo>
                    <a:pt x="2209103" y="425450"/>
                  </a:lnTo>
                  <a:lnTo>
                    <a:pt x="2177974" y="425450"/>
                  </a:lnTo>
                  <a:lnTo>
                    <a:pt x="2174328" y="405130"/>
                  </a:lnTo>
                  <a:close/>
                </a:path>
                <a:path w="5760085" h="603250">
                  <a:moveTo>
                    <a:pt x="2217679" y="422910"/>
                  </a:moveTo>
                  <a:lnTo>
                    <a:pt x="2213437" y="422910"/>
                  </a:lnTo>
                  <a:lnTo>
                    <a:pt x="2209267" y="426720"/>
                  </a:lnTo>
                  <a:lnTo>
                    <a:pt x="2230831" y="426720"/>
                  </a:lnTo>
                  <a:lnTo>
                    <a:pt x="2228609" y="424180"/>
                  </a:lnTo>
                  <a:lnTo>
                    <a:pt x="2221996" y="424180"/>
                  </a:lnTo>
                  <a:lnTo>
                    <a:pt x="2217679" y="422910"/>
                  </a:lnTo>
                  <a:close/>
                </a:path>
                <a:path w="5760085" h="603250">
                  <a:moveTo>
                    <a:pt x="2244522" y="417830"/>
                  </a:moveTo>
                  <a:lnTo>
                    <a:pt x="2239906" y="424180"/>
                  </a:lnTo>
                  <a:lnTo>
                    <a:pt x="2235340" y="426720"/>
                  </a:lnTo>
                  <a:lnTo>
                    <a:pt x="2249229" y="426720"/>
                  </a:lnTo>
                  <a:lnTo>
                    <a:pt x="2244522" y="417830"/>
                  </a:lnTo>
                  <a:close/>
                </a:path>
                <a:path w="5760085" h="603250">
                  <a:moveTo>
                    <a:pt x="3324854" y="400050"/>
                  </a:moveTo>
                  <a:lnTo>
                    <a:pt x="3318142" y="402590"/>
                  </a:lnTo>
                  <a:lnTo>
                    <a:pt x="3311411" y="424180"/>
                  </a:lnTo>
                  <a:lnTo>
                    <a:pt x="3308711" y="426720"/>
                  </a:lnTo>
                  <a:lnTo>
                    <a:pt x="3339589" y="426720"/>
                  </a:lnTo>
                  <a:lnTo>
                    <a:pt x="3338259" y="421640"/>
                  </a:lnTo>
                  <a:lnTo>
                    <a:pt x="3331557" y="408940"/>
                  </a:lnTo>
                  <a:lnTo>
                    <a:pt x="3324854" y="400050"/>
                  </a:lnTo>
                  <a:close/>
                </a:path>
                <a:path w="5760085" h="603250">
                  <a:moveTo>
                    <a:pt x="4528325" y="414020"/>
                  </a:moveTo>
                  <a:lnTo>
                    <a:pt x="4523258" y="426720"/>
                  </a:lnTo>
                  <a:lnTo>
                    <a:pt x="5759996" y="426720"/>
                  </a:lnTo>
                  <a:lnTo>
                    <a:pt x="5759996" y="420370"/>
                  </a:lnTo>
                  <a:lnTo>
                    <a:pt x="4538219" y="420370"/>
                  </a:lnTo>
                  <a:lnTo>
                    <a:pt x="4533342" y="419100"/>
                  </a:lnTo>
                  <a:lnTo>
                    <a:pt x="4528325" y="414020"/>
                  </a:lnTo>
                  <a:close/>
                </a:path>
                <a:path w="5760085" h="603250">
                  <a:moveTo>
                    <a:pt x="2189306" y="417830"/>
                  </a:moveTo>
                  <a:lnTo>
                    <a:pt x="2185494" y="421640"/>
                  </a:lnTo>
                  <a:lnTo>
                    <a:pt x="2181723" y="425450"/>
                  </a:lnTo>
                  <a:lnTo>
                    <a:pt x="2209103" y="425450"/>
                  </a:lnTo>
                  <a:lnTo>
                    <a:pt x="2208612" y="421640"/>
                  </a:lnTo>
                  <a:lnTo>
                    <a:pt x="2193176" y="421640"/>
                  </a:lnTo>
                  <a:lnTo>
                    <a:pt x="2189306" y="417830"/>
                  </a:lnTo>
                  <a:close/>
                </a:path>
                <a:path w="5760085" h="603250">
                  <a:moveTo>
                    <a:pt x="2515412" y="403860"/>
                  </a:moveTo>
                  <a:lnTo>
                    <a:pt x="2508822" y="406400"/>
                  </a:lnTo>
                  <a:lnTo>
                    <a:pt x="2502172" y="425450"/>
                  </a:lnTo>
                  <a:lnTo>
                    <a:pt x="2537608" y="425450"/>
                  </a:lnTo>
                  <a:lnTo>
                    <a:pt x="2536246" y="414020"/>
                  </a:lnTo>
                  <a:lnTo>
                    <a:pt x="2528576" y="414020"/>
                  </a:lnTo>
                  <a:lnTo>
                    <a:pt x="2521990" y="410210"/>
                  </a:lnTo>
                  <a:lnTo>
                    <a:pt x="2515412" y="403860"/>
                  </a:lnTo>
                  <a:close/>
                </a:path>
                <a:path w="5760085" h="603250">
                  <a:moveTo>
                    <a:pt x="2226387" y="421640"/>
                  </a:moveTo>
                  <a:lnTo>
                    <a:pt x="2221996" y="424180"/>
                  </a:lnTo>
                  <a:lnTo>
                    <a:pt x="2228609" y="424180"/>
                  </a:lnTo>
                  <a:lnTo>
                    <a:pt x="2226387" y="421640"/>
                  </a:lnTo>
                  <a:close/>
                </a:path>
                <a:path w="5760085" h="603250">
                  <a:moveTo>
                    <a:pt x="2969453" y="392430"/>
                  </a:moveTo>
                  <a:lnTo>
                    <a:pt x="2965080" y="396240"/>
                  </a:lnTo>
                  <a:lnTo>
                    <a:pt x="2960714" y="402590"/>
                  </a:lnTo>
                  <a:lnTo>
                    <a:pt x="2956326" y="424180"/>
                  </a:lnTo>
                  <a:lnTo>
                    <a:pt x="3057828" y="424180"/>
                  </a:lnTo>
                  <a:lnTo>
                    <a:pt x="3055116" y="416560"/>
                  </a:lnTo>
                  <a:lnTo>
                    <a:pt x="3024907" y="416560"/>
                  </a:lnTo>
                  <a:lnTo>
                    <a:pt x="3020726" y="414020"/>
                  </a:lnTo>
                  <a:lnTo>
                    <a:pt x="3019678" y="412750"/>
                  </a:lnTo>
                  <a:lnTo>
                    <a:pt x="2999639" y="412750"/>
                  </a:lnTo>
                  <a:lnTo>
                    <a:pt x="2995372" y="406400"/>
                  </a:lnTo>
                  <a:lnTo>
                    <a:pt x="2994837" y="405130"/>
                  </a:lnTo>
                  <a:lnTo>
                    <a:pt x="2978201" y="405130"/>
                  </a:lnTo>
                  <a:lnTo>
                    <a:pt x="2973828" y="394970"/>
                  </a:lnTo>
                  <a:lnTo>
                    <a:pt x="2969453" y="392430"/>
                  </a:lnTo>
                  <a:close/>
                </a:path>
                <a:path w="5760085" h="603250">
                  <a:moveTo>
                    <a:pt x="3061894" y="422910"/>
                  </a:moveTo>
                  <a:lnTo>
                    <a:pt x="3057828" y="424180"/>
                  </a:lnTo>
                  <a:lnTo>
                    <a:pt x="3062467" y="424180"/>
                  </a:lnTo>
                  <a:lnTo>
                    <a:pt x="3061894" y="422910"/>
                  </a:lnTo>
                  <a:close/>
                </a:path>
                <a:path w="5760085" h="603250">
                  <a:moveTo>
                    <a:pt x="2785657" y="407670"/>
                  </a:moveTo>
                  <a:lnTo>
                    <a:pt x="2782314" y="416560"/>
                  </a:lnTo>
                  <a:lnTo>
                    <a:pt x="2778975" y="422910"/>
                  </a:lnTo>
                  <a:lnTo>
                    <a:pt x="2856170" y="422910"/>
                  </a:lnTo>
                  <a:lnTo>
                    <a:pt x="2855480" y="419100"/>
                  </a:lnTo>
                  <a:lnTo>
                    <a:pt x="2805607" y="419100"/>
                  </a:lnTo>
                  <a:lnTo>
                    <a:pt x="2803096" y="415290"/>
                  </a:lnTo>
                  <a:lnTo>
                    <a:pt x="2788944" y="415290"/>
                  </a:lnTo>
                  <a:lnTo>
                    <a:pt x="2785657" y="407670"/>
                  </a:lnTo>
                  <a:close/>
                </a:path>
                <a:path w="5760085" h="603250">
                  <a:moveTo>
                    <a:pt x="2201117" y="387350"/>
                  </a:moveTo>
                  <a:lnTo>
                    <a:pt x="2197116" y="398780"/>
                  </a:lnTo>
                  <a:lnTo>
                    <a:pt x="2193176" y="421640"/>
                  </a:lnTo>
                  <a:lnTo>
                    <a:pt x="2208612" y="421640"/>
                  </a:lnTo>
                  <a:lnTo>
                    <a:pt x="2205171" y="394970"/>
                  </a:lnTo>
                  <a:lnTo>
                    <a:pt x="2201117" y="387350"/>
                  </a:lnTo>
                  <a:close/>
                </a:path>
                <a:path w="5760085" h="603250">
                  <a:moveTo>
                    <a:pt x="2925052" y="405130"/>
                  </a:moveTo>
                  <a:lnTo>
                    <a:pt x="2920524" y="421640"/>
                  </a:lnTo>
                  <a:lnTo>
                    <a:pt x="2951412" y="421640"/>
                  </a:lnTo>
                  <a:lnTo>
                    <a:pt x="2950427" y="419100"/>
                  </a:lnTo>
                  <a:lnTo>
                    <a:pt x="2929562" y="419100"/>
                  </a:lnTo>
                  <a:lnTo>
                    <a:pt x="2925052" y="405130"/>
                  </a:lnTo>
                  <a:close/>
                </a:path>
                <a:path w="5760085" h="603250">
                  <a:moveTo>
                    <a:pt x="1446759" y="389890"/>
                  </a:moveTo>
                  <a:lnTo>
                    <a:pt x="1443304" y="407670"/>
                  </a:lnTo>
                  <a:lnTo>
                    <a:pt x="1439835" y="420370"/>
                  </a:lnTo>
                  <a:lnTo>
                    <a:pt x="1479821" y="420370"/>
                  </a:lnTo>
                  <a:lnTo>
                    <a:pt x="1479015" y="416560"/>
                  </a:lnTo>
                  <a:lnTo>
                    <a:pt x="1467759" y="416560"/>
                  </a:lnTo>
                  <a:lnTo>
                    <a:pt x="1464279" y="410210"/>
                  </a:lnTo>
                  <a:lnTo>
                    <a:pt x="1460805" y="402590"/>
                  </a:lnTo>
                  <a:lnTo>
                    <a:pt x="1456056" y="394970"/>
                  </a:lnTo>
                  <a:lnTo>
                    <a:pt x="1451458" y="394970"/>
                  </a:lnTo>
                  <a:lnTo>
                    <a:pt x="1446759" y="389890"/>
                  </a:lnTo>
                  <a:close/>
                </a:path>
                <a:path w="5760085" h="603250">
                  <a:moveTo>
                    <a:pt x="2278304" y="417830"/>
                  </a:moveTo>
                  <a:lnTo>
                    <a:pt x="2274816" y="420370"/>
                  </a:lnTo>
                  <a:lnTo>
                    <a:pt x="2279074" y="420370"/>
                  </a:lnTo>
                  <a:lnTo>
                    <a:pt x="2278304" y="417830"/>
                  </a:lnTo>
                  <a:close/>
                </a:path>
                <a:path w="5760085" h="603250">
                  <a:moveTo>
                    <a:pt x="3174001" y="410210"/>
                  </a:moveTo>
                  <a:lnTo>
                    <a:pt x="3170276" y="412750"/>
                  </a:lnTo>
                  <a:lnTo>
                    <a:pt x="3162838" y="419100"/>
                  </a:lnTo>
                  <a:lnTo>
                    <a:pt x="3155338" y="420370"/>
                  </a:lnTo>
                  <a:lnTo>
                    <a:pt x="3188714" y="420370"/>
                  </a:lnTo>
                  <a:lnTo>
                    <a:pt x="3186529" y="416560"/>
                  </a:lnTo>
                  <a:lnTo>
                    <a:pt x="3181369" y="416560"/>
                  </a:lnTo>
                  <a:lnTo>
                    <a:pt x="3177688" y="414020"/>
                  </a:lnTo>
                  <a:lnTo>
                    <a:pt x="3174001" y="410210"/>
                  </a:lnTo>
                  <a:close/>
                </a:path>
                <a:path w="5760085" h="603250">
                  <a:moveTo>
                    <a:pt x="4545785" y="405130"/>
                  </a:moveTo>
                  <a:lnTo>
                    <a:pt x="4541997" y="406400"/>
                  </a:lnTo>
                  <a:lnTo>
                    <a:pt x="4538219" y="420370"/>
                  </a:lnTo>
                  <a:lnTo>
                    <a:pt x="5759996" y="420370"/>
                  </a:lnTo>
                  <a:lnTo>
                    <a:pt x="5759996" y="416560"/>
                  </a:lnTo>
                  <a:lnTo>
                    <a:pt x="4617186" y="416560"/>
                  </a:lnTo>
                  <a:lnTo>
                    <a:pt x="4613530" y="414020"/>
                  </a:lnTo>
                  <a:lnTo>
                    <a:pt x="4613106" y="412750"/>
                  </a:lnTo>
                  <a:lnTo>
                    <a:pt x="4553370" y="412750"/>
                  </a:lnTo>
                  <a:lnTo>
                    <a:pt x="4545785" y="405130"/>
                  </a:lnTo>
                  <a:close/>
                </a:path>
                <a:path w="5760085" h="603250">
                  <a:moveTo>
                    <a:pt x="2819021" y="368300"/>
                  </a:moveTo>
                  <a:lnTo>
                    <a:pt x="2815659" y="381000"/>
                  </a:lnTo>
                  <a:lnTo>
                    <a:pt x="2812276" y="407670"/>
                  </a:lnTo>
                  <a:lnTo>
                    <a:pt x="2808943" y="416560"/>
                  </a:lnTo>
                  <a:lnTo>
                    <a:pt x="2805607" y="419100"/>
                  </a:lnTo>
                  <a:lnTo>
                    <a:pt x="2855480" y="419100"/>
                  </a:lnTo>
                  <a:lnTo>
                    <a:pt x="2853009" y="405130"/>
                  </a:lnTo>
                  <a:lnTo>
                    <a:pt x="2835717" y="405130"/>
                  </a:lnTo>
                  <a:lnTo>
                    <a:pt x="2833705" y="401320"/>
                  </a:lnTo>
                  <a:lnTo>
                    <a:pt x="2825662" y="401320"/>
                  </a:lnTo>
                  <a:lnTo>
                    <a:pt x="2822358" y="373380"/>
                  </a:lnTo>
                  <a:lnTo>
                    <a:pt x="2819021" y="368300"/>
                  </a:lnTo>
                  <a:close/>
                </a:path>
                <a:path w="5760085" h="603250">
                  <a:moveTo>
                    <a:pt x="2943048" y="403860"/>
                  </a:moveTo>
                  <a:lnTo>
                    <a:pt x="2938573" y="406400"/>
                  </a:lnTo>
                  <a:lnTo>
                    <a:pt x="2934074" y="415290"/>
                  </a:lnTo>
                  <a:lnTo>
                    <a:pt x="2929562" y="419100"/>
                  </a:lnTo>
                  <a:lnTo>
                    <a:pt x="2950427" y="419100"/>
                  </a:lnTo>
                  <a:lnTo>
                    <a:pt x="2947471" y="411480"/>
                  </a:lnTo>
                  <a:lnTo>
                    <a:pt x="2943048" y="403860"/>
                  </a:lnTo>
                  <a:close/>
                </a:path>
                <a:path w="5760085" h="603250">
                  <a:moveTo>
                    <a:pt x="2472276" y="406400"/>
                  </a:moveTo>
                  <a:lnTo>
                    <a:pt x="2468970" y="412750"/>
                  </a:lnTo>
                  <a:lnTo>
                    <a:pt x="2464486" y="416560"/>
                  </a:lnTo>
                  <a:lnTo>
                    <a:pt x="2460092" y="417830"/>
                  </a:lnTo>
                  <a:lnTo>
                    <a:pt x="2495524" y="417830"/>
                  </a:lnTo>
                  <a:lnTo>
                    <a:pt x="2493712" y="414020"/>
                  </a:lnTo>
                  <a:lnTo>
                    <a:pt x="2478898" y="414020"/>
                  </a:lnTo>
                  <a:lnTo>
                    <a:pt x="2472276" y="406400"/>
                  </a:lnTo>
                  <a:close/>
                </a:path>
                <a:path w="5760085" h="603250">
                  <a:moveTo>
                    <a:pt x="2561603" y="400050"/>
                  </a:moveTo>
                  <a:lnTo>
                    <a:pt x="2558314" y="412750"/>
                  </a:lnTo>
                  <a:lnTo>
                    <a:pt x="2555009" y="417830"/>
                  </a:lnTo>
                  <a:lnTo>
                    <a:pt x="2594501" y="417830"/>
                  </a:lnTo>
                  <a:lnTo>
                    <a:pt x="2591509" y="411480"/>
                  </a:lnTo>
                  <a:lnTo>
                    <a:pt x="2574780" y="411480"/>
                  </a:lnTo>
                  <a:lnTo>
                    <a:pt x="2568212" y="406400"/>
                  </a:lnTo>
                  <a:lnTo>
                    <a:pt x="2561603" y="400050"/>
                  </a:lnTo>
                  <a:close/>
                </a:path>
                <a:path w="5760085" h="603250">
                  <a:moveTo>
                    <a:pt x="2614219" y="401320"/>
                  </a:moveTo>
                  <a:lnTo>
                    <a:pt x="2607629" y="410210"/>
                  </a:lnTo>
                  <a:lnTo>
                    <a:pt x="2601064" y="417830"/>
                  </a:lnTo>
                  <a:lnTo>
                    <a:pt x="2722853" y="417830"/>
                  </a:lnTo>
                  <a:lnTo>
                    <a:pt x="2722627" y="416560"/>
                  </a:lnTo>
                  <a:lnTo>
                    <a:pt x="2706234" y="416560"/>
                  </a:lnTo>
                  <a:lnTo>
                    <a:pt x="2699660" y="412750"/>
                  </a:lnTo>
                  <a:lnTo>
                    <a:pt x="2696022" y="406400"/>
                  </a:lnTo>
                  <a:lnTo>
                    <a:pt x="2627339" y="406400"/>
                  </a:lnTo>
                  <a:lnTo>
                    <a:pt x="2614219" y="401320"/>
                  </a:lnTo>
                  <a:close/>
                </a:path>
                <a:path w="5760085" h="603250">
                  <a:moveTo>
                    <a:pt x="3273911" y="398780"/>
                  </a:moveTo>
                  <a:lnTo>
                    <a:pt x="3270467" y="417830"/>
                  </a:lnTo>
                  <a:lnTo>
                    <a:pt x="3284271" y="417830"/>
                  </a:lnTo>
                  <a:lnTo>
                    <a:pt x="3280805" y="410210"/>
                  </a:lnTo>
                  <a:lnTo>
                    <a:pt x="3277355" y="401320"/>
                  </a:lnTo>
                  <a:lnTo>
                    <a:pt x="3273911" y="398780"/>
                  </a:lnTo>
                  <a:close/>
                </a:path>
                <a:path w="5760085" h="603250">
                  <a:moveTo>
                    <a:pt x="1474712" y="402590"/>
                  </a:moveTo>
                  <a:lnTo>
                    <a:pt x="1471239" y="415290"/>
                  </a:lnTo>
                  <a:lnTo>
                    <a:pt x="1467759" y="416560"/>
                  </a:lnTo>
                  <a:lnTo>
                    <a:pt x="1479015" y="416560"/>
                  </a:lnTo>
                  <a:lnTo>
                    <a:pt x="1478210" y="412750"/>
                  </a:lnTo>
                  <a:lnTo>
                    <a:pt x="1474712" y="402590"/>
                  </a:lnTo>
                  <a:close/>
                </a:path>
                <a:path w="5760085" h="603250">
                  <a:moveTo>
                    <a:pt x="2333715" y="414020"/>
                  </a:moveTo>
                  <a:lnTo>
                    <a:pt x="2330296" y="416560"/>
                  </a:lnTo>
                  <a:lnTo>
                    <a:pt x="2338337" y="416560"/>
                  </a:lnTo>
                  <a:lnTo>
                    <a:pt x="2333715" y="414020"/>
                  </a:lnTo>
                  <a:close/>
                </a:path>
                <a:path w="5760085" h="603250">
                  <a:moveTo>
                    <a:pt x="2347481" y="411480"/>
                  </a:moveTo>
                  <a:lnTo>
                    <a:pt x="2338337" y="416560"/>
                  </a:lnTo>
                  <a:lnTo>
                    <a:pt x="2348242" y="416560"/>
                  </a:lnTo>
                  <a:lnTo>
                    <a:pt x="2347481" y="411480"/>
                  </a:lnTo>
                  <a:close/>
                </a:path>
                <a:path w="5760085" h="603250">
                  <a:moveTo>
                    <a:pt x="2719452" y="398780"/>
                  </a:moveTo>
                  <a:lnTo>
                    <a:pt x="2712832" y="412750"/>
                  </a:lnTo>
                  <a:lnTo>
                    <a:pt x="2706234" y="416560"/>
                  </a:lnTo>
                  <a:lnTo>
                    <a:pt x="2722627" y="416560"/>
                  </a:lnTo>
                  <a:lnTo>
                    <a:pt x="2719452" y="398780"/>
                  </a:lnTo>
                  <a:close/>
                </a:path>
                <a:path w="5760085" h="603250">
                  <a:moveTo>
                    <a:pt x="3033233" y="400050"/>
                  </a:moveTo>
                  <a:lnTo>
                    <a:pt x="3029065" y="410210"/>
                  </a:lnTo>
                  <a:lnTo>
                    <a:pt x="3024907" y="416560"/>
                  </a:lnTo>
                  <a:lnTo>
                    <a:pt x="3055116" y="416560"/>
                  </a:lnTo>
                  <a:lnTo>
                    <a:pt x="3053760" y="412750"/>
                  </a:lnTo>
                  <a:lnTo>
                    <a:pt x="3041506" y="412750"/>
                  </a:lnTo>
                  <a:lnTo>
                    <a:pt x="3033233" y="400050"/>
                  </a:lnTo>
                  <a:close/>
                </a:path>
                <a:path w="5760085" h="603250">
                  <a:moveTo>
                    <a:pt x="3121096" y="403860"/>
                  </a:moveTo>
                  <a:lnTo>
                    <a:pt x="3117233" y="403860"/>
                  </a:lnTo>
                  <a:lnTo>
                    <a:pt x="3113339" y="406400"/>
                  </a:lnTo>
                  <a:lnTo>
                    <a:pt x="3109418" y="410210"/>
                  </a:lnTo>
                  <a:lnTo>
                    <a:pt x="3105543" y="415290"/>
                  </a:lnTo>
                  <a:lnTo>
                    <a:pt x="3101641" y="416560"/>
                  </a:lnTo>
                  <a:lnTo>
                    <a:pt x="3147795" y="416560"/>
                  </a:lnTo>
                  <a:lnTo>
                    <a:pt x="3140228" y="410210"/>
                  </a:lnTo>
                  <a:lnTo>
                    <a:pt x="3139807" y="408940"/>
                  </a:lnTo>
                  <a:lnTo>
                    <a:pt x="3124925" y="408940"/>
                  </a:lnTo>
                  <a:lnTo>
                    <a:pt x="3121096" y="403860"/>
                  </a:lnTo>
                  <a:close/>
                </a:path>
                <a:path w="5760085" h="603250">
                  <a:moveTo>
                    <a:pt x="3185072" y="414020"/>
                  </a:moveTo>
                  <a:lnTo>
                    <a:pt x="3181369" y="416560"/>
                  </a:lnTo>
                  <a:lnTo>
                    <a:pt x="3186529" y="416560"/>
                  </a:lnTo>
                  <a:lnTo>
                    <a:pt x="3185072" y="414020"/>
                  </a:lnTo>
                  <a:close/>
                </a:path>
                <a:path w="5760085" h="603250">
                  <a:moveTo>
                    <a:pt x="4624522" y="398780"/>
                  </a:moveTo>
                  <a:lnTo>
                    <a:pt x="4620853" y="406400"/>
                  </a:lnTo>
                  <a:lnTo>
                    <a:pt x="4617186" y="416560"/>
                  </a:lnTo>
                  <a:lnTo>
                    <a:pt x="5759996" y="416560"/>
                  </a:lnTo>
                  <a:lnTo>
                    <a:pt x="5759996" y="406400"/>
                  </a:lnTo>
                  <a:lnTo>
                    <a:pt x="4628185" y="406400"/>
                  </a:lnTo>
                  <a:lnTo>
                    <a:pt x="4624522" y="398780"/>
                  </a:lnTo>
                  <a:close/>
                </a:path>
                <a:path w="5760085" h="603250">
                  <a:moveTo>
                    <a:pt x="2316540" y="407670"/>
                  </a:moveTo>
                  <a:lnTo>
                    <a:pt x="2313069" y="412750"/>
                  </a:lnTo>
                  <a:lnTo>
                    <a:pt x="2309587" y="415290"/>
                  </a:lnTo>
                  <a:lnTo>
                    <a:pt x="2329916" y="415290"/>
                  </a:lnTo>
                  <a:lnTo>
                    <a:pt x="2329154" y="412750"/>
                  </a:lnTo>
                  <a:lnTo>
                    <a:pt x="2320011" y="412750"/>
                  </a:lnTo>
                  <a:lnTo>
                    <a:pt x="2316540" y="407670"/>
                  </a:lnTo>
                  <a:close/>
                </a:path>
                <a:path w="5760085" h="603250">
                  <a:moveTo>
                    <a:pt x="2795581" y="398780"/>
                  </a:moveTo>
                  <a:lnTo>
                    <a:pt x="2792259" y="407670"/>
                  </a:lnTo>
                  <a:lnTo>
                    <a:pt x="2788944" y="415290"/>
                  </a:lnTo>
                  <a:lnTo>
                    <a:pt x="2803096" y="415290"/>
                  </a:lnTo>
                  <a:lnTo>
                    <a:pt x="2802259" y="414020"/>
                  </a:lnTo>
                  <a:lnTo>
                    <a:pt x="2798890" y="401320"/>
                  </a:lnTo>
                  <a:lnTo>
                    <a:pt x="2795581" y="398780"/>
                  </a:lnTo>
                  <a:close/>
                </a:path>
                <a:path w="5760085" h="603250">
                  <a:moveTo>
                    <a:pt x="2488882" y="403860"/>
                  </a:moveTo>
                  <a:lnTo>
                    <a:pt x="2482254" y="407670"/>
                  </a:lnTo>
                  <a:lnTo>
                    <a:pt x="2478898" y="414020"/>
                  </a:lnTo>
                  <a:lnTo>
                    <a:pt x="2493712" y="414020"/>
                  </a:lnTo>
                  <a:lnTo>
                    <a:pt x="2488882" y="403860"/>
                  </a:lnTo>
                  <a:close/>
                </a:path>
                <a:path w="5760085" h="603250">
                  <a:moveTo>
                    <a:pt x="2535187" y="405130"/>
                  </a:moveTo>
                  <a:lnTo>
                    <a:pt x="2528576" y="414020"/>
                  </a:lnTo>
                  <a:lnTo>
                    <a:pt x="2536246" y="414020"/>
                  </a:lnTo>
                  <a:lnTo>
                    <a:pt x="2535187" y="405130"/>
                  </a:lnTo>
                  <a:close/>
                </a:path>
                <a:path w="5760085" h="603250">
                  <a:moveTo>
                    <a:pt x="1499223" y="386080"/>
                  </a:moveTo>
                  <a:lnTo>
                    <a:pt x="1495708" y="394970"/>
                  </a:lnTo>
                  <a:lnTo>
                    <a:pt x="1492208" y="412750"/>
                  </a:lnTo>
                  <a:lnTo>
                    <a:pt x="1515178" y="412750"/>
                  </a:lnTo>
                  <a:lnTo>
                    <a:pt x="1514399" y="410210"/>
                  </a:lnTo>
                  <a:lnTo>
                    <a:pt x="1502766" y="410210"/>
                  </a:lnTo>
                  <a:lnTo>
                    <a:pt x="1499223" y="386080"/>
                  </a:lnTo>
                  <a:close/>
                </a:path>
                <a:path w="5760085" h="603250">
                  <a:moveTo>
                    <a:pt x="2302672" y="398780"/>
                  </a:moveTo>
                  <a:lnTo>
                    <a:pt x="2299223" y="403860"/>
                  </a:lnTo>
                  <a:lnTo>
                    <a:pt x="2295748" y="411480"/>
                  </a:lnTo>
                  <a:lnTo>
                    <a:pt x="2292262" y="412750"/>
                  </a:lnTo>
                  <a:lnTo>
                    <a:pt x="2308710" y="412750"/>
                  </a:lnTo>
                  <a:lnTo>
                    <a:pt x="2306079" y="405130"/>
                  </a:lnTo>
                  <a:lnTo>
                    <a:pt x="2302672" y="398780"/>
                  </a:lnTo>
                  <a:close/>
                </a:path>
                <a:path w="5760085" h="603250">
                  <a:moveTo>
                    <a:pt x="2323436" y="398780"/>
                  </a:moveTo>
                  <a:lnTo>
                    <a:pt x="2320011" y="412750"/>
                  </a:lnTo>
                  <a:lnTo>
                    <a:pt x="2329154" y="412750"/>
                  </a:lnTo>
                  <a:lnTo>
                    <a:pt x="2326868" y="405130"/>
                  </a:lnTo>
                  <a:lnTo>
                    <a:pt x="2323436" y="398780"/>
                  </a:lnTo>
                  <a:close/>
                </a:path>
                <a:path w="5760085" h="603250">
                  <a:moveTo>
                    <a:pt x="2455609" y="410210"/>
                  </a:moveTo>
                  <a:lnTo>
                    <a:pt x="2448931" y="412750"/>
                  </a:lnTo>
                  <a:lnTo>
                    <a:pt x="2457104" y="412750"/>
                  </a:lnTo>
                  <a:lnTo>
                    <a:pt x="2455609" y="410210"/>
                  </a:lnTo>
                  <a:close/>
                </a:path>
                <a:path w="5760085" h="603250">
                  <a:moveTo>
                    <a:pt x="3008136" y="401320"/>
                  </a:moveTo>
                  <a:lnTo>
                    <a:pt x="3003898" y="407670"/>
                  </a:lnTo>
                  <a:lnTo>
                    <a:pt x="2999639" y="412750"/>
                  </a:lnTo>
                  <a:lnTo>
                    <a:pt x="3019678" y="412750"/>
                  </a:lnTo>
                  <a:lnTo>
                    <a:pt x="3016533" y="408940"/>
                  </a:lnTo>
                  <a:lnTo>
                    <a:pt x="3012339" y="406400"/>
                  </a:lnTo>
                  <a:lnTo>
                    <a:pt x="3008136" y="401320"/>
                  </a:lnTo>
                  <a:close/>
                </a:path>
                <a:path w="5760085" h="603250">
                  <a:moveTo>
                    <a:pt x="3049682" y="402590"/>
                  </a:moveTo>
                  <a:lnTo>
                    <a:pt x="3041506" y="412750"/>
                  </a:lnTo>
                  <a:lnTo>
                    <a:pt x="3053760" y="412750"/>
                  </a:lnTo>
                  <a:lnTo>
                    <a:pt x="3049682" y="402590"/>
                  </a:lnTo>
                  <a:close/>
                </a:path>
                <a:path w="5760085" h="603250">
                  <a:moveTo>
                    <a:pt x="4560831" y="379730"/>
                  </a:moveTo>
                  <a:lnTo>
                    <a:pt x="4557112" y="382270"/>
                  </a:lnTo>
                  <a:lnTo>
                    <a:pt x="4553370" y="412750"/>
                  </a:lnTo>
                  <a:lnTo>
                    <a:pt x="4598391" y="412750"/>
                  </a:lnTo>
                  <a:lnTo>
                    <a:pt x="4598034" y="411480"/>
                  </a:lnTo>
                  <a:lnTo>
                    <a:pt x="4568292" y="411480"/>
                  </a:lnTo>
                  <a:lnTo>
                    <a:pt x="4564550" y="393700"/>
                  </a:lnTo>
                  <a:lnTo>
                    <a:pt x="4560831" y="379730"/>
                  </a:lnTo>
                  <a:close/>
                </a:path>
                <a:path w="5760085" h="603250">
                  <a:moveTo>
                    <a:pt x="4602169" y="381000"/>
                  </a:moveTo>
                  <a:lnTo>
                    <a:pt x="4598391" y="412750"/>
                  </a:lnTo>
                  <a:lnTo>
                    <a:pt x="4613106" y="412750"/>
                  </a:lnTo>
                  <a:lnTo>
                    <a:pt x="4609716" y="402590"/>
                  </a:lnTo>
                  <a:lnTo>
                    <a:pt x="4605937" y="384810"/>
                  </a:lnTo>
                  <a:lnTo>
                    <a:pt x="4602169" y="381000"/>
                  </a:lnTo>
                  <a:close/>
                </a:path>
                <a:path w="5760085" h="603250">
                  <a:moveTo>
                    <a:pt x="2587918" y="403860"/>
                  </a:moveTo>
                  <a:lnTo>
                    <a:pt x="2581338" y="411480"/>
                  </a:lnTo>
                  <a:lnTo>
                    <a:pt x="2591509" y="411480"/>
                  </a:lnTo>
                  <a:lnTo>
                    <a:pt x="2587918" y="403860"/>
                  </a:lnTo>
                  <a:close/>
                </a:path>
                <a:path w="5760085" h="603250">
                  <a:moveTo>
                    <a:pt x="4583375" y="377190"/>
                  </a:moveTo>
                  <a:lnTo>
                    <a:pt x="4575847" y="386080"/>
                  </a:lnTo>
                  <a:lnTo>
                    <a:pt x="4568292" y="411480"/>
                  </a:lnTo>
                  <a:lnTo>
                    <a:pt x="4598034" y="411480"/>
                  </a:lnTo>
                  <a:lnTo>
                    <a:pt x="4590886" y="386080"/>
                  </a:lnTo>
                  <a:lnTo>
                    <a:pt x="4583375" y="377190"/>
                  </a:lnTo>
                  <a:close/>
                </a:path>
                <a:path w="5760085" h="603250">
                  <a:moveTo>
                    <a:pt x="1506237" y="397510"/>
                  </a:moveTo>
                  <a:lnTo>
                    <a:pt x="1502766" y="410210"/>
                  </a:lnTo>
                  <a:lnTo>
                    <a:pt x="1514399" y="410210"/>
                  </a:lnTo>
                  <a:lnTo>
                    <a:pt x="1513230" y="406400"/>
                  </a:lnTo>
                  <a:lnTo>
                    <a:pt x="1509727" y="398780"/>
                  </a:lnTo>
                  <a:lnTo>
                    <a:pt x="1506237" y="397510"/>
                  </a:lnTo>
                  <a:close/>
                </a:path>
                <a:path w="5760085" h="603250">
                  <a:moveTo>
                    <a:pt x="2388358" y="394970"/>
                  </a:moveTo>
                  <a:lnTo>
                    <a:pt x="2381587" y="394970"/>
                  </a:lnTo>
                  <a:lnTo>
                    <a:pt x="2374786" y="410210"/>
                  </a:lnTo>
                  <a:lnTo>
                    <a:pt x="2446696" y="410210"/>
                  </a:lnTo>
                  <a:lnTo>
                    <a:pt x="2445579" y="408940"/>
                  </a:lnTo>
                  <a:lnTo>
                    <a:pt x="2428825" y="408940"/>
                  </a:lnTo>
                  <a:lnTo>
                    <a:pt x="2425460" y="406400"/>
                  </a:lnTo>
                  <a:lnTo>
                    <a:pt x="2401863" y="406400"/>
                  </a:lnTo>
                  <a:lnTo>
                    <a:pt x="2395112" y="402590"/>
                  </a:lnTo>
                  <a:lnTo>
                    <a:pt x="2388358" y="394970"/>
                  </a:lnTo>
                  <a:close/>
                </a:path>
                <a:path w="5760085" h="603250">
                  <a:moveTo>
                    <a:pt x="2435517" y="400050"/>
                  </a:moveTo>
                  <a:lnTo>
                    <a:pt x="2428825" y="408940"/>
                  </a:lnTo>
                  <a:lnTo>
                    <a:pt x="2445579" y="408940"/>
                  </a:lnTo>
                  <a:lnTo>
                    <a:pt x="2442227" y="405130"/>
                  </a:lnTo>
                  <a:lnTo>
                    <a:pt x="2435517" y="400050"/>
                  </a:lnTo>
                  <a:close/>
                </a:path>
                <a:path w="5760085" h="603250">
                  <a:moveTo>
                    <a:pt x="3132610" y="392430"/>
                  </a:moveTo>
                  <a:lnTo>
                    <a:pt x="3128768" y="396240"/>
                  </a:lnTo>
                  <a:lnTo>
                    <a:pt x="3124925" y="408940"/>
                  </a:lnTo>
                  <a:lnTo>
                    <a:pt x="3139807" y="408940"/>
                  </a:lnTo>
                  <a:lnTo>
                    <a:pt x="3136435" y="398780"/>
                  </a:lnTo>
                  <a:lnTo>
                    <a:pt x="3132610" y="392430"/>
                  </a:lnTo>
                  <a:close/>
                </a:path>
                <a:path w="5760085" h="603250">
                  <a:moveTo>
                    <a:pt x="2765687" y="389890"/>
                  </a:moveTo>
                  <a:lnTo>
                    <a:pt x="2759076" y="397510"/>
                  </a:lnTo>
                  <a:lnTo>
                    <a:pt x="2752455" y="407670"/>
                  </a:lnTo>
                  <a:lnTo>
                    <a:pt x="2773033" y="407670"/>
                  </a:lnTo>
                  <a:lnTo>
                    <a:pt x="2772322" y="403860"/>
                  </a:lnTo>
                  <a:lnTo>
                    <a:pt x="2765687" y="389890"/>
                  </a:lnTo>
                  <a:close/>
                </a:path>
                <a:path w="5760085" h="603250">
                  <a:moveTo>
                    <a:pt x="2408613" y="393700"/>
                  </a:moveTo>
                  <a:lnTo>
                    <a:pt x="2401863" y="406400"/>
                  </a:lnTo>
                  <a:lnTo>
                    <a:pt x="2425460" y="406400"/>
                  </a:lnTo>
                  <a:lnTo>
                    <a:pt x="2422096" y="403860"/>
                  </a:lnTo>
                  <a:lnTo>
                    <a:pt x="2415358" y="396240"/>
                  </a:lnTo>
                  <a:lnTo>
                    <a:pt x="2408613" y="393700"/>
                  </a:lnTo>
                  <a:close/>
                </a:path>
                <a:path w="5760085" h="603250">
                  <a:moveTo>
                    <a:pt x="2653688" y="372110"/>
                  </a:moveTo>
                  <a:lnTo>
                    <a:pt x="2647066" y="373380"/>
                  </a:lnTo>
                  <a:lnTo>
                    <a:pt x="2640458" y="402590"/>
                  </a:lnTo>
                  <a:lnTo>
                    <a:pt x="2633911" y="406400"/>
                  </a:lnTo>
                  <a:lnTo>
                    <a:pt x="2696022" y="406400"/>
                  </a:lnTo>
                  <a:lnTo>
                    <a:pt x="2693839" y="402590"/>
                  </a:lnTo>
                  <a:lnTo>
                    <a:pt x="2673334" y="402590"/>
                  </a:lnTo>
                  <a:lnTo>
                    <a:pt x="2666747" y="400050"/>
                  </a:lnTo>
                  <a:lnTo>
                    <a:pt x="2660267" y="386080"/>
                  </a:lnTo>
                  <a:lnTo>
                    <a:pt x="2653688" y="372110"/>
                  </a:lnTo>
                  <a:close/>
                </a:path>
                <a:path w="5760085" h="603250">
                  <a:moveTo>
                    <a:pt x="4638980" y="367030"/>
                  </a:moveTo>
                  <a:lnTo>
                    <a:pt x="4635082" y="391160"/>
                  </a:lnTo>
                  <a:lnTo>
                    <a:pt x="4629976" y="397510"/>
                  </a:lnTo>
                  <a:lnTo>
                    <a:pt x="4632846" y="405130"/>
                  </a:lnTo>
                  <a:lnTo>
                    <a:pt x="4628185" y="406400"/>
                  </a:lnTo>
                  <a:lnTo>
                    <a:pt x="4651350" y="406400"/>
                  </a:lnTo>
                  <a:lnTo>
                    <a:pt x="4651985" y="403860"/>
                  </a:lnTo>
                  <a:lnTo>
                    <a:pt x="4643514" y="398780"/>
                  </a:lnTo>
                  <a:lnTo>
                    <a:pt x="4646346" y="394970"/>
                  </a:lnTo>
                  <a:lnTo>
                    <a:pt x="4641787" y="389890"/>
                  </a:lnTo>
                  <a:lnTo>
                    <a:pt x="4638980" y="367030"/>
                  </a:lnTo>
                  <a:close/>
                </a:path>
                <a:path w="5760085" h="603250">
                  <a:moveTo>
                    <a:pt x="4679072" y="386080"/>
                  </a:moveTo>
                  <a:lnTo>
                    <a:pt x="4672258" y="391160"/>
                  </a:lnTo>
                  <a:lnTo>
                    <a:pt x="4665429" y="400050"/>
                  </a:lnTo>
                  <a:lnTo>
                    <a:pt x="4658577" y="405130"/>
                  </a:lnTo>
                  <a:lnTo>
                    <a:pt x="4653751" y="405130"/>
                  </a:lnTo>
                  <a:lnTo>
                    <a:pt x="4651350" y="406400"/>
                  </a:lnTo>
                  <a:lnTo>
                    <a:pt x="5759996" y="406400"/>
                  </a:lnTo>
                  <a:lnTo>
                    <a:pt x="5759996" y="392430"/>
                  </a:lnTo>
                  <a:lnTo>
                    <a:pt x="4685882" y="392430"/>
                  </a:lnTo>
                  <a:lnTo>
                    <a:pt x="4679072" y="386080"/>
                  </a:lnTo>
                  <a:close/>
                </a:path>
                <a:path w="5760085" h="603250">
                  <a:moveTo>
                    <a:pt x="2845837" y="396240"/>
                  </a:moveTo>
                  <a:lnTo>
                    <a:pt x="2842457" y="396240"/>
                  </a:lnTo>
                  <a:lnTo>
                    <a:pt x="2839086" y="405130"/>
                  </a:lnTo>
                  <a:lnTo>
                    <a:pt x="2853009" y="405130"/>
                  </a:lnTo>
                  <a:lnTo>
                    <a:pt x="2852560" y="402590"/>
                  </a:lnTo>
                  <a:lnTo>
                    <a:pt x="2849210" y="400050"/>
                  </a:lnTo>
                  <a:lnTo>
                    <a:pt x="2845837" y="396240"/>
                  </a:lnTo>
                  <a:close/>
                </a:path>
                <a:path w="5760085" h="603250">
                  <a:moveTo>
                    <a:pt x="2986796" y="387350"/>
                  </a:moveTo>
                  <a:lnTo>
                    <a:pt x="2982495" y="387350"/>
                  </a:lnTo>
                  <a:lnTo>
                    <a:pt x="2978201" y="405130"/>
                  </a:lnTo>
                  <a:lnTo>
                    <a:pt x="2994837" y="405130"/>
                  </a:lnTo>
                  <a:lnTo>
                    <a:pt x="2991092" y="396240"/>
                  </a:lnTo>
                  <a:lnTo>
                    <a:pt x="2986796" y="387350"/>
                  </a:lnTo>
                  <a:close/>
                </a:path>
                <a:path w="5760085" h="603250">
                  <a:moveTo>
                    <a:pt x="1387792" y="356870"/>
                  </a:moveTo>
                  <a:lnTo>
                    <a:pt x="1384363" y="356870"/>
                  </a:lnTo>
                  <a:lnTo>
                    <a:pt x="1380912" y="372110"/>
                  </a:lnTo>
                  <a:lnTo>
                    <a:pt x="1377443" y="386080"/>
                  </a:lnTo>
                  <a:lnTo>
                    <a:pt x="1374690" y="403860"/>
                  </a:lnTo>
                  <a:lnTo>
                    <a:pt x="1406279" y="403860"/>
                  </a:lnTo>
                  <a:lnTo>
                    <a:pt x="1405979" y="401320"/>
                  </a:lnTo>
                  <a:lnTo>
                    <a:pt x="1398171" y="401320"/>
                  </a:lnTo>
                  <a:lnTo>
                    <a:pt x="1394700" y="396240"/>
                  </a:lnTo>
                  <a:lnTo>
                    <a:pt x="1391197" y="386080"/>
                  </a:lnTo>
                  <a:lnTo>
                    <a:pt x="1387792" y="356870"/>
                  </a:lnTo>
                  <a:close/>
                </a:path>
                <a:path w="5760085" h="603250">
                  <a:moveTo>
                    <a:pt x="2903448" y="392430"/>
                  </a:moveTo>
                  <a:lnTo>
                    <a:pt x="2900044" y="396240"/>
                  </a:lnTo>
                  <a:lnTo>
                    <a:pt x="2896628" y="403860"/>
                  </a:lnTo>
                  <a:lnTo>
                    <a:pt x="2915211" y="403860"/>
                  </a:lnTo>
                  <a:lnTo>
                    <a:pt x="2914832" y="402590"/>
                  </a:lnTo>
                  <a:lnTo>
                    <a:pt x="2906853" y="402590"/>
                  </a:lnTo>
                  <a:lnTo>
                    <a:pt x="2903448" y="392430"/>
                  </a:lnTo>
                  <a:close/>
                </a:path>
                <a:path w="5760085" h="603250">
                  <a:moveTo>
                    <a:pt x="2686496" y="391160"/>
                  </a:moveTo>
                  <a:lnTo>
                    <a:pt x="2679910" y="396240"/>
                  </a:lnTo>
                  <a:lnTo>
                    <a:pt x="2673334" y="402590"/>
                  </a:lnTo>
                  <a:lnTo>
                    <a:pt x="2693839" y="402590"/>
                  </a:lnTo>
                  <a:lnTo>
                    <a:pt x="2693112" y="401320"/>
                  </a:lnTo>
                  <a:lnTo>
                    <a:pt x="2686496" y="391160"/>
                  </a:lnTo>
                  <a:close/>
                </a:path>
                <a:path w="5760085" h="603250">
                  <a:moveTo>
                    <a:pt x="2911416" y="391160"/>
                  </a:moveTo>
                  <a:lnTo>
                    <a:pt x="2906853" y="402590"/>
                  </a:lnTo>
                  <a:lnTo>
                    <a:pt x="2914832" y="402590"/>
                  </a:lnTo>
                  <a:lnTo>
                    <a:pt x="2911416" y="391160"/>
                  </a:lnTo>
                  <a:close/>
                </a:path>
                <a:path w="5760085" h="603250">
                  <a:moveTo>
                    <a:pt x="1405078" y="393700"/>
                  </a:moveTo>
                  <a:lnTo>
                    <a:pt x="1401625" y="401320"/>
                  </a:lnTo>
                  <a:lnTo>
                    <a:pt x="1405979" y="401320"/>
                  </a:lnTo>
                  <a:lnTo>
                    <a:pt x="1405078" y="393700"/>
                  </a:lnTo>
                  <a:close/>
                </a:path>
                <a:path w="5760085" h="603250">
                  <a:moveTo>
                    <a:pt x="2829017" y="393700"/>
                  </a:moveTo>
                  <a:lnTo>
                    <a:pt x="2825662" y="401320"/>
                  </a:lnTo>
                  <a:lnTo>
                    <a:pt x="2833705" y="401320"/>
                  </a:lnTo>
                  <a:lnTo>
                    <a:pt x="2832364" y="398780"/>
                  </a:lnTo>
                  <a:lnTo>
                    <a:pt x="2829017" y="393700"/>
                  </a:lnTo>
                  <a:close/>
                </a:path>
                <a:path w="5760085" h="603250">
                  <a:moveTo>
                    <a:pt x="1366454" y="361950"/>
                  </a:moveTo>
                  <a:lnTo>
                    <a:pt x="1363701" y="382270"/>
                  </a:lnTo>
                  <a:lnTo>
                    <a:pt x="1360245" y="393700"/>
                  </a:lnTo>
                  <a:lnTo>
                    <a:pt x="1356818" y="400050"/>
                  </a:lnTo>
                  <a:lnTo>
                    <a:pt x="1373866" y="400050"/>
                  </a:lnTo>
                  <a:lnTo>
                    <a:pt x="1371944" y="391160"/>
                  </a:lnTo>
                  <a:lnTo>
                    <a:pt x="1369200" y="370840"/>
                  </a:lnTo>
                  <a:lnTo>
                    <a:pt x="1366454" y="361950"/>
                  </a:lnTo>
                  <a:close/>
                </a:path>
                <a:path w="5760085" h="603250">
                  <a:moveTo>
                    <a:pt x="1216026" y="351790"/>
                  </a:moveTo>
                  <a:lnTo>
                    <a:pt x="1212756" y="381000"/>
                  </a:lnTo>
                  <a:lnTo>
                    <a:pt x="1209498" y="396240"/>
                  </a:lnTo>
                  <a:lnTo>
                    <a:pt x="1206249" y="397510"/>
                  </a:lnTo>
                  <a:lnTo>
                    <a:pt x="1355109" y="397510"/>
                  </a:lnTo>
                  <a:lnTo>
                    <a:pt x="1353400" y="394970"/>
                  </a:lnTo>
                  <a:lnTo>
                    <a:pt x="1349973" y="375920"/>
                  </a:lnTo>
                  <a:lnTo>
                    <a:pt x="1349289" y="374650"/>
                  </a:lnTo>
                  <a:lnTo>
                    <a:pt x="1275501" y="374650"/>
                  </a:lnTo>
                  <a:lnTo>
                    <a:pt x="1270156" y="364490"/>
                  </a:lnTo>
                  <a:lnTo>
                    <a:pt x="1255481" y="364490"/>
                  </a:lnTo>
                  <a:lnTo>
                    <a:pt x="1248864" y="363220"/>
                  </a:lnTo>
                  <a:lnTo>
                    <a:pt x="1242277" y="356870"/>
                  </a:lnTo>
                  <a:lnTo>
                    <a:pt x="1238983" y="355600"/>
                  </a:lnTo>
                  <a:lnTo>
                    <a:pt x="1238385" y="353060"/>
                  </a:lnTo>
                  <a:lnTo>
                    <a:pt x="1219286" y="353060"/>
                  </a:lnTo>
                  <a:lnTo>
                    <a:pt x="1216026" y="351790"/>
                  </a:lnTo>
                  <a:close/>
                </a:path>
                <a:path w="5760085" h="603250">
                  <a:moveTo>
                    <a:pt x="4695129" y="377190"/>
                  </a:moveTo>
                  <a:lnTo>
                    <a:pt x="4692574" y="379730"/>
                  </a:lnTo>
                  <a:lnTo>
                    <a:pt x="4690009" y="391160"/>
                  </a:lnTo>
                  <a:lnTo>
                    <a:pt x="4685882" y="392430"/>
                  </a:lnTo>
                  <a:lnTo>
                    <a:pt x="4834952" y="392430"/>
                  </a:lnTo>
                  <a:lnTo>
                    <a:pt x="4831190" y="389890"/>
                  </a:lnTo>
                  <a:lnTo>
                    <a:pt x="4829667" y="387350"/>
                  </a:lnTo>
                  <a:lnTo>
                    <a:pt x="4700220" y="387350"/>
                  </a:lnTo>
                  <a:lnTo>
                    <a:pt x="4697676" y="381000"/>
                  </a:lnTo>
                  <a:lnTo>
                    <a:pt x="4695129" y="377190"/>
                  </a:lnTo>
                  <a:close/>
                </a:path>
                <a:path w="5760085" h="603250">
                  <a:moveTo>
                    <a:pt x="4849816" y="345440"/>
                  </a:moveTo>
                  <a:lnTo>
                    <a:pt x="4846152" y="346710"/>
                  </a:lnTo>
                  <a:lnTo>
                    <a:pt x="4842446" y="363220"/>
                  </a:lnTo>
                  <a:lnTo>
                    <a:pt x="4838586" y="383540"/>
                  </a:lnTo>
                  <a:lnTo>
                    <a:pt x="4834952" y="392430"/>
                  </a:lnTo>
                  <a:lnTo>
                    <a:pt x="5759996" y="392430"/>
                  </a:lnTo>
                  <a:lnTo>
                    <a:pt x="5759996" y="386080"/>
                  </a:lnTo>
                  <a:lnTo>
                    <a:pt x="4901467" y="386080"/>
                  </a:lnTo>
                  <a:lnTo>
                    <a:pt x="4900022" y="384810"/>
                  </a:lnTo>
                  <a:lnTo>
                    <a:pt x="4899446" y="382270"/>
                  </a:lnTo>
                  <a:lnTo>
                    <a:pt x="4875880" y="382270"/>
                  </a:lnTo>
                  <a:lnTo>
                    <a:pt x="4872136" y="379730"/>
                  </a:lnTo>
                  <a:lnTo>
                    <a:pt x="4870277" y="374650"/>
                  </a:lnTo>
                  <a:lnTo>
                    <a:pt x="4853547" y="374650"/>
                  </a:lnTo>
                  <a:lnTo>
                    <a:pt x="4849816" y="345440"/>
                  </a:lnTo>
                  <a:close/>
                </a:path>
                <a:path w="5760085" h="603250">
                  <a:moveTo>
                    <a:pt x="4788052" y="335280"/>
                  </a:moveTo>
                  <a:lnTo>
                    <a:pt x="4739653" y="335280"/>
                  </a:lnTo>
                  <a:lnTo>
                    <a:pt x="4735335" y="346710"/>
                  </a:lnTo>
                  <a:lnTo>
                    <a:pt x="4727626" y="350520"/>
                  </a:lnTo>
                  <a:lnTo>
                    <a:pt x="4716069" y="358140"/>
                  </a:lnTo>
                  <a:lnTo>
                    <a:pt x="4705541" y="361950"/>
                  </a:lnTo>
                  <a:lnTo>
                    <a:pt x="4713402" y="368300"/>
                  </a:lnTo>
                  <a:lnTo>
                    <a:pt x="4696257" y="377190"/>
                  </a:lnTo>
                  <a:lnTo>
                    <a:pt x="4713783" y="377190"/>
                  </a:lnTo>
                  <a:lnTo>
                    <a:pt x="4709021" y="383540"/>
                  </a:lnTo>
                  <a:lnTo>
                    <a:pt x="4700220" y="387350"/>
                  </a:lnTo>
                  <a:lnTo>
                    <a:pt x="4819907" y="387350"/>
                  </a:lnTo>
                  <a:lnTo>
                    <a:pt x="4819285" y="386080"/>
                  </a:lnTo>
                  <a:lnTo>
                    <a:pt x="4808729" y="386080"/>
                  </a:lnTo>
                  <a:lnTo>
                    <a:pt x="4797794" y="377190"/>
                  </a:lnTo>
                  <a:lnTo>
                    <a:pt x="4790479" y="370840"/>
                  </a:lnTo>
                  <a:lnTo>
                    <a:pt x="4805281" y="370840"/>
                  </a:lnTo>
                  <a:lnTo>
                    <a:pt x="4802709" y="359410"/>
                  </a:lnTo>
                  <a:lnTo>
                    <a:pt x="4820324" y="359410"/>
                  </a:lnTo>
                  <a:lnTo>
                    <a:pt x="4820044" y="356870"/>
                  </a:lnTo>
                  <a:lnTo>
                    <a:pt x="4831030" y="355600"/>
                  </a:lnTo>
                  <a:lnTo>
                    <a:pt x="4820425" y="349250"/>
                  </a:lnTo>
                  <a:lnTo>
                    <a:pt x="4802404" y="344170"/>
                  </a:lnTo>
                  <a:lnTo>
                    <a:pt x="4788052" y="335280"/>
                  </a:lnTo>
                  <a:close/>
                </a:path>
                <a:path w="5760085" h="603250">
                  <a:moveTo>
                    <a:pt x="4823613" y="375920"/>
                  </a:moveTo>
                  <a:lnTo>
                    <a:pt x="4819907" y="387350"/>
                  </a:lnTo>
                  <a:lnTo>
                    <a:pt x="4829667" y="387350"/>
                  </a:lnTo>
                  <a:lnTo>
                    <a:pt x="4827383" y="383540"/>
                  </a:lnTo>
                  <a:lnTo>
                    <a:pt x="4823613" y="375920"/>
                  </a:lnTo>
                  <a:close/>
                </a:path>
                <a:path w="5760085" h="603250">
                  <a:moveTo>
                    <a:pt x="4812442" y="373380"/>
                  </a:moveTo>
                  <a:lnTo>
                    <a:pt x="4808729" y="386080"/>
                  </a:lnTo>
                  <a:lnTo>
                    <a:pt x="4819285" y="386080"/>
                  </a:lnTo>
                  <a:lnTo>
                    <a:pt x="4816176" y="379730"/>
                  </a:lnTo>
                  <a:lnTo>
                    <a:pt x="4812442" y="373380"/>
                  </a:lnTo>
                  <a:close/>
                </a:path>
                <a:path w="5760085" h="603250">
                  <a:moveTo>
                    <a:pt x="5073634" y="377190"/>
                  </a:moveTo>
                  <a:lnTo>
                    <a:pt x="4904372" y="377190"/>
                  </a:lnTo>
                  <a:lnTo>
                    <a:pt x="4902917" y="382270"/>
                  </a:lnTo>
                  <a:lnTo>
                    <a:pt x="4901467" y="386080"/>
                  </a:lnTo>
                  <a:lnTo>
                    <a:pt x="5759996" y="386080"/>
                  </a:lnTo>
                  <a:lnTo>
                    <a:pt x="5759996" y="383540"/>
                  </a:lnTo>
                  <a:lnTo>
                    <a:pt x="5078464" y="383540"/>
                  </a:lnTo>
                  <a:lnTo>
                    <a:pt x="5074844" y="379730"/>
                  </a:lnTo>
                  <a:lnTo>
                    <a:pt x="5073634" y="377190"/>
                  </a:lnTo>
                  <a:close/>
                </a:path>
                <a:path w="5760085" h="603250">
                  <a:moveTo>
                    <a:pt x="5132776" y="367030"/>
                  </a:moveTo>
                  <a:lnTo>
                    <a:pt x="5095279" y="367030"/>
                  </a:lnTo>
                  <a:lnTo>
                    <a:pt x="5094339" y="370840"/>
                  </a:lnTo>
                  <a:lnTo>
                    <a:pt x="5092459" y="375920"/>
                  </a:lnTo>
                  <a:lnTo>
                    <a:pt x="5087506" y="381000"/>
                  </a:lnTo>
                  <a:lnTo>
                    <a:pt x="5078464" y="383540"/>
                  </a:lnTo>
                  <a:lnTo>
                    <a:pt x="5759996" y="383540"/>
                  </a:lnTo>
                  <a:lnTo>
                    <a:pt x="5759996" y="377190"/>
                  </a:lnTo>
                  <a:lnTo>
                    <a:pt x="5137976" y="377190"/>
                  </a:lnTo>
                  <a:lnTo>
                    <a:pt x="5131931" y="374650"/>
                  </a:lnTo>
                  <a:lnTo>
                    <a:pt x="5130788" y="368300"/>
                  </a:lnTo>
                  <a:lnTo>
                    <a:pt x="5132776" y="367030"/>
                  </a:lnTo>
                  <a:close/>
                </a:path>
                <a:path w="5760085" h="603250">
                  <a:moveTo>
                    <a:pt x="4888481" y="347980"/>
                  </a:moveTo>
                  <a:lnTo>
                    <a:pt x="4885907" y="350520"/>
                  </a:lnTo>
                  <a:lnTo>
                    <a:pt x="4883341" y="367030"/>
                  </a:lnTo>
                  <a:lnTo>
                    <a:pt x="4879624" y="377190"/>
                  </a:lnTo>
                  <a:lnTo>
                    <a:pt x="4875880" y="382270"/>
                  </a:lnTo>
                  <a:lnTo>
                    <a:pt x="4899446" y="382270"/>
                  </a:lnTo>
                  <a:lnTo>
                    <a:pt x="4898581" y="378460"/>
                  </a:lnTo>
                  <a:lnTo>
                    <a:pt x="4904372" y="377190"/>
                  </a:lnTo>
                  <a:lnTo>
                    <a:pt x="5073634" y="377190"/>
                  </a:lnTo>
                  <a:lnTo>
                    <a:pt x="5072423" y="374650"/>
                  </a:lnTo>
                  <a:lnTo>
                    <a:pt x="5053475" y="374650"/>
                  </a:lnTo>
                  <a:lnTo>
                    <a:pt x="5046376" y="373380"/>
                  </a:lnTo>
                  <a:lnTo>
                    <a:pt x="5018001" y="373380"/>
                  </a:lnTo>
                  <a:lnTo>
                    <a:pt x="5010900" y="368300"/>
                  </a:lnTo>
                  <a:lnTo>
                    <a:pt x="5004702" y="363220"/>
                  </a:lnTo>
                  <a:lnTo>
                    <a:pt x="4893679" y="363220"/>
                  </a:lnTo>
                  <a:lnTo>
                    <a:pt x="4891071" y="354330"/>
                  </a:lnTo>
                  <a:lnTo>
                    <a:pt x="4888481" y="347980"/>
                  </a:lnTo>
                  <a:close/>
                </a:path>
                <a:path w="5760085" h="603250">
                  <a:moveTo>
                    <a:pt x="1118693" y="370840"/>
                  </a:moveTo>
                  <a:lnTo>
                    <a:pt x="1114849" y="381000"/>
                  </a:lnTo>
                  <a:lnTo>
                    <a:pt x="1126338" y="381000"/>
                  </a:lnTo>
                  <a:lnTo>
                    <a:pt x="1122514" y="377190"/>
                  </a:lnTo>
                  <a:lnTo>
                    <a:pt x="1118693" y="370840"/>
                  </a:lnTo>
                  <a:close/>
                </a:path>
                <a:path w="5760085" h="603250">
                  <a:moveTo>
                    <a:pt x="1133984" y="334010"/>
                  </a:moveTo>
                  <a:lnTo>
                    <a:pt x="1130162" y="370840"/>
                  </a:lnTo>
                  <a:lnTo>
                    <a:pt x="1126338" y="381000"/>
                  </a:lnTo>
                  <a:lnTo>
                    <a:pt x="1197370" y="381000"/>
                  </a:lnTo>
                  <a:lnTo>
                    <a:pt x="1196566" y="378460"/>
                  </a:lnTo>
                  <a:lnTo>
                    <a:pt x="1195083" y="370840"/>
                  </a:lnTo>
                  <a:lnTo>
                    <a:pt x="1170541" y="370840"/>
                  </a:lnTo>
                  <a:lnTo>
                    <a:pt x="1167311" y="369570"/>
                  </a:lnTo>
                  <a:lnTo>
                    <a:pt x="1165932" y="355600"/>
                  </a:lnTo>
                  <a:lnTo>
                    <a:pt x="1151189" y="355600"/>
                  </a:lnTo>
                  <a:lnTo>
                    <a:pt x="1150423" y="347980"/>
                  </a:lnTo>
                  <a:lnTo>
                    <a:pt x="1141643" y="347980"/>
                  </a:lnTo>
                  <a:lnTo>
                    <a:pt x="1137818" y="342900"/>
                  </a:lnTo>
                  <a:lnTo>
                    <a:pt x="1133984" y="334010"/>
                  </a:lnTo>
                  <a:close/>
                </a:path>
                <a:path w="5760085" h="603250">
                  <a:moveTo>
                    <a:pt x="5152999" y="365760"/>
                  </a:moveTo>
                  <a:lnTo>
                    <a:pt x="5134763" y="365760"/>
                  </a:lnTo>
                  <a:lnTo>
                    <a:pt x="5143005" y="367030"/>
                  </a:lnTo>
                  <a:lnTo>
                    <a:pt x="5139945" y="374650"/>
                  </a:lnTo>
                  <a:lnTo>
                    <a:pt x="5138408" y="377190"/>
                  </a:lnTo>
                  <a:lnTo>
                    <a:pt x="5759996" y="377190"/>
                  </a:lnTo>
                  <a:lnTo>
                    <a:pt x="5759996" y="374650"/>
                  </a:lnTo>
                  <a:lnTo>
                    <a:pt x="5159455" y="374650"/>
                  </a:lnTo>
                  <a:lnTo>
                    <a:pt x="5155960" y="373380"/>
                  </a:lnTo>
                  <a:lnTo>
                    <a:pt x="5152999" y="365760"/>
                  </a:lnTo>
                  <a:close/>
                </a:path>
                <a:path w="5760085" h="603250">
                  <a:moveTo>
                    <a:pt x="1288926" y="364490"/>
                  </a:moveTo>
                  <a:lnTo>
                    <a:pt x="1282199" y="372110"/>
                  </a:lnTo>
                  <a:lnTo>
                    <a:pt x="1275501" y="374650"/>
                  </a:lnTo>
                  <a:lnTo>
                    <a:pt x="1322680" y="374650"/>
                  </a:lnTo>
                  <a:lnTo>
                    <a:pt x="1320538" y="367030"/>
                  </a:lnTo>
                  <a:lnTo>
                    <a:pt x="1295693" y="367030"/>
                  </a:lnTo>
                  <a:lnTo>
                    <a:pt x="1288926" y="364490"/>
                  </a:lnTo>
                  <a:close/>
                </a:path>
                <a:path w="5760085" h="603250">
                  <a:moveTo>
                    <a:pt x="1332892" y="334010"/>
                  </a:moveTo>
                  <a:lnTo>
                    <a:pt x="1329487" y="345440"/>
                  </a:lnTo>
                  <a:lnTo>
                    <a:pt x="1326083" y="367030"/>
                  </a:lnTo>
                  <a:lnTo>
                    <a:pt x="1322680" y="374650"/>
                  </a:lnTo>
                  <a:lnTo>
                    <a:pt x="1349289" y="374650"/>
                  </a:lnTo>
                  <a:lnTo>
                    <a:pt x="1346553" y="369570"/>
                  </a:lnTo>
                  <a:lnTo>
                    <a:pt x="1343134" y="369570"/>
                  </a:lnTo>
                  <a:lnTo>
                    <a:pt x="1339714" y="368300"/>
                  </a:lnTo>
                  <a:lnTo>
                    <a:pt x="1336295" y="356870"/>
                  </a:lnTo>
                  <a:lnTo>
                    <a:pt x="1332892" y="334010"/>
                  </a:lnTo>
                  <a:close/>
                </a:path>
                <a:path w="5760085" h="603250">
                  <a:moveTo>
                    <a:pt x="4805281" y="370840"/>
                  </a:moveTo>
                  <a:lnTo>
                    <a:pt x="4797908" y="370840"/>
                  </a:lnTo>
                  <a:lnTo>
                    <a:pt x="4806138" y="374650"/>
                  </a:lnTo>
                  <a:lnTo>
                    <a:pt x="4805281" y="370840"/>
                  </a:lnTo>
                  <a:close/>
                </a:path>
                <a:path w="5760085" h="603250">
                  <a:moveTo>
                    <a:pt x="4860973" y="360680"/>
                  </a:moveTo>
                  <a:lnTo>
                    <a:pt x="4857257" y="360680"/>
                  </a:lnTo>
                  <a:lnTo>
                    <a:pt x="4853547" y="374650"/>
                  </a:lnTo>
                  <a:lnTo>
                    <a:pt x="4870277" y="374650"/>
                  </a:lnTo>
                  <a:lnTo>
                    <a:pt x="4868419" y="369570"/>
                  </a:lnTo>
                  <a:lnTo>
                    <a:pt x="4864695" y="365760"/>
                  </a:lnTo>
                  <a:lnTo>
                    <a:pt x="4860973" y="360680"/>
                  </a:lnTo>
                  <a:close/>
                </a:path>
                <a:path w="5760085" h="603250">
                  <a:moveTo>
                    <a:pt x="5067631" y="364490"/>
                  </a:moveTo>
                  <a:lnTo>
                    <a:pt x="5060562" y="372110"/>
                  </a:lnTo>
                  <a:lnTo>
                    <a:pt x="5053475" y="374650"/>
                  </a:lnTo>
                  <a:lnTo>
                    <a:pt x="5072423" y="374650"/>
                  </a:lnTo>
                  <a:lnTo>
                    <a:pt x="5067631" y="364490"/>
                  </a:lnTo>
                  <a:close/>
                </a:path>
                <a:path w="5760085" h="603250">
                  <a:moveTo>
                    <a:pt x="5165992" y="326390"/>
                  </a:moveTo>
                  <a:lnTo>
                    <a:pt x="5098441" y="326390"/>
                  </a:lnTo>
                  <a:lnTo>
                    <a:pt x="5098822" y="331470"/>
                  </a:lnTo>
                  <a:lnTo>
                    <a:pt x="5086795" y="347980"/>
                  </a:lnTo>
                  <a:lnTo>
                    <a:pt x="5066513" y="363220"/>
                  </a:lnTo>
                  <a:lnTo>
                    <a:pt x="5081144" y="363220"/>
                  </a:lnTo>
                  <a:lnTo>
                    <a:pt x="5077715" y="374650"/>
                  </a:lnTo>
                  <a:lnTo>
                    <a:pt x="5090262" y="367030"/>
                  </a:lnTo>
                  <a:lnTo>
                    <a:pt x="5132776" y="367030"/>
                  </a:lnTo>
                  <a:lnTo>
                    <a:pt x="5134763" y="365760"/>
                  </a:lnTo>
                  <a:lnTo>
                    <a:pt x="5152999" y="365760"/>
                  </a:lnTo>
                  <a:lnTo>
                    <a:pt x="5152505" y="364490"/>
                  </a:lnTo>
                  <a:lnTo>
                    <a:pt x="5144212" y="364490"/>
                  </a:lnTo>
                  <a:lnTo>
                    <a:pt x="5137392" y="356870"/>
                  </a:lnTo>
                  <a:lnTo>
                    <a:pt x="5134687" y="353060"/>
                  </a:lnTo>
                  <a:lnTo>
                    <a:pt x="5136770" y="347980"/>
                  </a:lnTo>
                  <a:lnTo>
                    <a:pt x="5158747" y="347980"/>
                  </a:lnTo>
                  <a:lnTo>
                    <a:pt x="5151032" y="340360"/>
                  </a:lnTo>
                  <a:lnTo>
                    <a:pt x="5148936" y="334010"/>
                  </a:lnTo>
                  <a:lnTo>
                    <a:pt x="5171936" y="334010"/>
                  </a:lnTo>
                  <a:lnTo>
                    <a:pt x="5165992" y="326390"/>
                  </a:lnTo>
                  <a:close/>
                </a:path>
                <a:path w="5760085" h="603250">
                  <a:moveTo>
                    <a:pt x="5170009" y="353060"/>
                  </a:moveTo>
                  <a:lnTo>
                    <a:pt x="5166500" y="363220"/>
                  </a:lnTo>
                  <a:lnTo>
                    <a:pt x="5162974" y="372110"/>
                  </a:lnTo>
                  <a:lnTo>
                    <a:pt x="5159455" y="374650"/>
                  </a:lnTo>
                  <a:lnTo>
                    <a:pt x="5176987" y="374650"/>
                  </a:lnTo>
                  <a:lnTo>
                    <a:pt x="5173498" y="365760"/>
                  </a:lnTo>
                  <a:lnTo>
                    <a:pt x="5170009" y="353060"/>
                  </a:lnTo>
                  <a:close/>
                </a:path>
                <a:path w="5760085" h="603250">
                  <a:moveTo>
                    <a:pt x="5202272" y="340360"/>
                  </a:moveTo>
                  <a:lnTo>
                    <a:pt x="5193043" y="340360"/>
                  </a:lnTo>
                  <a:lnTo>
                    <a:pt x="5192104" y="344170"/>
                  </a:lnTo>
                  <a:lnTo>
                    <a:pt x="5188217" y="344170"/>
                  </a:lnTo>
                  <a:lnTo>
                    <a:pt x="5184344" y="347980"/>
                  </a:lnTo>
                  <a:lnTo>
                    <a:pt x="5180496" y="356870"/>
                  </a:lnTo>
                  <a:lnTo>
                    <a:pt x="5176987" y="374650"/>
                  </a:lnTo>
                  <a:lnTo>
                    <a:pt x="5759996" y="374650"/>
                  </a:lnTo>
                  <a:lnTo>
                    <a:pt x="5759996" y="363220"/>
                  </a:lnTo>
                  <a:lnTo>
                    <a:pt x="5212881" y="363220"/>
                  </a:lnTo>
                  <a:lnTo>
                    <a:pt x="5209845" y="358140"/>
                  </a:lnTo>
                  <a:lnTo>
                    <a:pt x="5208334" y="356870"/>
                  </a:lnTo>
                  <a:lnTo>
                    <a:pt x="5205248" y="353060"/>
                  </a:lnTo>
                  <a:lnTo>
                    <a:pt x="5202124" y="349250"/>
                  </a:lnTo>
                  <a:lnTo>
                    <a:pt x="5199025" y="346710"/>
                  </a:lnTo>
                  <a:lnTo>
                    <a:pt x="5202272" y="340360"/>
                  </a:lnTo>
                  <a:close/>
                </a:path>
                <a:path w="5760085" h="603250">
                  <a:moveTo>
                    <a:pt x="5039272" y="367030"/>
                  </a:moveTo>
                  <a:lnTo>
                    <a:pt x="5032170" y="370840"/>
                  </a:lnTo>
                  <a:lnTo>
                    <a:pt x="5025086" y="373380"/>
                  </a:lnTo>
                  <a:lnTo>
                    <a:pt x="5046376" y="373380"/>
                  </a:lnTo>
                  <a:lnTo>
                    <a:pt x="5039272" y="367030"/>
                  </a:lnTo>
                  <a:close/>
                </a:path>
                <a:path w="5760085" h="603250">
                  <a:moveTo>
                    <a:pt x="1183703" y="335280"/>
                  </a:moveTo>
                  <a:lnTo>
                    <a:pt x="1180494" y="335280"/>
                  </a:lnTo>
                  <a:lnTo>
                    <a:pt x="1177291" y="340360"/>
                  </a:lnTo>
                  <a:lnTo>
                    <a:pt x="1173961" y="358140"/>
                  </a:lnTo>
                  <a:lnTo>
                    <a:pt x="1170541" y="370840"/>
                  </a:lnTo>
                  <a:lnTo>
                    <a:pt x="1195083" y="370840"/>
                  </a:lnTo>
                  <a:lnTo>
                    <a:pt x="1193353" y="361950"/>
                  </a:lnTo>
                  <a:lnTo>
                    <a:pt x="1190143" y="344170"/>
                  </a:lnTo>
                  <a:lnTo>
                    <a:pt x="1186919" y="339090"/>
                  </a:lnTo>
                  <a:lnTo>
                    <a:pt x="1183703" y="335280"/>
                  </a:lnTo>
                  <a:close/>
                </a:path>
                <a:path w="5760085" h="603250">
                  <a:moveTo>
                    <a:pt x="4820324" y="359410"/>
                  </a:moveTo>
                  <a:lnTo>
                    <a:pt x="4802709" y="359410"/>
                  </a:lnTo>
                  <a:lnTo>
                    <a:pt x="4821441" y="369570"/>
                  </a:lnTo>
                  <a:lnTo>
                    <a:pt x="4820324" y="359410"/>
                  </a:lnTo>
                  <a:close/>
                </a:path>
                <a:path w="5760085" h="603250">
                  <a:moveTo>
                    <a:pt x="1309129" y="332740"/>
                  </a:moveTo>
                  <a:lnTo>
                    <a:pt x="1302392" y="332740"/>
                  </a:lnTo>
                  <a:lnTo>
                    <a:pt x="1295693" y="367030"/>
                  </a:lnTo>
                  <a:lnTo>
                    <a:pt x="1320538" y="367030"/>
                  </a:lnTo>
                  <a:lnTo>
                    <a:pt x="1315895" y="350520"/>
                  </a:lnTo>
                  <a:lnTo>
                    <a:pt x="1309129" y="332740"/>
                  </a:lnTo>
                  <a:close/>
                </a:path>
                <a:path w="5760085" h="603250">
                  <a:moveTo>
                    <a:pt x="1268820" y="361950"/>
                  </a:moveTo>
                  <a:lnTo>
                    <a:pt x="1255481" y="364490"/>
                  </a:lnTo>
                  <a:lnTo>
                    <a:pt x="1270156" y="364490"/>
                  </a:lnTo>
                  <a:lnTo>
                    <a:pt x="1268820" y="361950"/>
                  </a:lnTo>
                  <a:close/>
                </a:path>
                <a:path w="5760085" h="603250">
                  <a:moveTo>
                    <a:pt x="5149724" y="353060"/>
                  </a:moveTo>
                  <a:lnTo>
                    <a:pt x="5146980" y="356870"/>
                  </a:lnTo>
                  <a:lnTo>
                    <a:pt x="5144212" y="364490"/>
                  </a:lnTo>
                  <a:lnTo>
                    <a:pt x="5152505" y="364490"/>
                  </a:lnTo>
                  <a:lnTo>
                    <a:pt x="5149724" y="353060"/>
                  </a:lnTo>
                  <a:close/>
                </a:path>
                <a:path w="5760085" h="603250">
                  <a:moveTo>
                    <a:pt x="5001694" y="358905"/>
                  </a:moveTo>
                  <a:lnTo>
                    <a:pt x="5001388" y="359410"/>
                  </a:lnTo>
                  <a:lnTo>
                    <a:pt x="4909198" y="359410"/>
                  </a:lnTo>
                  <a:lnTo>
                    <a:pt x="4893679" y="363220"/>
                  </a:lnTo>
                  <a:lnTo>
                    <a:pt x="5004702" y="363220"/>
                  </a:lnTo>
                  <a:lnTo>
                    <a:pt x="5001694" y="358905"/>
                  </a:lnTo>
                  <a:close/>
                </a:path>
                <a:path w="5760085" h="603250">
                  <a:moveTo>
                    <a:pt x="5361750" y="335280"/>
                  </a:moveTo>
                  <a:lnTo>
                    <a:pt x="5225505" y="335280"/>
                  </a:lnTo>
                  <a:lnTo>
                    <a:pt x="5228438" y="344170"/>
                  </a:lnTo>
                  <a:lnTo>
                    <a:pt x="5218989" y="358140"/>
                  </a:lnTo>
                  <a:lnTo>
                    <a:pt x="5212881" y="363220"/>
                  </a:lnTo>
                  <a:lnTo>
                    <a:pt x="5759996" y="363220"/>
                  </a:lnTo>
                  <a:lnTo>
                    <a:pt x="5759996" y="355600"/>
                  </a:lnTo>
                  <a:lnTo>
                    <a:pt x="5395382" y="355600"/>
                  </a:lnTo>
                  <a:lnTo>
                    <a:pt x="5393108" y="354330"/>
                  </a:lnTo>
                  <a:lnTo>
                    <a:pt x="5378467" y="354330"/>
                  </a:lnTo>
                  <a:lnTo>
                    <a:pt x="5375173" y="350520"/>
                  </a:lnTo>
                  <a:lnTo>
                    <a:pt x="5374516" y="349250"/>
                  </a:lnTo>
                  <a:lnTo>
                    <a:pt x="5370691" y="349250"/>
                  </a:lnTo>
                  <a:lnTo>
                    <a:pt x="5363338" y="342900"/>
                  </a:lnTo>
                  <a:lnTo>
                    <a:pt x="5361750" y="335280"/>
                  </a:lnTo>
                  <a:close/>
                </a:path>
                <a:path w="5760085" h="603250">
                  <a:moveTo>
                    <a:pt x="1103326" y="332740"/>
                  </a:moveTo>
                  <a:lnTo>
                    <a:pt x="1099519" y="358140"/>
                  </a:lnTo>
                  <a:lnTo>
                    <a:pt x="1095709" y="359410"/>
                  </a:lnTo>
                  <a:lnTo>
                    <a:pt x="1107718" y="359410"/>
                  </a:lnTo>
                  <a:lnTo>
                    <a:pt x="1107170" y="356870"/>
                  </a:lnTo>
                  <a:lnTo>
                    <a:pt x="1103326" y="332740"/>
                  </a:lnTo>
                  <a:close/>
                </a:path>
                <a:path w="5760085" h="603250">
                  <a:moveTo>
                    <a:pt x="4995800" y="354330"/>
                  </a:moveTo>
                  <a:lnTo>
                    <a:pt x="4930166" y="354330"/>
                  </a:lnTo>
                  <a:lnTo>
                    <a:pt x="4910621" y="359410"/>
                  </a:lnTo>
                  <a:lnTo>
                    <a:pt x="5001388" y="359410"/>
                  </a:lnTo>
                  <a:lnTo>
                    <a:pt x="4995800" y="354330"/>
                  </a:lnTo>
                  <a:close/>
                </a:path>
                <a:path w="5760085" h="603250">
                  <a:moveTo>
                    <a:pt x="5015408" y="347980"/>
                  </a:moveTo>
                  <a:lnTo>
                    <a:pt x="4988815" y="347980"/>
                  </a:lnTo>
                  <a:lnTo>
                    <a:pt x="5001388" y="359410"/>
                  </a:lnTo>
                  <a:lnTo>
                    <a:pt x="5001694" y="358905"/>
                  </a:lnTo>
                  <a:lnTo>
                    <a:pt x="4998505" y="354330"/>
                  </a:lnTo>
                  <a:lnTo>
                    <a:pt x="5004474" y="354330"/>
                  </a:lnTo>
                  <a:lnTo>
                    <a:pt x="5007560" y="349250"/>
                  </a:lnTo>
                  <a:lnTo>
                    <a:pt x="5016717" y="349250"/>
                  </a:lnTo>
                  <a:lnTo>
                    <a:pt x="5015408" y="347980"/>
                  </a:lnTo>
                  <a:close/>
                </a:path>
                <a:path w="5760085" h="603250">
                  <a:moveTo>
                    <a:pt x="5004474" y="354330"/>
                  </a:moveTo>
                  <a:lnTo>
                    <a:pt x="4998505" y="354330"/>
                  </a:lnTo>
                  <a:lnTo>
                    <a:pt x="5001694" y="358905"/>
                  </a:lnTo>
                  <a:lnTo>
                    <a:pt x="5004474" y="354330"/>
                  </a:lnTo>
                  <a:close/>
                </a:path>
                <a:path w="5760085" h="603250">
                  <a:moveTo>
                    <a:pt x="4892358" y="320040"/>
                  </a:moveTo>
                  <a:lnTo>
                    <a:pt x="4901540" y="327660"/>
                  </a:lnTo>
                  <a:lnTo>
                    <a:pt x="4904664" y="334010"/>
                  </a:lnTo>
                  <a:lnTo>
                    <a:pt x="4887862" y="335280"/>
                  </a:lnTo>
                  <a:lnTo>
                    <a:pt x="4899635" y="345440"/>
                  </a:lnTo>
                  <a:lnTo>
                    <a:pt x="4898822" y="356870"/>
                  </a:lnTo>
                  <a:lnTo>
                    <a:pt x="4914228" y="346710"/>
                  </a:lnTo>
                  <a:lnTo>
                    <a:pt x="5014100" y="346710"/>
                  </a:lnTo>
                  <a:lnTo>
                    <a:pt x="5003636" y="336550"/>
                  </a:lnTo>
                  <a:lnTo>
                    <a:pt x="5016844" y="332740"/>
                  </a:lnTo>
                  <a:lnTo>
                    <a:pt x="5004598" y="323850"/>
                  </a:lnTo>
                  <a:lnTo>
                    <a:pt x="4933976" y="323850"/>
                  </a:lnTo>
                  <a:lnTo>
                    <a:pt x="4926947" y="321310"/>
                  </a:lnTo>
                  <a:lnTo>
                    <a:pt x="4903915" y="321310"/>
                  </a:lnTo>
                  <a:lnTo>
                    <a:pt x="4892358" y="320040"/>
                  </a:lnTo>
                  <a:close/>
                </a:path>
                <a:path w="5760085" h="603250">
                  <a:moveTo>
                    <a:pt x="1156933" y="279400"/>
                  </a:moveTo>
                  <a:lnTo>
                    <a:pt x="1155018" y="327660"/>
                  </a:lnTo>
                  <a:lnTo>
                    <a:pt x="1153104" y="353060"/>
                  </a:lnTo>
                  <a:lnTo>
                    <a:pt x="1151189" y="355600"/>
                  </a:lnTo>
                  <a:lnTo>
                    <a:pt x="1165932" y="355600"/>
                  </a:lnTo>
                  <a:lnTo>
                    <a:pt x="1164553" y="341630"/>
                  </a:lnTo>
                  <a:lnTo>
                    <a:pt x="1162240" y="307340"/>
                  </a:lnTo>
                  <a:lnTo>
                    <a:pt x="1160381" y="289560"/>
                  </a:lnTo>
                  <a:lnTo>
                    <a:pt x="1158702" y="283210"/>
                  </a:lnTo>
                  <a:lnTo>
                    <a:pt x="1156933" y="279400"/>
                  </a:lnTo>
                  <a:close/>
                </a:path>
                <a:path w="5760085" h="603250">
                  <a:moveTo>
                    <a:pt x="5759996" y="347980"/>
                  </a:moveTo>
                  <a:lnTo>
                    <a:pt x="5397653" y="347980"/>
                  </a:lnTo>
                  <a:lnTo>
                    <a:pt x="5395382" y="355600"/>
                  </a:lnTo>
                  <a:lnTo>
                    <a:pt x="5759996" y="355600"/>
                  </a:lnTo>
                  <a:lnTo>
                    <a:pt x="5759996" y="347980"/>
                  </a:lnTo>
                  <a:close/>
                </a:path>
                <a:path w="5760085" h="603250">
                  <a:moveTo>
                    <a:pt x="5014100" y="346710"/>
                  </a:moveTo>
                  <a:lnTo>
                    <a:pt x="4914228" y="346710"/>
                  </a:lnTo>
                  <a:lnTo>
                    <a:pt x="4914050" y="353060"/>
                  </a:lnTo>
                  <a:lnTo>
                    <a:pt x="4930268" y="354330"/>
                  </a:lnTo>
                  <a:lnTo>
                    <a:pt x="4992294" y="354330"/>
                  </a:lnTo>
                  <a:lnTo>
                    <a:pt x="4988815" y="347980"/>
                  </a:lnTo>
                  <a:lnTo>
                    <a:pt x="5015408" y="347980"/>
                  </a:lnTo>
                  <a:lnTo>
                    <a:pt x="5014100" y="346710"/>
                  </a:lnTo>
                  <a:close/>
                </a:path>
                <a:path w="5760085" h="603250">
                  <a:moveTo>
                    <a:pt x="5203570" y="337820"/>
                  </a:moveTo>
                  <a:lnTo>
                    <a:pt x="5179658" y="337820"/>
                  </a:lnTo>
                  <a:lnTo>
                    <a:pt x="5176267" y="354330"/>
                  </a:lnTo>
                  <a:lnTo>
                    <a:pt x="5186846" y="342900"/>
                  </a:lnTo>
                  <a:lnTo>
                    <a:pt x="5193043" y="340360"/>
                  </a:lnTo>
                  <a:lnTo>
                    <a:pt x="5202272" y="340360"/>
                  </a:lnTo>
                  <a:lnTo>
                    <a:pt x="5203570" y="337820"/>
                  </a:lnTo>
                  <a:close/>
                </a:path>
                <a:path w="5760085" h="603250">
                  <a:moveTo>
                    <a:pt x="5309632" y="281940"/>
                  </a:moveTo>
                  <a:lnTo>
                    <a:pt x="5248707" y="281940"/>
                  </a:lnTo>
                  <a:lnTo>
                    <a:pt x="5241545" y="292100"/>
                  </a:lnTo>
                  <a:lnTo>
                    <a:pt x="5231702" y="298450"/>
                  </a:lnTo>
                  <a:lnTo>
                    <a:pt x="5225149" y="303530"/>
                  </a:lnTo>
                  <a:lnTo>
                    <a:pt x="5172927" y="335280"/>
                  </a:lnTo>
                  <a:lnTo>
                    <a:pt x="5361750" y="335280"/>
                  </a:lnTo>
                  <a:lnTo>
                    <a:pt x="5366500" y="337820"/>
                  </a:lnTo>
                  <a:lnTo>
                    <a:pt x="5366182" y="339090"/>
                  </a:lnTo>
                  <a:lnTo>
                    <a:pt x="5367008" y="339090"/>
                  </a:lnTo>
                  <a:lnTo>
                    <a:pt x="5378057" y="344170"/>
                  </a:lnTo>
                  <a:lnTo>
                    <a:pt x="5385067" y="345440"/>
                  </a:lnTo>
                  <a:lnTo>
                    <a:pt x="5381765" y="353060"/>
                  </a:lnTo>
                  <a:lnTo>
                    <a:pt x="5378467" y="354330"/>
                  </a:lnTo>
                  <a:lnTo>
                    <a:pt x="5393108" y="354330"/>
                  </a:lnTo>
                  <a:lnTo>
                    <a:pt x="5390836" y="350520"/>
                  </a:lnTo>
                  <a:lnTo>
                    <a:pt x="5388573" y="345440"/>
                  </a:lnTo>
                  <a:lnTo>
                    <a:pt x="5390655" y="345440"/>
                  </a:lnTo>
                  <a:lnTo>
                    <a:pt x="5388890" y="341630"/>
                  </a:lnTo>
                  <a:lnTo>
                    <a:pt x="5398148" y="331470"/>
                  </a:lnTo>
                  <a:lnTo>
                    <a:pt x="5759996" y="331470"/>
                  </a:lnTo>
                  <a:lnTo>
                    <a:pt x="5759996" y="317500"/>
                  </a:lnTo>
                  <a:lnTo>
                    <a:pt x="5359058" y="317500"/>
                  </a:lnTo>
                  <a:lnTo>
                    <a:pt x="5351374" y="316230"/>
                  </a:lnTo>
                  <a:lnTo>
                    <a:pt x="5328857" y="306070"/>
                  </a:lnTo>
                  <a:lnTo>
                    <a:pt x="5312550" y="289560"/>
                  </a:lnTo>
                  <a:lnTo>
                    <a:pt x="5309632" y="281940"/>
                  </a:lnTo>
                  <a:close/>
                </a:path>
                <a:path w="5760085" h="603250">
                  <a:moveTo>
                    <a:pt x="1229119" y="318770"/>
                  </a:moveTo>
                  <a:lnTo>
                    <a:pt x="1225830" y="321310"/>
                  </a:lnTo>
                  <a:lnTo>
                    <a:pt x="1222553" y="337820"/>
                  </a:lnTo>
                  <a:lnTo>
                    <a:pt x="1219286" y="353060"/>
                  </a:lnTo>
                  <a:lnTo>
                    <a:pt x="1238385" y="353060"/>
                  </a:lnTo>
                  <a:lnTo>
                    <a:pt x="1235693" y="341630"/>
                  </a:lnTo>
                  <a:lnTo>
                    <a:pt x="1232406" y="325120"/>
                  </a:lnTo>
                  <a:lnTo>
                    <a:pt x="1229119" y="318770"/>
                  </a:lnTo>
                  <a:close/>
                </a:path>
                <a:path w="5760085" h="603250">
                  <a:moveTo>
                    <a:pt x="5016717" y="349250"/>
                  </a:moveTo>
                  <a:lnTo>
                    <a:pt x="5007560" y="349250"/>
                  </a:lnTo>
                  <a:lnTo>
                    <a:pt x="5020641" y="353060"/>
                  </a:lnTo>
                  <a:lnTo>
                    <a:pt x="5016717" y="349250"/>
                  </a:lnTo>
                  <a:close/>
                </a:path>
                <a:path w="5760085" h="603250">
                  <a:moveTo>
                    <a:pt x="5223684" y="336550"/>
                  </a:moveTo>
                  <a:lnTo>
                    <a:pt x="5204219" y="336550"/>
                  </a:lnTo>
                  <a:lnTo>
                    <a:pt x="5207801" y="353060"/>
                  </a:lnTo>
                  <a:lnTo>
                    <a:pt x="5215154" y="344170"/>
                  </a:lnTo>
                  <a:lnTo>
                    <a:pt x="5220044" y="339090"/>
                  </a:lnTo>
                  <a:lnTo>
                    <a:pt x="5223684" y="336550"/>
                  </a:lnTo>
                  <a:close/>
                </a:path>
                <a:path w="5760085" h="603250">
                  <a:moveTo>
                    <a:pt x="5158747" y="347980"/>
                  </a:moveTo>
                  <a:lnTo>
                    <a:pt x="5136770" y="347980"/>
                  </a:lnTo>
                  <a:lnTo>
                    <a:pt x="5161319" y="350520"/>
                  </a:lnTo>
                  <a:lnTo>
                    <a:pt x="5158747" y="347980"/>
                  </a:lnTo>
                  <a:close/>
                </a:path>
                <a:path w="5760085" h="603250">
                  <a:moveTo>
                    <a:pt x="5759996" y="331470"/>
                  </a:moveTo>
                  <a:lnTo>
                    <a:pt x="5398148" y="331470"/>
                  </a:lnTo>
                  <a:lnTo>
                    <a:pt x="5394846" y="350520"/>
                  </a:lnTo>
                  <a:lnTo>
                    <a:pt x="5397653" y="347980"/>
                  </a:lnTo>
                  <a:lnTo>
                    <a:pt x="5759996" y="347980"/>
                  </a:lnTo>
                  <a:lnTo>
                    <a:pt x="5759996" y="331470"/>
                  </a:lnTo>
                  <a:close/>
                </a:path>
                <a:path w="5760085" h="603250">
                  <a:moveTo>
                    <a:pt x="5371885" y="344170"/>
                  </a:moveTo>
                  <a:lnTo>
                    <a:pt x="5371491" y="345440"/>
                  </a:lnTo>
                  <a:lnTo>
                    <a:pt x="5370691" y="349250"/>
                  </a:lnTo>
                  <a:lnTo>
                    <a:pt x="5374516" y="349250"/>
                  </a:lnTo>
                  <a:lnTo>
                    <a:pt x="5371885" y="344170"/>
                  </a:lnTo>
                  <a:close/>
                </a:path>
                <a:path w="5760085" h="603250">
                  <a:moveTo>
                    <a:pt x="1149274" y="336550"/>
                  </a:moveTo>
                  <a:lnTo>
                    <a:pt x="1145462" y="346710"/>
                  </a:lnTo>
                  <a:lnTo>
                    <a:pt x="1141643" y="347980"/>
                  </a:lnTo>
                  <a:lnTo>
                    <a:pt x="1150423" y="347980"/>
                  </a:lnTo>
                  <a:lnTo>
                    <a:pt x="1149274" y="336550"/>
                  </a:lnTo>
                  <a:close/>
                </a:path>
                <a:path w="5760085" h="603250">
                  <a:moveTo>
                    <a:pt x="4730154" y="336550"/>
                  </a:moveTo>
                  <a:lnTo>
                    <a:pt x="4721048" y="336550"/>
                  </a:lnTo>
                  <a:lnTo>
                    <a:pt x="4719473" y="347980"/>
                  </a:lnTo>
                  <a:lnTo>
                    <a:pt x="4723740" y="342900"/>
                  </a:lnTo>
                  <a:lnTo>
                    <a:pt x="4725887" y="341630"/>
                  </a:lnTo>
                  <a:lnTo>
                    <a:pt x="4730154" y="336550"/>
                  </a:lnTo>
                  <a:close/>
                </a:path>
                <a:path w="5760085" h="603250">
                  <a:moveTo>
                    <a:pt x="1088035" y="326390"/>
                  </a:moveTo>
                  <a:lnTo>
                    <a:pt x="1084196" y="345440"/>
                  </a:lnTo>
                  <a:lnTo>
                    <a:pt x="1091645" y="345440"/>
                  </a:lnTo>
                  <a:lnTo>
                    <a:pt x="1088035" y="326390"/>
                  </a:lnTo>
                  <a:close/>
                </a:path>
                <a:path w="5760085" h="603250">
                  <a:moveTo>
                    <a:pt x="4786001" y="334010"/>
                  </a:moveTo>
                  <a:lnTo>
                    <a:pt x="4711091" y="334010"/>
                  </a:lnTo>
                  <a:lnTo>
                    <a:pt x="4706062" y="344170"/>
                  </a:lnTo>
                  <a:lnTo>
                    <a:pt x="4721048" y="336550"/>
                  </a:lnTo>
                  <a:lnTo>
                    <a:pt x="4730154" y="336550"/>
                  </a:lnTo>
                  <a:lnTo>
                    <a:pt x="4739653" y="335280"/>
                  </a:lnTo>
                  <a:lnTo>
                    <a:pt x="4788052" y="335280"/>
                  </a:lnTo>
                  <a:lnTo>
                    <a:pt x="4786001" y="334010"/>
                  </a:lnTo>
                  <a:close/>
                </a:path>
                <a:path w="5760085" h="603250">
                  <a:moveTo>
                    <a:pt x="5164011" y="323850"/>
                  </a:moveTo>
                  <a:lnTo>
                    <a:pt x="5071593" y="323850"/>
                  </a:lnTo>
                  <a:lnTo>
                    <a:pt x="5064303" y="341630"/>
                  </a:lnTo>
                  <a:lnTo>
                    <a:pt x="5094695" y="326390"/>
                  </a:lnTo>
                  <a:lnTo>
                    <a:pt x="5165992" y="326390"/>
                  </a:lnTo>
                  <a:lnTo>
                    <a:pt x="5164011" y="323850"/>
                  </a:lnTo>
                  <a:close/>
                </a:path>
                <a:path w="5760085" h="603250">
                  <a:moveTo>
                    <a:pt x="5171936" y="334010"/>
                  </a:moveTo>
                  <a:lnTo>
                    <a:pt x="5154042" y="334010"/>
                  </a:lnTo>
                  <a:lnTo>
                    <a:pt x="5168012" y="339090"/>
                  </a:lnTo>
                  <a:lnTo>
                    <a:pt x="5168151" y="339090"/>
                  </a:lnTo>
                  <a:lnTo>
                    <a:pt x="5177892" y="341630"/>
                  </a:lnTo>
                  <a:lnTo>
                    <a:pt x="5175149" y="337820"/>
                  </a:lnTo>
                  <a:lnTo>
                    <a:pt x="5203570" y="337820"/>
                  </a:lnTo>
                  <a:lnTo>
                    <a:pt x="5204219" y="336550"/>
                  </a:lnTo>
                  <a:lnTo>
                    <a:pt x="5223684" y="336550"/>
                  </a:lnTo>
                  <a:lnTo>
                    <a:pt x="5225505" y="335280"/>
                  </a:lnTo>
                  <a:lnTo>
                    <a:pt x="5172927" y="335280"/>
                  </a:lnTo>
                  <a:lnTo>
                    <a:pt x="5171936" y="334010"/>
                  </a:lnTo>
                  <a:close/>
                </a:path>
                <a:path w="5760085" h="603250">
                  <a:moveTo>
                    <a:pt x="4803824" y="325120"/>
                  </a:moveTo>
                  <a:lnTo>
                    <a:pt x="4787850" y="325120"/>
                  </a:lnTo>
                  <a:lnTo>
                    <a:pt x="4801845" y="337820"/>
                  </a:lnTo>
                  <a:lnTo>
                    <a:pt x="4803824" y="325120"/>
                  </a:lnTo>
                  <a:close/>
                </a:path>
                <a:path w="5760085" h="603250">
                  <a:moveTo>
                    <a:pt x="4812310" y="322580"/>
                  </a:moveTo>
                  <a:lnTo>
                    <a:pt x="4804220" y="322580"/>
                  </a:lnTo>
                  <a:lnTo>
                    <a:pt x="4816463" y="337820"/>
                  </a:lnTo>
                  <a:lnTo>
                    <a:pt x="4812310" y="322580"/>
                  </a:lnTo>
                  <a:close/>
                </a:path>
                <a:path w="5760085" h="603250">
                  <a:moveTo>
                    <a:pt x="4800324" y="303530"/>
                  </a:moveTo>
                  <a:lnTo>
                    <a:pt x="4743590" y="303530"/>
                  </a:lnTo>
                  <a:lnTo>
                    <a:pt x="4747451" y="308610"/>
                  </a:lnTo>
                  <a:lnTo>
                    <a:pt x="4731157" y="318770"/>
                  </a:lnTo>
                  <a:lnTo>
                    <a:pt x="4695254" y="335280"/>
                  </a:lnTo>
                  <a:lnTo>
                    <a:pt x="4711091" y="334010"/>
                  </a:lnTo>
                  <a:lnTo>
                    <a:pt x="4786001" y="334010"/>
                  </a:lnTo>
                  <a:lnTo>
                    <a:pt x="4783951" y="332740"/>
                  </a:lnTo>
                  <a:lnTo>
                    <a:pt x="4785500" y="330200"/>
                  </a:lnTo>
                  <a:lnTo>
                    <a:pt x="4786300" y="328930"/>
                  </a:lnTo>
                  <a:lnTo>
                    <a:pt x="4787850" y="325120"/>
                  </a:lnTo>
                  <a:lnTo>
                    <a:pt x="4803824" y="325120"/>
                  </a:lnTo>
                  <a:lnTo>
                    <a:pt x="4804220" y="322580"/>
                  </a:lnTo>
                  <a:lnTo>
                    <a:pt x="4827422" y="322580"/>
                  </a:lnTo>
                  <a:lnTo>
                    <a:pt x="4824312" y="317500"/>
                  </a:lnTo>
                  <a:lnTo>
                    <a:pt x="4835970" y="317500"/>
                  </a:lnTo>
                  <a:lnTo>
                    <a:pt x="4813605" y="308610"/>
                  </a:lnTo>
                  <a:lnTo>
                    <a:pt x="4800324" y="303530"/>
                  </a:lnTo>
                  <a:close/>
                </a:path>
                <a:path w="5760085" h="603250">
                  <a:moveTo>
                    <a:pt x="1049635" y="288290"/>
                  </a:moveTo>
                  <a:lnTo>
                    <a:pt x="1045788" y="288290"/>
                  </a:lnTo>
                  <a:lnTo>
                    <a:pt x="1041934" y="323850"/>
                  </a:lnTo>
                  <a:lnTo>
                    <a:pt x="1034224" y="323850"/>
                  </a:lnTo>
                  <a:lnTo>
                    <a:pt x="1026542" y="330200"/>
                  </a:lnTo>
                  <a:lnTo>
                    <a:pt x="1018860" y="331470"/>
                  </a:lnTo>
                  <a:lnTo>
                    <a:pt x="1079706" y="331470"/>
                  </a:lnTo>
                  <a:lnTo>
                    <a:pt x="1077141" y="321310"/>
                  </a:lnTo>
                  <a:lnTo>
                    <a:pt x="1072668" y="321310"/>
                  </a:lnTo>
                  <a:lnTo>
                    <a:pt x="1072029" y="309880"/>
                  </a:lnTo>
                  <a:lnTo>
                    <a:pt x="1057326" y="309880"/>
                  </a:lnTo>
                  <a:lnTo>
                    <a:pt x="1053480" y="302260"/>
                  </a:lnTo>
                  <a:lnTo>
                    <a:pt x="1049635" y="288290"/>
                  </a:lnTo>
                  <a:close/>
                </a:path>
                <a:path w="5760085" h="603250">
                  <a:moveTo>
                    <a:pt x="5155866" y="285750"/>
                  </a:moveTo>
                  <a:lnTo>
                    <a:pt x="5099648" y="285750"/>
                  </a:lnTo>
                  <a:lnTo>
                    <a:pt x="5097209" y="289560"/>
                  </a:lnTo>
                  <a:lnTo>
                    <a:pt x="5095571" y="293370"/>
                  </a:lnTo>
                  <a:lnTo>
                    <a:pt x="5090783" y="297180"/>
                  </a:lnTo>
                  <a:lnTo>
                    <a:pt x="5070196" y="303530"/>
                  </a:lnTo>
                  <a:lnTo>
                    <a:pt x="5042637" y="303530"/>
                  </a:lnTo>
                  <a:lnTo>
                    <a:pt x="5059338" y="316230"/>
                  </a:lnTo>
                  <a:lnTo>
                    <a:pt x="5050486" y="331470"/>
                  </a:lnTo>
                  <a:lnTo>
                    <a:pt x="5071593" y="323850"/>
                  </a:lnTo>
                  <a:lnTo>
                    <a:pt x="5164011" y="323850"/>
                  </a:lnTo>
                  <a:lnTo>
                    <a:pt x="5163021" y="322580"/>
                  </a:lnTo>
                  <a:lnTo>
                    <a:pt x="5186516" y="313690"/>
                  </a:lnTo>
                  <a:lnTo>
                    <a:pt x="5154651" y="308610"/>
                  </a:lnTo>
                  <a:lnTo>
                    <a:pt x="5134446" y="302260"/>
                  </a:lnTo>
                  <a:lnTo>
                    <a:pt x="5130026" y="298450"/>
                  </a:lnTo>
                  <a:lnTo>
                    <a:pt x="5129874" y="295910"/>
                  </a:lnTo>
                  <a:lnTo>
                    <a:pt x="5137163" y="290830"/>
                  </a:lnTo>
                  <a:lnTo>
                    <a:pt x="5157806" y="290830"/>
                  </a:lnTo>
                  <a:lnTo>
                    <a:pt x="5155866" y="285750"/>
                  </a:lnTo>
                  <a:close/>
                </a:path>
                <a:path w="5760085" h="603250">
                  <a:moveTo>
                    <a:pt x="4827422" y="322580"/>
                  </a:moveTo>
                  <a:lnTo>
                    <a:pt x="4812310" y="322580"/>
                  </a:lnTo>
                  <a:lnTo>
                    <a:pt x="4831309" y="328930"/>
                  </a:lnTo>
                  <a:lnTo>
                    <a:pt x="4827422" y="322580"/>
                  </a:lnTo>
                  <a:close/>
                </a:path>
                <a:path w="5760085" h="603250">
                  <a:moveTo>
                    <a:pt x="76343" y="279400"/>
                  </a:moveTo>
                  <a:lnTo>
                    <a:pt x="73772" y="284480"/>
                  </a:lnTo>
                  <a:lnTo>
                    <a:pt x="71194" y="302260"/>
                  </a:lnTo>
                  <a:lnTo>
                    <a:pt x="68609" y="321310"/>
                  </a:lnTo>
                  <a:lnTo>
                    <a:pt x="66019" y="327660"/>
                  </a:lnTo>
                  <a:lnTo>
                    <a:pt x="1015966" y="327660"/>
                  </a:lnTo>
                  <a:lnTo>
                    <a:pt x="1012108" y="322580"/>
                  </a:lnTo>
                  <a:lnTo>
                    <a:pt x="459939" y="322580"/>
                  </a:lnTo>
                  <a:lnTo>
                    <a:pt x="459232" y="320040"/>
                  </a:lnTo>
                  <a:lnTo>
                    <a:pt x="156401" y="320040"/>
                  </a:lnTo>
                  <a:lnTo>
                    <a:pt x="148652" y="312420"/>
                  </a:lnTo>
                  <a:lnTo>
                    <a:pt x="145923" y="304800"/>
                  </a:lnTo>
                  <a:lnTo>
                    <a:pt x="90538" y="304800"/>
                  </a:lnTo>
                  <a:lnTo>
                    <a:pt x="88324" y="299720"/>
                  </a:lnTo>
                  <a:lnTo>
                    <a:pt x="78906" y="299720"/>
                  </a:lnTo>
                  <a:lnTo>
                    <a:pt x="76343" y="279400"/>
                  </a:lnTo>
                  <a:close/>
                </a:path>
                <a:path w="5760085" h="603250">
                  <a:moveTo>
                    <a:pt x="5017707" y="311150"/>
                  </a:moveTo>
                  <a:lnTo>
                    <a:pt x="4974451" y="322580"/>
                  </a:lnTo>
                  <a:lnTo>
                    <a:pt x="5002848" y="322580"/>
                  </a:lnTo>
                  <a:lnTo>
                    <a:pt x="5020209" y="325120"/>
                  </a:lnTo>
                  <a:lnTo>
                    <a:pt x="5011649" y="318770"/>
                  </a:lnTo>
                  <a:lnTo>
                    <a:pt x="5017707" y="311150"/>
                  </a:lnTo>
                  <a:close/>
                </a:path>
                <a:path w="5760085" h="603250">
                  <a:moveTo>
                    <a:pt x="4969482" y="307340"/>
                  </a:moveTo>
                  <a:lnTo>
                    <a:pt x="4943133" y="307340"/>
                  </a:lnTo>
                  <a:lnTo>
                    <a:pt x="4933976" y="323850"/>
                  </a:lnTo>
                  <a:lnTo>
                    <a:pt x="5004598" y="323850"/>
                  </a:lnTo>
                  <a:lnTo>
                    <a:pt x="5002848" y="322580"/>
                  </a:lnTo>
                  <a:lnTo>
                    <a:pt x="4974451" y="322580"/>
                  </a:lnTo>
                  <a:lnTo>
                    <a:pt x="4966272" y="316230"/>
                  </a:lnTo>
                  <a:lnTo>
                    <a:pt x="4960837" y="311150"/>
                  </a:lnTo>
                  <a:lnTo>
                    <a:pt x="4969573" y="311150"/>
                  </a:lnTo>
                  <a:lnTo>
                    <a:pt x="4969482" y="307340"/>
                  </a:lnTo>
                  <a:close/>
                </a:path>
                <a:path w="5760085" h="603250">
                  <a:moveTo>
                    <a:pt x="467754" y="283210"/>
                  </a:moveTo>
                  <a:lnTo>
                    <a:pt x="463833" y="316230"/>
                  </a:lnTo>
                  <a:lnTo>
                    <a:pt x="459939" y="322580"/>
                  </a:lnTo>
                  <a:lnTo>
                    <a:pt x="1012108" y="322580"/>
                  </a:lnTo>
                  <a:lnTo>
                    <a:pt x="1010178" y="320040"/>
                  </a:lnTo>
                  <a:lnTo>
                    <a:pt x="631203" y="320040"/>
                  </a:lnTo>
                  <a:lnTo>
                    <a:pt x="627294" y="309880"/>
                  </a:lnTo>
                  <a:lnTo>
                    <a:pt x="623533" y="292100"/>
                  </a:lnTo>
                  <a:lnTo>
                    <a:pt x="623090" y="289560"/>
                  </a:lnTo>
                  <a:lnTo>
                    <a:pt x="568998" y="289560"/>
                  </a:lnTo>
                  <a:lnTo>
                    <a:pt x="561203" y="288290"/>
                  </a:lnTo>
                  <a:lnTo>
                    <a:pt x="553417" y="285750"/>
                  </a:lnTo>
                  <a:lnTo>
                    <a:pt x="472885" y="285750"/>
                  </a:lnTo>
                  <a:lnTo>
                    <a:pt x="467754" y="283210"/>
                  </a:lnTo>
                  <a:close/>
                </a:path>
                <a:path w="5760085" h="603250">
                  <a:moveTo>
                    <a:pt x="1076500" y="318770"/>
                  </a:moveTo>
                  <a:lnTo>
                    <a:pt x="1072668" y="321310"/>
                  </a:lnTo>
                  <a:lnTo>
                    <a:pt x="1077141" y="321310"/>
                  </a:lnTo>
                  <a:lnTo>
                    <a:pt x="1076500" y="318770"/>
                  </a:lnTo>
                  <a:close/>
                </a:path>
                <a:path w="5760085" h="603250">
                  <a:moveTo>
                    <a:pt x="4895317" y="309880"/>
                  </a:moveTo>
                  <a:lnTo>
                    <a:pt x="4900486" y="316230"/>
                  </a:lnTo>
                  <a:lnTo>
                    <a:pt x="4903915" y="321310"/>
                  </a:lnTo>
                  <a:lnTo>
                    <a:pt x="4926947" y="321310"/>
                  </a:lnTo>
                  <a:lnTo>
                    <a:pt x="4895317" y="309880"/>
                  </a:lnTo>
                  <a:close/>
                </a:path>
                <a:path w="5760085" h="603250">
                  <a:moveTo>
                    <a:pt x="171959" y="293370"/>
                  </a:moveTo>
                  <a:lnTo>
                    <a:pt x="164169" y="313690"/>
                  </a:lnTo>
                  <a:lnTo>
                    <a:pt x="156401" y="320040"/>
                  </a:lnTo>
                  <a:lnTo>
                    <a:pt x="459232" y="320040"/>
                  </a:lnTo>
                  <a:lnTo>
                    <a:pt x="456755" y="311150"/>
                  </a:lnTo>
                  <a:lnTo>
                    <a:pt x="179723" y="311150"/>
                  </a:lnTo>
                  <a:lnTo>
                    <a:pt x="175843" y="307340"/>
                  </a:lnTo>
                  <a:lnTo>
                    <a:pt x="171959" y="293370"/>
                  </a:lnTo>
                  <a:close/>
                </a:path>
                <a:path w="5760085" h="603250">
                  <a:moveTo>
                    <a:pt x="639103" y="288290"/>
                  </a:moveTo>
                  <a:lnTo>
                    <a:pt x="635170" y="313690"/>
                  </a:lnTo>
                  <a:lnTo>
                    <a:pt x="631203" y="320040"/>
                  </a:lnTo>
                  <a:lnTo>
                    <a:pt x="848912" y="320040"/>
                  </a:lnTo>
                  <a:lnTo>
                    <a:pt x="843338" y="307340"/>
                  </a:lnTo>
                  <a:lnTo>
                    <a:pt x="681937" y="307340"/>
                  </a:lnTo>
                  <a:lnTo>
                    <a:pt x="680637" y="303530"/>
                  </a:lnTo>
                  <a:lnTo>
                    <a:pt x="643003" y="303530"/>
                  </a:lnTo>
                  <a:lnTo>
                    <a:pt x="639103" y="288290"/>
                  </a:lnTo>
                  <a:close/>
                </a:path>
                <a:path w="5760085" h="603250">
                  <a:moveTo>
                    <a:pt x="864423" y="295910"/>
                  </a:moveTo>
                  <a:lnTo>
                    <a:pt x="856666" y="300990"/>
                  </a:lnTo>
                  <a:lnTo>
                    <a:pt x="852794" y="320040"/>
                  </a:lnTo>
                  <a:lnTo>
                    <a:pt x="1010178" y="320040"/>
                  </a:lnTo>
                  <a:lnTo>
                    <a:pt x="1009214" y="318770"/>
                  </a:lnTo>
                  <a:lnTo>
                    <a:pt x="964934" y="318770"/>
                  </a:lnTo>
                  <a:lnTo>
                    <a:pt x="964039" y="314960"/>
                  </a:lnTo>
                  <a:lnTo>
                    <a:pt x="914665" y="314960"/>
                  </a:lnTo>
                  <a:lnTo>
                    <a:pt x="910807" y="307340"/>
                  </a:lnTo>
                  <a:lnTo>
                    <a:pt x="909707" y="304800"/>
                  </a:lnTo>
                  <a:lnTo>
                    <a:pt x="887629" y="304800"/>
                  </a:lnTo>
                  <a:lnTo>
                    <a:pt x="872167" y="297180"/>
                  </a:lnTo>
                  <a:lnTo>
                    <a:pt x="864423" y="295910"/>
                  </a:lnTo>
                  <a:close/>
                </a:path>
                <a:path w="5760085" h="603250">
                  <a:moveTo>
                    <a:pt x="976494" y="299720"/>
                  </a:moveTo>
                  <a:lnTo>
                    <a:pt x="972635" y="302260"/>
                  </a:lnTo>
                  <a:lnTo>
                    <a:pt x="968783" y="312420"/>
                  </a:lnTo>
                  <a:lnTo>
                    <a:pt x="964934" y="318770"/>
                  </a:lnTo>
                  <a:lnTo>
                    <a:pt x="1009214" y="318770"/>
                  </a:lnTo>
                  <a:lnTo>
                    <a:pt x="1007284" y="316230"/>
                  </a:lnTo>
                  <a:lnTo>
                    <a:pt x="995719" y="316230"/>
                  </a:lnTo>
                  <a:lnTo>
                    <a:pt x="995463" y="314960"/>
                  </a:lnTo>
                  <a:lnTo>
                    <a:pt x="980364" y="314960"/>
                  </a:lnTo>
                  <a:lnTo>
                    <a:pt x="976494" y="299720"/>
                  </a:lnTo>
                  <a:close/>
                </a:path>
                <a:path w="5760085" h="603250">
                  <a:moveTo>
                    <a:pt x="4939726" y="309880"/>
                  </a:moveTo>
                  <a:lnTo>
                    <a:pt x="4927753" y="309880"/>
                  </a:lnTo>
                  <a:lnTo>
                    <a:pt x="4927804" y="318770"/>
                  </a:lnTo>
                  <a:lnTo>
                    <a:pt x="4939726" y="309880"/>
                  </a:lnTo>
                  <a:close/>
                </a:path>
                <a:path w="5760085" h="603250">
                  <a:moveTo>
                    <a:pt x="5527333" y="256540"/>
                  </a:moveTo>
                  <a:lnTo>
                    <a:pt x="5438255" y="256540"/>
                  </a:lnTo>
                  <a:lnTo>
                    <a:pt x="5444453" y="257810"/>
                  </a:lnTo>
                  <a:lnTo>
                    <a:pt x="5448529" y="266700"/>
                  </a:lnTo>
                  <a:lnTo>
                    <a:pt x="5430622" y="281940"/>
                  </a:lnTo>
                  <a:lnTo>
                    <a:pt x="5444961" y="287020"/>
                  </a:lnTo>
                  <a:lnTo>
                    <a:pt x="5440020" y="295910"/>
                  </a:lnTo>
                  <a:lnTo>
                    <a:pt x="5359058" y="317500"/>
                  </a:lnTo>
                  <a:lnTo>
                    <a:pt x="5759996" y="317500"/>
                  </a:lnTo>
                  <a:lnTo>
                    <a:pt x="5759996" y="307340"/>
                  </a:lnTo>
                  <a:lnTo>
                    <a:pt x="5568127" y="307340"/>
                  </a:lnTo>
                  <a:lnTo>
                    <a:pt x="5563105" y="306070"/>
                  </a:lnTo>
                  <a:lnTo>
                    <a:pt x="5558070" y="300990"/>
                  </a:lnTo>
                  <a:lnTo>
                    <a:pt x="5541557" y="300990"/>
                  </a:lnTo>
                  <a:lnTo>
                    <a:pt x="5542214" y="300313"/>
                  </a:lnTo>
                  <a:lnTo>
                    <a:pt x="5529873" y="295910"/>
                  </a:lnTo>
                  <a:lnTo>
                    <a:pt x="5511191" y="287020"/>
                  </a:lnTo>
                  <a:lnTo>
                    <a:pt x="5509502" y="281940"/>
                  </a:lnTo>
                  <a:lnTo>
                    <a:pt x="5508829" y="279400"/>
                  </a:lnTo>
                  <a:lnTo>
                    <a:pt x="5507483" y="276860"/>
                  </a:lnTo>
                  <a:lnTo>
                    <a:pt x="5543521" y="276860"/>
                  </a:lnTo>
                  <a:lnTo>
                    <a:pt x="5530178" y="266700"/>
                  </a:lnTo>
                  <a:lnTo>
                    <a:pt x="5534267" y="265430"/>
                  </a:lnTo>
                  <a:lnTo>
                    <a:pt x="5527333" y="256540"/>
                  </a:lnTo>
                  <a:close/>
                </a:path>
                <a:path w="5760085" h="603250">
                  <a:moveTo>
                    <a:pt x="999584" y="304800"/>
                  </a:moveTo>
                  <a:lnTo>
                    <a:pt x="995719" y="316230"/>
                  </a:lnTo>
                  <a:lnTo>
                    <a:pt x="1007284" y="316230"/>
                  </a:lnTo>
                  <a:lnTo>
                    <a:pt x="1003434" y="307340"/>
                  </a:lnTo>
                  <a:lnTo>
                    <a:pt x="999584" y="304800"/>
                  </a:lnTo>
                  <a:close/>
                </a:path>
                <a:path w="5760085" h="603250">
                  <a:moveTo>
                    <a:pt x="941726" y="299720"/>
                  </a:moveTo>
                  <a:lnTo>
                    <a:pt x="933997" y="299720"/>
                  </a:lnTo>
                  <a:lnTo>
                    <a:pt x="926268" y="304800"/>
                  </a:lnTo>
                  <a:lnTo>
                    <a:pt x="918541" y="307340"/>
                  </a:lnTo>
                  <a:lnTo>
                    <a:pt x="914665" y="314960"/>
                  </a:lnTo>
                  <a:lnTo>
                    <a:pt x="953329" y="314960"/>
                  </a:lnTo>
                  <a:lnTo>
                    <a:pt x="949453" y="308610"/>
                  </a:lnTo>
                  <a:lnTo>
                    <a:pt x="941726" y="299720"/>
                  </a:lnTo>
                  <a:close/>
                </a:path>
                <a:path w="5760085" h="603250">
                  <a:moveTo>
                    <a:pt x="961058" y="302260"/>
                  </a:moveTo>
                  <a:lnTo>
                    <a:pt x="957193" y="307340"/>
                  </a:lnTo>
                  <a:lnTo>
                    <a:pt x="953329" y="314960"/>
                  </a:lnTo>
                  <a:lnTo>
                    <a:pt x="964039" y="314960"/>
                  </a:lnTo>
                  <a:lnTo>
                    <a:pt x="961058" y="302260"/>
                  </a:lnTo>
                  <a:close/>
                </a:path>
                <a:path w="5760085" h="603250">
                  <a:moveTo>
                    <a:pt x="988042" y="290830"/>
                  </a:moveTo>
                  <a:lnTo>
                    <a:pt x="984196" y="297180"/>
                  </a:lnTo>
                  <a:lnTo>
                    <a:pt x="980364" y="314960"/>
                  </a:lnTo>
                  <a:lnTo>
                    <a:pt x="995463" y="314960"/>
                  </a:lnTo>
                  <a:lnTo>
                    <a:pt x="991887" y="297180"/>
                  </a:lnTo>
                  <a:lnTo>
                    <a:pt x="988042" y="290830"/>
                  </a:lnTo>
                  <a:close/>
                </a:path>
                <a:path w="5760085" h="603250">
                  <a:moveTo>
                    <a:pt x="4969573" y="311150"/>
                  </a:moveTo>
                  <a:lnTo>
                    <a:pt x="4960837" y="311150"/>
                  </a:lnTo>
                  <a:lnTo>
                    <a:pt x="4969663" y="314960"/>
                  </a:lnTo>
                  <a:lnTo>
                    <a:pt x="4969573" y="311150"/>
                  </a:lnTo>
                  <a:close/>
                </a:path>
                <a:path w="5760085" h="603250">
                  <a:moveTo>
                    <a:pt x="9342" y="287020"/>
                  </a:moveTo>
                  <a:lnTo>
                    <a:pt x="5464" y="297180"/>
                  </a:lnTo>
                  <a:lnTo>
                    <a:pt x="1601" y="311150"/>
                  </a:lnTo>
                  <a:lnTo>
                    <a:pt x="20923" y="311150"/>
                  </a:lnTo>
                  <a:lnTo>
                    <a:pt x="17044" y="307340"/>
                  </a:lnTo>
                  <a:lnTo>
                    <a:pt x="13209" y="288290"/>
                  </a:lnTo>
                  <a:lnTo>
                    <a:pt x="9342" y="287020"/>
                  </a:lnTo>
                  <a:close/>
                </a:path>
                <a:path w="5760085" h="603250">
                  <a:moveTo>
                    <a:pt x="36396" y="264160"/>
                  </a:moveTo>
                  <a:lnTo>
                    <a:pt x="32563" y="299720"/>
                  </a:lnTo>
                  <a:lnTo>
                    <a:pt x="28671" y="306070"/>
                  </a:lnTo>
                  <a:lnTo>
                    <a:pt x="24794" y="311150"/>
                  </a:lnTo>
                  <a:lnTo>
                    <a:pt x="63770" y="311150"/>
                  </a:lnTo>
                  <a:lnTo>
                    <a:pt x="63424" y="308610"/>
                  </a:lnTo>
                  <a:lnTo>
                    <a:pt x="62144" y="306070"/>
                  </a:lnTo>
                  <a:lnTo>
                    <a:pt x="48007" y="306070"/>
                  </a:lnTo>
                  <a:lnTo>
                    <a:pt x="40252" y="265430"/>
                  </a:lnTo>
                  <a:lnTo>
                    <a:pt x="36396" y="264160"/>
                  </a:lnTo>
                  <a:close/>
                </a:path>
                <a:path w="5760085" h="603250">
                  <a:moveTo>
                    <a:pt x="191355" y="275590"/>
                  </a:moveTo>
                  <a:lnTo>
                    <a:pt x="187478" y="294640"/>
                  </a:lnTo>
                  <a:lnTo>
                    <a:pt x="183601" y="307340"/>
                  </a:lnTo>
                  <a:lnTo>
                    <a:pt x="179723" y="311150"/>
                  </a:lnTo>
                  <a:lnTo>
                    <a:pt x="456755" y="311150"/>
                  </a:lnTo>
                  <a:lnTo>
                    <a:pt x="456048" y="308610"/>
                  </a:lnTo>
                  <a:lnTo>
                    <a:pt x="455367" y="303530"/>
                  </a:lnTo>
                  <a:lnTo>
                    <a:pt x="214690" y="303530"/>
                  </a:lnTo>
                  <a:lnTo>
                    <a:pt x="210805" y="297180"/>
                  </a:lnTo>
                  <a:lnTo>
                    <a:pt x="207563" y="290830"/>
                  </a:lnTo>
                  <a:lnTo>
                    <a:pt x="199119" y="290830"/>
                  </a:lnTo>
                  <a:lnTo>
                    <a:pt x="195235" y="279400"/>
                  </a:lnTo>
                  <a:lnTo>
                    <a:pt x="191355" y="275590"/>
                  </a:lnTo>
                  <a:close/>
                </a:path>
                <a:path w="5760085" h="603250">
                  <a:moveTo>
                    <a:pt x="4913732" y="266700"/>
                  </a:moveTo>
                  <a:lnTo>
                    <a:pt x="4923778" y="280670"/>
                  </a:lnTo>
                  <a:lnTo>
                    <a:pt x="4912831" y="288290"/>
                  </a:lnTo>
                  <a:lnTo>
                    <a:pt x="4929201" y="290830"/>
                  </a:lnTo>
                  <a:lnTo>
                    <a:pt x="4914253" y="295910"/>
                  </a:lnTo>
                  <a:lnTo>
                    <a:pt x="4905045" y="299720"/>
                  </a:lnTo>
                  <a:lnTo>
                    <a:pt x="4918228" y="303530"/>
                  </a:lnTo>
                  <a:lnTo>
                    <a:pt x="4913059" y="311150"/>
                  </a:lnTo>
                  <a:lnTo>
                    <a:pt x="4918939" y="309880"/>
                  </a:lnTo>
                  <a:lnTo>
                    <a:pt x="4939726" y="309880"/>
                  </a:lnTo>
                  <a:lnTo>
                    <a:pt x="4943133" y="307340"/>
                  </a:lnTo>
                  <a:lnTo>
                    <a:pt x="4969482" y="307340"/>
                  </a:lnTo>
                  <a:lnTo>
                    <a:pt x="4969422" y="304800"/>
                  </a:lnTo>
                  <a:lnTo>
                    <a:pt x="4978096" y="304800"/>
                  </a:lnTo>
                  <a:lnTo>
                    <a:pt x="4976762" y="298450"/>
                  </a:lnTo>
                  <a:lnTo>
                    <a:pt x="4991532" y="292100"/>
                  </a:lnTo>
                  <a:lnTo>
                    <a:pt x="4976153" y="290830"/>
                  </a:lnTo>
                  <a:lnTo>
                    <a:pt x="4960443" y="281940"/>
                  </a:lnTo>
                  <a:lnTo>
                    <a:pt x="4978845" y="276860"/>
                  </a:lnTo>
                  <a:lnTo>
                    <a:pt x="4974039" y="271780"/>
                  </a:lnTo>
                  <a:lnTo>
                    <a:pt x="4925480" y="271780"/>
                  </a:lnTo>
                  <a:lnTo>
                    <a:pt x="4913732" y="266700"/>
                  </a:lnTo>
                  <a:close/>
                </a:path>
                <a:path w="5760085" h="603250">
                  <a:moveTo>
                    <a:pt x="1063088" y="265430"/>
                  </a:moveTo>
                  <a:lnTo>
                    <a:pt x="1061171" y="273050"/>
                  </a:lnTo>
                  <a:lnTo>
                    <a:pt x="1059250" y="290830"/>
                  </a:lnTo>
                  <a:lnTo>
                    <a:pt x="1057326" y="309880"/>
                  </a:lnTo>
                  <a:lnTo>
                    <a:pt x="1072029" y="309880"/>
                  </a:lnTo>
                  <a:lnTo>
                    <a:pt x="1070752" y="287020"/>
                  </a:lnTo>
                  <a:lnTo>
                    <a:pt x="1069655" y="276860"/>
                  </a:lnTo>
                  <a:lnTo>
                    <a:pt x="1064997" y="276860"/>
                  </a:lnTo>
                  <a:lnTo>
                    <a:pt x="1063088" y="265430"/>
                  </a:lnTo>
                  <a:close/>
                </a:path>
                <a:path w="5760085" h="603250">
                  <a:moveTo>
                    <a:pt x="4978096" y="304800"/>
                  </a:moveTo>
                  <a:lnTo>
                    <a:pt x="4969422" y="304800"/>
                  </a:lnTo>
                  <a:lnTo>
                    <a:pt x="4979163" y="309880"/>
                  </a:lnTo>
                  <a:lnTo>
                    <a:pt x="4978096" y="304800"/>
                  </a:lnTo>
                  <a:close/>
                </a:path>
                <a:path w="5760085" h="603250">
                  <a:moveTo>
                    <a:pt x="689707" y="289560"/>
                  </a:moveTo>
                  <a:lnTo>
                    <a:pt x="685851" y="292100"/>
                  </a:lnTo>
                  <a:lnTo>
                    <a:pt x="681937" y="307340"/>
                  </a:lnTo>
                  <a:lnTo>
                    <a:pt x="843338" y="307340"/>
                  </a:lnTo>
                  <a:lnTo>
                    <a:pt x="842781" y="306070"/>
                  </a:lnTo>
                  <a:lnTo>
                    <a:pt x="783017" y="306070"/>
                  </a:lnTo>
                  <a:lnTo>
                    <a:pt x="782027" y="304800"/>
                  </a:lnTo>
                  <a:lnTo>
                    <a:pt x="716936" y="304800"/>
                  </a:lnTo>
                  <a:lnTo>
                    <a:pt x="713052" y="302260"/>
                  </a:lnTo>
                  <a:lnTo>
                    <a:pt x="697490" y="302260"/>
                  </a:lnTo>
                  <a:lnTo>
                    <a:pt x="693591" y="298450"/>
                  </a:lnTo>
                  <a:lnTo>
                    <a:pt x="689707" y="289560"/>
                  </a:lnTo>
                  <a:close/>
                </a:path>
                <a:path w="5760085" h="603250">
                  <a:moveTo>
                    <a:pt x="4783722" y="297180"/>
                  </a:moveTo>
                  <a:lnTo>
                    <a:pt x="4738333" y="297180"/>
                  </a:lnTo>
                  <a:lnTo>
                    <a:pt x="4732224" y="307340"/>
                  </a:lnTo>
                  <a:lnTo>
                    <a:pt x="4743590" y="303530"/>
                  </a:lnTo>
                  <a:lnTo>
                    <a:pt x="4800324" y="303530"/>
                  </a:lnTo>
                  <a:lnTo>
                    <a:pt x="4783722" y="297180"/>
                  </a:lnTo>
                  <a:close/>
                </a:path>
                <a:path w="5760085" h="603250">
                  <a:moveTo>
                    <a:pt x="5366084" y="284480"/>
                  </a:moveTo>
                  <a:lnTo>
                    <a:pt x="5344999" y="284480"/>
                  </a:lnTo>
                  <a:lnTo>
                    <a:pt x="5358969" y="307340"/>
                  </a:lnTo>
                  <a:lnTo>
                    <a:pt x="5358258" y="300990"/>
                  </a:lnTo>
                  <a:lnTo>
                    <a:pt x="5357762" y="295910"/>
                  </a:lnTo>
                  <a:lnTo>
                    <a:pt x="5360645" y="292100"/>
                  </a:lnTo>
                  <a:lnTo>
                    <a:pt x="5377468" y="292100"/>
                  </a:lnTo>
                  <a:lnTo>
                    <a:pt x="5379175" y="290830"/>
                  </a:lnTo>
                  <a:lnTo>
                    <a:pt x="5366084" y="284480"/>
                  </a:lnTo>
                  <a:close/>
                </a:path>
                <a:path w="5760085" h="603250">
                  <a:moveTo>
                    <a:pt x="5588369" y="281940"/>
                  </a:moveTo>
                  <a:lnTo>
                    <a:pt x="5585435" y="281940"/>
                  </a:lnTo>
                  <a:lnTo>
                    <a:pt x="5582489" y="284480"/>
                  </a:lnTo>
                  <a:lnTo>
                    <a:pt x="5574501" y="284480"/>
                  </a:lnTo>
                  <a:lnTo>
                    <a:pt x="5576063" y="293370"/>
                  </a:lnTo>
                  <a:lnTo>
                    <a:pt x="5575085" y="295910"/>
                  </a:lnTo>
                  <a:lnTo>
                    <a:pt x="5574107" y="297180"/>
                  </a:lnTo>
                  <a:lnTo>
                    <a:pt x="5573129" y="299720"/>
                  </a:lnTo>
                  <a:lnTo>
                    <a:pt x="5568127" y="307340"/>
                  </a:lnTo>
                  <a:lnTo>
                    <a:pt x="5759996" y="307340"/>
                  </a:lnTo>
                  <a:lnTo>
                    <a:pt x="5759996" y="293370"/>
                  </a:lnTo>
                  <a:lnTo>
                    <a:pt x="5599024" y="293370"/>
                  </a:lnTo>
                  <a:lnTo>
                    <a:pt x="5596662" y="288290"/>
                  </a:lnTo>
                  <a:lnTo>
                    <a:pt x="5595494" y="287020"/>
                  </a:lnTo>
                  <a:lnTo>
                    <a:pt x="5597640" y="287020"/>
                  </a:lnTo>
                  <a:lnTo>
                    <a:pt x="5600312" y="283210"/>
                  </a:lnTo>
                  <a:lnTo>
                    <a:pt x="5591315" y="283210"/>
                  </a:lnTo>
                  <a:lnTo>
                    <a:pt x="5588369" y="281940"/>
                  </a:lnTo>
                  <a:close/>
                </a:path>
                <a:path w="5760085" h="603250">
                  <a:moveTo>
                    <a:pt x="55735" y="298450"/>
                  </a:moveTo>
                  <a:lnTo>
                    <a:pt x="51877" y="299720"/>
                  </a:lnTo>
                  <a:lnTo>
                    <a:pt x="48007" y="306070"/>
                  </a:lnTo>
                  <a:lnTo>
                    <a:pt x="62144" y="306070"/>
                  </a:lnTo>
                  <a:lnTo>
                    <a:pt x="59583" y="300990"/>
                  </a:lnTo>
                  <a:lnTo>
                    <a:pt x="55735" y="298450"/>
                  </a:lnTo>
                  <a:close/>
                </a:path>
                <a:path w="5760085" h="603250">
                  <a:moveTo>
                    <a:pt x="802391" y="280670"/>
                  </a:moveTo>
                  <a:lnTo>
                    <a:pt x="798525" y="287020"/>
                  </a:lnTo>
                  <a:lnTo>
                    <a:pt x="794627" y="295910"/>
                  </a:lnTo>
                  <a:lnTo>
                    <a:pt x="790846" y="302260"/>
                  </a:lnTo>
                  <a:lnTo>
                    <a:pt x="786961" y="306070"/>
                  </a:lnTo>
                  <a:lnTo>
                    <a:pt x="842781" y="306070"/>
                  </a:lnTo>
                  <a:lnTo>
                    <a:pt x="841109" y="302260"/>
                  </a:lnTo>
                  <a:lnTo>
                    <a:pt x="839823" y="300990"/>
                  </a:lnTo>
                  <a:lnTo>
                    <a:pt x="829506" y="300990"/>
                  </a:lnTo>
                  <a:lnTo>
                    <a:pt x="825628" y="298450"/>
                  </a:lnTo>
                  <a:lnTo>
                    <a:pt x="823053" y="293370"/>
                  </a:lnTo>
                  <a:lnTo>
                    <a:pt x="810146" y="293370"/>
                  </a:lnTo>
                  <a:lnTo>
                    <a:pt x="806255" y="281940"/>
                  </a:lnTo>
                  <a:lnTo>
                    <a:pt x="802391" y="280670"/>
                  </a:lnTo>
                  <a:close/>
                </a:path>
                <a:path w="5760085" h="603250">
                  <a:moveTo>
                    <a:pt x="106035" y="283210"/>
                  </a:moveTo>
                  <a:lnTo>
                    <a:pt x="102156" y="284480"/>
                  </a:lnTo>
                  <a:lnTo>
                    <a:pt x="98273" y="293370"/>
                  </a:lnTo>
                  <a:lnTo>
                    <a:pt x="94387" y="297180"/>
                  </a:lnTo>
                  <a:lnTo>
                    <a:pt x="90538" y="304800"/>
                  </a:lnTo>
                  <a:lnTo>
                    <a:pt x="145923" y="304800"/>
                  </a:lnTo>
                  <a:lnTo>
                    <a:pt x="145013" y="302260"/>
                  </a:lnTo>
                  <a:lnTo>
                    <a:pt x="133160" y="302260"/>
                  </a:lnTo>
                  <a:lnTo>
                    <a:pt x="129293" y="300990"/>
                  </a:lnTo>
                  <a:lnTo>
                    <a:pt x="128700" y="298450"/>
                  </a:lnTo>
                  <a:lnTo>
                    <a:pt x="109906" y="298450"/>
                  </a:lnTo>
                  <a:lnTo>
                    <a:pt x="106035" y="283210"/>
                  </a:lnTo>
                  <a:close/>
                </a:path>
                <a:path w="5760085" h="603250">
                  <a:moveTo>
                    <a:pt x="748012" y="271780"/>
                  </a:moveTo>
                  <a:lnTo>
                    <a:pt x="740248" y="274320"/>
                  </a:lnTo>
                  <a:lnTo>
                    <a:pt x="732486" y="290830"/>
                  </a:lnTo>
                  <a:lnTo>
                    <a:pt x="724708" y="300990"/>
                  </a:lnTo>
                  <a:lnTo>
                    <a:pt x="716936" y="304800"/>
                  </a:lnTo>
                  <a:lnTo>
                    <a:pt x="782027" y="304800"/>
                  </a:lnTo>
                  <a:lnTo>
                    <a:pt x="780047" y="302260"/>
                  </a:lnTo>
                  <a:lnTo>
                    <a:pt x="767454" y="302260"/>
                  </a:lnTo>
                  <a:lnTo>
                    <a:pt x="763575" y="293370"/>
                  </a:lnTo>
                  <a:lnTo>
                    <a:pt x="755785" y="279400"/>
                  </a:lnTo>
                  <a:lnTo>
                    <a:pt x="748012" y="271780"/>
                  </a:lnTo>
                  <a:close/>
                </a:path>
                <a:path w="5760085" h="603250">
                  <a:moveTo>
                    <a:pt x="891500" y="292100"/>
                  </a:moveTo>
                  <a:lnTo>
                    <a:pt x="887629" y="304800"/>
                  </a:lnTo>
                  <a:lnTo>
                    <a:pt x="909707" y="304800"/>
                  </a:lnTo>
                  <a:lnTo>
                    <a:pt x="909157" y="303530"/>
                  </a:lnTo>
                  <a:lnTo>
                    <a:pt x="903110" y="303530"/>
                  </a:lnTo>
                  <a:lnTo>
                    <a:pt x="899232" y="300990"/>
                  </a:lnTo>
                  <a:lnTo>
                    <a:pt x="895365" y="293370"/>
                  </a:lnTo>
                  <a:lnTo>
                    <a:pt x="891500" y="292100"/>
                  </a:lnTo>
                  <a:close/>
                </a:path>
                <a:path w="5760085" h="603250">
                  <a:moveTo>
                    <a:pt x="218580" y="295910"/>
                  </a:moveTo>
                  <a:lnTo>
                    <a:pt x="214690" y="303530"/>
                  </a:lnTo>
                  <a:lnTo>
                    <a:pt x="222452" y="303530"/>
                  </a:lnTo>
                  <a:lnTo>
                    <a:pt x="218580" y="295910"/>
                  </a:lnTo>
                  <a:close/>
                </a:path>
                <a:path w="5760085" h="603250">
                  <a:moveTo>
                    <a:pt x="253559" y="276860"/>
                  </a:moveTo>
                  <a:lnTo>
                    <a:pt x="249695" y="283210"/>
                  </a:lnTo>
                  <a:lnTo>
                    <a:pt x="245789" y="285750"/>
                  </a:lnTo>
                  <a:lnTo>
                    <a:pt x="237985" y="285750"/>
                  </a:lnTo>
                  <a:lnTo>
                    <a:pt x="234100" y="289560"/>
                  </a:lnTo>
                  <a:lnTo>
                    <a:pt x="230214" y="289560"/>
                  </a:lnTo>
                  <a:lnTo>
                    <a:pt x="226331" y="297180"/>
                  </a:lnTo>
                  <a:lnTo>
                    <a:pt x="222452" y="303530"/>
                  </a:lnTo>
                  <a:lnTo>
                    <a:pt x="455367" y="303530"/>
                  </a:lnTo>
                  <a:lnTo>
                    <a:pt x="455197" y="302260"/>
                  </a:lnTo>
                  <a:lnTo>
                    <a:pt x="440459" y="302260"/>
                  </a:lnTo>
                  <a:lnTo>
                    <a:pt x="439812" y="299720"/>
                  </a:lnTo>
                  <a:lnTo>
                    <a:pt x="362304" y="299720"/>
                  </a:lnTo>
                  <a:lnTo>
                    <a:pt x="361736" y="297180"/>
                  </a:lnTo>
                  <a:lnTo>
                    <a:pt x="323553" y="297180"/>
                  </a:lnTo>
                  <a:lnTo>
                    <a:pt x="319660" y="289560"/>
                  </a:lnTo>
                  <a:lnTo>
                    <a:pt x="319228" y="288290"/>
                  </a:lnTo>
                  <a:lnTo>
                    <a:pt x="276894" y="288290"/>
                  </a:lnTo>
                  <a:lnTo>
                    <a:pt x="275340" y="285750"/>
                  </a:lnTo>
                  <a:lnTo>
                    <a:pt x="245789" y="285750"/>
                  </a:lnTo>
                  <a:lnTo>
                    <a:pt x="241883" y="284480"/>
                  </a:lnTo>
                  <a:lnTo>
                    <a:pt x="261358" y="284480"/>
                  </a:lnTo>
                  <a:lnTo>
                    <a:pt x="257449" y="279400"/>
                  </a:lnTo>
                  <a:lnTo>
                    <a:pt x="253559" y="276860"/>
                  </a:lnTo>
                  <a:close/>
                </a:path>
                <a:path w="5760085" h="603250">
                  <a:moveTo>
                    <a:pt x="654648" y="292100"/>
                  </a:moveTo>
                  <a:lnTo>
                    <a:pt x="650776" y="292100"/>
                  </a:lnTo>
                  <a:lnTo>
                    <a:pt x="646894" y="299720"/>
                  </a:lnTo>
                  <a:lnTo>
                    <a:pt x="643003" y="303530"/>
                  </a:lnTo>
                  <a:lnTo>
                    <a:pt x="680637" y="303530"/>
                  </a:lnTo>
                  <a:lnTo>
                    <a:pt x="678903" y="298450"/>
                  </a:lnTo>
                  <a:lnTo>
                    <a:pt x="658563" y="298450"/>
                  </a:lnTo>
                  <a:lnTo>
                    <a:pt x="654648" y="292100"/>
                  </a:lnTo>
                  <a:close/>
                </a:path>
                <a:path w="5760085" h="603250">
                  <a:moveTo>
                    <a:pt x="906957" y="298450"/>
                  </a:moveTo>
                  <a:lnTo>
                    <a:pt x="903110" y="303530"/>
                  </a:lnTo>
                  <a:lnTo>
                    <a:pt x="909157" y="303530"/>
                  </a:lnTo>
                  <a:lnTo>
                    <a:pt x="906957" y="298450"/>
                  </a:lnTo>
                  <a:close/>
                </a:path>
                <a:path w="5760085" h="603250">
                  <a:moveTo>
                    <a:pt x="5218600" y="283210"/>
                  </a:moveTo>
                  <a:lnTo>
                    <a:pt x="5198860" y="283210"/>
                  </a:lnTo>
                  <a:lnTo>
                    <a:pt x="5177892" y="303530"/>
                  </a:lnTo>
                  <a:lnTo>
                    <a:pt x="5210823" y="288290"/>
                  </a:lnTo>
                  <a:lnTo>
                    <a:pt x="5217013" y="288290"/>
                  </a:lnTo>
                  <a:lnTo>
                    <a:pt x="5218600" y="283210"/>
                  </a:lnTo>
                  <a:close/>
                </a:path>
                <a:path w="5760085" h="603250">
                  <a:moveTo>
                    <a:pt x="140920" y="290830"/>
                  </a:moveTo>
                  <a:lnTo>
                    <a:pt x="137036" y="297180"/>
                  </a:lnTo>
                  <a:lnTo>
                    <a:pt x="133160" y="302260"/>
                  </a:lnTo>
                  <a:lnTo>
                    <a:pt x="145013" y="302260"/>
                  </a:lnTo>
                  <a:lnTo>
                    <a:pt x="140920" y="290830"/>
                  </a:lnTo>
                  <a:close/>
                </a:path>
                <a:path w="5760085" h="603250">
                  <a:moveTo>
                    <a:pt x="448243" y="269240"/>
                  </a:moveTo>
                  <a:lnTo>
                    <a:pt x="444350" y="287020"/>
                  </a:lnTo>
                  <a:lnTo>
                    <a:pt x="440459" y="302260"/>
                  </a:lnTo>
                  <a:lnTo>
                    <a:pt x="455197" y="302260"/>
                  </a:lnTo>
                  <a:lnTo>
                    <a:pt x="452133" y="279400"/>
                  </a:lnTo>
                  <a:lnTo>
                    <a:pt x="448243" y="269240"/>
                  </a:lnTo>
                  <a:close/>
                </a:path>
                <a:path w="5760085" h="603250">
                  <a:moveTo>
                    <a:pt x="701396" y="287020"/>
                  </a:moveTo>
                  <a:lnTo>
                    <a:pt x="697490" y="302260"/>
                  </a:lnTo>
                  <a:lnTo>
                    <a:pt x="713052" y="302260"/>
                  </a:lnTo>
                  <a:lnTo>
                    <a:pt x="709167" y="299720"/>
                  </a:lnTo>
                  <a:lnTo>
                    <a:pt x="701396" y="287020"/>
                  </a:lnTo>
                  <a:close/>
                </a:path>
                <a:path w="5760085" h="603250">
                  <a:moveTo>
                    <a:pt x="775186" y="299720"/>
                  </a:moveTo>
                  <a:lnTo>
                    <a:pt x="771321" y="302260"/>
                  </a:lnTo>
                  <a:lnTo>
                    <a:pt x="780047" y="302260"/>
                  </a:lnTo>
                  <a:lnTo>
                    <a:pt x="779057" y="300990"/>
                  </a:lnTo>
                  <a:lnTo>
                    <a:pt x="775186" y="299720"/>
                  </a:lnTo>
                  <a:close/>
                </a:path>
                <a:path w="5760085" h="603250">
                  <a:moveTo>
                    <a:pt x="837252" y="298450"/>
                  </a:moveTo>
                  <a:lnTo>
                    <a:pt x="829506" y="300990"/>
                  </a:lnTo>
                  <a:lnTo>
                    <a:pt x="839823" y="300990"/>
                  </a:lnTo>
                  <a:lnTo>
                    <a:pt x="837252" y="298450"/>
                  </a:lnTo>
                  <a:close/>
                </a:path>
                <a:path w="5760085" h="603250">
                  <a:moveTo>
                    <a:pt x="5217013" y="288290"/>
                  </a:moveTo>
                  <a:lnTo>
                    <a:pt x="5210823" y="288290"/>
                  </a:lnTo>
                  <a:lnTo>
                    <a:pt x="5213046" y="300990"/>
                  </a:lnTo>
                  <a:lnTo>
                    <a:pt x="5217013" y="288290"/>
                  </a:lnTo>
                  <a:close/>
                </a:path>
                <a:path w="5760085" h="603250">
                  <a:moveTo>
                    <a:pt x="5542214" y="300313"/>
                  </a:moveTo>
                  <a:lnTo>
                    <a:pt x="5541557" y="300990"/>
                  </a:lnTo>
                  <a:lnTo>
                    <a:pt x="5542449" y="300397"/>
                  </a:lnTo>
                  <a:lnTo>
                    <a:pt x="5542214" y="300313"/>
                  </a:lnTo>
                  <a:close/>
                </a:path>
                <a:path w="5760085" h="603250">
                  <a:moveTo>
                    <a:pt x="5542449" y="300397"/>
                  </a:moveTo>
                  <a:lnTo>
                    <a:pt x="5541557" y="300990"/>
                  </a:lnTo>
                  <a:lnTo>
                    <a:pt x="5544109" y="300990"/>
                  </a:lnTo>
                  <a:lnTo>
                    <a:pt x="5542449" y="300397"/>
                  </a:lnTo>
                  <a:close/>
                </a:path>
                <a:path w="5760085" h="603250">
                  <a:moveTo>
                    <a:pt x="5556052" y="298450"/>
                  </a:moveTo>
                  <a:lnTo>
                    <a:pt x="5545379" y="298450"/>
                  </a:lnTo>
                  <a:lnTo>
                    <a:pt x="5544541" y="300990"/>
                  </a:lnTo>
                  <a:lnTo>
                    <a:pt x="5558070" y="300990"/>
                  </a:lnTo>
                  <a:lnTo>
                    <a:pt x="5556052" y="298450"/>
                  </a:lnTo>
                  <a:close/>
                </a:path>
                <a:path w="5760085" h="603250">
                  <a:moveTo>
                    <a:pt x="5582857" y="279400"/>
                  </a:moveTo>
                  <a:lnTo>
                    <a:pt x="5562524" y="279400"/>
                  </a:lnTo>
                  <a:lnTo>
                    <a:pt x="5542214" y="300313"/>
                  </a:lnTo>
                  <a:lnTo>
                    <a:pt x="5542449" y="300397"/>
                  </a:lnTo>
                  <a:lnTo>
                    <a:pt x="5545379" y="298450"/>
                  </a:lnTo>
                  <a:lnTo>
                    <a:pt x="5556052" y="298450"/>
                  </a:lnTo>
                  <a:lnTo>
                    <a:pt x="5553025" y="294640"/>
                  </a:lnTo>
                  <a:lnTo>
                    <a:pt x="5565915" y="288290"/>
                  </a:lnTo>
                  <a:lnTo>
                    <a:pt x="5574501" y="284480"/>
                  </a:lnTo>
                  <a:lnTo>
                    <a:pt x="5582489" y="284480"/>
                  </a:lnTo>
                  <a:lnTo>
                    <a:pt x="5582857" y="279400"/>
                  </a:lnTo>
                  <a:close/>
                </a:path>
                <a:path w="5760085" h="603250">
                  <a:moveTo>
                    <a:pt x="82791" y="287020"/>
                  </a:moveTo>
                  <a:lnTo>
                    <a:pt x="78906" y="299720"/>
                  </a:lnTo>
                  <a:lnTo>
                    <a:pt x="88324" y="299720"/>
                  </a:lnTo>
                  <a:lnTo>
                    <a:pt x="82791" y="287020"/>
                  </a:lnTo>
                  <a:close/>
                </a:path>
                <a:path w="5760085" h="603250">
                  <a:moveTo>
                    <a:pt x="384557" y="274320"/>
                  </a:moveTo>
                  <a:lnTo>
                    <a:pt x="379400" y="278130"/>
                  </a:lnTo>
                  <a:lnTo>
                    <a:pt x="374168" y="281940"/>
                  </a:lnTo>
                  <a:lnTo>
                    <a:pt x="370225" y="281940"/>
                  </a:lnTo>
                  <a:lnTo>
                    <a:pt x="366223" y="293370"/>
                  </a:lnTo>
                  <a:lnTo>
                    <a:pt x="362304" y="299720"/>
                  </a:lnTo>
                  <a:lnTo>
                    <a:pt x="439812" y="299720"/>
                  </a:lnTo>
                  <a:lnTo>
                    <a:pt x="438517" y="294640"/>
                  </a:lnTo>
                  <a:lnTo>
                    <a:pt x="397569" y="294640"/>
                  </a:lnTo>
                  <a:lnTo>
                    <a:pt x="393663" y="292100"/>
                  </a:lnTo>
                  <a:lnTo>
                    <a:pt x="389751" y="281940"/>
                  </a:lnTo>
                  <a:lnTo>
                    <a:pt x="384557" y="274320"/>
                  </a:lnTo>
                  <a:close/>
                </a:path>
                <a:path w="5760085" h="603250">
                  <a:moveTo>
                    <a:pt x="121547" y="274320"/>
                  </a:moveTo>
                  <a:lnTo>
                    <a:pt x="117653" y="278130"/>
                  </a:lnTo>
                  <a:lnTo>
                    <a:pt x="109906" y="298450"/>
                  </a:lnTo>
                  <a:lnTo>
                    <a:pt x="128700" y="298450"/>
                  </a:lnTo>
                  <a:lnTo>
                    <a:pt x="125439" y="284480"/>
                  </a:lnTo>
                  <a:lnTo>
                    <a:pt x="121547" y="274320"/>
                  </a:lnTo>
                  <a:close/>
                </a:path>
                <a:path w="5760085" h="603250">
                  <a:moveTo>
                    <a:pt x="674138" y="280670"/>
                  </a:moveTo>
                  <a:lnTo>
                    <a:pt x="670230" y="287020"/>
                  </a:lnTo>
                  <a:lnTo>
                    <a:pt x="666351" y="288290"/>
                  </a:lnTo>
                  <a:lnTo>
                    <a:pt x="662463" y="294640"/>
                  </a:lnTo>
                  <a:lnTo>
                    <a:pt x="658563" y="298450"/>
                  </a:lnTo>
                  <a:lnTo>
                    <a:pt x="678903" y="298450"/>
                  </a:lnTo>
                  <a:lnTo>
                    <a:pt x="678036" y="295910"/>
                  </a:lnTo>
                  <a:lnTo>
                    <a:pt x="674138" y="280670"/>
                  </a:lnTo>
                  <a:close/>
                </a:path>
                <a:path w="5760085" h="603250">
                  <a:moveTo>
                    <a:pt x="4781451" y="279400"/>
                  </a:moveTo>
                  <a:lnTo>
                    <a:pt x="4753103" y="279400"/>
                  </a:lnTo>
                  <a:lnTo>
                    <a:pt x="4743044" y="287020"/>
                  </a:lnTo>
                  <a:lnTo>
                    <a:pt x="4729671" y="290830"/>
                  </a:lnTo>
                  <a:lnTo>
                    <a:pt x="4723169" y="298450"/>
                  </a:lnTo>
                  <a:lnTo>
                    <a:pt x="4732275" y="298450"/>
                  </a:lnTo>
                  <a:lnTo>
                    <a:pt x="4738333" y="297180"/>
                  </a:lnTo>
                  <a:lnTo>
                    <a:pt x="4783722" y="297180"/>
                  </a:lnTo>
                  <a:lnTo>
                    <a:pt x="4796664" y="292100"/>
                  </a:lnTo>
                  <a:lnTo>
                    <a:pt x="4781451" y="279400"/>
                  </a:lnTo>
                  <a:close/>
                </a:path>
                <a:path w="5760085" h="603250">
                  <a:moveTo>
                    <a:pt x="350651" y="254000"/>
                  </a:moveTo>
                  <a:lnTo>
                    <a:pt x="346859" y="261620"/>
                  </a:lnTo>
                  <a:lnTo>
                    <a:pt x="343053" y="267970"/>
                  </a:lnTo>
                  <a:lnTo>
                    <a:pt x="339162" y="274320"/>
                  </a:lnTo>
                  <a:lnTo>
                    <a:pt x="331357" y="279400"/>
                  </a:lnTo>
                  <a:lnTo>
                    <a:pt x="327445" y="285750"/>
                  </a:lnTo>
                  <a:lnTo>
                    <a:pt x="323553" y="297180"/>
                  </a:lnTo>
                  <a:lnTo>
                    <a:pt x="361736" y="297180"/>
                  </a:lnTo>
                  <a:lnTo>
                    <a:pt x="358611" y="283210"/>
                  </a:lnTo>
                  <a:lnTo>
                    <a:pt x="354533" y="257810"/>
                  </a:lnTo>
                  <a:lnTo>
                    <a:pt x="350651" y="254000"/>
                  </a:lnTo>
                  <a:close/>
                </a:path>
                <a:path w="5760085" h="603250">
                  <a:moveTo>
                    <a:pt x="5343517" y="262890"/>
                  </a:moveTo>
                  <a:lnTo>
                    <a:pt x="5320856" y="262890"/>
                  </a:lnTo>
                  <a:lnTo>
                    <a:pt x="5341176" y="297180"/>
                  </a:lnTo>
                  <a:lnTo>
                    <a:pt x="5344999" y="284480"/>
                  </a:lnTo>
                  <a:lnTo>
                    <a:pt x="5366084" y="284480"/>
                  </a:lnTo>
                  <a:lnTo>
                    <a:pt x="5360848" y="281940"/>
                  </a:lnTo>
                  <a:lnTo>
                    <a:pt x="5345913" y="267970"/>
                  </a:lnTo>
                  <a:lnTo>
                    <a:pt x="5343517" y="262890"/>
                  </a:lnTo>
                  <a:close/>
                </a:path>
                <a:path w="5760085" h="603250">
                  <a:moveTo>
                    <a:pt x="5377468" y="292100"/>
                  </a:moveTo>
                  <a:lnTo>
                    <a:pt x="5360645" y="292100"/>
                  </a:lnTo>
                  <a:lnTo>
                    <a:pt x="5366640" y="295910"/>
                  </a:lnTo>
                  <a:lnTo>
                    <a:pt x="5370640" y="297180"/>
                  </a:lnTo>
                  <a:lnTo>
                    <a:pt x="5377468" y="292100"/>
                  </a:lnTo>
                  <a:close/>
                </a:path>
                <a:path w="5760085" h="603250">
                  <a:moveTo>
                    <a:pt x="413163" y="271780"/>
                  </a:moveTo>
                  <a:lnTo>
                    <a:pt x="409263" y="276860"/>
                  </a:lnTo>
                  <a:lnTo>
                    <a:pt x="405359" y="285750"/>
                  </a:lnTo>
                  <a:lnTo>
                    <a:pt x="401469" y="293370"/>
                  </a:lnTo>
                  <a:lnTo>
                    <a:pt x="397569" y="294640"/>
                  </a:lnTo>
                  <a:lnTo>
                    <a:pt x="438517" y="294640"/>
                  </a:lnTo>
                  <a:lnTo>
                    <a:pt x="437223" y="289560"/>
                  </a:lnTo>
                  <a:lnTo>
                    <a:pt x="432664" y="289560"/>
                  </a:lnTo>
                  <a:lnTo>
                    <a:pt x="427980" y="281940"/>
                  </a:lnTo>
                  <a:lnTo>
                    <a:pt x="420968" y="281940"/>
                  </a:lnTo>
                  <a:lnTo>
                    <a:pt x="417064" y="273050"/>
                  </a:lnTo>
                  <a:lnTo>
                    <a:pt x="413163" y="271780"/>
                  </a:lnTo>
                  <a:close/>
                </a:path>
                <a:path w="5760085" h="603250">
                  <a:moveTo>
                    <a:pt x="5157806" y="290830"/>
                  </a:moveTo>
                  <a:lnTo>
                    <a:pt x="5150003" y="290830"/>
                  </a:lnTo>
                  <a:lnTo>
                    <a:pt x="5159261" y="294640"/>
                  </a:lnTo>
                  <a:lnTo>
                    <a:pt x="5157806" y="290830"/>
                  </a:lnTo>
                  <a:close/>
                </a:path>
                <a:path w="5760085" h="603250">
                  <a:moveTo>
                    <a:pt x="817887" y="285750"/>
                  </a:moveTo>
                  <a:lnTo>
                    <a:pt x="814008" y="285750"/>
                  </a:lnTo>
                  <a:lnTo>
                    <a:pt x="810146" y="293370"/>
                  </a:lnTo>
                  <a:lnTo>
                    <a:pt x="823053" y="293370"/>
                  </a:lnTo>
                  <a:lnTo>
                    <a:pt x="821766" y="290830"/>
                  </a:lnTo>
                  <a:lnTo>
                    <a:pt x="817887" y="285750"/>
                  </a:lnTo>
                  <a:close/>
                </a:path>
                <a:path w="5760085" h="603250">
                  <a:moveTo>
                    <a:pt x="5673275" y="279400"/>
                  </a:moveTo>
                  <a:lnTo>
                    <a:pt x="5612372" y="279400"/>
                  </a:lnTo>
                  <a:lnTo>
                    <a:pt x="5605209" y="288290"/>
                  </a:lnTo>
                  <a:lnTo>
                    <a:pt x="5599024" y="293370"/>
                  </a:lnTo>
                  <a:lnTo>
                    <a:pt x="5759996" y="293370"/>
                  </a:lnTo>
                  <a:lnTo>
                    <a:pt x="5759996" y="284480"/>
                  </a:lnTo>
                  <a:lnTo>
                    <a:pt x="5675173" y="284480"/>
                  </a:lnTo>
                  <a:lnTo>
                    <a:pt x="5673275" y="279400"/>
                  </a:lnTo>
                  <a:close/>
                </a:path>
                <a:path w="5760085" h="603250">
                  <a:moveTo>
                    <a:pt x="5322449" y="269240"/>
                  </a:moveTo>
                  <a:lnTo>
                    <a:pt x="5308855" y="269240"/>
                  </a:lnTo>
                  <a:lnTo>
                    <a:pt x="5326495" y="292100"/>
                  </a:lnTo>
                  <a:lnTo>
                    <a:pt x="5325911" y="287020"/>
                  </a:lnTo>
                  <a:lnTo>
                    <a:pt x="5324996" y="279400"/>
                  </a:lnTo>
                  <a:lnTo>
                    <a:pt x="5322449" y="269240"/>
                  </a:lnTo>
                  <a:close/>
                </a:path>
                <a:path w="5760085" h="603250">
                  <a:moveTo>
                    <a:pt x="206915" y="289560"/>
                  </a:moveTo>
                  <a:lnTo>
                    <a:pt x="203010" y="289560"/>
                  </a:lnTo>
                  <a:lnTo>
                    <a:pt x="199119" y="290830"/>
                  </a:lnTo>
                  <a:lnTo>
                    <a:pt x="207563" y="290830"/>
                  </a:lnTo>
                  <a:lnTo>
                    <a:pt x="206915" y="289560"/>
                  </a:lnTo>
                  <a:close/>
                </a:path>
                <a:path w="5760085" h="603250">
                  <a:moveTo>
                    <a:pt x="5351341" y="222250"/>
                  </a:moveTo>
                  <a:lnTo>
                    <a:pt x="5260823" y="222250"/>
                  </a:lnTo>
                  <a:lnTo>
                    <a:pt x="5259096" y="229870"/>
                  </a:lnTo>
                  <a:lnTo>
                    <a:pt x="5255565" y="237490"/>
                  </a:lnTo>
                  <a:lnTo>
                    <a:pt x="5242180" y="247650"/>
                  </a:lnTo>
                  <a:lnTo>
                    <a:pt x="5223854" y="255270"/>
                  </a:lnTo>
                  <a:lnTo>
                    <a:pt x="5204689" y="261620"/>
                  </a:lnTo>
                  <a:lnTo>
                    <a:pt x="5171237" y="271780"/>
                  </a:lnTo>
                  <a:lnTo>
                    <a:pt x="5181893" y="276860"/>
                  </a:lnTo>
                  <a:lnTo>
                    <a:pt x="5180750" y="290830"/>
                  </a:lnTo>
                  <a:lnTo>
                    <a:pt x="5198860" y="283210"/>
                  </a:lnTo>
                  <a:lnTo>
                    <a:pt x="5218600" y="283210"/>
                  </a:lnTo>
                  <a:lnTo>
                    <a:pt x="5221377" y="274320"/>
                  </a:lnTo>
                  <a:lnTo>
                    <a:pt x="5244351" y="274320"/>
                  </a:lnTo>
                  <a:lnTo>
                    <a:pt x="5253394" y="267970"/>
                  </a:lnTo>
                  <a:lnTo>
                    <a:pt x="5322130" y="267970"/>
                  </a:lnTo>
                  <a:lnTo>
                    <a:pt x="5320856" y="262890"/>
                  </a:lnTo>
                  <a:lnTo>
                    <a:pt x="5343517" y="262890"/>
                  </a:lnTo>
                  <a:lnTo>
                    <a:pt x="5342319" y="260350"/>
                  </a:lnTo>
                  <a:lnTo>
                    <a:pt x="5347767" y="251460"/>
                  </a:lnTo>
                  <a:lnTo>
                    <a:pt x="5362357" y="251460"/>
                  </a:lnTo>
                  <a:lnTo>
                    <a:pt x="5362207" y="250190"/>
                  </a:lnTo>
                  <a:lnTo>
                    <a:pt x="5375064" y="250190"/>
                  </a:lnTo>
                  <a:lnTo>
                    <a:pt x="5373777" y="243840"/>
                  </a:lnTo>
                  <a:lnTo>
                    <a:pt x="5396434" y="243840"/>
                  </a:lnTo>
                  <a:lnTo>
                    <a:pt x="5363401" y="231140"/>
                  </a:lnTo>
                  <a:lnTo>
                    <a:pt x="5361991" y="229870"/>
                  </a:lnTo>
                  <a:lnTo>
                    <a:pt x="5364595" y="228600"/>
                  </a:lnTo>
                  <a:lnTo>
                    <a:pt x="5368481" y="228600"/>
                  </a:lnTo>
                  <a:lnTo>
                    <a:pt x="5351341" y="222250"/>
                  </a:lnTo>
                  <a:close/>
                </a:path>
                <a:path w="5760085" h="603250">
                  <a:moveTo>
                    <a:pt x="5244351" y="274320"/>
                  </a:moveTo>
                  <a:lnTo>
                    <a:pt x="5221377" y="274320"/>
                  </a:lnTo>
                  <a:lnTo>
                    <a:pt x="5227283" y="283210"/>
                  </a:lnTo>
                  <a:lnTo>
                    <a:pt x="5228133" y="290830"/>
                  </a:lnTo>
                  <a:lnTo>
                    <a:pt x="5233975" y="289560"/>
                  </a:lnTo>
                  <a:lnTo>
                    <a:pt x="5244351" y="274320"/>
                  </a:lnTo>
                  <a:close/>
                </a:path>
                <a:path w="5760085" h="603250">
                  <a:moveTo>
                    <a:pt x="5543521" y="276860"/>
                  </a:moveTo>
                  <a:lnTo>
                    <a:pt x="5507483" y="276860"/>
                  </a:lnTo>
                  <a:lnTo>
                    <a:pt x="5533975" y="290830"/>
                  </a:lnTo>
                  <a:lnTo>
                    <a:pt x="5532413" y="281940"/>
                  </a:lnTo>
                  <a:lnTo>
                    <a:pt x="5556488" y="281940"/>
                  </a:lnTo>
                  <a:lnTo>
                    <a:pt x="5562524" y="279400"/>
                  </a:lnTo>
                  <a:lnTo>
                    <a:pt x="5582857" y="279400"/>
                  </a:lnTo>
                  <a:lnTo>
                    <a:pt x="5583221" y="278130"/>
                  </a:lnTo>
                  <a:lnTo>
                    <a:pt x="5545189" y="278130"/>
                  </a:lnTo>
                  <a:lnTo>
                    <a:pt x="5543521" y="276860"/>
                  </a:lnTo>
                  <a:close/>
                </a:path>
                <a:path w="5760085" h="603250">
                  <a:moveTo>
                    <a:pt x="436576" y="287020"/>
                  </a:moveTo>
                  <a:lnTo>
                    <a:pt x="432664" y="289560"/>
                  </a:lnTo>
                  <a:lnTo>
                    <a:pt x="437223" y="289560"/>
                  </a:lnTo>
                  <a:lnTo>
                    <a:pt x="436576" y="287020"/>
                  </a:lnTo>
                  <a:close/>
                </a:path>
                <a:path w="5760085" h="603250">
                  <a:moveTo>
                    <a:pt x="588500" y="271780"/>
                  </a:moveTo>
                  <a:lnTo>
                    <a:pt x="584615" y="274320"/>
                  </a:lnTo>
                  <a:lnTo>
                    <a:pt x="580723" y="281940"/>
                  </a:lnTo>
                  <a:lnTo>
                    <a:pt x="576797" y="285750"/>
                  </a:lnTo>
                  <a:lnTo>
                    <a:pt x="568998" y="289560"/>
                  </a:lnTo>
                  <a:lnTo>
                    <a:pt x="604069" y="289560"/>
                  </a:lnTo>
                  <a:lnTo>
                    <a:pt x="603096" y="287020"/>
                  </a:lnTo>
                  <a:lnTo>
                    <a:pt x="592405" y="287020"/>
                  </a:lnTo>
                  <a:lnTo>
                    <a:pt x="588500" y="271780"/>
                  </a:lnTo>
                  <a:close/>
                </a:path>
                <a:path w="5760085" h="603250">
                  <a:moveTo>
                    <a:pt x="615668" y="250190"/>
                  </a:moveTo>
                  <a:lnTo>
                    <a:pt x="611828" y="251460"/>
                  </a:lnTo>
                  <a:lnTo>
                    <a:pt x="607975" y="284480"/>
                  </a:lnTo>
                  <a:lnTo>
                    <a:pt x="604069" y="289560"/>
                  </a:lnTo>
                  <a:lnTo>
                    <a:pt x="623090" y="289560"/>
                  </a:lnTo>
                  <a:lnTo>
                    <a:pt x="619552" y="269240"/>
                  </a:lnTo>
                  <a:lnTo>
                    <a:pt x="615668" y="250190"/>
                  </a:lnTo>
                  <a:close/>
                </a:path>
                <a:path w="5760085" h="603250">
                  <a:moveTo>
                    <a:pt x="5165991" y="273050"/>
                  </a:moveTo>
                  <a:lnTo>
                    <a:pt x="5085906" y="273050"/>
                  </a:lnTo>
                  <a:lnTo>
                    <a:pt x="5077715" y="289560"/>
                  </a:lnTo>
                  <a:lnTo>
                    <a:pt x="5091139" y="285750"/>
                  </a:lnTo>
                  <a:lnTo>
                    <a:pt x="5155866" y="285750"/>
                  </a:lnTo>
                  <a:lnTo>
                    <a:pt x="5151502" y="274320"/>
                  </a:lnTo>
                  <a:lnTo>
                    <a:pt x="5166658" y="274320"/>
                  </a:lnTo>
                  <a:lnTo>
                    <a:pt x="5165991" y="273050"/>
                  </a:lnTo>
                  <a:close/>
                </a:path>
                <a:path w="5760085" h="603250">
                  <a:moveTo>
                    <a:pt x="284686" y="276860"/>
                  </a:moveTo>
                  <a:lnTo>
                    <a:pt x="280823" y="283210"/>
                  </a:lnTo>
                  <a:lnTo>
                    <a:pt x="276894" y="288290"/>
                  </a:lnTo>
                  <a:lnTo>
                    <a:pt x="319228" y="288290"/>
                  </a:lnTo>
                  <a:lnTo>
                    <a:pt x="318365" y="285750"/>
                  </a:lnTo>
                  <a:lnTo>
                    <a:pt x="296355" y="285750"/>
                  </a:lnTo>
                  <a:lnTo>
                    <a:pt x="288561" y="278130"/>
                  </a:lnTo>
                  <a:lnTo>
                    <a:pt x="284686" y="276860"/>
                  </a:lnTo>
                  <a:close/>
                </a:path>
                <a:path w="5760085" h="603250">
                  <a:moveTo>
                    <a:pt x="596290" y="271780"/>
                  </a:moveTo>
                  <a:lnTo>
                    <a:pt x="592405" y="287020"/>
                  </a:lnTo>
                  <a:lnTo>
                    <a:pt x="603096" y="287020"/>
                  </a:lnTo>
                  <a:lnTo>
                    <a:pt x="600176" y="279400"/>
                  </a:lnTo>
                  <a:lnTo>
                    <a:pt x="596290" y="271780"/>
                  </a:lnTo>
                  <a:close/>
                </a:path>
                <a:path w="5760085" h="603250">
                  <a:moveTo>
                    <a:pt x="5556488" y="281940"/>
                  </a:moveTo>
                  <a:lnTo>
                    <a:pt x="5544922" y="281940"/>
                  </a:lnTo>
                  <a:lnTo>
                    <a:pt x="5544414" y="287020"/>
                  </a:lnTo>
                  <a:lnTo>
                    <a:pt x="5556488" y="281940"/>
                  </a:lnTo>
                  <a:close/>
                </a:path>
                <a:path w="5760085" h="603250">
                  <a:moveTo>
                    <a:pt x="301524" y="275590"/>
                  </a:moveTo>
                  <a:lnTo>
                    <a:pt x="296355" y="285750"/>
                  </a:lnTo>
                  <a:lnTo>
                    <a:pt x="318365" y="285750"/>
                  </a:lnTo>
                  <a:lnTo>
                    <a:pt x="317070" y="281940"/>
                  </a:lnTo>
                  <a:lnTo>
                    <a:pt x="311913" y="281940"/>
                  </a:lnTo>
                  <a:lnTo>
                    <a:pt x="306744" y="279400"/>
                  </a:lnTo>
                  <a:lnTo>
                    <a:pt x="301524" y="275590"/>
                  </a:lnTo>
                  <a:close/>
                </a:path>
                <a:path w="5760085" h="603250">
                  <a:moveTo>
                    <a:pt x="491081" y="248920"/>
                  </a:moveTo>
                  <a:lnTo>
                    <a:pt x="487192" y="255270"/>
                  </a:lnTo>
                  <a:lnTo>
                    <a:pt x="483312" y="281940"/>
                  </a:lnTo>
                  <a:lnTo>
                    <a:pt x="478054" y="281940"/>
                  </a:lnTo>
                  <a:lnTo>
                    <a:pt x="472885" y="285750"/>
                  </a:lnTo>
                  <a:lnTo>
                    <a:pt x="506685" y="285750"/>
                  </a:lnTo>
                  <a:lnTo>
                    <a:pt x="502798" y="284480"/>
                  </a:lnTo>
                  <a:lnTo>
                    <a:pt x="498907" y="275590"/>
                  </a:lnTo>
                  <a:lnTo>
                    <a:pt x="494985" y="256540"/>
                  </a:lnTo>
                  <a:lnTo>
                    <a:pt x="491081" y="248920"/>
                  </a:lnTo>
                  <a:close/>
                </a:path>
                <a:path w="5760085" h="603250">
                  <a:moveTo>
                    <a:pt x="522293" y="257810"/>
                  </a:moveTo>
                  <a:lnTo>
                    <a:pt x="518397" y="260350"/>
                  </a:lnTo>
                  <a:lnTo>
                    <a:pt x="514490" y="276860"/>
                  </a:lnTo>
                  <a:lnTo>
                    <a:pt x="510579" y="281940"/>
                  </a:lnTo>
                  <a:lnTo>
                    <a:pt x="506685" y="285750"/>
                  </a:lnTo>
                  <a:lnTo>
                    <a:pt x="553417" y="285750"/>
                  </a:lnTo>
                  <a:lnTo>
                    <a:pt x="541739" y="281940"/>
                  </a:lnTo>
                  <a:lnTo>
                    <a:pt x="539798" y="278130"/>
                  </a:lnTo>
                  <a:lnTo>
                    <a:pt x="530086" y="278130"/>
                  </a:lnTo>
                  <a:lnTo>
                    <a:pt x="526186" y="265430"/>
                  </a:lnTo>
                  <a:lnTo>
                    <a:pt x="522293" y="257810"/>
                  </a:lnTo>
                  <a:close/>
                </a:path>
                <a:path w="5760085" h="603250">
                  <a:moveTo>
                    <a:pt x="4765358" y="196850"/>
                  </a:moveTo>
                  <a:lnTo>
                    <a:pt x="4761459" y="222250"/>
                  </a:lnTo>
                  <a:lnTo>
                    <a:pt x="4756354" y="228600"/>
                  </a:lnTo>
                  <a:lnTo>
                    <a:pt x="4759211" y="234950"/>
                  </a:lnTo>
                  <a:lnTo>
                    <a:pt x="4747210" y="240030"/>
                  </a:lnTo>
                  <a:lnTo>
                    <a:pt x="4748683" y="246380"/>
                  </a:lnTo>
                  <a:lnTo>
                    <a:pt x="4732148" y="251460"/>
                  </a:lnTo>
                  <a:lnTo>
                    <a:pt x="4756570" y="256540"/>
                  </a:lnTo>
                  <a:lnTo>
                    <a:pt x="4723499" y="271780"/>
                  </a:lnTo>
                  <a:lnTo>
                    <a:pt x="4736174" y="279400"/>
                  </a:lnTo>
                  <a:lnTo>
                    <a:pt x="4728985" y="285750"/>
                  </a:lnTo>
                  <a:lnTo>
                    <a:pt x="4741495" y="281940"/>
                  </a:lnTo>
                  <a:lnTo>
                    <a:pt x="4748454" y="280670"/>
                  </a:lnTo>
                  <a:lnTo>
                    <a:pt x="4753103" y="279400"/>
                  </a:lnTo>
                  <a:lnTo>
                    <a:pt x="4781451" y="279400"/>
                  </a:lnTo>
                  <a:lnTo>
                    <a:pt x="4775366" y="274320"/>
                  </a:lnTo>
                  <a:lnTo>
                    <a:pt x="4803953" y="274320"/>
                  </a:lnTo>
                  <a:lnTo>
                    <a:pt x="4808767" y="273050"/>
                  </a:lnTo>
                  <a:lnTo>
                    <a:pt x="4779887" y="259080"/>
                  </a:lnTo>
                  <a:lnTo>
                    <a:pt x="4789704" y="248920"/>
                  </a:lnTo>
                  <a:lnTo>
                    <a:pt x="4776534" y="241300"/>
                  </a:lnTo>
                  <a:lnTo>
                    <a:pt x="4778363" y="233680"/>
                  </a:lnTo>
                  <a:lnTo>
                    <a:pt x="4769892" y="228600"/>
                  </a:lnTo>
                  <a:lnTo>
                    <a:pt x="4772699" y="226060"/>
                  </a:lnTo>
                  <a:lnTo>
                    <a:pt x="4768165" y="219710"/>
                  </a:lnTo>
                  <a:lnTo>
                    <a:pt x="4765358" y="196850"/>
                  </a:lnTo>
                  <a:close/>
                </a:path>
                <a:path w="5760085" h="603250">
                  <a:moveTo>
                    <a:pt x="4803953" y="274320"/>
                  </a:moveTo>
                  <a:lnTo>
                    <a:pt x="4775366" y="274320"/>
                  </a:lnTo>
                  <a:lnTo>
                    <a:pt x="4804373" y="285750"/>
                  </a:lnTo>
                  <a:lnTo>
                    <a:pt x="4799140" y="275590"/>
                  </a:lnTo>
                  <a:lnTo>
                    <a:pt x="4803953" y="274320"/>
                  </a:lnTo>
                  <a:close/>
                </a:path>
                <a:path w="5760085" h="603250">
                  <a:moveTo>
                    <a:pt x="269122" y="275590"/>
                  </a:moveTo>
                  <a:lnTo>
                    <a:pt x="265278" y="283210"/>
                  </a:lnTo>
                  <a:lnTo>
                    <a:pt x="261358" y="284480"/>
                  </a:lnTo>
                  <a:lnTo>
                    <a:pt x="274562" y="284480"/>
                  </a:lnTo>
                  <a:lnTo>
                    <a:pt x="269122" y="275590"/>
                  </a:lnTo>
                  <a:close/>
                </a:path>
                <a:path w="5760085" h="603250">
                  <a:moveTo>
                    <a:pt x="5322130" y="267970"/>
                  </a:moveTo>
                  <a:lnTo>
                    <a:pt x="5253394" y="267970"/>
                  </a:lnTo>
                  <a:lnTo>
                    <a:pt x="5242548" y="280670"/>
                  </a:lnTo>
                  <a:lnTo>
                    <a:pt x="5244034" y="284480"/>
                  </a:lnTo>
                  <a:lnTo>
                    <a:pt x="5248707" y="281940"/>
                  </a:lnTo>
                  <a:lnTo>
                    <a:pt x="5309632" y="281940"/>
                  </a:lnTo>
                  <a:lnTo>
                    <a:pt x="5307686" y="276860"/>
                  </a:lnTo>
                  <a:lnTo>
                    <a:pt x="5308855" y="269240"/>
                  </a:lnTo>
                  <a:lnTo>
                    <a:pt x="5322449" y="269240"/>
                  </a:lnTo>
                  <a:lnTo>
                    <a:pt x="5322130" y="267970"/>
                  </a:lnTo>
                  <a:close/>
                </a:path>
                <a:path w="5760085" h="603250">
                  <a:moveTo>
                    <a:pt x="5759996" y="266700"/>
                  </a:moveTo>
                  <a:lnTo>
                    <a:pt x="5672519" y="266700"/>
                  </a:lnTo>
                  <a:lnTo>
                    <a:pt x="5679174" y="274320"/>
                  </a:lnTo>
                  <a:lnTo>
                    <a:pt x="5678260" y="275590"/>
                  </a:lnTo>
                  <a:lnTo>
                    <a:pt x="5677345" y="278130"/>
                  </a:lnTo>
                  <a:lnTo>
                    <a:pt x="5676418" y="281940"/>
                  </a:lnTo>
                  <a:lnTo>
                    <a:pt x="5675999" y="283210"/>
                  </a:lnTo>
                  <a:lnTo>
                    <a:pt x="5675580" y="283210"/>
                  </a:lnTo>
                  <a:lnTo>
                    <a:pt x="5675173" y="284480"/>
                  </a:lnTo>
                  <a:lnTo>
                    <a:pt x="5759996" y="284480"/>
                  </a:lnTo>
                  <a:lnTo>
                    <a:pt x="5759996" y="266700"/>
                  </a:lnTo>
                  <a:close/>
                </a:path>
                <a:path w="5760085" h="603250">
                  <a:moveTo>
                    <a:pt x="5161319" y="264160"/>
                  </a:moveTo>
                  <a:lnTo>
                    <a:pt x="5072660" y="264160"/>
                  </a:lnTo>
                  <a:lnTo>
                    <a:pt x="5061840" y="283210"/>
                  </a:lnTo>
                  <a:lnTo>
                    <a:pt x="5085906" y="273050"/>
                  </a:lnTo>
                  <a:lnTo>
                    <a:pt x="5165991" y="273050"/>
                  </a:lnTo>
                  <a:lnTo>
                    <a:pt x="5161319" y="264160"/>
                  </a:lnTo>
                  <a:close/>
                </a:path>
                <a:path w="5760085" h="603250">
                  <a:moveTo>
                    <a:pt x="5608016" y="271780"/>
                  </a:moveTo>
                  <a:lnTo>
                    <a:pt x="5585042" y="271780"/>
                  </a:lnTo>
                  <a:lnTo>
                    <a:pt x="5590960" y="279400"/>
                  </a:lnTo>
                  <a:lnTo>
                    <a:pt x="5591315" y="283210"/>
                  </a:lnTo>
                  <a:lnTo>
                    <a:pt x="5600312" y="283210"/>
                  </a:lnTo>
                  <a:lnTo>
                    <a:pt x="5603876" y="278130"/>
                  </a:lnTo>
                  <a:lnTo>
                    <a:pt x="5608016" y="271780"/>
                  </a:lnTo>
                  <a:close/>
                </a:path>
                <a:path w="5760085" h="603250">
                  <a:moveTo>
                    <a:pt x="315775" y="278130"/>
                  </a:moveTo>
                  <a:lnTo>
                    <a:pt x="311913" y="281940"/>
                  </a:lnTo>
                  <a:lnTo>
                    <a:pt x="317070" y="281940"/>
                  </a:lnTo>
                  <a:lnTo>
                    <a:pt x="315775" y="278130"/>
                  </a:lnTo>
                  <a:close/>
                </a:path>
                <a:path w="5760085" h="603250">
                  <a:moveTo>
                    <a:pt x="424858" y="276860"/>
                  </a:moveTo>
                  <a:lnTo>
                    <a:pt x="420968" y="281940"/>
                  </a:lnTo>
                  <a:lnTo>
                    <a:pt x="427980" y="281940"/>
                  </a:lnTo>
                  <a:lnTo>
                    <a:pt x="424858" y="276860"/>
                  </a:lnTo>
                  <a:close/>
                </a:path>
                <a:path w="5760085" h="603250">
                  <a:moveTo>
                    <a:pt x="5759996" y="264160"/>
                  </a:moveTo>
                  <a:lnTo>
                    <a:pt x="5617071" y="264160"/>
                  </a:lnTo>
                  <a:lnTo>
                    <a:pt x="5606225" y="276860"/>
                  </a:lnTo>
                  <a:lnTo>
                    <a:pt x="5607698" y="281940"/>
                  </a:lnTo>
                  <a:lnTo>
                    <a:pt x="5612372" y="279400"/>
                  </a:lnTo>
                  <a:lnTo>
                    <a:pt x="5673275" y="279400"/>
                  </a:lnTo>
                  <a:lnTo>
                    <a:pt x="5671376" y="274320"/>
                  </a:lnTo>
                  <a:lnTo>
                    <a:pt x="5672519" y="266700"/>
                  </a:lnTo>
                  <a:lnTo>
                    <a:pt x="5759996" y="266700"/>
                  </a:lnTo>
                  <a:lnTo>
                    <a:pt x="5759996" y="264160"/>
                  </a:lnTo>
                  <a:close/>
                </a:path>
                <a:path w="5760085" h="603250">
                  <a:moveTo>
                    <a:pt x="533972" y="269240"/>
                  </a:moveTo>
                  <a:lnTo>
                    <a:pt x="530086" y="278130"/>
                  </a:lnTo>
                  <a:lnTo>
                    <a:pt x="539798" y="278130"/>
                  </a:lnTo>
                  <a:lnTo>
                    <a:pt x="537857" y="274320"/>
                  </a:lnTo>
                  <a:lnTo>
                    <a:pt x="533972" y="269240"/>
                  </a:lnTo>
                  <a:close/>
                </a:path>
                <a:path w="5760085" h="603250">
                  <a:moveTo>
                    <a:pt x="5425593" y="267970"/>
                  </a:moveTo>
                  <a:lnTo>
                    <a:pt x="5417211" y="267970"/>
                  </a:lnTo>
                  <a:lnTo>
                    <a:pt x="5418532" y="278130"/>
                  </a:lnTo>
                  <a:lnTo>
                    <a:pt x="5425593" y="267970"/>
                  </a:lnTo>
                  <a:close/>
                </a:path>
                <a:path w="5760085" h="603250">
                  <a:moveTo>
                    <a:pt x="5550167" y="256540"/>
                  </a:moveTo>
                  <a:lnTo>
                    <a:pt x="5542535" y="256540"/>
                  </a:lnTo>
                  <a:lnTo>
                    <a:pt x="5553723" y="262890"/>
                  </a:lnTo>
                  <a:lnTo>
                    <a:pt x="5534915" y="269240"/>
                  </a:lnTo>
                  <a:lnTo>
                    <a:pt x="5545570" y="273050"/>
                  </a:lnTo>
                  <a:lnTo>
                    <a:pt x="5545189" y="278130"/>
                  </a:lnTo>
                  <a:lnTo>
                    <a:pt x="5583221" y="278130"/>
                  </a:lnTo>
                  <a:lnTo>
                    <a:pt x="5585042" y="271780"/>
                  </a:lnTo>
                  <a:lnTo>
                    <a:pt x="5608016" y="271780"/>
                  </a:lnTo>
                  <a:lnTo>
                    <a:pt x="5617071" y="264160"/>
                  </a:lnTo>
                  <a:lnTo>
                    <a:pt x="5759996" y="264160"/>
                  </a:lnTo>
                  <a:lnTo>
                    <a:pt x="5759996" y="262890"/>
                  </a:lnTo>
                  <a:lnTo>
                    <a:pt x="5554930" y="262890"/>
                  </a:lnTo>
                  <a:lnTo>
                    <a:pt x="5550167" y="256540"/>
                  </a:lnTo>
                  <a:close/>
                </a:path>
                <a:path w="5760085" h="603250">
                  <a:moveTo>
                    <a:pt x="1066914" y="266700"/>
                  </a:moveTo>
                  <a:lnTo>
                    <a:pt x="1064997" y="276860"/>
                  </a:lnTo>
                  <a:lnTo>
                    <a:pt x="1069655" y="276860"/>
                  </a:lnTo>
                  <a:lnTo>
                    <a:pt x="1068833" y="269240"/>
                  </a:lnTo>
                  <a:lnTo>
                    <a:pt x="1066914" y="266700"/>
                  </a:lnTo>
                  <a:close/>
                </a:path>
                <a:path w="5760085" h="603250">
                  <a:moveTo>
                    <a:pt x="5166658" y="274320"/>
                  </a:moveTo>
                  <a:lnTo>
                    <a:pt x="5151502" y="274320"/>
                  </a:lnTo>
                  <a:lnTo>
                    <a:pt x="5167326" y="275590"/>
                  </a:lnTo>
                  <a:lnTo>
                    <a:pt x="5166658" y="274320"/>
                  </a:lnTo>
                  <a:close/>
                </a:path>
                <a:path w="5760085" h="603250">
                  <a:moveTo>
                    <a:pt x="5362357" y="251460"/>
                  </a:moveTo>
                  <a:lnTo>
                    <a:pt x="5347767" y="251460"/>
                  </a:lnTo>
                  <a:lnTo>
                    <a:pt x="5352365" y="257810"/>
                  </a:lnTo>
                  <a:lnTo>
                    <a:pt x="5364900" y="273050"/>
                  </a:lnTo>
                  <a:lnTo>
                    <a:pt x="5362357" y="251460"/>
                  </a:lnTo>
                  <a:close/>
                </a:path>
                <a:path w="5760085" h="603250">
                  <a:moveTo>
                    <a:pt x="5437268" y="262890"/>
                  </a:moveTo>
                  <a:lnTo>
                    <a:pt x="5429124" y="262890"/>
                  </a:lnTo>
                  <a:lnTo>
                    <a:pt x="5435690" y="273050"/>
                  </a:lnTo>
                  <a:lnTo>
                    <a:pt x="5437268" y="262890"/>
                  </a:lnTo>
                  <a:close/>
                </a:path>
                <a:path w="5760085" h="603250">
                  <a:moveTo>
                    <a:pt x="4925759" y="260350"/>
                  </a:moveTo>
                  <a:lnTo>
                    <a:pt x="4932617" y="269240"/>
                  </a:lnTo>
                  <a:lnTo>
                    <a:pt x="4925480" y="271780"/>
                  </a:lnTo>
                  <a:lnTo>
                    <a:pt x="4974039" y="271780"/>
                  </a:lnTo>
                  <a:lnTo>
                    <a:pt x="4972838" y="270510"/>
                  </a:lnTo>
                  <a:lnTo>
                    <a:pt x="4980966" y="265430"/>
                  </a:lnTo>
                  <a:lnTo>
                    <a:pt x="4977867" y="264160"/>
                  </a:lnTo>
                  <a:lnTo>
                    <a:pt x="4945228" y="264160"/>
                  </a:lnTo>
                  <a:lnTo>
                    <a:pt x="4925759" y="260350"/>
                  </a:lnTo>
                  <a:close/>
                </a:path>
                <a:path w="5760085" h="603250">
                  <a:moveTo>
                    <a:pt x="5554670" y="245110"/>
                  </a:moveTo>
                  <a:lnTo>
                    <a:pt x="5424602" y="245110"/>
                  </a:lnTo>
                  <a:lnTo>
                    <a:pt x="5421186" y="254000"/>
                  </a:lnTo>
                  <a:lnTo>
                    <a:pt x="5402670" y="270510"/>
                  </a:lnTo>
                  <a:lnTo>
                    <a:pt x="5417211" y="267970"/>
                  </a:lnTo>
                  <a:lnTo>
                    <a:pt x="5425593" y="267970"/>
                  </a:lnTo>
                  <a:lnTo>
                    <a:pt x="5429124" y="262890"/>
                  </a:lnTo>
                  <a:lnTo>
                    <a:pt x="5437268" y="262890"/>
                  </a:lnTo>
                  <a:lnTo>
                    <a:pt x="5438255" y="256540"/>
                  </a:lnTo>
                  <a:lnTo>
                    <a:pt x="5527333" y="256540"/>
                  </a:lnTo>
                  <a:lnTo>
                    <a:pt x="5525352" y="254000"/>
                  </a:lnTo>
                  <a:lnTo>
                    <a:pt x="5548262" y="254000"/>
                  </a:lnTo>
                  <a:lnTo>
                    <a:pt x="5546357" y="251460"/>
                  </a:lnTo>
                  <a:lnTo>
                    <a:pt x="5552855" y="251460"/>
                  </a:lnTo>
                  <a:lnTo>
                    <a:pt x="5552631" y="246380"/>
                  </a:lnTo>
                  <a:lnTo>
                    <a:pt x="5554670" y="245110"/>
                  </a:lnTo>
                  <a:close/>
                </a:path>
                <a:path w="5760085" h="603250">
                  <a:moveTo>
                    <a:pt x="5056887" y="248920"/>
                  </a:moveTo>
                  <a:lnTo>
                    <a:pt x="5064049" y="257810"/>
                  </a:lnTo>
                  <a:lnTo>
                    <a:pt x="5059757" y="267970"/>
                  </a:lnTo>
                  <a:lnTo>
                    <a:pt x="5072660" y="264160"/>
                  </a:lnTo>
                  <a:lnTo>
                    <a:pt x="5161319" y="264160"/>
                  </a:lnTo>
                  <a:lnTo>
                    <a:pt x="5162948" y="260350"/>
                  </a:lnTo>
                  <a:lnTo>
                    <a:pt x="5098073" y="260350"/>
                  </a:lnTo>
                  <a:lnTo>
                    <a:pt x="5056887" y="248920"/>
                  </a:lnTo>
                  <a:close/>
                </a:path>
                <a:path w="5760085" h="603250">
                  <a:moveTo>
                    <a:pt x="5548262" y="254000"/>
                  </a:moveTo>
                  <a:lnTo>
                    <a:pt x="5525352" y="254000"/>
                  </a:lnTo>
                  <a:lnTo>
                    <a:pt x="5535156" y="255270"/>
                  </a:lnTo>
                  <a:lnTo>
                    <a:pt x="5541150" y="266700"/>
                  </a:lnTo>
                  <a:lnTo>
                    <a:pt x="5542535" y="256540"/>
                  </a:lnTo>
                  <a:lnTo>
                    <a:pt x="5550167" y="256540"/>
                  </a:lnTo>
                  <a:lnTo>
                    <a:pt x="5548262" y="254000"/>
                  </a:lnTo>
                  <a:close/>
                </a:path>
                <a:path w="5760085" h="603250">
                  <a:moveTo>
                    <a:pt x="4949915" y="204470"/>
                  </a:moveTo>
                  <a:lnTo>
                    <a:pt x="4947531" y="215879"/>
                  </a:lnTo>
                  <a:lnTo>
                    <a:pt x="4944898" y="246380"/>
                  </a:lnTo>
                  <a:lnTo>
                    <a:pt x="4932490" y="251460"/>
                  </a:lnTo>
                  <a:lnTo>
                    <a:pt x="4945228" y="264160"/>
                  </a:lnTo>
                  <a:lnTo>
                    <a:pt x="4977867" y="264160"/>
                  </a:lnTo>
                  <a:lnTo>
                    <a:pt x="4959274" y="256540"/>
                  </a:lnTo>
                  <a:lnTo>
                    <a:pt x="4967326" y="251460"/>
                  </a:lnTo>
                  <a:lnTo>
                    <a:pt x="4958335" y="245110"/>
                  </a:lnTo>
                  <a:lnTo>
                    <a:pt x="4953864" y="232410"/>
                  </a:lnTo>
                  <a:lnTo>
                    <a:pt x="4953229" y="209550"/>
                  </a:lnTo>
                  <a:lnTo>
                    <a:pt x="4949915" y="204470"/>
                  </a:lnTo>
                  <a:close/>
                </a:path>
                <a:path w="5760085" h="603250">
                  <a:moveTo>
                    <a:pt x="5375064" y="250190"/>
                  </a:moveTo>
                  <a:lnTo>
                    <a:pt x="5362207" y="250190"/>
                  </a:lnTo>
                  <a:lnTo>
                    <a:pt x="5377638" y="262890"/>
                  </a:lnTo>
                  <a:lnTo>
                    <a:pt x="5375064" y="250190"/>
                  </a:lnTo>
                  <a:close/>
                </a:path>
                <a:path w="5760085" h="603250">
                  <a:moveTo>
                    <a:pt x="5715011" y="218440"/>
                  </a:moveTo>
                  <a:lnTo>
                    <a:pt x="5624500" y="218440"/>
                  </a:lnTo>
                  <a:lnTo>
                    <a:pt x="5622761" y="227330"/>
                  </a:lnTo>
                  <a:lnTo>
                    <a:pt x="5619230" y="234950"/>
                  </a:lnTo>
                  <a:lnTo>
                    <a:pt x="5605844" y="245110"/>
                  </a:lnTo>
                  <a:lnTo>
                    <a:pt x="5587518" y="252730"/>
                  </a:lnTo>
                  <a:lnTo>
                    <a:pt x="5568354" y="257810"/>
                  </a:lnTo>
                  <a:lnTo>
                    <a:pt x="5554930" y="262890"/>
                  </a:lnTo>
                  <a:lnTo>
                    <a:pt x="5759996" y="262890"/>
                  </a:lnTo>
                  <a:lnTo>
                    <a:pt x="5759996" y="261620"/>
                  </a:lnTo>
                  <a:lnTo>
                    <a:pt x="5707939" y="261620"/>
                  </a:lnTo>
                  <a:lnTo>
                    <a:pt x="5705996" y="257810"/>
                  </a:lnTo>
                  <a:lnTo>
                    <a:pt x="5711445" y="248920"/>
                  </a:lnTo>
                  <a:lnTo>
                    <a:pt x="5759996" y="248920"/>
                  </a:lnTo>
                  <a:lnTo>
                    <a:pt x="5759996" y="234950"/>
                  </a:lnTo>
                  <a:lnTo>
                    <a:pt x="5744795" y="234950"/>
                  </a:lnTo>
                  <a:lnTo>
                    <a:pt x="5727078" y="228600"/>
                  </a:lnTo>
                  <a:lnTo>
                    <a:pt x="5725669" y="227330"/>
                  </a:lnTo>
                  <a:lnTo>
                    <a:pt x="5732146" y="224790"/>
                  </a:lnTo>
                  <a:lnTo>
                    <a:pt x="5715011" y="218440"/>
                  </a:lnTo>
                  <a:close/>
                </a:path>
                <a:path w="5760085" h="603250">
                  <a:moveTo>
                    <a:pt x="5759996" y="248920"/>
                  </a:moveTo>
                  <a:lnTo>
                    <a:pt x="5711445" y="248920"/>
                  </a:lnTo>
                  <a:lnTo>
                    <a:pt x="5716029" y="255270"/>
                  </a:lnTo>
                  <a:lnTo>
                    <a:pt x="5719090" y="259080"/>
                  </a:lnTo>
                  <a:lnTo>
                    <a:pt x="5707939" y="261620"/>
                  </a:lnTo>
                  <a:lnTo>
                    <a:pt x="5759996" y="261620"/>
                  </a:lnTo>
                  <a:lnTo>
                    <a:pt x="5759996" y="248920"/>
                  </a:lnTo>
                  <a:close/>
                </a:path>
                <a:path w="5760085" h="603250">
                  <a:moveTo>
                    <a:pt x="5128057" y="245110"/>
                  </a:moveTo>
                  <a:lnTo>
                    <a:pt x="5099876" y="245110"/>
                  </a:lnTo>
                  <a:lnTo>
                    <a:pt x="5105909" y="246380"/>
                  </a:lnTo>
                  <a:lnTo>
                    <a:pt x="5108233" y="251460"/>
                  </a:lnTo>
                  <a:lnTo>
                    <a:pt x="5098073" y="260350"/>
                  </a:lnTo>
                  <a:lnTo>
                    <a:pt x="5145583" y="260350"/>
                  </a:lnTo>
                  <a:lnTo>
                    <a:pt x="5141964" y="259080"/>
                  </a:lnTo>
                  <a:lnTo>
                    <a:pt x="5125746" y="259080"/>
                  </a:lnTo>
                  <a:lnTo>
                    <a:pt x="5122190" y="254000"/>
                  </a:lnTo>
                  <a:lnTo>
                    <a:pt x="5128057" y="245110"/>
                  </a:lnTo>
                  <a:close/>
                </a:path>
                <a:path w="5760085" h="603250">
                  <a:moveTo>
                    <a:pt x="5166716" y="250190"/>
                  </a:moveTo>
                  <a:lnTo>
                    <a:pt x="5145583" y="260350"/>
                  </a:lnTo>
                  <a:lnTo>
                    <a:pt x="5162948" y="260350"/>
                  </a:lnTo>
                  <a:lnTo>
                    <a:pt x="5163490" y="259080"/>
                  </a:lnTo>
                  <a:lnTo>
                    <a:pt x="5166716" y="250190"/>
                  </a:lnTo>
                  <a:close/>
                </a:path>
                <a:path w="5760085" h="603250">
                  <a:moveTo>
                    <a:pt x="5134725" y="256540"/>
                  </a:moveTo>
                  <a:lnTo>
                    <a:pt x="5125746" y="259080"/>
                  </a:lnTo>
                  <a:lnTo>
                    <a:pt x="5141964" y="259080"/>
                  </a:lnTo>
                  <a:lnTo>
                    <a:pt x="5134725" y="256540"/>
                  </a:lnTo>
                  <a:close/>
                </a:path>
                <a:path w="5760085" h="603250">
                  <a:moveTo>
                    <a:pt x="5512533" y="193040"/>
                  </a:moveTo>
                  <a:lnTo>
                    <a:pt x="5456022" y="193040"/>
                  </a:lnTo>
                  <a:lnTo>
                    <a:pt x="5459083" y="205740"/>
                  </a:lnTo>
                  <a:lnTo>
                    <a:pt x="5436820" y="219710"/>
                  </a:lnTo>
                  <a:lnTo>
                    <a:pt x="5398161" y="227330"/>
                  </a:lnTo>
                  <a:lnTo>
                    <a:pt x="5401234" y="232410"/>
                  </a:lnTo>
                  <a:lnTo>
                    <a:pt x="5382896" y="232410"/>
                  </a:lnTo>
                  <a:lnTo>
                    <a:pt x="5401895" y="245110"/>
                  </a:lnTo>
                  <a:lnTo>
                    <a:pt x="5394097" y="254000"/>
                  </a:lnTo>
                  <a:lnTo>
                    <a:pt x="5424602" y="245110"/>
                  </a:lnTo>
                  <a:lnTo>
                    <a:pt x="5554670" y="245110"/>
                  </a:lnTo>
                  <a:lnTo>
                    <a:pt x="5568938" y="236220"/>
                  </a:lnTo>
                  <a:lnTo>
                    <a:pt x="5515357" y="227330"/>
                  </a:lnTo>
                  <a:lnTo>
                    <a:pt x="5509045" y="222250"/>
                  </a:lnTo>
                  <a:lnTo>
                    <a:pt x="5514785" y="222250"/>
                  </a:lnTo>
                  <a:lnTo>
                    <a:pt x="5508588" y="214630"/>
                  </a:lnTo>
                  <a:lnTo>
                    <a:pt x="5534051" y="214630"/>
                  </a:lnTo>
                  <a:lnTo>
                    <a:pt x="5541569" y="207010"/>
                  </a:lnTo>
                  <a:lnTo>
                    <a:pt x="5495875" y="195580"/>
                  </a:lnTo>
                  <a:lnTo>
                    <a:pt x="5512563" y="194310"/>
                  </a:lnTo>
                  <a:lnTo>
                    <a:pt x="5512533" y="193040"/>
                  </a:lnTo>
                  <a:close/>
                </a:path>
                <a:path w="5760085" h="603250">
                  <a:moveTo>
                    <a:pt x="5552855" y="251460"/>
                  </a:moveTo>
                  <a:lnTo>
                    <a:pt x="5546357" y="251460"/>
                  </a:lnTo>
                  <a:lnTo>
                    <a:pt x="5552911" y="252730"/>
                  </a:lnTo>
                  <a:lnTo>
                    <a:pt x="5552855" y="251460"/>
                  </a:lnTo>
                  <a:close/>
                </a:path>
                <a:path w="5760085" h="603250">
                  <a:moveTo>
                    <a:pt x="5078972" y="224790"/>
                  </a:moveTo>
                  <a:lnTo>
                    <a:pt x="5093755" y="237490"/>
                  </a:lnTo>
                  <a:lnTo>
                    <a:pt x="5092218" y="247650"/>
                  </a:lnTo>
                  <a:lnTo>
                    <a:pt x="5099876" y="245110"/>
                  </a:lnTo>
                  <a:lnTo>
                    <a:pt x="5128057" y="245110"/>
                  </a:lnTo>
                  <a:lnTo>
                    <a:pt x="5128896" y="243840"/>
                  </a:lnTo>
                  <a:lnTo>
                    <a:pt x="5141050" y="243840"/>
                  </a:lnTo>
                  <a:lnTo>
                    <a:pt x="5138865" y="238760"/>
                  </a:lnTo>
                  <a:lnTo>
                    <a:pt x="5139157" y="234950"/>
                  </a:lnTo>
                  <a:lnTo>
                    <a:pt x="5142111" y="229870"/>
                  </a:lnTo>
                  <a:lnTo>
                    <a:pt x="5108372" y="229870"/>
                  </a:lnTo>
                  <a:lnTo>
                    <a:pt x="5078972" y="224790"/>
                  </a:lnTo>
                  <a:close/>
                </a:path>
                <a:path w="5760085" h="603250">
                  <a:moveTo>
                    <a:pt x="5141050" y="243840"/>
                  </a:moveTo>
                  <a:lnTo>
                    <a:pt x="5128896" y="243840"/>
                  </a:lnTo>
                  <a:lnTo>
                    <a:pt x="5141596" y="245110"/>
                  </a:lnTo>
                  <a:lnTo>
                    <a:pt x="5141050" y="243840"/>
                  </a:lnTo>
                  <a:close/>
                </a:path>
                <a:path w="5760085" h="603250">
                  <a:moveTo>
                    <a:pt x="5344486" y="219710"/>
                  </a:moveTo>
                  <a:lnTo>
                    <a:pt x="5243907" y="219710"/>
                  </a:lnTo>
                  <a:lnTo>
                    <a:pt x="5245583" y="237490"/>
                  </a:lnTo>
                  <a:lnTo>
                    <a:pt x="5260823" y="222250"/>
                  </a:lnTo>
                  <a:lnTo>
                    <a:pt x="5351341" y="222250"/>
                  </a:lnTo>
                  <a:lnTo>
                    <a:pt x="5344486" y="219710"/>
                  </a:lnTo>
                  <a:close/>
                </a:path>
                <a:path w="5760085" h="603250">
                  <a:moveTo>
                    <a:pt x="5231334" y="207010"/>
                  </a:moveTo>
                  <a:lnTo>
                    <a:pt x="5211877" y="207010"/>
                  </a:lnTo>
                  <a:lnTo>
                    <a:pt x="5211001" y="213360"/>
                  </a:lnTo>
                  <a:lnTo>
                    <a:pt x="5197031" y="234950"/>
                  </a:lnTo>
                  <a:lnTo>
                    <a:pt x="5209680" y="224790"/>
                  </a:lnTo>
                  <a:lnTo>
                    <a:pt x="5231334" y="207010"/>
                  </a:lnTo>
                  <a:close/>
                </a:path>
                <a:path w="5760085" h="603250">
                  <a:moveTo>
                    <a:pt x="5759996" y="228600"/>
                  </a:moveTo>
                  <a:lnTo>
                    <a:pt x="5744795" y="234950"/>
                  </a:lnTo>
                  <a:lnTo>
                    <a:pt x="5759996" y="234950"/>
                  </a:lnTo>
                  <a:lnTo>
                    <a:pt x="5759996" y="228600"/>
                  </a:lnTo>
                  <a:close/>
                </a:path>
                <a:path w="5760085" h="603250">
                  <a:moveTo>
                    <a:pt x="5711584" y="217170"/>
                  </a:moveTo>
                  <a:lnTo>
                    <a:pt x="5607584" y="217170"/>
                  </a:lnTo>
                  <a:lnTo>
                    <a:pt x="5609248" y="233680"/>
                  </a:lnTo>
                  <a:lnTo>
                    <a:pt x="5624500" y="218440"/>
                  </a:lnTo>
                  <a:lnTo>
                    <a:pt x="5715011" y="218440"/>
                  </a:lnTo>
                  <a:lnTo>
                    <a:pt x="5711584" y="217170"/>
                  </a:lnTo>
                  <a:close/>
                </a:path>
                <a:path w="5760085" h="603250">
                  <a:moveTo>
                    <a:pt x="5686908" y="204470"/>
                  </a:moveTo>
                  <a:lnTo>
                    <a:pt x="5575555" y="204470"/>
                  </a:lnTo>
                  <a:lnTo>
                    <a:pt x="5574691" y="210820"/>
                  </a:lnTo>
                  <a:lnTo>
                    <a:pt x="5560696" y="232410"/>
                  </a:lnTo>
                  <a:lnTo>
                    <a:pt x="5573358" y="220980"/>
                  </a:lnTo>
                  <a:lnTo>
                    <a:pt x="5593038" y="220980"/>
                  </a:lnTo>
                  <a:lnTo>
                    <a:pt x="5595011" y="219710"/>
                  </a:lnTo>
                  <a:lnTo>
                    <a:pt x="5604974" y="219710"/>
                  </a:lnTo>
                  <a:lnTo>
                    <a:pt x="5607584" y="217170"/>
                  </a:lnTo>
                  <a:lnTo>
                    <a:pt x="5711584" y="217170"/>
                  </a:lnTo>
                  <a:lnTo>
                    <a:pt x="5708157" y="215900"/>
                  </a:lnTo>
                  <a:lnTo>
                    <a:pt x="5691023" y="209550"/>
                  </a:lnTo>
                  <a:lnTo>
                    <a:pt x="5686908" y="204470"/>
                  </a:lnTo>
                  <a:close/>
                </a:path>
                <a:path w="5760085" h="603250">
                  <a:moveTo>
                    <a:pt x="5593038" y="220980"/>
                  </a:moveTo>
                  <a:lnTo>
                    <a:pt x="5573358" y="220980"/>
                  </a:lnTo>
                  <a:lnTo>
                    <a:pt x="5577256" y="231140"/>
                  </a:lnTo>
                  <a:lnTo>
                    <a:pt x="5593038" y="220980"/>
                  </a:lnTo>
                  <a:close/>
                </a:path>
                <a:path w="5760085" h="603250">
                  <a:moveTo>
                    <a:pt x="5115777" y="158750"/>
                  </a:moveTo>
                  <a:lnTo>
                    <a:pt x="5111205" y="162560"/>
                  </a:lnTo>
                  <a:lnTo>
                    <a:pt x="5112030" y="184150"/>
                  </a:lnTo>
                  <a:lnTo>
                    <a:pt x="5109719" y="193040"/>
                  </a:lnTo>
                  <a:lnTo>
                    <a:pt x="5099267" y="193040"/>
                  </a:lnTo>
                  <a:lnTo>
                    <a:pt x="5110570" y="220980"/>
                  </a:lnTo>
                  <a:lnTo>
                    <a:pt x="5108372" y="229870"/>
                  </a:lnTo>
                  <a:lnTo>
                    <a:pt x="5131144" y="229870"/>
                  </a:lnTo>
                  <a:lnTo>
                    <a:pt x="5121161" y="228600"/>
                  </a:lnTo>
                  <a:lnTo>
                    <a:pt x="5119371" y="223520"/>
                  </a:lnTo>
                  <a:lnTo>
                    <a:pt x="5120285" y="213360"/>
                  </a:lnTo>
                  <a:lnTo>
                    <a:pt x="5129436" y="195580"/>
                  </a:lnTo>
                  <a:lnTo>
                    <a:pt x="5124933" y="195580"/>
                  </a:lnTo>
                  <a:lnTo>
                    <a:pt x="5118012" y="187960"/>
                  </a:lnTo>
                  <a:lnTo>
                    <a:pt x="5118126" y="162560"/>
                  </a:lnTo>
                  <a:lnTo>
                    <a:pt x="5115777" y="158750"/>
                  </a:lnTo>
                  <a:close/>
                </a:path>
                <a:path w="5760085" h="603250">
                  <a:moveTo>
                    <a:pt x="5144326" y="226060"/>
                  </a:moveTo>
                  <a:lnTo>
                    <a:pt x="5131144" y="229870"/>
                  </a:lnTo>
                  <a:lnTo>
                    <a:pt x="5142111" y="229870"/>
                  </a:lnTo>
                  <a:lnTo>
                    <a:pt x="5144326" y="226060"/>
                  </a:lnTo>
                  <a:close/>
                </a:path>
                <a:path w="5760085" h="603250">
                  <a:moveTo>
                    <a:pt x="5322505" y="207010"/>
                  </a:moveTo>
                  <a:lnTo>
                    <a:pt x="5231334" y="207010"/>
                  </a:lnTo>
                  <a:lnTo>
                    <a:pt x="5233480" y="229870"/>
                  </a:lnTo>
                  <a:lnTo>
                    <a:pt x="5243907" y="219710"/>
                  </a:lnTo>
                  <a:lnTo>
                    <a:pt x="5344486" y="219710"/>
                  </a:lnTo>
                  <a:lnTo>
                    <a:pt x="5327346" y="213360"/>
                  </a:lnTo>
                  <a:lnTo>
                    <a:pt x="5322505" y="207010"/>
                  </a:lnTo>
                  <a:close/>
                </a:path>
                <a:path w="5760085" h="603250">
                  <a:moveTo>
                    <a:pt x="5604974" y="219710"/>
                  </a:moveTo>
                  <a:lnTo>
                    <a:pt x="5595011" y="219710"/>
                  </a:lnTo>
                  <a:lnTo>
                    <a:pt x="5597145" y="227330"/>
                  </a:lnTo>
                  <a:lnTo>
                    <a:pt x="5604974" y="219710"/>
                  </a:lnTo>
                  <a:close/>
                </a:path>
                <a:path w="5760085" h="603250">
                  <a:moveTo>
                    <a:pt x="5758894" y="208280"/>
                  </a:moveTo>
                  <a:lnTo>
                    <a:pt x="5740083" y="208280"/>
                  </a:lnTo>
                  <a:lnTo>
                    <a:pt x="5736768" y="227330"/>
                  </a:lnTo>
                  <a:lnTo>
                    <a:pt x="5749964" y="218440"/>
                  </a:lnTo>
                  <a:lnTo>
                    <a:pt x="5757579" y="218440"/>
                  </a:lnTo>
                  <a:lnTo>
                    <a:pt x="5758894" y="208280"/>
                  </a:lnTo>
                  <a:close/>
                </a:path>
                <a:path w="5760085" h="603250">
                  <a:moveTo>
                    <a:pt x="5757579" y="218440"/>
                  </a:moveTo>
                  <a:lnTo>
                    <a:pt x="5749964" y="218440"/>
                  </a:lnTo>
                  <a:lnTo>
                    <a:pt x="5756593" y="226060"/>
                  </a:lnTo>
                  <a:lnTo>
                    <a:pt x="5757579" y="218440"/>
                  </a:lnTo>
                  <a:close/>
                </a:path>
                <a:path w="5760085" h="603250">
                  <a:moveTo>
                    <a:pt x="5534051" y="214630"/>
                  </a:moveTo>
                  <a:lnTo>
                    <a:pt x="5508588" y="214630"/>
                  </a:lnTo>
                  <a:lnTo>
                    <a:pt x="5537823" y="222250"/>
                  </a:lnTo>
                  <a:lnTo>
                    <a:pt x="5534051" y="214630"/>
                  </a:lnTo>
                  <a:close/>
                </a:path>
                <a:path w="5760085" h="603250">
                  <a:moveTo>
                    <a:pt x="5759996" y="203200"/>
                  </a:moveTo>
                  <a:lnTo>
                    <a:pt x="5731739" y="203200"/>
                  </a:lnTo>
                  <a:lnTo>
                    <a:pt x="5726875" y="222250"/>
                  </a:lnTo>
                  <a:lnTo>
                    <a:pt x="5740083" y="208280"/>
                  </a:lnTo>
                  <a:lnTo>
                    <a:pt x="5758894" y="208280"/>
                  </a:lnTo>
                  <a:lnTo>
                    <a:pt x="5759387" y="204470"/>
                  </a:lnTo>
                  <a:lnTo>
                    <a:pt x="5759996" y="204470"/>
                  </a:lnTo>
                  <a:lnTo>
                    <a:pt x="5759996" y="203200"/>
                  </a:lnTo>
                  <a:close/>
                </a:path>
                <a:path w="5760085" h="603250">
                  <a:moveTo>
                    <a:pt x="5310021" y="154940"/>
                  </a:moveTo>
                  <a:lnTo>
                    <a:pt x="5260887" y="154940"/>
                  </a:lnTo>
                  <a:lnTo>
                    <a:pt x="5266767" y="158750"/>
                  </a:lnTo>
                  <a:lnTo>
                    <a:pt x="5260430" y="166370"/>
                  </a:lnTo>
                  <a:lnTo>
                    <a:pt x="5256188" y="172720"/>
                  </a:lnTo>
                  <a:lnTo>
                    <a:pt x="5221593" y="186690"/>
                  </a:lnTo>
                  <a:lnTo>
                    <a:pt x="5189360" y="187960"/>
                  </a:lnTo>
                  <a:lnTo>
                    <a:pt x="5199203" y="200660"/>
                  </a:lnTo>
                  <a:lnTo>
                    <a:pt x="5186719" y="217170"/>
                  </a:lnTo>
                  <a:lnTo>
                    <a:pt x="5211877" y="207010"/>
                  </a:lnTo>
                  <a:lnTo>
                    <a:pt x="5322505" y="207010"/>
                  </a:lnTo>
                  <a:lnTo>
                    <a:pt x="5310887" y="191770"/>
                  </a:lnTo>
                  <a:lnTo>
                    <a:pt x="5308639" y="181610"/>
                  </a:lnTo>
                  <a:lnTo>
                    <a:pt x="5351776" y="181610"/>
                  </a:lnTo>
                  <a:lnTo>
                    <a:pt x="5343107" y="179070"/>
                  </a:lnTo>
                  <a:lnTo>
                    <a:pt x="5351489" y="173990"/>
                  </a:lnTo>
                  <a:lnTo>
                    <a:pt x="5322253" y="167640"/>
                  </a:lnTo>
                  <a:lnTo>
                    <a:pt x="5309909" y="156210"/>
                  </a:lnTo>
                  <a:lnTo>
                    <a:pt x="5310021" y="154940"/>
                  </a:lnTo>
                  <a:close/>
                </a:path>
                <a:path w="5760085" h="603250">
                  <a:moveTo>
                    <a:pt x="5708119" y="215885"/>
                  </a:moveTo>
                  <a:close/>
                </a:path>
                <a:path w="5760085" h="603250">
                  <a:moveTo>
                    <a:pt x="5759996" y="199390"/>
                  </a:moveTo>
                  <a:lnTo>
                    <a:pt x="5711610" y="199390"/>
                  </a:lnTo>
                  <a:lnTo>
                    <a:pt x="5715217" y="200660"/>
                  </a:lnTo>
                  <a:lnTo>
                    <a:pt x="5708102" y="215879"/>
                  </a:lnTo>
                  <a:lnTo>
                    <a:pt x="5731739" y="203200"/>
                  </a:lnTo>
                  <a:lnTo>
                    <a:pt x="5759996" y="203200"/>
                  </a:lnTo>
                  <a:lnTo>
                    <a:pt x="5759996" y="199390"/>
                  </a:lnTo>
                  <a:close/>
                </a:path>
                <a:path w="5760085" h="603250">
                  <a:moveTo>
                    <a:pt x="5673914" y="149860"/>
                  </a:moveTo>
                  <a:lnTo>
                    <a:pt x="5625110" y="149860"/>
                  </a:lnTo>
                  <a:lnTo>
                    <a:pt x="5630444" y="156210"/>
                  </a:lnTo>
                  <a:lnTo>
                    <a:pt x="5619852" y="168910"/>
                  </a:lnTo>
                  <a:lnTo>
                    <a:pt x="5585257" y="184150"/>
                  </a:lnTo>
                  <a:lnTo>
                    <a:pt x="5553025" y="185420"/>
                  </a:lnTo>
                  <a:lnTo>
                    <a:pt x="5562867" y="198120"/>
                  </a:lnTo>
                  <a:lnTo>
                    <a:pt x="5550396" y="213360"/>
                  </a:lnTo>
                  <a:lnTo>
                    <a:pt x="5575555" y="204470"/>
                  </a:lnTo>
                  <a:lnTo>
                    <a:pt x="5686908" y="204470"/>
                  </a:lnTo>
                  <a:lnTo>
                    <a:pt x="5674564" y="189230"/>
                  </a:lnTo>
                  <a:lnTo>
                    <a:pt x="5672303" y="179070"/>
                  </a:lnTo>
                  <a:lnTo>
                    <a:pt x="5719776" y="179070"/>
                  </a:lnTo>
                  <a:lnTo>
                    <a:pt x="5706758" y="176530"/>
                  </a:lnTo>
                  <a:lnTo>
                    <a:pt x="5715153" y="171450"/>
                  </a:lnTo>
                  <a:lnTo>
                    <a:pt x="5685918" y="163830"/>
                  </a:lnTo>
                  <a:lnTo>
                    <a:pt x="5678526" y="157480"/>
                  </a:lnTo>
                  <a:lnTo>
                    <a:pt x="5673586" y="153670"/>
                  </a:lnTo>
                  <a:lnTo>
                    <a:pt x="5673914" y="149860"/>
                  </a:lnTo>
                  <a:close/>
                </a:path>
                <a:path w="5760085" h="603250">
                  <a:moveTo>
                    <a:pt x="5512444" y="189230"/>
                  </a:moveTo>
                  <a:lnTo>
                    <a:pt x="5437798" y="189230"/>
                  </a:lnTo>
                  <a:lnTo>
                    <a:pt x="5426050" y="212090"/>
                  </a:lnTo>
                  <a:lnTo>
                    <a:pt x="5437125" y="204470"/>
                  </a:lnTo>
                  <a:lnTo>
                    <a:pt x="5449866" y="204470"/>
                  </a:lnTo>
                  <a:lnTo>
                    <a:pt x="5456022" y="193040"/>
                  </a:lnTo>
                  <a:lnTo>
                    <a:pt x="5512533" y="193040"/>
                  </a:lnTo>
                  <a:lnTo>
                    <a:pt x="5512444" y="189230"/>
                  </a:lnTo>
                  <a:close/>
                </a:path>
                <a:path w="5760085" h="603250">
                  <a:moveTo>
                    <a:pt x="5449866" y="204470"/>
                  </a:moveTo>
                  <a:lnTo>
                    <a:pt x="5437125" y="204470"/>
                  </a:lnTo>
                  <a:lnTo>
                    <a:pt x="5446446" y="210820"/>
                  </a:lnTo>
                  <a:lnTo>
                    <a:pt x="5449866" y="204470"/>
                  </a:lnTo>
                  <a:close/>
                </a:path>
                <a:path w="5760085" h="603250">
                  <a:moveTo>
                    <a:pt x="5361966" y="191770"/>
                  </a:moveTo>
                  <a:lnTo>
                    <a:pt x="5334039" y="191770"/>
                  </a:lnTo>
                  <a:lnTo>
                    <a:pt x="5338433" y="198120"/>
                  </a:lnTo>
                  <a:lnTo>
                    <a:pt x="5348326" y="208280"/>
                  </a:lnTo>
                  <a:lnTo>
                    <a:pt x="5347564" y="195580"/>
                  </a:lnTo>
                  <a:lnTo>
                    <a:pt x="5363579" y="195580"/>
                  </a:lnTo>
                  <a:lnTo>
                    <a:pt x="5361966" y="191770"/>
                  </a:lnTo>
                  <a:close/>
                </a:path>
                <a:path w="5760085" h="603250">
                  <a:moveTo>
                    <a:pt x="5351776" y="181610"/>
                  </a:moveTo>
                  <a:lnTo>
                    <a:pt x="5308639" y="181610"/>
                  </a:lnTo>
                  <a:lnTo>
                    <a:pt x="5314151" y="182880"/>
                  </a:lnTo>
                  <a:lnTo>
                    <a:pt x="5331867" y="205740"/>
                  </a:lnTo>
                  <a:lnTo>
                    <a:pt x="5332299" y="203200"/>
                  </a:lnTo>
                  <a:lnTo>
                    <a:pt x="5332566" y="200660"/>
                  </a:lnTo>
                  <a:lnTo>
                    <a:pt x="5331423" y="193040"/>
                  </a:lnTo>
                  <a:lnTo>
                    <a:pt x="5334039" y="191770"/>
                  </a:lnTo>
                  <a:lnTo>
                    <a:pt x="5361966" y="191770"/>
                  </a:lnTo>
                  <a:lnTo>
                    <a:pt x="5380445" y="184150"/>
                  </a:lnTo>
                  <a:lnTo>
                    <a:pt x="5356111" y="182880"/>
                  </a:lnTo>
                  <a:lnTo>
                    <a:pt x="5351776" y="181610"/>
                  </a:lnTo>
                  <a:close/>
                </a:path>
                <a:path w="5760085" h="603250">
                  <a:moveTo>
                    <a:pt x="5759996" y="179070"/>
                  </a:moveTo>
                  <a:lnTo>
                    <a:pt x="5725681" y="187960"/>
                  </a:lnTo>
                  <a:lnTo>
                    <a:pt x="5697716" y="187960"/>
                  </a:lnTo>
                  <a:lnTo>
                    <a:pt x="5699342" y="190500"/>
                  </a:lnTo>
                  <a:lnTo>
                    <a:pt x="5700129" y="191770"/>
                  </a:lnTo>
                  <a:lnTo>
                    <a:pt x="5701755" y="195580"/>
                  </a:lnTo>
                  <a:lnTo>
                    <a:pt x="5702732" y="195580"/>
                  </a:lnTo>
                  <a:lnTo>
                    <a:pt x="5712016" y="205740"/>
                  </a:lnTo>
                  <a:lnTo>
                    <a:pt x="5711610" y="199390"/>
                  </a:lnTo>
                  <a:lnTo>
                    <a:pt x="5759996" y="199390"/>
                  </a:lnTo>
                  <a:lnTo>
                    <a:pt x="5759996" y="179070"/>
                  </a:lnTo>
                  <a:close/>
                </a:path>
                <a:path w="5760085" h="603250">
                  <a:moveTo>
                    <a:pt x="5759996" y="204470"/>
                  </a:moveTo>
                  <a:lnTo>
                    <a:pt x="5759387" y="204470"/>
                  </a:lnTo>
                  <a:lnTo>
                    <a:pt x="5759996" y="205740"/>
                  </a:lnTo>
                  <a:lnTo>
                    <a:pt x="5759996" y="204470"/>
                  </a:lnTo>
                  <a:close/>
                </a:path>
                <a:path w="5760085" h="603250">
                  <a:moveTo>
                    <a:pt x="5363579" y="195580"/>
                  </a:moveTo>
                  <a:lnTo>
                    <a:pt x="5352492" y="195580"/>
                  </a:lnTo>
                  <a:lnTo>
                    <a:pt x="5366805" y="203200"/>
                  </a:lnTo>
                  <a:lnTo>
                    <a:pt x="5363579" y="195580"/>
                  </a:lnTo>
                  <a:close/>
                </a:path>
                <a:path w="5760085" h="603250">
                  <a:moveTo>
                    <a:pt x="5719776" y="179070"/>
                  </a:moveTo>
                  <a:lnTo>
                    <a:pt x="5672303" y="179070"/>
                  </a:lnTo>
                  <a:lnTo>
                    <a:pt x="5677840" y="180340"/>
                  </a:lnTo>
                  <a:lnTo>
                    <a:pt x="5695557" y="203200"/>
                  </a:lnTo>
                  <a:lnTo>
                    <a:pt x="5696243" y="198120"/>
                  </a:lnTo>
                  <a:lnTo>
                    <a:pt x="5695100" y="189230"/>
                  </a:lnTo>
                  <a:lnTo>
                    <a:pt x="5697716" y="187960"/>
                  </a:lnTo>
                  <a:lnTo>
                    <a:pt x="5725631" y="187960"/>
                  </a:lnTo>
                  <a:lnTo>
                    <a:pt x="5744109" y="180340"/>
                  </a:lnTo>
                  <a:lnTo>
                    <a:pt x="5719776" y="179070"/>
                  </a:lnTo>
                  <a:close/>
                </a:path>
                <a:path w="5760085" h="603250">
                  <a:moveTo>
                    <a:pt x="5436225" y="190500"/>
                  </a:moveTo>
                  <a:lnTo>
                    <a:pt x="5419065" y="190500"/>
                  </a:lnTo>
                  <a:lnTo>
                    <a:pt x="5425212" y="199390"/>
                  </a:lnTo>
                  <a:lnTo>
                    <a:pt x="5436225" y="190500"/>
                  </a:lnTo>
                  <a:close/>
                </a:path>
                <a:path w="5760085" h="603250">
                  <a:moveTo>
                    <a:pt x="5526990" y="186690"/>
                  </a:moveTo>
                  <a:lnTo>
                    <a:pt x="5512385" y="186690"/>
                  </a:lnTo>
                  <a:lnTo>
                    <a:pt x="5527790" y="198120"/>
                  </a:lnTo>
                  <a:lnTo>
                    <a:pt x="5526990" y="186690"/>
                  </a:lnTo>
                  <a:close/>
                </a:path>
                <a:path w="5760085" h="603250">
                  <a:moveTo>
                    <a:pt x="5130089" y="194310"/>
                  </a:moveTo>
                  <a:lnTo>
                    <a:pt x="5124933" y="195580"/>
                  </a:lnTo>
                  <a:lnTo>
                    <a:pt x="5129436" y="195580"/>
                  </a:lnTo>
                  <a:lnTo>
                    <a:pt x="5130089" y="194310"/>
                  </a:lnTo>
                  <a:close/>
                </a:path>
                <a:path w="5760085" h="603250">
                  <a:moveTo>
                    <a:pt x="5447836" y="162560"/>
                  </a:moveTo>
                  <a:lnTo>
                    <a:pt x="5423764" y="162560"/>
                  </a:lnTo>
                  <a:lnTo>
                    <a:pt x="5409769" y="173990"/>
                  </a:lnTo>
                  <a:lnTo>
                    <a:pt x="5422977" y="177800"/>
                  </a:lnTo>
                  <a:lnTo>
                    <a:pt x="5405984" y="194310"/>
                  </a:lnTo>
                  <a:lnTo>
                    <a:pt x="5419065" y="190500"/>
                  </a:lnTo>
                  <a:lnTo>
                    <a:pt x="5436225" y="190500"/>
                  </a:lnTo>
                  <a:lnTo>
                    <a:pt x="5437798" y="189230"/>
                  </a:lnTo>
                  <a:lnTo>
                    <a:pt x="5512444" y="189230"/>
                  </a:lnTo>
                  <a:lnTo>
                    <a:pt x="5512385" y="186690"/>
                  </a:lnTo>
                  <a:lnTo>
                    <a:pt x="5526990" y="186690"/>
                  </a:lnTo>
                  <a:lnTo>
                    <a:pt x="5538737" y="176530"/>
                  </a:lnTo>
                  <a:lnTo>
                    <a:pt x="5521961" y="175260"/>
                  </a:lnTo>
                  <a:lnTo>
                    <a:pt x="5525085" y="168910"/>
                  </a:lnTo>
                  <a:lnTo>
                    <a:pt x="5528742" y="166370"/>
                  </a:lnTo>
                  <a:lnTo>
                    <a:pt x="5531505" y="163830"/>
                  </a:lnTo>
                  <a:lnTo>
                    <a:pt x="5452161" y="163830"/>
                  </a:lnTo>
                  <a:lnTo>
                    <a:pt x="5447836" y="162560"/>
                  </a:lnTo>
                  <a:close/>
                </a:path>
                <a:path w="5760085" h="603250">
                  <a:moveTo>
                    <a:pt x="5408905" y="151130"/>
                  </a:moveTo>
                  <a:lnTo>
                    <a:pt x="5414950" y="158750"/>
                  </a:lnTo>
                  <a:lnTo>
                    <a:pt x="5406416" y="165100"/>
                  </a:lnTo>
                  <a:lnTo>
                    <a:pt x="5423764" y="162560"/>
                  </a:lnTo>
                  <a:lnTo>
                    <a:pt x="5447836" y="162560"/>
                  </a:lnTo>
                  <a:lnTo>
                    <a:pt x="5408905" y="151130"/>
                  </a:lnTo>
                  <a:close/>
                </a:path>
                <a:path w="5760085" h="603250">
                  <a:moveTo>
                    <a:pt x="5485769" y="152400"/>
                  </a:moveTo>
                  <a:lnTo>
                    <a:pt x="5465776" y="152400"/>
                  </a:lnTo>
                  <a:lnTo>
                    <a:pt x="5452161" y="163830"/>
                  </a:lnTo>
                  <a:lnTo>
                    <a:pt x="5492636" y="163830"/>
                  </a:lnTo>
                  <a:lnTo>
                    <a:pt x="5485769" y="152400"/>
                  </a:lnTo>
                  <a:close/>
                </a:path>
                <a:path w="5760085" h="603250">
                  <a:moveTo>
                    <a:pt x="5531308" y="149860"/>
                  </a:moveTo>
                  <a:lnTo>
                    <a:pt x="5492636" y="163830"/>
                  </a:lnTo>
                  <a:lnTo>
                    <a:pt x="5531505" y="163830"/>
                  </a:lnTo>
                  <a:lnTo>
                    <a:pt x="5534267" y="161290"/>
                  </a:lnTo>
                  <a:lnTo>
                    <a:pt x="5522685" y="161290"/>
                  </a:lnTo>
                  <a:lnTo>
                    <a:pt x="5531308" y="149860"/>
                  </a:lnTo>
                  <a:close/>
                </a:path>
                <a:path w="5760085" h="603250">
                  <a:moveTo>
                    <a:pt x="5510975" y="148590"/>
                  </a:moveTo>
                  <a:lnTo>
                    <a:pt x="5483480" y="148590"/>
                  </a:lnTo>
                  <a:lnTo>
                    <a:pt x="5498796" y="160020"/>
                  </a:lnTo>
                  <a:lnTo>
                    <a:pt x="5498847" y="151130"/>
                  </a:lnTo>
                  <a:lnTo>
                    <a:pt x="5512694" y="151130"/>
                  </a:lnTo>
                  <a:lnTo>
                    <a:pt x="5510975" y="148590"/>
                  </a:lnTo>
                  <a:close/>
                </a:path>
                <a:path w="5760085" h="603250">
                  <a:moveTo>
                    <a:pt x="5312142" y="139700"/>
                  </a:moveTo>
                  <a:lnTo>
                    <a:pt x="5251120" y="139700"/>
                  </a:lnTo>
                  <a:lnTo>
                    <a:pt x="5251260" y="148590"/>
                  </a:lnTo>
                  <a:lnTo>
                    <a:pt x="5239436" y="157480"/>
                  </a:lnTo>
                  <a:lnTo>
                    <a:pt x="5260887" y="154940"/>
                  </a:lnTo>
                  <a:lnTo>
                    <a:pt x="5310021" y="154940"/>
                  </a:lnTo>
                  <a:lnTo>
                    <a:pt x="5310468" y="149860"/>
                  </a:lnTo>
                  <a:lnTo>
                    <a:pt x="5322944" y="149860"/>
                  </a:lnTo>
                  <a:lnTo>
                    <a:pt x="5312142" y="139700"/>
                  </a:lnTo>
                  <a:close/>
                </a:path>
                <a:path w="5760085" h="603250">
                  <a:moveTo>
                    <a:pt x="5509256" y="146050"/>
                  </a:moveTo>
                  <a:lnTo>
                    <a:pt x="5457178" y="146050"/>
                  </a:lnTo>
                  <a:lnTo>
                    <a:pt x="5456949" y="156210"/>
                  </a:lnTo>
                  <a:lnTo>
                    <a:pt x="5465776" y="152400"/>
                  </a:lnTo>
                  <a:lnTo>
                    <a:pt x="5485769" y="152400"/>
                  </a:lnTo>
                  <a:lnTo>
                    <a:pt x="5483480" y="148590"/>
                  </a:lnTo>
                  <a:lnTo>
                    <a:pt x="5510975" y="148590"/>
                  </a:lnTo>
                  <a:lnTo>
                    <a:pt x="5509256" y="146050"/>
                  </a:lnTo>
                  <a:close/>
                </a:path>
                <a:path w="5760085" h="603250">
                  <a:moveTo>
                    <a:pt x="5676360" y="137160"/>
                  </a:moveTo>
                  <a:lnTo>
                    <a:pt x="5614798" y="137160"/>
                  </a:lnTo>
                  <a:lnTo>
                    <a:pt x="5614925" y="146050"/>
                  </a:lnTo>
                  <a:lnTo>
                    <a:pt x="5603114" y="154940"/>
                  </a:lnTo>
                  <a:lnTo>
                    <a:pt x="5625110" y="149860"/>
                  </a:lnTo>
                  <a:lnTo>
                    <a:pt x="5673914" y="149860"/>
                  </a:lnTo>
                  <a:lnTo>
                    <a:pt x="5674132" y="147320"/>
                  </a:lnTo>
                  <a:lnTo>
                    <a:pt x="5687881" y="147320"/>
                  </a:lnTo>
                  <a:lnTo>
                    <a:pt x="5676360" y="137160"/>
                  </a:lnTo>
                  <a:close/>
                </a:path>
                <a:path w="5760085" h="603250">
                  <a:moveTo>
                    <a:pt x="5322944" y="149860"/>
                  </a:moveTo>
                  <a:lnTo>
                    <a:pt x="5310468" y="149860"/>
                  </a:lnTo>
                  <a:lnTo>
                    <a:pt x="5325644" y="152400"/>
                  </a:lnTo>
                  <a:lnTo>
                    <a:pt x="5322944" y="149860"/>
                  </a:lnTo>
                  <a:close/>
                </a:path>
                <a:path w="5760085" h="603250">
                  <a:moveTo>
                    <a:pt x="5512694" y="151130"/>
                  </a:moveTo>
                  <a:lnTo>
                    <a:pt x="5498847" y="151130"/>
                  </a:lnTo>
                  <a:lnTo>
                    <a:pt x="5513553" y="152400"/>
                  </a:lnTo>
                  <a:lnTo>
                    <a:pt x="5512694" y="151130"/>
                  </a:lnTo>
                  <a:close/>
                </a:path>
                <a:path w="5760085" h="603250">
                  <a:moveTo>
                    <a:pt x="5759996" y="144780"/>
                  </a:moveTo>
                  <a:lnTo>
                    <a:pt x="5759133" y="144780"/>
                  </a:lnTo>
                  <a:lnTo>
                    <a:pt x="5759996" y="152400"/>
                  </a:lnTo>
                  <a:lnTo>
                    <a:pt x="5759996" y="144780"/>
                  </a:lnTo>
                  <a:close/>
                </a:path>
                <a:path w="5760085" h="603250">
                  <a:moveTo>
                    <a:pt x="5476698" y="44450"/>
                  </a:moveTo>
                  <a:lnTo>
                    <a:pt x="5473383" y="49530"/>
                  </a:lnTo>
                  <a:lnTo>
                    <a:pt x="5472748" y="73660"/>
                  </a:lnTo>
                  <a:lnTo>
                    <a:pt x="5468290" y="86360"/>
                  </a:lnTo>
                  <a:lnTo>
                    <a:pt x="5459286" y="91440"/>
                  </a:lnTo>
                  <a:lnTo>
                    <a:pt x="5467338" y="97790"/>
                  </a:lnTo>
                  <a:lnTo>
                    <a:pt x="5445646" y="106680"/>
                  </a:lnTo>
                  <a:lnTo>
                    <a:pt x="5453774" y="111760"/>
                  </a:lnTo>
                  <a:lnTo>
                    <a:pt x="5447767" y="118110"/>
                  </a:lnTo>
                  <a:lnTo>
                    <a:pt x="5466170" y="123190"/>
                  </a:lnTo>
                  <a:lnTo>
                    <a:pt x="5450460" y="132080"/>
                  </a:lnTo>
                  <a:lnTo>
                    <a:pt x="5435080" y="133350"/>
                  </a:lnTo>
                  <a:lnTo>
                    <a:pt x="5449850" y="139700"/>
                  </a:lnTo>
                  <a:lnTo>
                    <a:pt x="5447462" y="151130"/>
                  </a:lnTo>
                  <a:lnTo>
                    <a:pt x="5457178" y="146050"/>
                  </a:lnTo>
                  <a:lnTo>
                    <a:pt x="5509256" y="146050"/>
                  </a:lnTo>
                  <a:lnTo>
                    <a:pt x="5508397" y="144780"/>
                  </a:lnTo>
                  <a:lnTo>
                    <a:pt x="5521580" y="140970"/>
                  </a:lnTo>
                  <a:lnTo>
                    <a:pt x="5512359" y="137160"/>
                  </a:lnTo>
                  <a:lnTo>
                    <a:pt x="5497412" y="132080"/>
                  </a:lnTo>
                  <a:lnTo>
                    <a:pt x="5513769" y="128270"/>
                  </a:lnTo>
                  <a:lnTo>
                    <a:pt x="5502834" y="120650"/>
                  </a:lnTo>
                  <a:lnTo>
                    <a:pt x="5508862" y="113030"/>
                  </a:lnTo>
                  <a:lnTo>
                    <a:pt x="5501133" y="113030"/>
                  </a:lnTo>
                  <a:lnTo>
                    <a:pt x="5493995" y="110490"/>
                  </a:lnTo>
                  <a:lnTo>
                    <a:pt x="5497914" y="105410"/>
                  </a:lnTo>
                  <a:lnTo>
                    <a:pt x="5481384" y="105410"/>
                  </a:lnTo>
                  <a:lnTo>
                    <a:pt x="5494122" y="92710"/>
                  </a:lnTo>
                  <a:lnTo>
                    <a:pt x="5481727" y="87630"/>
                  </a:lnTo>
                  <a:lnTo>
                    <a:pt x="5479098" y="55880"/>
                  </a:lnTo>
                  <a:lnTo>
                    <a:pt x="5476698" y="44450"/>
                  </a:lnTo>
                  <a:close/>
                </a:path>
                <a:path w="5760085" h="603250">
                  <a:moveTo>
                    <a:pt x="5687881" y="147320"/>
                  </a:moveTo>
                  <a:lnTo>
                    <a:pt x="5674132" y="147320"/>
                  </a:lnTo>
                  <a:lnTo>
                    <a:pt x="5689321" y="148590"/>
                  </a:lnTo>
                  <a:lnTo>
                    <a:pt x="5687881" y="147320"/>
                  </a:lnTo>
                  <a:close/>
                </a:path>
                <a:path w="5760085" h="603250">
                  <a:moveTo>
                    <a:pt x="5228756" y="125730"/>
                  </a:moveTo>
                  <a:lnTo>
                    <a:pt x="5237785" y="134620"/>
                  </a:lnTo>
                  <a:lnTo>
                    <a:pt x="5231689" y="147320"/>
                  </a:lnTo>
                  <a:lnTo>
                    <a:pt x="5251120" y="139700"/>
                  </a:lnTo>
                  <a:lnTo>
                    <a:pt x="5312142" y="139700"/>
                  </a:lnTo>
                  <a:lnTo>
                    <a:pt x="5304041" y="132080"/>
                  </a:lnTo>
                  <a:lnTo>
                    <a:pt x="5332856" y="132080"/>
                  </a:lnTo>
                  <a:lnTo>
                    <a:pt x="5332891" y="127000"/>
                  </a:lnTo>
                  <a:lnTo>
                    <a:pt x="5256556" y="127000"/>
                  </a:lnTo>
                  <a:lnTo>
                    <a:pt x="5228756" y="125730"/>
                  </a:lnTo>
                  <a:close/>
                </a:path>
                <a:path w="5760085" h="603250">
                  <a:moveTo>
                    <a:pt x="5759996" y="129540"/>
                  </a:moveTo>
                  <a:lnTo>
                    <a:pt x="5744592" y="147320"/>
                  </a:lnTo>
                  <a:lnTo>
                    <a:pt x="5759133" y="144780"/>
                  </a:lnTo>
                  <a:lnTo>
                    <a:pt x="5759996" y="144780"/>
                  </a:lnTo>
                  <a:lnTo>
                    <a:pt x="5759996" y="129540"/>
                  </a:lnTo>
                  <a:close/>
                </a:path>
                <a:path w="5760085" h="603250">
                  <a:moveTo>
                    <a:pt x="5666355" y="107950"/>
                  </a:moveTo>
                  <a:lnTo>
                    <a:pt x="5629682" y="107950"/>
                  </a:lnTo>
                  <a:lnTo>
                    <a:pt x="5632984" y="118110"/>
                  </a:lnTo>
                  <a:lnTo>
                    <a:pt x="5620233" y="123190"/>
                  </a:lnTo>
                  <a:lnTo>
                    <a:pt x="5592420" y="123190"/>
                  </a:lnTo>
                  <a:lnTo>
                    <a:pt x="5601450" y="132080"/>
                  </a:lnTo>
                  <a:lnTo>
                    <a:pt x="5595354" y="144780"/>
                  </a:lnTo>
                  <a:lnTo>
                    <a:pt x="5614798" y="137160"/>
                  </a:lnTo>
                  <a:lnTo>
                    <a:pt x="5676360" y="137160"/>
                  </a:lnTo>
                  <a:lnTo>
                    <a:pt x="5667719" y="129540"/>
                  </a:lnTo>
                  <a:lnTo>
                    <a:pt x="5680050" y="128270"/>
                  </a:lnTo>
                  <a:lnTo>
                    <a:pt x="5696533" y="128270"/>
                  </a:lnTo>
                  <a:lnTo>
                    <a:pt x="5696586" y="121920"/>
                  </a:lnTo>
                  <a:lnTo>
                    <a:pt x="5709413" y="114300"/>
                  </a:lnTo>
                  <a:lnTo>
                    <a:pt x="5676177" y="113030"/>
                  </a:lnTo>
                  <a:lnTo>
                    <a:pt x="5666355" y="107950"/>
                  </a:lnTo>
                  <a:close/>
                </a:path>
                <a:path w="5760085" h="603250">
                  <a:moveTo>
                    <a:pt x="5332856" y="132080"/>
                  </a:moveTo>
                  <a:lnTo>
                    <a:pt x="5316373" y="132080"/>
                  </a:lnTo>
                  <a:lnTo>
                    <a:pt x="5332794" y="140970"/>
                  </a:lnTo>
                  <a:lnTo>
                    <a:pt x="5332856" y="132080"/>
                  </a:lnTo>
                  <a:close/>
                </a:path>
                <a:path w="5760085" h="603250">
                  <a:moveTo>
                    <a:pt x="5696533" y="128270"/>
                  </a:moveTo>
                  <a:lnTo>
                    <a:pt x="5680050" y="128270"/>
                  </a:lnTo>
                  <a:lnTo>
                    <a:pt x="5696459" y="137160"/>
                  </a:lnTo>
                  <a:lnTo>
                    <a:pt x="5696533" y="128270"/>
                  </a:lnTo>
                  <a:close/>
                </a:path>
                <a:path w="5760085" h="603250">
                  <a:moveTo>
                    <a:pt x="5759996" y="100330"/>
                  </a:moveTo>
                  <a:lnTo>
                    <a:pt x="5740096" y="104140"/>
                  </a:lnTo>
                  <a:lnTo>
                    <a:pt x="5743144" y="109220"/>
                  </a:lnTo>
                  <a:lnTo>
                    <a:pt x="5724830" y="110490"/>
                  </a:lnTo>
                  <a:lnTo>
                    <a:pt x="5743830" y="123190"/>
                  </a:lnTo>
                  <a:lnTo>
                    <a:pt x="5736019" y="132080"/>
                  </a:lnTo>
                  <a:lnTo>
                    <a:pt x="5759996" y="124460"/>
                  </a:lnTo>
                  <a:lnTo>
                    <a:pt x="5759996" y="100330"/>
                  </a:lnTo>
                  <a:close/>
                </a:path>
                <a:path w="5760085" h="603250">
                  <a:moveTo>
                    <a:pt x="5305140" y="111760"/>
                  </a:moveTo>
                  <a:lnTo>
                    <a:pt x="5266018" y="111760"/>
                  </a:lnTo>
                  <a:lnTo>
                    <a:pt x="5269320" y="121920"/>
                  </a:lnTo>
                  <a:lnTo>
                    <a:pt x="5256556" y="127000"/>
                  </a:lnTo>
                  <a:lnTo>
                    <a:pt x="5332891" y="127000"/>
                  </a:lnTo>
                  <a:lnTo>
                    <a:pt x="5332908" y="124460"/>
                  </a:lnTo>
                  <a:lnTo>
                    <a:pt x="5345735" y="116840"/>
                  </a:lnTo>
                  <a:lnTo>
                    <a:pt x="5312500" y="115570"/>
                  </a:lnTo>
                  <a:lnTo>
                    <a:pt x="5305140" y="111760"/>
                  </a:lnTo>
                  <a:close/>
                </a:path>
                <a:path w="5760085" h="603250">
                  <a:moveTo>
                    <a:pt x="5299165" y="104140"/>
                  </a:moveTo>
                  <a:lnTo>
                    <a:pt x="5250739" y="104140"/>
                  </a:lnTo>
                  <a:lnTo>
                    <a:pt x="5250714" y="116840"/>
                  </a:lnTo>
                  <a:lnTo>
                    <a:pt x="5266018" y="111760"/>
                  </a:lnTo>
                  <a:lnTo>
                    <a:pt x="5305140" y="111760"/>
                  </a:lnTo>
                  <a:lnTo>
                    <a:pt x="5297780" y="107950"/>
                  </a:lnTo>
                  <a:lnTo>
                    <a:pt x="5299165" y="104140"/>
                  </a:lnTo>
                  <a:close/>
                </a:path>
                <a:path w="5760085" h="603250">
                  <a:moveTo>
                    <a:pt x="5229276" y="78740"/>
                  </a:moveTo>
                  <a:lnTo>
                    <a:pt x="5235982" y="97790"/>
                  </a:lnTo>
                  <a:lnTo>
                    <a:pt x="5228591" y="101600"/>
                  </a:lnTo>
                  <a:lnTo>
                    <a:pt x="5235957" y="101600"/>
                  </a:lnTo>
                  <a:lnTo>
                    <a:pt x="5230191" y="115570"/>
                  </a:lnTo>
                  <a:lnTo>
                    <a:pt x="5250739" y="104140"/>
                  </a:lnTo>
                  <a:lnTo>
                    <a:pt x="5318562" y="104140"/>
                  </a:lnTo>
                  <a:lnTo>
                    <a:pt x="5317872" y="100330"/>
                  </a:lnTo>
                  <a:lnTo>
                    <a:pt x="5332547" y="100330"/>
                  </a:lnTo>
                  <a:lnTo>
                    <a:pt x="5330356" y="93980"/>
                  </a:lnTo>
                  <a:lnTo>
                    <a:pt x="5265408" y="93980"/>
                  </a:lnTo>
                  <a:lnTo>
                    <a:pt x="5246383" y="87630"/>
                  </a:lnTo>
                  <a:lnTo>
                    <a:pt x="5229276" y="78740"/>
                  </a:lnTo>
                  <a:close/>
                </a:path>
                <a:path w="5760085" h="603250">
                  <a:moveTo>
                    <a:pt x="5512880" y="107950"/>
                  </a:moveTo>
                  <a:lnTo>
                    <a:pt x="5501133" y="113030"/>
                  </a:lnTo>
                  <a:lnTo>
                    <a:pt x="5508862" y="113030"/>
                  </a:lnTo>
                  <a:lnTo>
                    <a:pt x="5512880" y="107950"/>
                  </a:lnTo>
                  <a:close/>
                </a:path>
                <a:path w="5760085" h="603250">
                  <a:moveTo>
                    <a:pt x="5592954" y="76200"/>
                  </a:moveTo>
                  <a:lnTo>
                    <a:pt x="5599659" y="93980"/>
                  </a:lnTo>
                  <a:lnTo>
                    <a:pt x="5592255" y="99060"/>
                  </a:lnTo>
                  <a:lnTo>
                    <a:pt x="5599621" y="99060"/>
                  </a:lnTo>
                  <a:lnTo>
                    <a:pt x="5593855" y="113030"/>
                  </a:lnTo>
                  <a:lnTo>
                    <a:pt x="5614404" y="101600"/>
                  </a:lnTo>
                  <a:lnTo>
                    <a:pt x="5662483" y="101600"/>
                  </a:lnTo>
                  <a:lnTo>
                    <a:pt x="5662829" y="100330"/>
                  </a:lnTo>
                  <a:lnTo>
                    <a:pt x="5682075" y="100330"/>
                  </a:lnTo>
                  <a:lnTo>
                    <a:pt x="5681549" y="97790"/>
                  </a:lnTo>
                  <a:lnTo>
                    <a:pt x="5696374" y="97790"/>
                  </a:lnTo>
                  <a:lnTo>
                    <a:pt x="5694020" y="90170"/>
                  </a:lnTo>
                  <a:lnTo>
                    <a:pt x="5629085" y="90170"/>
                  </a:lnTo>
                  <a:lnTo>
                    <a:pt x="5610061" y="83820"/>
                  </a:lnTo>
                  <a:lnTo>
                    <a:pt x="5592954" y="76200"/>
                  </a:lnTo>
                  <a:close/>
                </a:path>
                <a:path w="5760085" h="603250">
                  <a:moveTo>
                    <a:pt x="5662483" y="101600"/>
                  </a:moveTo>
                  <a:lnTo>
                    <a:pt x="5614404" y="101600"/>
                  </a:lnTo>
                  <a:lnTo>
                    <a:pt x="5614391" y="113030"/>
                  </a:lnTo>
                  <a:lnTo>
                    <a:pt x="5629682" y="107950"/>
                  </a:lnTo>
                  <a:lnTo>
                    <a:pt x="5666355" y="107950"/>
                  </a:lnTo>
                  <a:lnTo>
                    <a:pt x="5661445" y="105410"/>
                  </a:lnTo>
                  <a:lnTo>
                    <a:pt x="5662483" y="101600"/>
                  </a:lnTo>
                  <a:close/>
                </a:path>
                <a:path w="5760085" h="603250">
                  <a:moveTo>
                    <a:pt x="5318562" y="104140"/>
                  </a:moveTo>
                  <a:lnTo>
                    <a:pt x="5299165" y="104140"/>
                  </a:lnTo>
                  <a:lnTo>
                    <a:pt x="5305972" y="105410"/>
                  </a:lnTo>
                  <a:lnTo>
                    <a:pt x="5319713" y="110490"/>
                  </a:lnTo>
                  <a:lnTo>
                    <a:pt x="5318562" y="104140"/>
                  </a:lnTo>
                  <a:close/>
                </a:path>
                <a:path w="5760085" h="603250">
                  <a:moveTo>
                    <a:pt x="5682075" y="100330"/>
                  </a:moveTo>
                  <a:lnTo>
                    <a:pt x="5662829" y="100330"/>
                  </a:lnTo>
                  <a:lnTo>
                    <a:pt x="5669624" y="101600"/>
                  </a:lnTo>
                  <a:lnTo>
                    <a:pt x="5683390" y="106680"/>
                  </a:lnTo>
                  <a:lnTo>
                    <a:pt x="5682075" y="100330"/>
                  </a:lnTo>
                  <a:close/>
                </a:path>
                <a:path w="5760085" h="603250">
                  <a:moveTo>
                    <a:pt x="5500853" y="101600"/>
                  </a:moveTo>
                  <a:lnTo>
                    <a:pt x="5481384" y="105410"/>
                  </a:lnTo>
                  <a:lnTo>
                    <a:pt x="5497914" y="105410"/>
                  </a:lnTo>
                  <a:lnTo>
                    <a:pt x="5500853" y="101600"/>
                  </a:lnTo>
                  <a:close/>
                </a:path>
                <a:path w="5760085" h="603250">
                  <a:moveTo>
                    <a:pt x="5332547" y="100330"/>
                  </a:moveTo>
                  <a:lnTo>
                    <a:pt x="5317872" y="100330"/>
                  </a:lnTo>
                  <a:lnTo>
                    <a:pt x="5333861" y="104140"/>
                  </a:lnTo>
                  <a:lnTo>
                    <a:pt x="5332547" y="100330"/>
                  </a:lnTo>
                  <a:close/>
                </a:path>
                <a:path w="5760085" h="603250">
                  <a:moveTo>
                    <a:pt x="5696374" y="97790"/>
                  </a:moveTo>
                  <a:lnTo>
                    <a:pt x="5681549" y="97790"/>
                  </a:lnTo>
                  <a:lnTo>
                    <a:pt x="5697551" y="101600"/>
                  </a:lnTo>
                  <a:lnTo>
                    <a:pt x="5696374" y="97790"/>
                  </a:lnTo>
                  <a:close/>
                </a:path>
                <a:path w="5760085" h="603250">
                  <a:moveTo>
                    <a:pt x="5314151" y="72390"/>
                  </a:moveTo>
                  <a:lnTo>
                    <a:pt x="5270209" y="72390"/>
                  </a:lnTo>
                  <a:lnTo>
                    <a:pt x="5277981" y="74930"/>
                  </a:lnTo>
                  <a:lnTo>
                    <a:pt x="5276749" y="82550"/>
                  </a:lnTo>
                  <a:lnTo>
                    <a:pt x="5263274" y="82550"/>
                  </a:lnTo>
                  <a:lnTo>
                    <a:pt x="5266475" y="88900"/>
                  </a:lnTo>
                  <a:lnTo>
                    <a:pt x="5273079" y="92710"/>
                  </a:lnTo>
                  <a:lnTo>
                    <a:pt x="5265408" y="93980"/>
                  </a:lnTo>
                  <a:lnTo>
                    <a:pt x="5330356" y="93980"/>
                  </a:lnTo>
                  <a:lnTo>
                    <a:pt x="5333646" y="88900"/>
                  </a:lnTo>
                  <a:lnTo>
                    <a:pt x="5309096" y="88900"/>
                  </a:lnTo>
                  <a:lnTo>
                    <a:pt x="5295977" y="83820"/>
                  </a:lnTo>
                  <a:lnTo>
                    <a:pt x="5300828" y="73660"/>
                  </a:lnTo>
                  <a:lnTo>
                    <a:pt x="5306150" y="73660"/>
                  </a:lnTo>
                  <a:lnTo>
                    <a:pt x="5314151" y="72390"/>
                  </a:lnTo>
                  <a:close/>
                </a:path>
                <a:path w="5760085" h="603250">
                  <a:moveTo>
                    <a:pt x="5664493" y="69850"/>
                  </a:moveTo>
                  <a:lnTo>
                    <a:pt x="5633886" y="69850"/>
                  </a:lnTo>
                  <a:lnTo>
                    <a:pt x="5641658" y="71120"/>
                  </a:lnTo>
                  <a:lnTo>
                    <a:pt x="5640414" y="78740"/>
                  </a:lnTo>
                  <a:lnTo>
                    <a:pt x="5632273" y="80010"/>
                  </a:lnTo>
                  <a:lnTo>
                    <a:pt x="5626939" y="80010"/>
                  </a:lnTo>
                  <a:lnTo>
                    <a:pt x="5630139" y="86360"/>
                  </a:lnTo>
                  <a:lnTo>
                    <a:pt x="5636756" y="90170"/>
                  </a:lnTo>
                  <a:lnTo>
                    <a:pt x="5694020" y="90170"/>
                  </a:lnTo>
                  <a:lnTo>
                    <a:pt x="5696694" y="86360"/>
                  </a:lnTo>
                  <a:lnTo>
                    <a:pt x="5672760" y="86360"/>
                  </a:lnTo>
                  <a:lnTo>
                    <a:pt x="5664899" y="82550"/>
                  </a:lnTo>
                  <a:lnTo>
                    <a:pt x="5659654" y="81280"/>
                  </a:lnTo>
                  <a:lnTo>
                    <a:pt x="5664493" y="69850"/>
                  </a:lnTo>
                  <a:close/>
                </a:path>
                <a:path w="5760085" h="603250">
                  <a:moveTo>
                    <a:pt x="5341049" y="77470"/>
                  </a:moveTo>
                  <a:lnTo>
                    <a:pt x="5309096" y="88900"/>
                  </a:lnTo>
                  <a:lnTo>
                    <a:pt x="5333646" y="88900"/>
                  </a:lnTo>
                  <a:lnTo>
                    <a:pt x="5341049" y="77470"/>
                  </a:lnTo>
                  <a:close/>
                </a:path>
                <a:path w="5760085" h="603250">
                  <a:moveTo>
                    <a:pt x="5704714" y="74930"/>
                  </a:moveTo>
                  <a:lnTo>
                    <a:pt x="5672760" y="86360"/>
                  </a:lnTo>
                  <a:lnTo>
                    <a:pt x="5696694" y="86360"/>
                  </a:lnTo>
                  <a:lnTo>
                    <a:pt x="5704714" y="74930"/>
                  </a:lnTo>
                  <a:close/>
                </a:path>
                <a:path w="5760085" h="603250">
                  <a:moveTo>
                    <a:pt x="5250765" y="53340"/>
                  </a:moveTo>
                  <a:lnTo>
                    <a:pt x="5262512" y="64770"/>
                  </a:lnTo>
                  <a:lnTo>
                    <a:pt x="5261230" y="69850"/>
                  </a:lnTo>
                  <a:lnTo>
                    <a:pt x="5259274" y="76200"/>
                  </a:lnTo>
                  <a:lnTo>
                    <a:pt x="5270209" y="72390"/>
                  </a:lnTo>
                  <a:lnTo>
                    <a:pt x="5314151" y="72390"/>
                  </a:lnTo>
                  <a:lnTo>
                    <a:pt x="5310937" y="67310"/>
                  </a:lnTo>
                  <a:lnTo>
                    <a:pt x="5315567" y="60960"/>
                  </a:lnTo>
                  <a:lnTo>
                    <a:pt x="5299927" y="60960"/>
                  </a:lnTo>
                  <a:lnTo>
                    <a:pt x="5299175" y="59690"/>
                  </a:lnTo>
                  <a:lnTo>
                    <a:pt x="5280140" y="59690"/>
                  </a:lnTo>
                  <a:lnTo>
                    <a:pt x="5250765" y="53340"/>
                  </a:lnTo>
                  <a:close/>
                </a:path>
                <a:path w="5760085" h="603250">
                  <a:moveTo>
                    <a:pt x="5614429" y="49530"/>
                  </a:moveTo>
                  <a:lnTo>
                    <a:pt x="5626190" y="62230"/>
                  </a:lnTo>
                  <a:lnTo>
                    <a:pt x="5622938" y="73660"/>
                  </a:lnTo>
                  <a:lnTo>
                    <a:pt x="5633886" y="69850"/>
                  </a:lnTo>
                  <a:lnTo>
                    <a:pt x="5677815" y="69850"/>
                  </a:lnTo>
                  <a:lnTo>
                    <a:pt x="5674602" y="64770"/>
                  </a:lnTo>
                  <a:lnTo>
                    <a:pt x="5678816" y="58420"/>
                  </a:lnTo>
                  <a:lnTo>
                    <a:pt x="5663604" y="58420"/>
                  </a:lnTo>
                  <a:lnTo>
                    <a:pt x="5662977" y="57150"/>
                  </a:lnTo>
                  <a:lnTo>
                    <a:pt x="5643804" y="57150"/>
                  </a:lnTo>
                  <a:lnTo>
                    <a:pt x="5614429" y="49530"/>
                  </a:lnTo>
                  <a:close/>
                </a:path>
                <a:path w="5760085" h="603250">
                  <a:moveTo>
                    <a:pt x="5759996" y="59690"/>
                  </a:moveTo>
                  <a:lnTo>
                    <a:pt x="5747906" y="71120"/>
                  </a:lnTo>
                  <a:lnTo>
                    <a:pt x="5759996" y="67310"/>
                  </a:lnTo>
                  <a:lnTo>
                    <a:pt x="5759996" y="59690"/>
                  </a:lnTo>
                  <a:close/>
                </a:path>
                <a:path w="5760085" h="603250">
                  <a:moveTo>
                    <a:pt x="5320196" y="54610"/>
                  </a:moveTo>
                  <a:lnTo>
                    <a:pt x="5299927" y="60960"/>
                  </a:lnTo>
                  <a:lnTo>
                    <a:pt x="5315567" y="60960"/>
                  </a:lnTo>
                  <a:lnTo>
                    <a:pt x="5320196" y="54610"/>
                  </a:lnTo>
                  <a:close/>
                </a:path>
                <a:path w="5760085" h="603250">
                  <a:moveTo>
                    <a:pt x="5267656" y="40640"/>
                  </a:moveTo>
                  <a:lnTo>
                    <a:pt x="5278019" y="49530"/>
                  </a:lnTo>
                  <a:lnTo>
                    <a:pt x="5280140" y="59690"/>
                  </a:lnTo>
                  <a:lnTo>
                    <a:pt x="5299175" y="59690"/>
                  </a:lnTo>
                  <a:lnTo>
                    <a:pt x="5296167" y="54610"/>
                  </a:lnTo>
                  <a:lnTo>
                    <a:pt x="5300191" y="46990"/>
                  </a:lnTo>
                  <a:lnTo>
                    <a:pt x="5298098" y="46990"/>
                  </a:lnTo>
                  <a:lnTo>
                    <a:pt x="5292591" y="41910"/>
                  </a:lnTo>
                  <a:lnTo>
                    <a:pt x="5278235" y="41910"/>
                  </a:lnTo>
                  <a:lnTo>
                    <a:pt x="5267656" y="40640"/>
                  </a:lnTo>
                  <a:close/>
                </a:path>
                <a:path w="5760085" h="603250">
                  <a:moveTo>
                    <a:pt x="5683873" y="50800"/>
                  </a:moveTo>
                  <a:lnTo>
                    <a:pt x="5663604" y="58420"/>
                  </a:lnTo>
                  <a:lnTo>
                    <a:pt x="5678816" y="58420"/>
                  </a:lnTo>
                  <a:lnTo>
                    <a:pt x="5683873" y="50800"/>
                  </a:lnTo>
                  <a:close/>
                </a:path>
                <a:path w="5760085" h="603250">
                  <a:moveTo>
                    <a:pt x="5651310" y="0"/>
                  </a:moveTo>
                  <a:lnTo>
                    <a:pt x="5648897" y="7620"/>
                  </a:lnTo>
                  <a:lnTo>
                    <a:pt x="5648516" y="27940"/>
                  </a:lnTo>
                  <a:lnTo>
                    <a:pt x="5641912" y="38100"/>
                  </a:lnTo>
                  <a:lnTo>
                    <a:pt x="5631333" y="38100"/>
                  </a:lnTo>
                  <a:lnTo>
                    <a:pt x="5641696" y="46990"/>
                  </a:lnTo>
                  <a:lnTo>
                    <a:pt x="5643804" y="57150"/>
                  </a:lnTo>
                  <a:lnTo>
                    <a:pt x="5662977" y="57150"/>
                  </a:lnTo>
                  <a:lnTo>
                    <a:pt x="5659845" y="50800"/>
                  </a:lnTo>
                  <a:lnTo>
                    <a:pt x="5664306" y="43180"/>
                  </a:lnTo>
                  <a:lnTo>
                    <a:pt x="5661775" y="43180"/>
                  </a:lnTo>
                  <a:lnTo>
                    <a:pt x="5654879" y="36830"/>
                  </a:lnTo>
                  <a:lnTo>
                    <a:pt x="5655349" y="2540"/>
                  </a:lnTo>
                  <a:lnTo>
                    <a:pt x="5653723" y="1270"/>
                  </a:lnTo>
                  <a:lnTo>
                    <a:pt x="5652923" y="1270"/>
                  </a:lnTo>
                  <a:lnTo>
                    <a:pt x="5651310" y="0"/>
                  </a:lnTo>
                  <a:close/>
                </a:path>
                <a:path w="5760085" h="603250">
                  <a:moveTo>
                    <a:pt x="5759996" y="44450"/>
                  </a:moveTo>
                  <a:lnTo>
                    <a:pt x="5751691" y="50800"/>
                  </a:lnTo>
                  <a:lnTo>
                    <a:pt x="5759996" y="53340"/>
                  </a:lnTo>
                  <a:lnTo>
                    <a:pt x="5759996" y="44450"/>
                  </a:lnTo>
                  <a:close/>
                </a:path>
                <a:path w="5760085" h="603250">
                  <a:moveTo>
                    <a:pt x="5302873" y="41910"/>
                  </a:moveTo>
                  <a:lnTo>
                    <a:pt x="5298098" y="46990"/>
                  </a:lnTo>
                  <a:lnTo>
                    <a:pt x="5300191" y="46990"/>
                  </a:lnTo>
                  <a:lnTo>
                    <a:pt x="5302873" y="41910"/>
                  </a:lnTo>
                  <a:close/>
                </a:path>
                <a:path w="5760085" h="603250">
                  <a:moveTo>
                    <a:pt x="5666537" y="39370"/>
                  </a:moveTo>
                  <a:lnTo>
                    <a:pt x="5661775" y="43180"/>
                  </a:lnTo>
                  <a:lnTo>
                    <a:pt x="5664306" y="43180"/>
                  </a:lnTo>
                  <a:lnTo>
                    <a:pt x="5666537" y="39370"/>
                  </a:lnTo>
                  <a:close/>
                </a:path>
                <a:path w="5760085" h="603250">
                  <a:moveTo>
                    <a:pt x="5287620" y="3810"/>
                  </a:moveTo>
                  <a:lnTo>
                    <a:pt x="5285220" y="11430"/>
                  </a:lnTo>
                  <a:lnTo>
                    <a:pt x="5284839" y="31750"/>
                  </a:lnTo>
                  <a:lnTo>
                    <a:pt x="5278235" y="41910"/>
                  </a:lnTo>
                  <a:lnTo>
                    <a:pt x="5292591" y="41910"/>
                  </a:lnTo>
                  <a:lnTo>
                    <a:pt x="5291214" y="40640"/>
                  </a:lnTo>
                  <a:lnTo>
                    <a:pt x="5291684" y="5080"/>
                  </a:lnTo>
                  <a:lnTo>
                    <a:pt x="5287620" y="3810"/>
                  </a:lnTo>
                  <a:close/>
                </a:path>
                <a:path w="5760085" h="603250">
                  <a:moveTo>
                    <a:pt x="5750827" y="29210"/>
                  </a:moveTo>
                  <a:lnTo>
                    <a:pt x="5756885" y="36830"/>
                  </a:lnTo>
                  <a:lnTo>
                    <a:pt x="5748338" y="41910"/>
                  </a:lnTo>
                  <a:lnTo>
                    <a:pt x="5759996" y="40640"/>
                  </a:lnTo>
                  <a:lnTo>
                    <a:pt x="5759996" y="31750"/>
                  </a:lnTo>
                  <a:lnTo>
                    <a:pt x="5750827" y="29210"/>
                  </a:lnTo>
                  <a:close/>
                </a:path>
              </a:pathLst>
            </a:custGeom>
            <a:solidFill>
              <a:srgbClr val="001E1A">
                <a:alpha val="39999"/>
              </a:srgbClr>
            </a:solidFill>
          </p:spPr>
          <p:txBody>
            <a:bodyPr wrap="square" lIns="0" tIns="0" rIns="0" bIns="0" rtlCol="0"/>
            <a:lstStyle/>
            <a:p>
              <a:endParaRPr/>
            </a:p>
          </p:txBody>
        </p:sp>
        <p:sp>
          <p:nvSpPr>
            <p:cNvPr id="10" name="object 10"/>
            <p:cNvSpPr/>
            <p:nvPr/>
          </p:nvSpPr>
          <p:spPr>
            <a:xfrm>
              <a:off x="916393" y="4371682"/>
              <a:ext cx="544830" cy="318770"/>
            </a:xfrm>
            <a:custGeom>
              <a:avLst/>
              <a:gdLst/>
              <a:ahLst/>
              <a:cxnLst/>
              <a:rect l="l" t="t" r="r" b="b"/>
              <a:pathLst>
                <a:path w="544830" h="318770">
                  <a:moveTo>
                    <a:pt x="17106" y="82016"/>
                  </a:moveTo>
                  <a:lnTo>
                    <a:pt x="16725" y="81813"/>
                  </a:lnTo>
                  <a:lnTo>
                    <a:pt x="0" y="104673"/>
                  </a:lnTo>
                  <a:lnTo>
                    <a:pt x="17106" y="82016"/>
                  </a:lnTo>
                  <a:close/>
                </a:path>
                <a:path w="544830" h="318770">
                  <a:moveTo>
                    <a:pt x="64122" y="99593"/>
                  </a:moveTo>
                  <a:lnTo>
                    <a:pt x="56362" y="97053"/>
                  </a:lnTo>
                  <a:lnTo>
                    <a:pt x="48691" y="95783"/>
                  </a:lnTo>
                  <a:lnTo>
                    <a:pt x="41173" y="93243"/>
                  </a:lnTo>
                  <a:lnTo>
                    <a:pt x="33820" y="89433"/>
                  </a:lnTo>
                  <a:lnTo>
                    <a:pt x="26631" y="86893"/>
                  </a:lnTo>
                  <a:lnTo>
                    <a:pt x="19608" y="83083"/>
                  </a:lnTo>
                  <a:lnTo>
                    <a:pt x="17233" y="81851"/>
                  </a:lnTo>
                  <a:lnTo>
                    <a:pt x="17106" y="82016"/>
                  </a:lnTo>
                  <a:lnTo>
                    <a:pt x="19240" y="83083"/>
                  </a:lnTo>
                  <a:lnTo>
                    <a:pt x="26301" y="86893"/>
                  </a:lnTo>
                  <a:lnTo>
                    <a:pt x="33515" y="90703"/>
                  </a:lnTo>
                  <a:lnTo>
                    <a:pt x="40919" y="93243"/>
                  </a:lnTo>
                  <a:lnTo>
                    <a:pt x="56210" y="98323"/>
                  </a:lnTo>
                  <a:lnTo>
                    <a:pt x="64122" y="99593"/>
                  </a:lnTo>
                  <a:close/>
                </a:path>
                <a:path w="544830" h="318770">
                  <a:moveTo>
                    <a:pt x="75463" y="4178"/>
                  </a:moveTo>
                  <a:lnTo>
                    <a:pt x="74599" y="5080"/>
                  </a:lnTo>
                  <a:lnTo>
                    <a:pt x="74637" y="5257"/>
                  </a:lnTo>
                  <a:lnTo>
                    <a:pt x="75463" y="4178"/>
                  </a:lnTo>
                  <a:close/>
                </a:path>
                <a:path w="544830" h="318770">
                  <a:moveTo>
                    <a:pt x="214299" y="220154"/>
                  </a:moveTo>
                  <a:lnTo>
                    <a:pt x="213842" y="220243"/>
                  </a:lnTo>
                  <a:lnTo>
                    <a:pt x="214096" y="220243"/>
                  </a:lnTo>
                  <a:lnTo>
                    <a:pt x="214299" y="220154"/>
                  </a:lnTo>
                  <a:close/>
                </a:path>
                <a:path w="544830" h="318770">
                  <a:moveTo>
                    <a:pt x="227037" y="154203"/>
                  </a:moveTo>
                  <a:lnTo>
                    <a:pt x="224904" y="155473"/>
                  </a:lnTo>
                  <a:lnTo>
                    <a:pt x="226999" y="154305"/>
                  </a:lnTo>
                  <a:close/>
                </a:path>
                <a:path w="544830" h="318770">
                  <a:moveTo>
                    <a:pt x="281901" y="221513"/>
                  </a:moveTo>
                  <a:lnTo>
                    <a:pt x="281736" y="221627"/>
                  </a:lnTo>
                  <a:lnTo>
                    <a:pt x="281190" y="222783"/>
                  </a:lnTo>
                  <a:lnTo>
                    <a:pt x="281406" y="222783"/>
                  </a:lnTo>
                  <a:lnTo>
                    <a:pt x="281901" y="221513"/>
                  </a:lnTo>
                  <a:close/>
                </a:path>
                <a:path w="544830" h="318770">
                  <a:moveTo>
                    <a:pt x="301053" y="155473"/>
                  </a:moveTo>
                  <a:lnTo>
                    <a:pt x="298424" y="154203"/>
                  </a:lnTo>
                  <a:lnTo>
                    <a:pt x="294144" y="150393"/>
                  </a:lnTo>
                  <a:lnTo>
                    <a:pt x="292366" y="147853"/>
                  </a:lnTo>
                  <a:lnTo>
                    <a:pt x="290525" y="145313"/>
                  </a:lnTo>
                  <a:lnTo>
                    <a:pt x="290195" y="144043"/>
                  </a:lnTo>
                  <a:lnTo>
                    <a:pt x="289852" y="144043"/>
                  </a:lnTo>
                  <a:lnTo>
                    <a:pt x="290068" y="145313"/>
                  </a:lnTo>
                  <a:lnTo>
                    <a:pt x="290245" y="145313"/>
                  </a:lnTo>
                  <a:lnTo>
                    <a:pt x="292138" y="147853"/>
                  </a:lnTo>
                  <a:lnTo>
                    <a:pt x="293941" y="150393"/>
                  </a:lnTo>
                  <a:lnTo>
                    <a:pt x="298259" y="154203"/>
                  </a:lnTo>
                  <a:lnTo>
                    <a:pt x="300951" y="155473"/>
                  </a:lnTo>
                  <a:close/>
                </a:path>
                <a:path w="544830" h="318770">
                  <a:moveTo>
                    <a:pt x="301815" y="173253"/>
                  </a:moveTo>
                  <a:lnTo>
                    <a:pt x="300875" y="170713"/>
                  </a:lnTo>
                  <a:lnTo>
                    <a:pt x="301155" y="171856"/>
                  </a:lnTo>
                  <a:lnTo>
                    <a:pt x="301815" y="173253"/>
                  </a:lnTo>
                  <a:close/>
                </a:path>
                <a:path w="544830" h="318770">
                  <a:moveTo>
                    <a:pt x="302615" y="174028"/>
                  </a:moveTo>
                  <a:lnTo>
                    <a:pt x="302514" y="173812"/>
                  </a:lnTo>
                  <a:lnTo>
                    <a:pt x="302209" y="173710"/>
                  </a:lnTo>
                  <a:lnTo>
                    <a:pt x="302615" y="174028"/>
                  </a:lnTo>
                  <a:close/>
                </a:path>
                <a:path w="544830" h="318770">
                  <a:moveTo>
                    <a:pt x="311607" y="202107"/>
                  </a:moveTo>
                  <a:lnTo>
                    <a:pt x="310578" y="201193"/>
                  </a:lnTo>
                  <a:lnTo>
                    <a:pt x="310629" y="201383"/>
                  </a:lnTo>
                  <a:lnTo>
                    <a:pt x="311607" y="202107"/>
                  </a:lnTo>
                  <a:close/>
                </a:path>
                <a:path w="544830" h="318770">
                  <a:moveTo>
                    <a:pt x="317741" y="227863"/>
                  </a:moveTo>
                  <a:lnTo>
                    <a:pt x="315595" y="226593"/>
                  </a:lnTo>
                  <a:lnTo>
                    <a:pt x="313588" y="225323"/>
                  </a:lnTo>
                  <a:lnTo>
                    <a:pt x="312191" y="225323"/>
                  </a:lnTo>
                  <a:lnTo>
                    <a:pt x="310718" y="223888"/>
                  </a:lnTo>
                  <a:lnTo>
                    <a:pt x="309651" y="222783"/>
                  </a:lnTo>
                  <a:lnTo>
                    <a:pt x="309384" y="222783"/>
                  </a:lnTo>
                  <a:lnTo>
                    <a:pt x="310705" y="224091"/>
                  </a:lnTo>
                  <a:lnTo>
                    <a:pt x="312039" y="225323"/>
                  </a:lnTo>
                  <a:lnTo>
                    <a:pt x="315544" y="226593"/>
                  </a:lnTo>
                  <a:lnTo>
                    <a:pt x="317741" y="227863"/>
                  </a:lnTo>
                  <a:close/>
                </a:path>
                <a:path w="544830" h="318770">
                  <a:moveTo>
                    <a:pt x="321894" y="201193"/>
                  </a:moveTo>
                  <a:lnTo>
                    <a:pt x="320319" y="199923"/>
                  </a:lnTo>
                  <a:lnTo>
                    <a:pt x="321856" y="201193"/>
                  </a:lnTo>
                  <a:close/>
                </a:path>
                <a:path w="544830" h="318770">
                  <a:moveTo>
                    <a:pt x="321919" y="229133"/>
                  </a:moveTo>
                  <a:lnTo>
                    <a:pt x="321792" y="229133"/>
                  </a:lnTo>
                  <a:lnTo>
                    <a:pt x="320967" y="231673"/>
                  </a:lnTo>
                  <a:lnTo>
                    <a:pt x="320027" y="232943"/>
                  </a:lnTo>
                  <a:lnTo>
                    <a:pt x="318770" y="235483"/>
                  </a:lnTo>
                  <a:lnTo>
                    <a:pt x="317779" y="236804"/>
                  </a:lnTo>
                  <a:lnTo>
                    <a:pt x="316699" y="238023"/>
                  </a:lnTo>
                  <a:lnTo>
                    <a:pt x="314248" y="239293"/>
                  </a:lnTo>
                  <a:lnTo>
                    <a:pt x="316801" y="239293"/>
                  </a:lnTo>
                  <a:lnTo>
                    <a:pt x="317931" y="236740"/>
                  </a:lnTo>
                  <a:lnTo>
                    <a:pt x="318884" y="235483"/>
                  </a:lnTo>
                  <a:lnTo>
                    <a:pt x="320141" y="234213"/>
                  </a:lnTo>
                  <a:lnTo>
                    <a:pt x="321106" y="231673"/>
                  </a:lnTo>
                  <a:lnTo>
                    <a:pt x="321919" y="229133"/>
                  </a:lnTo>
                  <a:close/>
                </a:path>
                <a:path w="544830" h="318770">
                  <a:moveTo>
                    <a:pt x="323938" y="222618"/>
                  </a:moveTo>
                  <a:lnTo>
                    <a:pt x="323494" y="224053"/>
                  </a:lnTo>
                  <a:lnTo>
                    <a:pt x="323684" y="223951"/>
                  </a:lnTo>
                  <a:lnTo>
                    <a:pt x="323938" y="222618"/>
                  </a:lnTo>
                  <a:close/>
                </a:path>
                <a:path w="544830" h="318770">
                  <a:moveTo>
                    <a:pt x="324294" y="221513"/>
                  </a:moveTo>
                  <a:lnTo>
                    <a:pt x="324167" y="221513"/>
                  </a:lnTo>
                  <a:lnTo>
                    <a:pt x="323938" y="222618"/>
                  </a:lnTo>
                  <a:lnTo>
                    <a:pt x="324294" y="221513"/>
                  </a:lnTo>
                  <a:close/>
                </a:path>
                <a:path w="544830" h="318770">
                  <a:moveTo>
                    <a:pt x="326326" y="71120"/>
                  </a:moveTo>
                  <a:lnTo>
                    <a:pt x="212267" y="38100"/>
                  </a:lnTo>
                  <a:lnTo>
                    <a:pt x="212801" y="38519"/>
                  </a:lnTo>
                  <a:lnTo>
                    <a:pt x="326326" y="71120"/>
                  </a:lnTo>
                  <a:close/>
                </a:path>
                <a:path w="544830" h="318770">
                  <a:moveTo>
                    <a:pt x="328917" y="197383"/>
                  </a:moveTo>
                  <a:lnTo>
                    <a:pt x="328333" y="198653"/>
                  </a:lnTo>
                  <a:lnTo>
                    <a:pt x="326834" y="199923"/>
                  </a:lnTo>
                  <a:lnTo>
                    <a:pt x="325856" y="201193"/>
                  </a:lnTo>
                  <a:lnTo>
                    <a:pt x="326885" y="199923"/>
                  </a:lnTo>
                  <a:lnTo>
                    <a:pt x="328371" y="198653"/>
                  </a:lnTo>
                  <a:lnTo>
                    <a:pt x="328917" y="197383"/>
                  </a:lnTo>
                  <a:close/>
                </a:path>
                <a:path w="544830" h="318770">
                  <a:moveTo>
                    <a:pt x="328955" y="224866"/>
                  </a:moveTo>
                  <a:lnTo>
                    <a:pt x="328168" y="224053"/>
                  </a:lnTo>
                  <a:lnTo>
                    <a:pt x="328193" y="224231"/>
                  </a:lnTo>
                  <a:lnTo>
                    <a:pt x="328955" y="224866"/>
                  </a:lnTo>
                  <a:close/>
                </a:path>
                <a:path w="544830" h="318770">
                  <a:moveTo>
                    <a:pt x="329501" y="229133"/>
                  </a:moveTo>
                  <a:lnTo>
                    <a:pt x="328993" y="226593"/>
                  </a:lnTo>
                  <a:lnTo>
                    <a:pt x="329412" y="229133"/>
                  </a:lnTo>
                  <a:close/>
                </a:path>
                <a:path w="544830" h="318770">
                  <a:moveTo>
                    <a:pt x="329641" y="231648"/>
                  </a:moveTo>
                  <a:lnTo>
                    <a:pt x="326796" y="229133"/>
                  </a:lnTo>
                  <a:lnTo>
                    <a:pt x="326288" y="229133"/>
                  </a:lnTo>
                  <a:lnTo>
                    <a:pt x="329641" y="231648"/>
                  </a:lnTo>
                  <a:close/>
                </a:path>
                <a:path w="544830" h="318770">
                  <a:moveTo>
                    <a:pt x="329946" y="152933"/>
                  </a:moveTo>
                  <a:lnTo>
                    <a:pt x="329069" y="150393"/>
                  </a:lnTo>
                  <a:lnTo>
                    <a:pt x="328244" y="147853"/>
                  </a:lnTo>
                  <a:lnTo>
                    <a:pt x="327456" y="145313"/>
                  </a:lnTo>
                  <a:lnTo>
                    <a:pt x="327406" y="144043"/>
                  </a:lnTo>
                  <a:lnTo>
                    <a:pt x="327164" y="144043"/>
                  </a:lnTo>
                  <a:lnTo>
                    <a:pt x="327266" y="145313"/>
                  </a:lnTo>
                  <a:lnTo>
                    <a:pt x="328917" y="150393"/>
                  </a:lnTo>
                  <a:lnTo>
                    <a:pt x="329806" y="152933"/>
                  </a:lnTo>
                  <a:lnTo>
                    <a:pt x="329946" y="152933"/>
                  </a:lnTo>
                  <a:close/>
                </a:path>
                <a:path w="544830" h="318770">
                  <a:moveTo>
                    <a:pt x="331635" y="205003"/>
                  </a:moveTo>
                  <a:lnTo>
                    <a:pt x="330314" y="199923"/>
                  </a:lnTo>
                  <a:lnTo>
                    <a:pt x="329692" y="197383"/>
                  </a:lnTo>
                  <a:lnTo>
                    <a:pt x="329501" y="196113"/>
                  </a:lnTo>
                  <a:lnTo>
                    <a:pt x="329196" y="196113"/>
                  </a:lnTo>
                  <a:lnTo>
                    <a:pt x="329399" y="197383"/>
                  </a:lnTo>
                  <a:lnTo>
                    <a:pt x="329628" y="197383"/>
                  </a:lnTo>
                  <a:lnTo>
                    <a:pt x="330898" y="202463"/>
                  </a:lnTo>
                  <a:lnTo>
                    <a:pt x="331584" y="205003"/>
                  </a:lnTo>
                  <a:close/>
                </a:path>
                <a:path w="544830" h="318770">
                  <a:moveTo>
                    <a:pt x="332968" y="227838"/>
                  </a:moveTo>
                  <a:lnTo>
                    <a:pt x="329933" y="229133"/>
                  </a:lnTo>
                  <a:lnTo>
                    <a:pt x="332968" y="227838"/>
                  </a:lnTo>
                  <a:close/>
                </a:path>
                <a:path w="544830" h="318770">
                  <a:moveTo>
                    <a:pt x="333222" y="211353"/>
                  </a:moveTo>
                  <a:lnTo>
                    <a:pt x="332765" y="208813"/>
                  </a:lnTo>
                  <a:lnTo>
                    <a:pt x="333184" y="211353"/>
                  </a:lnTo>
                  <a:close/>
                </a:path>
                <a:path w="544830" h="318770">
                  <a:moveTo>
                    <a:pt x="336588" y="207911"/>
                  </a:moveTo>
                  <a:lnTo>
                    <a:pt x="336321" y="207543"/>
                  </a:lnTo>
                  <a:lnTo>
                    <a:pt x="336473" y="207848"/>
                  </a:lnTo>
                  <a:close/>
                </a:path>
                <a:path w="544830" h="318770">
                  <a:moveTo>
                    <a:pt x="336740" y="221449"/>
                  </a:moveTo>
                  <a:lnTo>
                    <a:pt x="335508" y="217944"/>
                  </a:lnTo>
                  <a:lnTo>
                    <a:pt x="336080" y="220243"/>
                  </a:lnTo>
                  <a:lnTo>
                    <a:pt x="336740" y="221449"/>
                  </a:lnTo>
                  <a:close/>
                </a:path>
                <a:path w="544830" h="318770">
                  <a:moveTo>
                    <a:pt x="337235" y="223164"/>
                  </a:moveTo>
                  <a:lnTo>
                    <a:pt x="336804" y="221627"/>
                  </a:lnTo>
                  <a:lnTo>
                    <a:pt x="336740" y="221449"/>
                  </a:lnTo>
                  <a:lnTo>
                    <a:pt x="337235" y="223164"/>
                  </a:lnTo>
                  <a:close/>
                </a:path>
                <a:path w="544830" h="318770">
                  <a:moveTo>
                    <a:pt x="337299" y="245833"/>
                  </a:moveTo>
                  <a:lnTo>
                    <a:pt x="336080" y="244373"/>
                  </a:lnTo>
                  <a:lnTo>
                    <a:pt x="334200" y="240563"/>
                  </a:lnTo>
                  <a:lnTo>
                    <a:pt x="333387" y="239293"/>
                  </a:lnTo>
                  <a:lnTo>
                    <a:pt x="331647" y="235483"/>
                  </a:lnTo>
                  <a:lnTo>
                    <a:pt x="330746" y="232816"/>
                  </a:lnTo>
                  <a:lnTo>
                    <a:pt x="330377" y="231673"/>
                  </a:lnTo>
                  <a:lnTo>
                    <a:pt x="330771" y="232943"/>
                  </a:lnTo>
                  <a:lnTo>
                    <a:pt x="331609" y="235483"/>
                  </a:lnTo>
                  <a:lnTo>
                    <a:pt x="333336" y="239331"/>
                  </a:lnTo>
                  <a:lnTo>
                    <a:pt x="334124" y="240563"/>
                  </a:lnTo>
                  <a:lnTo>
                    <a:pt x="335064" y="243103"/>
                  </a:lnTo>
                  <a:lnTo>
                    <a:pt x="336029" y="244373"/>
                  </a:lnTo>
                  <a:lnTo>
                    <a:pt x="337096" y="245643"/>
                  </a:lnTo>
                  <a:lnTo>
                    <a:pt x="337299" y="245833"/>
                  </a:lnTo>
                  <a:close/>
                </a:path>
                <a:path w="544830" h="318770">
                  <a:moveTo>
                    <a:pt x="338429" y="225323"/>
                  </a:moveTo>
                  <a:lnTo>
                    <a:pt x="337527" y="224078"/>
                  </a:lnTo>
                  <a:lnTo>
                    <a:pt x="338378" y="225323"/>
                  </a:lnTo>
                  <a:lnTo>
                    <a:pt x="335394" y="226745"/>
                  </a:lnTo>
                  <a:lnTo>
                    <a:pt x="332968" y="227838"/>
                  </a:lnTo>
                  <a:lnTo>
                    <a:pt x="335749" y="226593"/>
                  </a:lnTo>
                  <a:lnTo>
                    <a:pt x="338429" y="225323"/>
                  </a:lnTo>
                  <a:close/>
                </a:path>
                <a:path w="544830" h="318770">
                  <a:moveTo>
                    <a:pt x="338975" y="226745"/>
                  </a:moveTo>
                  <a:lnTo>
                    <a:pt x="338924" y="226593"/>
                  </a:lnTo>
                  <a:lnTo>
                    <a:pt x="338442" y="225323"/>
                  </a:lnTo>
                  <a:lnTo>
                    <a:pt x="338975" y="226745"/>
                  </a:lnTo>
                  <a:close/>
                </a:path>
                <a:path w="544830" h="318770">
                  <a:moveTo>
                    <a:pt x="339140" y="248094"/>
                  </a:moveTo>
                  <a:lnTo>
                    <a:pt x="338493" y="246913"/>
                  </a:lnTo>
                  <a:lnTo>
                    <a:pt x="337299" y="245833"/>
                  </a:lnTo>
                  <a:lnTo>
                    <a:pt x="339140" y="248094"/>
                  </a:lnTo>
                  <a:close/>
                </a:path>
                <a:path w="544830" h="318770">
                  <a:moveTo>
                    <a:pt x="339229" y="248183"/>
                  </a:moveTo>
                  <a:close/>
                </a:path>
                <a:path w="544830" h="318770">
                  <a:moveTo>
                    <a:pt x="341210" y="230403"/>
                  </a:moveTo>
                  <a:lnTo>
                    <a:pt x="340880" y="229133"/>
                  </a:lnTo>
                  <a:lnTo>
                    <a:pt x="340601" y="229133"/>
                  </a:lnTo>
                  <a:lnTo>
                    <a:pt x="341210" y="230403"/>
                  </a:lnTo>
                  <a:close/>
                </a:path>
                <a:path w="544830" h="318770">
                  <a:moveTo>
                    <a:pt x="341566" y="228053"/>
                  </a:moveTo>
                  <a:lnTo>
                    <a:pt x="339813" y="226593"/>
                  </a:lnTo>
                  <a:lnTo>
                    <a:pt x="339852" y="226733"/>
                  </a:lnTo>
                  <a:lnTo>
                    <a:pt x="341566" y="228053"/>
                  </a:lnTo>
                  <a:close/>
                </a:path>
                <a:path w="544830" h="318770">
                  <a:moveTo>
                    <a:pt x="341680" y="174523"/>
                  </a:moveTo>
                  <a:lnTo>
                    <a:pt x="341045" y="173253"/>
                  </a:lnTo>
                  <a:lnTo>
                    <a:pt x="340829" y="173253"/>
                  </a:lnTo>
                  <a:lnTo>
                    <a:pt x="341426" y="174523"/>
                  </a:lnTo>
                  <a:lnTo>
                    <a:pt x="341680" y="174523"/>
                  </a:lnTo>
                  <a:close/>
                </a:path>
                <a:path w="544830" h="318770">
                  <a:moveTo>
                    <a:pt x="341820" y="249453"/>
                  </a:moveTo>
                  <a:lnTo>
                    <a:pt x="340029" y="248183"/>
                  </a:lnTo>
                  <a:lnTo>
                    <a:pt x="341820" y="249453"/>
                  </a:lnTo>
                  <a:close/>
                </a:path>
                <a:path w="544830" h="318770">
                  <a:moveTo>
                    <a:pt x="342595" y="231673"/>
                  </a:moveTo>
                  <a:lnTo>
                    <a:pt x="342049" y="230403"/>
                  </a:lnTo>
                  <a:lnTo>
                    <a:pt x="342595" y="231673"/>
                  </a:lnTo>
                  <a:close/>
                </a:path>
                <a:path w="544830" h="318770">
                  <a:moveTo>
                    <a:pt x="343636" y="232816"/>
                  </a:moveTo>
                  <a:lnTo>
                    <a:pt x="343560" y="231673"/>
                  </a:lnTo>
                  <a:lnTo>
                    <a:pt x="343636" y="232816"/>
                  </a:lnTo>
                  <a:close/>
                </a:path>
                <a:path w="544830" h="318770">
                  <a:moveTo>
                    <a:pt x="345579" y="248183"/>
                  </a:moveTo>
                  <a:lnTo>
                    <a:pt x="343738" y="248183"/>
                  </a:lnTo>
                  <a:lnTo>
                    <a:pt x="342836" y="249453"/>
                  </a:lnTo>
                  <a:lnTo>
                    <a:pt x="345579" y="248183"/>
                  </a:lnTo>
                  <a:close/>
                </a:path>
                <a:path w="544830" h="318770">
                  <a:moveTo>
                    <a:pt x="345909" y="174523"/>
                  </a:moveTo>
                  <a:lnTo>
                    <a:pt x="342900" y="174523"/>
                  </a:lnTo>
                  <a:lnTo>
                    <a:pt x="344614" y="175793"/>
                  </a:lnTo>
                  <a:lnTo>
                    <a:pt x="345909" y="174523"/>
                  </a:lnTo>
                  <a:close/>
                </a:path>
                <a:path w="544830" h="318770">
                  <a:moveTo>
                    <a:pt x="348043" y="245643"/>
                  </a:moveTo>
                  <a:lnTo>
                    <a:pt x="346887" y="246913"/>
                  </a:lnTo>
                  <a:lnTo>
                    <a:pt x="345579" y="248183"/>
                  </a:lnTo>
                  <a:lnTo>
                    <a:pt x="346913" y="246913"/>
                  </a:lnTo>
                  <a:lnTo>
                    <a:pt x="348043" y="245643"/>
                  </a:lnTo>
                  <a:close/>
                </a:path>
                <a:path w="544830" h="318770">
                  <a:moveTo>
                    <a:pt x="348653" y="221513"/>
                  </a:moveTo>
                  <a:lnTo>
                    <a:pt x="347560" y="220243"/>
                  </a:lnTo>
                  <a:lnTo>
                    <a:pt x="347002" y="218973"/>
                  </a:lnTo>
                  <a:lnTo>
                    <a:pt x="348475" y="217703"/>
                  </a:lnTo>
                  <a:lnTo>
                    <a:pt x="346938" y="218973"/>
                  </a:lnTo>
                  <a:lnTo>
                    <a:pt x="347459" y="220243"/>
                  </a:lnTo>
                  <a:lnTo>
                    <a:pt x="348564" y="221513"/>
                  </a:lnTo>
                  <a:close/>
                </a:path>
                <a:path w="544830" h="318770">
                  <a:moveTo>
                    <a:pt x="349224" y="240563"/>
                  </a:moveTo>
                  <a:lnTo>
                    <a:pt x="348310" y="239293"/>
                  </a:lnTo>
                  <a:lnTo>
                    <a:pt x="349224" y="240563"/>
                  </a:lnTo>
                  <a:close/>
                </a:path>
                <a:path w="544830" h="318770">
                  <a:moveTo>
                    <a:pt x="351104" y="257073"/>
                  </a:moveTo>
                  <a:lnTo>
                    <a:pt x="350520" y="256667"/>
                  </a:lnTo>
                  <a:lnTo>
                    <a:pt x="351104" y="257073"/>
                  </a:lnTo>
                  <a:close/>
                </a:path>
                <a:path w="544830" h="318770">
                  <a:moveTo>
                    <a:pt x="351282" y="284035"/>
                  </a:moveTo>
                  <a:lnTo>
                    <a:pt x="348665" y="285013"/>
                  </a:lnTo>
                  <a:lnTo>
                    <a:pt x="349681" y="285013"/>
                  </a:lnTo>
                  <a:lnTo>
                    <a:pt x="351282" y="284035"/>
                  </a:lnTo>
                  <a:close/>
                </a:path>
                <a:path w="544830" h="318770">
                  <a:moveTo>
                    <a:pt x="351282" y="257251"/>
                  </a:moveTo>
                  <a:lnTo>
                    <a:pt x="351243" y="257073"/>
                  </a:lnTo>
                  <a:lnTo>
                    <a:pt x="351282" y="257251"/>
                  </a:lnTo>
                  <a:close/>
                </a:path>
                <a:path w="544830" h="318770">
                  <a:moveTo>
                    <a:pt x="351396" y="215163"/>
                  </a:moveTo>
                  <a:lnTo>
                    <a:pt x="350443" y="216014"/>
                  </a:lnTo>
                  <a:lnTo>
                    <a:pt x="351396" y="215201"/>
                  </a:lnTo>
                  <a:close/>
                </a:path>
                <a:path w="544830" h="318770">
                  <a:moveTo>
                    <a:pt x="351459" y="229133"/>
                  </a:moveTo>
                  <a:lnTo>
                    <a:pt x="351269" y="227863"/>
                  </a:lnTo>
                  <a:lnTo>
                    <a:pt x="351002" y="227863"/>
                  </a:lnTo>
                  <a:lnTo>
                    <a:pt x="351231" y="229133"/>
                  </a:lnTo>
                  <a:lnTo>
                    <a:pt x="351459" y="229133"/>
                  </a:lnTo>
                  <a:close/>
                </a:path>
                <a:path w="544830" h="318770">
                  <a:moveTo>
                    <a:pt x="352171" y="260502"/>
                  </a:moveTo>
                  <a:lnTo>
                    <a:pt x="351701" y="258635"/>
                  </a:lnTo>
                  <a:lnTo>
                    <a:pt x="351866" y="259613"/>
                  </a:lnTo>
                  <a:lnTo>
                    <a:pt x="352171" y="260502"/>
                  </a:lnTo>
                  <a:close/>
                </a:path>
                <a:path w="544830" h="318770">
                  <a:moveTo>
                    <a:pt x="352310" y="260883"/>
                  </a:moveTo>
                  <a:lnTo>
                    <a:pt x="352171" y="260502"/>
                  </a:lnTo>
                  <a:lnTo>
                    <a:pt x="352272" y="260883"/>
                  </a:lnTo>
                  <a:close/>
                </a:path>
                <a:path w="544830" h="318770">
                  <a:moveTo>
                    <a:pt x="352361" y="220243"/>
                  </a:moveTo>
                  <a:lnTo>
                    <a:pt x="351739" y="216433"/>
                  </a:lnTo>
                  <a:lnTo>
                    <a:pt x="351434" y="215163"/>
                  </a:lnTo>
                  <a:lnTo>
                    <a:pt x="351993" y="218973"/>
                  </a:lnTo>
                  <a:lnTo>
                    <a:pt x="352323" y="220243"/>
                  </a:lnTo>
                  <a:lnTo>
                    <a:pt x="351853" y="220243"/>
                  </a:lnTo>
                  <a:lnTo>
                    <a:pt x="351345" y="221513"/>
                  </a:lnTo>
                  <a:lnTo>
                    <a:pt x="351904" y="221513"/>
                  </a:lnTo>
                  <a:lnTo>
                    <a:pt x="352361" y="220243"/>
                  </a:lnTo>
                  <a:close/>
                </a:path>
                <a:path w="544830" h="318770">
                  <a:moveTo>
                    <a:pt x="352704" y="262153"/>
                  </a:moveTo>
                  <a:lnTo>
                    <a:pt x="352602" y="260883"/>
                  </a:lnTo>
                  <a:lnTo>
                    <a:pt x="352374" y="260883"/>
                  </a:lnTo>
                  <a:lnTo>
                    <a:pt x="352704" y="262153"/>
                  </a:lnTo>
                  <a:close/>
                </a:path>
                <a:path w="544830" h="318770">
                  <a:moveTo>
                    <a:pt x="352882" y="210083"/>
                  </a:moveTo>
                  <a:lnTo>
                    <a:pt x="352869" y="208813"/>
                  </a:lnTo>
                  <a:lnTo>
                    <a:pt x="352717" y="208813"/>
                  </a:lnTo>
                  <a:lnTo>
                    <a:pt x="352602" y="206273"/>
                  </a:lnTo>
                  <a:lnTo>
                    <a:pt x="352437" y="206273"/>
                  </a:lnTo>
                  <a:lnTo>
                    <a:pt x="352437" y="205003"/>
                  </a:lnTo>
                  <a:lnTo>
                    <a:pt x="352374" y="206273"/>
                  </a:lnTo>
                  <a:lnTo>
                    <a:pt x="352221" y="206273"/>
                  </a:lnTo>
                  <a:lnTo>
                    <a:pt x="352120" y="207302"/>
                  </a:lnTo>
                  <a:lnTo>
                    <a:pt x="352094" y="208813"/>
                  </a:lnTo>
                  <a:lnTo>
                    <a:pt x="351929" y="208813"/>
                  </a:lnTo>
                  <a:lnTo>
                    <a:pt x="351929" y="210083"/>
                  </a:lnTo>
                  <a:lnTo>
                    <a:pt x="352221" y="210083"/>
                  </a:lnTo>
                  <a:lnTo>
                    <a:pt x="352094" y="211353"/>
                  </a:lnTo>
                  <a:lnTo>
                    <a:pt x="352094" y="212623"/>
                  </a:lnTo>
                  <a:lnTo>
                    <a:pt x="352374" y="212623"/>
                  </a:lnTo>
                  <a:lnTo>
                    <a:pt x="352221" y="213893"/>
                  </a:lnTo>
                  <a:lnTo>
                    <a:pt x="352094" y="213893"/>
                  </a:lnTo>
                  <a:lnTo>
                    <a:pt x="352094" y="215163"/>
                  </a:lnTo>
                  <a:lnTo>
                    <a:pt x="352374" y="215163"/>
                  </a:lnTo>
                  <a:lnTo>
                    <a:pt x="352374" y="216433"/>
                  </a:lnTo>
                  <a:lnTo>
                    <a:pt x="352437" y="215163"/>
                  </a:lnTo>
                  <a:lnTo>
                    <a:pt x="352717" y="215163"/>
                  </a:lnTo>
                  <a:lnTo>
                    <a:pt x="352717" y="213893"/>
                  </a:lnTo>
                  <a:lnTo>
                    <a:pt x="352437" y="212623"/>
                  </a:lnTo>
                  <a:lnTo>
                    <a:pt x="352717" y="212623"/>
                  </a:lnTo>
                  <a:lnTo>
                    <a:pt x="352602" y="210083"/>
                  </a:lnTo>
                  <a:lnTo>
                    <a:pt x="352882" y="210083"/>
                  </a:lnTo>
                  <a:close/>
                </a:path>
                <a:path w="544830" h="318770">
                  <a:moveTo>
                    <a:pt x="353009" y="164185"/>
                  </a:moveTo>
                  <a:lnTo>
                    <a:pt x="352907" y="164363"/>
                  </a:lnTo>
                  <a:lnTo>
                    <a:pt x="352082" y="166903"/>
                  </a:lnTo>
                  <a:lnTo>
                    <a:pt x="351942" y="167233"/>
                  </a:lnTo>
                  <a:lnTo>
                    <a:pt x="352196" y="166903"/>
                  </a:lnTo>
                  <a:lnTo>
                    <a:pt x="353009" y="164185"/>
                  </a:lnTo>
                  <a:close/>
                </a:path>
                <a:path w="544830" h="318770">
                  <a:moveTo>
                    <a:pt x="354126" y="264922"/>
                  </a:moveTo>
                  <a:lnTo>
                    <a:pt x="354025" y="264693"/>
                  </a:lnTo>
                  <a:lnTo>
                    <a:pt x="353771" y="264528"/>
                  </a:lnTo>
                  <a:lnTo>
                    <a:pt x="353809" y="264693"/>
                  </a:lnTo>
                  <a:lnTo>
                    <a:pt x="354126" y="264922"/>
                  </a:lnTo>
                  <a:close/>
                </a:path>
                <a:path w="544830" h="318770">
                  <a:moveTo>
                    <a:pt x="354368" y="233464"/>
                  </a:moveTo>
                  <a:lnTo>
                    <a:pt x="353656" y="233464"/>
                  </a:lnTo>
                  <a:lnTo>
                    <a:pt x="353860" y="234073"/>
                  </a:lnTo>
                  <a:lnTo>
                    <a:pt x="354368" y="233464"/>
                  </a:lnTo>
                  <a:close/>
                </a:path>
                <a:path w="544830" h="318770">
                  <a:moveTo>
                    <a:pt x="354799" y="265963"/>
                  </a:moveTo>
                  <a:lnTo>
                    <a:pt x="354444" y="265150"/>
                  </a:lnTo>
                  <a:lnTo>
                    <a:pt x="354317" y="264934"/>
                  </a:lnTo>
                  <a:lnTo>
                    <a:pt x="354241" y="264693"/>
                  </a:lnTo>
                  <a:lnTo>
                    <a:pt x="354063" y="264693"/>
                  </a:lnTo>
                  <a:lnTo>
                    <a:pt x="354126" y="264922"/>
                  </a:lnTo>
                  <a:lnTo>
                    <a:pt x="354431" y="265963"/>
                  </a:lnTo>
                  <a:lnTo>
                    <a:pt x="354799" y="265963"/>
                  </a:lnTo>
                  <a:close/>
                </a:path>
                <a:path w="544830" h="318770">
                  <a:moveTo>
                    <a:pt x="355117" y="265633"/>
                  </a:moveTo>
                  <a:lnTo>
                    <a:pt x="354355" y="264960"/>
                  </a:lnTo>
                  <a:lnTo>
                    <a:pt x="354444" y="265150"/>
                  </a:lnTo>
                  <a:lnTo>
                    <a:pt x="355117" y="265633"/>
                  </a:lnTo>
                  <a:close/>
                </a:path>
                <a:path w="544830" h="318770">
                  <a:moveTo>
                    <a:pt x="358343" y="272313"/>
                  </a:moveTo>
                  <a:lnTo>
                    <a:pt x="357035" y="269773"/>
                  </a:lnTo>
                  <a:lnTo>
                    <a:pt x="358343" y="272313"/>
                  </a:lnTo>
                  <a:close/>
                </a:path>
                <a:path w="544830" h="318770">
                  <a:moveTo>
                    <a:pt x="358533" y="236804"/>
                  </a:moveTo>
                  <a:lnTo>
                    <a:pt x="357593" y="237756"/>
                  </a:lnTo>
                  <a:lnTo>
                    <a:pt x="357720" y="238023"/>
                  </a:lnTo>
                  <a:lnTo>
                    <a:pt x="358533" y="236804"/>
                  </a:lnTo>
                  <a:close/>
                </a:path>
                <a:path w="544830" h="318770">
                  <a:moveTo>
                    <a:pt x="359041" y="178333"/>
                  </a:moveTo>
                  <a:lnTo>
                    <a:pt x="358076" y="175793"/>
                  </a:lnTo>
                  <a:lnTo>
                    <a:pt x="357619" y="174523"/>
                  </a:lnTo>
                  <a:lnTo>
                    <a:pt x="357974" y="175793"/>
                  </a:lnTo>
                  <a:lnTo>
                    <a:pt x="358978" y="178333"/>
                  </a:lnTo>
                  <a:close/>
                </a:path>
                <a:path w="544830" h="318770">
                  <a:moveTo>
                    <a:pt x="359854" y="273583"/>
                  </a:moveTo>
                  <a:lnTo>
                    <a:pt x="359333" y="272313"/>
                  </a:lnTo>
                  <a:lnTo>
                    <a:pt x="359854" y="273583"/>
                  </a:lnTo>
                  <a:close/>
                </a:path>
                <a:path w="544830" h="318770">
                  <a:moveTo>
                    <a:pt x="360133" y="183413"/>
                  </a:moveTo>
                  <a:lnTo>
                    <a:pt x="359956" y="183413"/>
                  </a:lnTo>
                  <a:lnTo>
                    <a:pt x="359943" y="180873"/>
                  </a:lnTo>
                  <a:lnTo>
                    <a:pt x="359956" y="179603"/>
                  </a:lnTo>
                  <a:lnTo>
                    <a:pt x="359956" y="175793"/>
                  </a:lnTo>
                  <a:lnTo>
                    <a:pt x="359168" y="175793"/>
                  </a:lnTo>
                  <a:lnTo>
                    <a:pt x="359168" y="177673"/>
                  </a:lnTo>
                  <a:lnTo>
                    <a:pt x="359168" y="183413"/>
                  </a:lnTo>
                  <a:lnTo>
                    <a:pt x="359003" y="183413"/>
                  </a:lnTo>
                  <a:lnTo>
                    <a:pt x="359003" y="188493"/>
                  </a:lnTo>
                  <a:lnTo>
                    <a:pt x="360133" y="188493"/>
                  </a:lnTo>
                  <a:lnTo>
                    <a:pt x="360133" y="183413"/>
                  </a:lnTo>
                  <a:close/>
                </a:path>
                <a:path w="544830" h="318770">
                  <a:moveTo>
                    <a:pt x="360972" y="274853"/>
                  </a:moveTo>
                  <a:lnTo>
                    <a:pt x="359867" y="273583"/>
                  </a:lnTo>
                  <a:lnTo>
                    <a:pt x="360972" y="274853"/>
                  </a:lnTo>
                  <a:close/>
                </a:path>
                <a:path w="544830" h="318770">
                  <a:moveTo>
                    <a:pt x="361569" y="248183"/>
                  </a:moveTo>
                  <a:lnTo>
                    <a:pt x="359638" y="244373"/>
                  </a:lnTo>
                  <a:lnTo>
                    <a:pt x="360540" y="246913"/>
                  </a:lnTo>
                  <a:lnTo>
                    <a:pt x="361569" y="248183"/>
                  </a:lnTo>
                  <a:close/>
                </a:path>
                <a:path w="544830" h="318770">
                  <a:moveTo>
                    <a:pt x="363664" y="188493"/>
                  </a:moveTo>
                  <a:lnTo>
                    <a:pt x="362305" y="185953"/>
                  </a:lnTo>
                  <a:lnTo>
                    <a:pt x="363664" y="188493"/>
                  </a:lnTo>
                  <a:close/>
                </a:path>
                <a:path w="544830" h="318770">
                  <a:moveTo>
                    <a:pt x="363829" y="226593"/>
                  </a:moveTo>
                  <a:lnTo>
                    <a:pt x="362267" y="227990"/>
                  </a:lnTo>
                  <a:lnTo>
                    <a:pt x="363778" y="226745"/>
                  </a:lnTo>
                  <a:lnTo>
                    <a:pt x="363829" y="226593"/>
                  </a:lnTo>
                  <a:close/>
                </a:path>
                <a:path w="544830" h="318770">
                  <a:moveTo>
                    <a:pt x="364210" y="257251"/>
                  </a:moveTo>
                  <a:lnTo>
                    <a:pt x="364172" y="256984"/>
                  </a:lnTo>
                  <a:lnTo>
                    <a:pt x="360286" y="254533"/>
                  </a:lnTo>
                  <a:lnTo>
                    <a:pt x="360324" y="254673"/>
                  </a:lnTo>
                  <a:lnTo>
                    <a:pt x="364109" y="257429"/>
                  </a:lnTo>
                  <a:lnTo>
                    <a:pt x="364210" y="257251"/>
                  </a:lnTo>
                  <a:close/>
                </a:path>
                <a:path w="544830" h="318770">
                  <a:moveTo>
                    <a:pt x="365023" y="251993"/>
                  </a:moveTo>
                  <a:lnTo>
                    <a:pt x="362712" y="250723"/>
                  </a:lnTo>
                  <a:lnTo>
                    <a:pt x="364261" y="251993"/>
                  </a:lnTo>
                  <a:lnTo>
                    <a:pt x="365023" y="251993"/>
                  </a:lnTo>
                  <a:close/>
                </a:path>
                <a:path w="544830" h="318770">
                  <a:moveTo>
                    <a:pt x="365975" y="253263"/>
                  </a:moveTo>
                  <a:lnTo>
                    <a:pt x="365074" y="252031"/>
                  </a:lnTo>
                  <a:lnTo>
                    <a:pt x="365975" y="253263"/>
                  </a:lnTo>
                  <a:close/>
                </a:path>
                <a:path w="544830" h="318770">
                  <a:moveTo>
                    <a:pt x="366001" y="205003"/>
                  </a:moveTo>
                  <a:lnTo>
                    <a:pt x="363829" y="198653"/>
                  </a:lnTo>
                  <a:lnTo>
                    <a:pt x="362724" y="192303"/>
                  </a:lnTo>
                  <a:lnTo>
                    <a:pt x="362381" y="187223"/>
                  </a:lnTo>
                  <a:lnTo>
                    <a:pt x="362280" y="185953"/>
                  </a:lnTo>
                  <a:lnTo>
                    <a:pt x="362140" y="184683"/>
                  </a:lnTo>
                  <a:lnTo>
                    <a:pt x="361035" y="183413"/>
                  </a:lnTo>
                  <a:lnTo>
                    <a:pt x="360121" y="180873"/>
                  </a:lnTo>
                  <a:lnTo>
                    <a:pt x="360946" y="183413"/>
                  </a:lnTo>
                  <a:lnTo>
                    <a:pt x="362127" y="185953"/>
                  </a:lnTo>
                  <a:lnTo>
                    <a:pt x="361149" y="192303"/>
                  </a:lnTo>
                  <a:lnTo>
                    <a:pt x="360095" y="198653"/>
                  </a:lnTo>
                  <a:lnTo>
                    <a:pt x="358559" y="205003"/>
                  </a:lnTo>
                  <a:lnTo>
                    <a:pt x="358063" y="207543"/>
                  </a:lnTo>
                  <a:lnTo>
                    <a:pt x="357619" y="208813"/>
                  </a:lnTo>
                  <a:lnTo>
                    <a:pt x="356489" y="212623"/>
                  </a:lnTo>
                  <a:lnTo>
                    <a:pt x="355765" y="215201"/>
                  </a:lnTo>
                  <a:lnTo>
                    <a:pt x="354406" y="217703"/>
                  </a:lnTo>
                  <a:lnTo>
                    <a:pt x="353872" y="218973"/>
                  </a:lnTo>
                  <a:lnTo>
                    <a:pt x="352983" y="220243"/>
                  </a:lnTo>
                  <a:lnTo>
                    <a:pt x="353999" y="218973"/>
                  </a:lnTo>
                  <a:lnTo>
                    <a:pt x="354533" y="217703"/>
                  </a:lnTo>
                  <a:lnTo>
                    <a:pt x="355904" y="215163"/>
                  </a:lnTo>
                  <a:lnTo>
                    <a:pt x="356603" y="212623"/>
                  </a:lnTo>
                  <a:lnTo>
                    <a:pt x="357746" y="208813"/>
                  </a:lnTo>
                  <a:lnTo>
                    <a:pt x="358190" y="207543"/>
                  </a:lnTo>
                  <a:lnTo>
                    <a:pt x="358609" y="205003"/>
                  </a:lnTo>
                  <a:lnTo>
                    <a:pt x="360197" y="198653"/>
                  </a:lnTo>
                  <a:lnTo>
                    <a:pt x="361226" y="192303"/>
                  </a:lnTo>
                  <a:lnTo>
                    <a:pt x="362191" y="186004"/>
                  </a:lnTo>
                  <a:lnTo>
                    <a:pt x="362623" y="192303"/>
                  </a:lnTo>
                  <a:lnTo>
                    <a:pt x="363740" y="198653"/>
                  </a:lnTo>
                  <a:lnTo>
                    <a:pt x="365925" y="205003"/>
                  </a:lnTo>
                  <a:close/>
                </a:path>
                <a:path w="544830" h="318770">
                  <a:moveTo>
                    <a:pt x="366128" y="205295"/>
                  </a:moveTo>
                  <a:lnTo>
                    <a:pt x="366102" y="205003"/>
                  </a:lnTo>
                  <a:lnTo>
                    <a:pt x="366128" y="205295"/>
                  </a:lnTo>
                  <a:close/>
                </a:path>
                <a:path w="544830" h="318770">
                  <a:moveTo>
                    <a:pt x="366661" y="207302"/>
                  </a:moveTo>
                  <a:lnTo>
                    <a:pt x="366522" y="206273"/>
                  </a:lnTo>
                  <a:lnTo>
                    <a:pt x="366128" y="205295"/>
                  </a:lnTo>
                  <a:lnTo>
                    <a:pt x="366255" y="206273"/>
                  </a:lnTo>
                  <a:lnTo>
                    <a:pt x="366661" y="207302"/>
                  </a:lnTo>
                  <a:close/>
                </a:path>
                <a:path w="544830" h="318770">
                  <a:moveTo>
                    <a:pt x="366763" y="207543"/>
                  </a:moveTo>
                  <a:lnTo>
                    <a:pt x="366661" y="207302"/>
                  </a:lnTo>
                  <a:lnTo>
                    <a:pt x="366699" y="207543"/>
                  </a:lnTo>
                  <a:close/>
                </a:path>
                <a:path w="544830" h="318770">
                  <a:moveTo>
                    <a:pt x="368769" y="211353"/>
                  </a:moveTo>
                  <a:lnTo>
                    <a:pt x="368223" y="210083"/>
                  </a:lnTo>
                  <a:lnTo>
                    <a:pt x="367741" y="208813"/>
                  </a:lnTo>
                  <a:lnTo>
                    <a:pt x="368198" y="210083"/>
                  </a:lnTo>
                  <a:lnTo>
                    <a:pt x="368769" y="211353"/>
                  </a:lnTo>
                  <a:close/>
                </a:path>
                <a:path w="544830" h="318770">
                  <a:moveTo>
                    <a:pt x="370636" y="249453"/>
                  </a:moveTo>
                  <a:lnTo>
                    <a:pt x="369112" y="251955"/>
                  </a:lnTo>
                  <a:lnTo>
                    <a:pt x="369290" y="251688"/>
                  </a:lnTo>
                  <a:lnTo>
                    <a:pt x="370636" y="249453"/>
                  </a:lnTo>
                  <a:close/>
                </a:path>
                <a:path w="544830" h="318770">
                  <a:moveTo>
                    <a:pt x="371246" y="245643"/>
                  </a:moveTo>
                  <a:lnTo>
                    <a:pt x="370979" y="246913"/>
                  </a:lnTo>
                  <a:lnTo>
                    <a:pt x="370636" y="249453"/>
                  </a:lnTo>
                  <a:lnTo>
                    <a:pt x="370992" y="246913"/>
                  </a:lnTo>
                  <a:lnTo>
                    <a:pt x="371246" y="245643"/>
                  </a:lnTo>
                  <a:close/>
                </a:path>
                <a:path w="544830" h="318770">
                  <a:moveTo>
                    <a:pt x="371551" y="198653"/>
                  </a:moveTo>
                  <a:lnTo>
                    <a:pt x="369290" y="197383"/>
                  </a:lnTo>
                  <a:lnTo>
                    <a:pt x="367004" y="193573"/>
                  </a:lnTo>
                  <a:lnTo>
                    <a:pt x="365163" y="191033"/>
                  </a:lnTo>
                  <a:lnTo>
                    <a:pt x="363664" y="188493"/>
                  </a:lnTo>
                  <a:lnTo>
                    <a:pt x="365137" y="191033"/>
                  </a:lnTo>
                  <a:lnTo>
                    <a:pt x="366941" y="193573"/>
                  </a:lnTo>
                  <a:lnTo>
                    <a:pt x="369239" y="197383"/>
                  </a:lnTo>
                  <a:lnTo>
                    <a:pt x="371513" y="198653"/>
                  </a:lnTo>
                  <a:close/>
                </a:path>
                <a:path w="544830" h="318770">
                  <a:moveTo>
                    <a:pt x="371690" y="239293"/>
                  </a:moveTo>
                  <a:lnTo>
                    <a:pt x="371678" y="238023"/>
                  </a:lnTo>
                  <a:lnTo>
                    <a:pt x="371551" y="238023"/>
                  </a:lnTo>
                  <a:lnTo>
                    <a:pt x="371449" y="236753"/>
                  </a:lnTo>
                  <a:lnTo>
                    <a:pt x="371309" y="236753"/>
                  </a:lnTo>
                  <a:lnTo>
                    <a:pt x="371309" y="235483"/>
                  </a:lnTo>
                  <a:lnTo>
                    <a:pt x="371246" y="236753"/>
                  </a:lnTo>
                  <a:lnTo>
                    <a:pt x="371119" y="236753"/>
                  </a:lnTo>
                  <a:lnTo>
                    <a:pt x="371005" y="238023"/>
                  </a:lnTo>
                  <a:lnTo>
                    <a:pt x="370865" y="238023"/>
                  </a:lnTo>
                  <a:lnTo>
                    <a:pt x="370865" y="239293"/>
                  </a:lnTo>
                  <a:lnTo>
                    <a:pt x="371005" y="239293"/>
                  </a:lnTo>
                  <a:lnTo>
                    <a:pt x="371005" y="240563"/>
                  </a:lnTo>
                  <a:lnTo>
                    <a:pt x="371246" y="240563"/>
                  </a:lnTo>
                  <a:lnTo>
                    <a:pt x="371119" y="241833"/>
                  </a:lnTo>
                  <a:lnTo>
                    <a:pt x="371005" y="243103"/>
                  </a:lnTo>
                  <a:lnTo>
                    <a:pt x="371005" y="244373"/>
                  </a:lnTo>
                  <a:lnTo>
                    <a:pt x="371246" y="244373"/>
                  </a:lnTo>
                  <a:lnTo>
                    <a:pt x="371246" y="245643"/>
                  </a:lnTo>
                  <a:lnTo>
                    <a:pt x="371309" y="244373"/>
                  </a:lnTo>
                  <a:lnTo>
                    <a:pt x="371551" y="244373"/>
                  </a:lnTo>
                  <a:lnTo>
                    <a:pt x="371449" y="243103"/>
                  </a:lnTo>
                  <a:lnTo>
                    <a:pt x="371551" y="241833"/>
                  </a:lnTo>
                  <a:lnTo>
                    <a:pt x="371309" y="240563"/>
                  </a:lnTo>
                  <a:lnTo>
                    <a:pt x="371551" y="240563"/>
                  </a:lnTo>
                  <a:lnTo>
                    <a:pt x="371551" y="239293"/>
                  </a:lnTo>
                  <a:lnTo>
                    <a:pt x="371690" y="239293"/>
                  </a:lnTo>
                  <a:close/>
                </a:path>
                <a:path w="544830" h="318770">
                  <a:moveTo>
                    <a:pt x="374027" y="65062"/>
                  </a:moveTo>
                  <a:lnTo>
                    <a:pt x="373164" y="64770"/>
                  </a:lnTo>
                  <a:lnTo>
                    <a:pt x="372554" y="65252"/>
                  </a:lnTo>
                  <a:lnTo>
                    <a:pt x="374027" y="65062"/>
                  </a:lnTo>
                  <a:close/>
                </a:path>
                <a:path w="544830" h="318770">
                  <a:moveTo>
                    <a:pt x="374167" y="194843"/>
                  </a:moveTo>
                  <a:lnTo>
                    <a:pt x="373989" y="194843"/>
                  </a:lnTo>
                  <a:lnTo>
                    <a:pt x="372910" y="198653"/>
                  </a:lnTo>
                  <a:lnTo>
                    <a:pt x="370776" y="205003"/>
                  </a:lnTo>
                  <a:lnTo>
                    <a:pt x="370611" y="205003"/>
                  </a:lnTo>
                  <a:lnTo>
                    <a:pt x="368782" y="211353"/>
                  </a:lnTo>
                  <a:lnTo>
                    <a:pt x="368249" y="212623"/>
                  </a:lnTo>
                  <a:lnTo>
                    <a:pt x="365607" y="210083"/>
                  </a:lnTo>
                  <a:lnTo>
                    <a:pt x="367220" y="208813"/>
                  </a:lnTo>
                  <a:lnTo>
                    <a:pt x="370611" y="205003"/>
                  </a:lnTo>
                  <a:lnTo>
                    <a:pt x="370471" y="205003"/>
                  </a:lnTo>
                  <a:lnTo>
                    <a:pt x="367169" y="207543"/>
                  </a:lnTo>
                  <a:lnTo>
                    <a:pt x="365429" y="208813"/>
                  </a:lnTo>
                  <a:lnTo>
                    <a:pt x="362267" y="205003"/>
                  </a:lnTo>
                  <a:lnTo>
                    <a:pt x="361924" y="205003"/>
                  </a:lnTo>
                  <a:lnTo>
                    <a:pt x="368147" y="213893"/>
                  </a:lnTo>
                  <a:lnTo>
                    <a:pt x="368554" y="212623"/>
                  </a:lnTo>
                  <a:lnTo>
                    <a:pt x="368947" y="211353"/>
                  </a:lnTo>
                  <a:lnTo>
                    <a:pt x="369874" y="212623"/>
                  </a:lnTo>
                  <a:lnTo>
                    <a:pt x="370941" y="215163"/>
                  </a:lnTo>
                  <a:lnTo>
                    <a:pt x="372364" y="216433"/>
                  </a:lnTo>
                  <a:lnTo>
                    <a:pt x="373113" y="216433"/>
                  </a:lnTo>
                  <a:lnTo>
                    <a:pt x="370967" y="215163"/>
                  </a:lnTo>
                  <a:lnTo>
                    <a:pt x="369900" y="212623"/>
                  </a:lnTo>
                  <a:lnTo>
                    <a:pt x="368973" y="211353"/>
                  </a:lnTo>
                  <a:lnTo>
                    <a:pt x="370979" y="205003"/>
                  </a:lnTo>
                  <a:lnTo>
                    <a:pt x="373214" y="198653"/>
                  </a:lnTo>
                  <a:lnTo>
                    <a:pt x="374167" y="194843"/>
                  </a:lnTo>
                  <a:close/>
                </a:path>
                <a:path w="544830" h="318770">
                  <a:moveTo>
                    <a:pt x="374840" y="194843"/>
                  </a:moveTo>
                  <a:lnTo>
                    <a:pt x="374548" y="194843"/>
                  </a:lnTo>
                  <a:lnTo>
                    <a:pt x="374319" y="196113"/>
                  </a:lnTo>
                  <a:lnTo>
                    <a:pt x="374586" y="196113"/>
                  </a:lnTo>
                  <a:lnTo>
                    <a:pt x="374840" y="194843"/>
                  </a:lnTo>
                  <a:close/>
                </a:path>
                <a:path w="544830" h="318770">
                  <a:moveTo>
                    <a:pt x="374929" y="196113"/>
                  </a:moveTo>
                  <a:lnTo>
                    <a:pt x="374434" y="197383"/>
                  </a:lnTo>
                  <a:lnTo>
                    <a:pt x="373519" y="198653"/>
                  </a:lnTo>
                  <a:lnTo>
                    <a:pt x="374446" y="197383"/>
                  </a:lnTo>
                  <a:lnTo>
                    <a:pt x="374929" y="196113"/>
                  </a:lnTo>
                  <a:close/>
                </a:path>
                <a:path w="544830" h="318770">
                  <a:moveTo>
                    <a:pt x="375742" y="264693"/>
                  </a:moveTo>
                  <a:lnTo>
                    <a:pt x="375526" y="264337"/>
                  </a:lnTo>
                  <a:lnTo>
                    <a:pt x="373684" y="265938"/>
                  </a:lnTo>
                  <a:lnTo>
                    <a:pt x="375742" y="264693"/>
                  </a:lnTo>
                  <a:close/>
                </a:path>
                <a:path w="544830" h="318770">
                  <a:moveTo>
                    <a:pt x="376656" y="205003"/>
                  </a:moveTo>
                  <a:lnTo>
                    <a:pt x="376148" y="202463"/>
                  </a:lnTo>
                  <a:lnTo>
                    <a:pt x="375704" y="198653"/>
                  </a:lnTo>
                  <a:lnTo>
                    <a:pt x="375348" y="196113"/>
                  </a:lnTo>
                  <a:lnTo>
                    <a:pt x="375666" y="198653"/>
                  </a:lnTo>
                  <a:lnTo>
                    <a:pt x="376097" y="202463"/>
                  </a:lnTo>
                  <a:lnTo>
                    <a:pt x="376618" y="205003"/>
                  </a:lnTo>
                  <a:close/>
                </a:path>
                <a:path w="544830" h="318770">
                  <a:moveTo>
                    <a:pt x="377863" y="215163"/>
                  </a:moveTo>
                  <a:lnTo>
                    <a:pt x="376682" y="216433"/>
                  </a:lnTo>
                  <a:lnTo>
                    <a:pt x="377380" y="216433"/>
                  </a:lnTo>
                  <a:lnTo>
                    <a:pt x="377863" y="215163"/>
                  </a:lnTo>
                  <a:close/>
                </a:path>
                <a:path w="544830" h="318770">
                  <a:moveTo>
                    <a:pt x="378587" y="213893"/>
                  </a:moveTo>
                  <a:lnTo>
                    <a:pt x="377863" y="211353"/>
                  </a:lnTo>
                  <a:lnTo>
                    <a:pt x="377228" y="208813"/>
                  </a:lnTo>
                  <a:lnTo>
                    <a:pt x="376707" y="205003"/>
                  </a:lnTo>
                  <a:lnTo>
                    <a:pt x="377190" y="208813"/>
                  </a:lnTo>
                  <a:lnTo>
                    <a:pt x="377825" y="211353"/>
                  </a:lnTo>
                  <a:lnTo>
                    <a:pt x="378587" y="213893"/>
                  </a:lnTo>
                  <a:close/>
                </a:path>
                <a:path w="544830" h="318770">
                  <a:moveTo>
                    <a:pt x="378599" y="213893"/>
                  </a:moveTo>
                  <a:lnTo>
                    <a:pt x="378244" y="215163"/>
                  </a:lnTo>
                  <a:lnTo>
                    <a:pt x="378599" y="213893"/>
                  </a:lnTo>
                  <a:close/>
                </a:path>
                <a:path w="544830" h="318770">
                  <a:moveTo>
                    <a:pt x="379577" y="211353"/>
                  </a:moveTo>
                  <a:lnTo>
                    <a:pt x="379412" y="211353"/>
                  </a:lnTo>
                  <a:lnTo>
                    <a:pt x="379412" y="210083"/>
                  </a:lnTo>
                  <a:lnTo>
                    <a:pt x="379285" y="208813"/>
                  </a:lnTo>
                  <a:lnTo>
                    <a:pt x="379412" y="208813"/>
                  </a:lnTo>
                  <a:lnTo>
                    <a:pt x="379412" y="206273"/>
                  </a:lnTo>
                  <a:lnTo>
                    <a:pt x="378777" y="206273"/>
                  </a:lnTo>
                  <a:lnTo>
                    <a:pt x="378777" y="208813"/>
                  </a:lnTo>
                  <a:lnTo>
                    <a:pt x="378904" y="208813"/>
                  </a:lnTo>
                  <a:lnTo>
                    <a:pt x="378777" y="210083"/>
                  </a:lnTo>
                  <a:lnTo>
                    <a:pt x="378777" y="211353"/>
                  </a:lnTo>
                  <a:lnTo>
                    <a:pt x="378625" y="211353"/>
                  </a:lnTo>
                  <a:lnTo>
                    <a:pt x="378625" y="212623"/>
                  </a:lnTo>
                  <a:lnTo>
                    <a:pt x="378904" y="212623"/>
                  </a:lnTo>
                  <a:lnTo>
                    <a:pt x="378828" y="213372"/>
                  </a:lnTo>
                  <a:lnTo>
                    <a:pt x="378625" y="213690"/>
                  </a:lnTo>
                  <a:lnTo>
                    <a:pt x="378650" y="213829"/>
                  </a:lnTo>
                  <a:lnTo>
                    <a:pt x="378726" y="214109"/>
                  </a:lnTo>
                  <a:lnTo>
                    <a:pt x="378701" y="215163"/>
                  </a:lnTo>
                  <a:lnTo>
                    <a:pt x="378625" y="216433"/>
                  </a:lnTo>
                  <a:lnTo>
                    <a:pt x="379133" y="216433"/>
                  </a:lnTo>
                  <a:lnTo>
                    <a:pt x="379577" y="216433"/>
                  </a:lnTo>
                  <a:lnTo>
                    <a:pt x="379577" y="215163"/>
                  </a:lnTo>
                  <a:lnTo>
                    <a:pt x="379412" y="215163"/>
                  </a:lnTo>
                  <a:lnTo>
                    <a:pt x="379336" y="212623"/>
                  </a:lnTo>
                  <a:lnTo>
                    <a:pt x="379577" y="212623"/>
                  </a:lnTo>
                  <a:lnTo>
                    <a:pt x="379577" y="211353"/>
                  </a:lnTo>
                  <a:close/>
                </a:path>
                <a:path w="544830" h="318770">
                  <a:moveTo>
                    <a:pt x="380009" y="219443"/>
                  </a:moveTo>
                  <a:lnTo>
                    <a:pt x="379641" y="217703"/>
                  </a:lnTo>
                  <a:lnTo>
                    <a:pt x="380009" y="219443"/>
                  </a:lnTo>
                  <a:close/>
                </a:path>
                <a:path w="544830" h="318770">
                  <a:moveTo>
                    <a:pt x="382028" y="229628"/>
                  </a:moveTo>
                  <a:lnTo>
                    <a:pt x="381063" y="222821"/>
                  </a:lnTo>
                  <a:lnTo>
                    <a:pt x="381482" y="226745"/>
                  </a:lnTo>
                  <a:lnTo>
                    <a:pt x="382028" y="229628"/>
                  </a:lnTo>
                  <a:close/>
                </a:path>
                <a:path w="544830" h="318770">
                  <a:moveTo>
                    <a:pt x="383171" y="234213"/>
                  </a:moveTo>
                  <a:lnTo>
                    <a:pt x="382181" y="230403"/>
                  </a:lnTo>
                  <a:lnTo>
                    <a:pt x="382028" y="229628"/>
                  </a:lnTo>
                  <a:lnTo>
                    <a:pt x="382155" y="230454"/>
                  </a:lnTo>
                  <a:lnTo>
                    <a:pt x="383171" y="234213"/>
                  </a:lnTo>
                  <a:close/>
                </a:path>
                <a:path w="544830" h="318770">
                  <a:moveTo>
                    <a:pt x="383247" y="226745"/>
                  </a:moveTo>
                  <a:lnTo>
                    <a:pt x="383159" y="226593"/>
                  </a:lnTo>
                  <a:lnTo>
                    <a:pt x="382358" y="225323"/>
                  </a:lnTo>
                  <a:lnTo>
                    <a:pt x="383247" y="226745"/>
                  </a:lnTo>
                  <a:close/>
                </a:path>
                <a:path w="544830" h="318770">
                  <a:moveTo>
                    <a:pt x="383438" y="243103"/>
                  </a:moveTo>
                  <a:lnTo>
                    <a:pt x="383260" y="241833"/>
                  </a:lnTo>
                  <a:lnTo>
                    <a:pt x="383019" y="241833"/>
                  </a:lnTo>
                  <a:lnTo>
                    <a:pt x="383235" y="243103"/>
                  </a:lnTo>
                  <a:lnTo>
                    <a:pt x="383438" y="243103"/>
                  </a:lnTo>
                  <a:close/>
                </a:path>
                <a:path w="544830" h="318770">
                  <a:moveTo>
                    <a:pt x="383514" y="235483"/>
                  </a:moveTo>
                  <a:lnTo>
                    <a:pt x="383171" y="234213"/>
                  </a:lnTo>
                  <a:lnTo>
                    <a:pt x="383489" y="235483"/>
                  </a:lnTo>
                  <a:close/>
                </a:path>
                <a:path w="544830" h="318770">
                  <a:moveTo>
                    <a:pt x="386092" y="229133"/>
                  </a:moveTo>
                  <a:lnTo>
                    <a:pt x="384060" y="227863"/>
                  </a:lnTo>
                  <a:lnTo>
                    <a:pt x="385406" y="229133"/>
                  </a:lnTo>
                  <a:lnTo>
                    <a:pt x="386092" y="229133"/>
                  </a:lnTo>
                  <a:close/>
                </a:path>
                <a:path w="544830" h="318770">
                  <a:moveTo>
                    <a:pt x="386461" y="252031"/>
                  </a:moveTo>
                  <a:lnTo>
                    <a:pt x="386080" y="250799"/>
                  </a:lnTo>
                  <a:lnTo>
                    <a:pt x="386461" y="252031"/>
                  </a:lnTo>
                  <a:close/>
                </a:path>
                <a:path w="544830" h="318770">
                  <a:moveTo>
                    <a:pt x="386499" y="244373"/>
                  </a:moveTo>
                  <a:lnTo>
                    <a:pt x="385546" y="241833"/>
                  </a:lnTo>
                  <a:lnTo>
                    <a:pt x="386499" y="244373"/>
                  </a:lnTo>
                  <a:close/>
                </a:path>
                <a:path w="544830" h="318770">
                  <a:moveTo>
                    <a:pt x="387565" y="246913"/>
                  </a:moveTo>
                  <a:lnTo>
                    <a:pt x="386511" y="244373"/>
                  </a:lnTo>
                  <a:lnTo>
                    <a:pt x="387565" y="246913"/>
                  </a:lnTo>
                  <a:close/>
                </a:path>
                <a:path w="544830" h="318770">
                  <a:moveTo>
                    <a:pt x="389318" y="248183"/>
                  </a:moveTo>
                  <a:lnTo>
                    <a:pt x="388086" y="246913"/>
                  </a:lnTo>
                  <a:lnTo>
                    <a:pt x="388696" y="248183"/>
                  </a:lnTo>
                  <a:lnTo>
                    <a:pt x="389318" y="248183"/>
                  </a:lnTo>
                  <a:close/>
                </a:path>
                <a:path w="544830" h="318770">
                  <a:moveTo>
                    <a:pt x="390055" y="253263"/>
                  </a:moveTo>
                  <a:lnTo>
                    <a:pt x="389102" y="254368"/>
                  </a:lnTo>
                  <a:lnTo>
                    <a:pt x="390055" y="253263"/>
                  </a:lnTo>
                  <a:close/>
                </a:path>
                <a:path w="544830" h="318770">
                  <a:moveTo>
                    <a:pt x="390055" y="249453"/>
                  </a:moveTo>
                  <a:lnTo>
                    <a:pt x="389331" y="248183"/>
                  </a:lnTo>
                  <a:lnTo>
                    <a:pt x="390055" y="249453"/>
                  </a:lnTo>
                  <a:close/>
                </a:path>
                <a:path w="544830" h="318770">
                  <a:moveTo>
                    <a:pt x="390880" y="226593"/>
                  </a:moveTo>
                  <a:lnTo>
                    <a:pt x="390283" y="226593"/>
                  </a:lnTo>
                  <a:lnTo>
                    <a:pt x="390601" y="227863"/>
                  </a:lnTo>
                  <a:lnTo>
                    <a:pt x="390880" y="226593"/>
                  </a:lnTo>
                  <a:close/>
                </a:path>
                <a:path w="544830" h="318770">
                  <a:moveTo>
                    <a:pt x="391274" y="251688"/>
                  </a:moveTo>
                  <a:lnTo>
                    <a:pt x="390080" y="253161"/>
                  </a:lnTo>
                  <a:lnTo>
                    <a:pt x="391274" y="251688"/>
                  </a:lnTo>
                  <a:close/>
                </a:path>
                <a:path w="544830" h="318770">
                  <a:moveTo>
                    <a:pt x="392760" y="268249"/>
                  </a:moveTo>
                  <a:lnTo>
                    <a:pt x="391325" y="267233"/>
                  </a:lnTo>
                  <a:lnTo>
                    <a:pt x="392760" y="268249"/>
                  </a:lnTo>
                  <a:close/>
                </a:path>
                <a:path w="544830" h="318770">
                  <a:moveTo>
                    <a:pt x="393090" y="249453"/>
                  </a:moveTo>
                  <a:lnTo>
                    <a:pt x="392811" y="249453"/>
                  </a:lnTo>
                  <a:lnTo>
                    <a:pt x="391274" y="251688"/>
                  </a:lnTo>
                  <a:lnTo>
                    <a:pt x="393090" y="249453"/>
                  </a:lnTo>
                  <a:close/>
                </a:path>
                <a:path w="544830" h="318770">
                  <a:moveTo>
                    <a:pt x="394995" y="237020"/>
                  </a:moveTo>
                  <a:lnTo>
                    <a:pt x="394855" y="236969"/>
                  </a:lnTo>
                  <a:lnTo>
                    <a:pt x="394855" y="236639"/>
                  </a:lnTo>
                  <a:lnTo>
                    <a:pt x="394741" y="236372"/>
                  </a:lnTo>
                  <a:lnTo>
                    <a:pt x="394614" y="236334"/>
                  </a:lnTo>
                  <a:lnTo>
                    <a:pt x="394614" y="235877"/>
                  </a:lnTo>
                  <a:lnTo>
                    <a:pt x="394550" y="236334"/>
                  </a:lnTo>
                  <a:lnTo>
                    <a:pt x="394411" y="236372"/>
                  </a:lnTo>
                  <a:lnTo>
                    <a:pt x="394309" y="236639"/>
                  </a:lnTo>
                  <a:lnTo>
                    <a:pt x="394309" y="236969"/>
                  </a:lnTo>
                  <a:lnTo>
                    <a:pt x="394182" y="236969"/>
                  </a:lnTo>
                  <a:lnTo>
                    <a:pt x="394169" y="237109"/>
                  </a:lnTo>
                  <a:lnTo>
                    <a:pt x="394550" y="237147"/>
                  </a:lnTo>
                  <a:lnTo>
                    <a:pt x="394411" y="237185"/>
                  </a:lnTo>
                  <a:lnTo>
                    <a:pt x="394309" y="237451"/>
                  </a:lnTo>
                  <a:lnTo>
                    <a:pt x="394309" y="237782"/>
                  </a:lnTo>
                  <a:lnTo>
                    <a:pt x="394182" y="237782"/>
                  </a:lnTo>
                  <a:lnTo>
                    <a:pt x="394169" y="237921"/>
                  </a:lnTo>
                  <a:lnTo>
                    <a:pt x="394550" y="237959"/>
                  </a:lnTo>
                  <a:lnTo>
                    <a:pt x="394411" y="237998"/>
                  </a:lnTo>
                  <a:lnTo>
                    <a:pt x="394309" y="238277"/>
                  </a:lnTo>
                  <a:lnTo>
                    <a:pt x="394309" y="238594"/>
                  </a:lnTo>
                  <a:lnTo>
                    <a:pt x="394182" y="238594"/>
                  </a:lnTo>
                  <a:lnTo>
                    <a:pt x="394169" y="238734"/>
                  </a:lnTo>
                  <a:lnTo>
                    <a:pt x="394550" y="238785"/>
                  </a:lnTo>
                  <a:lnTo>
                    <a:pt x="394411" y="238810"/>
                  </a:lnTo>
                  <a:lnTo>
                    <a:pt x="394309" y="239077"/>
                  </a:lnTo>
                  <a:lnTo>
                    <a:pt x="394309" y="239420"/>
                  </a:lnTo>
                  <a:lnTo>
                    <a:pt x="394182" y="239420"/>
                  </a:lnTo>
                  <a:lnTo>
                    <a:pt x="394169" y="239547"/>
                  </a:lnTo>
                  <a:lnTo>
                    <a:pt x="394550" y="239585"/>
                  </a:lnTo>
                  <a:lnTo>
                    <a:pt x="394411" y="239636"/>
                  </a:lnTo>
                  <a:lnTo>
                    <a:pt x="394309" y="239890"/>
                  </a:lnTo>
                  <a:lnTo>
                    <a:pt x="394309" y="240220"/>
                  </a:lnTo>
                  <a:lnTo>
                    <a:pt x="394182" y="240220"/>
                  </a:lnTo>
                  <a:lnTo>
                    <a:pt x="394169" y="240360"/>
                  </a:lnTo>
                  <a:lnTo>
                    <a:pt x="394550" y="240398"/>
                  </a:lnTo>
                  <a:lnTo>
                    <a:pt x="394411" y="240449"/>
                  </a:lnTo>
                  <a:lnTo>
                    <a:pt x="394309" y="240715"/>
                  </a:lnTo>
                  <a:lnTo>
                    <a:pt x="394309" y="241033"/>
                  </a:lnTo>
                  <a:lnTo>
                    <a:pt x="394182" y="241033"/>
                  </a:lnTo>
                  <a:lnTo>
                    <a:pt x="394169" y="241185"/>
                  </a:lnTo>
                  <a:lnTo>
                    <a:pt x="394550" y="241223"/>
                  </a:lnTo>
                  <a:lnTo>
                    <a:pt x="394411" y="241249"/>
                  </a:lnTo>
                  <a:lnTo>
                    <a:pt x="394309" y="241528"/>
                  </a:lnTo>
                  <a:lnTo>
                    <a:pt x="394309" y="241858"/>
                  </a:lnTo>
                  <a:lnTo>
                    <a:pt x="394182" y="241858"/>
                  </a:lnTo>
                  <a:lnTo>
                    <a:pt x="394169" y="241985"/>
                  </a:lnTo>
                  <a:lnTo>
                    <a:pt x="394550" y="242036"/>
                  </a:lnTo>
                  <a:lnTo>
                    <a:pt x="394411" y="242074"/>
                  </a:lnTo>
                  <a:lnTo>
                    <a:pt x="394309" y="242328"/>
                  </a:lnTo>
                  <a:lnTo>
                    <a:pt x="394309" y="242671"/>
                  </a:lnTo>
                  <a:lnTo>
                    <a:pt x="394182" y="242671"/>
                  </a:lnTo>
                  <a:lnTo>
                    <a:pt x="394169" y="242798"/>
                  </a:lnTo>
                  <a:lnTo>
                    <a:pt x="394550" y="242849"/>
                  </a:lnTo>
                  <a:lnTo>
                    <a:pt x="394411" y="242887"/>
                  </a:lnTo>
                  <a:lnTo>
                    <a:pt x="394309" y="243154"/>
                  </a:lnTo>
                  <a:lnTo>
                    <a:pt x="394309" y="243471"/>
                  </a:lnTo>
                  <a:lnTo>
                    <a:pt x="394182" y="243471"/>
                  </a:lnTo>
                  <a:lnTo>
                    <a:pt x="394169" y="243624"/>
                  </a:lnTo>
                  <a:lnTo>
                    <a:pt x="394550" y="243662"/>
                  </a:lnTo>
                  <a:lnTo>
                    <a:pt x="394411" y="243700"/>
                  </a:lnTo>
                  <a:lnTo>
                    <a:pt x="394309" y="243967"/>
                  </a:lnTo>
                  <a:lnTo>
                    <a:pt x="394309" y="244297"/>
                  </a:lnTo>
                  <a:lnTo>
                    <a:pt x="394182" y="244297"/>
                  </a:lnTo>
                  <a:lnTo>
                    <a:pt x="394169" y="244436"/>
                  </a:lnTo>
                  <a:lnTo>
                    <a:pt x="394550" y="244475"/>
                  </a:lnTo>
                  <a:lnTo>
                    <a:pt x="394550" y="245122"/>
                  </a:lnTo>
                  <a:lnTo>
                    <a:pt x="394614" y="244475"/>
                  </a:lnTo>
                  <a:lnTo>
                    <a:pt x="394944" y="244475"/>
                  </a:lnTo>
                  <a:lnTo>
                    <a:pt x="394995" y="244335"/>
                  </a:lnTo>
                  <a:lnTo>
                    <a:pt x="394855" y="244297"/>
                  </a:lnTo>
                  <a:lnTo>
                    <a:pt x="394855" y="243967"/>
                  </a:lnTo>
                  <a:lnTo>
                    <a:pt x="394741" y="243700"/>
                  </a:lnTo>
                  <a:lnTo>
                    <a:pt x="394614" y="243662"/>
                  </a:lnTo>
                  <a:lnTo>
                    <a:pt x="394970" y="243662"/>
                  </a:lnTo>
                  <a:lnTo>
                    <a:pt x="394995" y="243522"/>
                  </a:lnTo>
                  <a:lnTo>
                    <a:pt x="394855" y="243471"/>
                  </a:lnTo>
                  <a:lnTo>
                    <a:pt x="394855" y="243154"/>
                  </a:lnTo>
                  <a:lnTo>
                    <a:pt x="394741" y="242887"/>
                  </a:lnTo>
                  <a:lnTo>
                    <a:pt x="394614" y="242849"/>
                  </a:lnTo>
                  <a:lnTo>
                    <a:pt x="394970" y="242849"/>
                  </a:lnTo>
                  <a:lnTo>
                    <a:pt x="394995" y="242709"/>
                  </a:lnTo>
                  <a:lnTo>
                    <a:pt x="394855" y="242671"/>
                  </a:lnTo>
                  <a:lnTo>
                    <a:pt x="394855" y="242328"/>
                  </a:lnTo>
                  <a:lnTo>
                    <a:pt x="394741" y="242074"/>
                  </a:lnTo>
                  <a:lnTo>
                    <a:pt x="394614" y="242036"/>
                  </a:lnTo>
                  <a:lnTo>
                    <a:pt x="394970" y="242036"/>
                  </a:lnTo>
                  <a:lnTo>
                    <a:pt x="394995" y="241896"/>
                  </a:lnTo>
                  <a:lnTo>
                    <a:pt x="394855" y="241858"/>
                  </a:lnTo>
                  <a:lnTo>
                    <a:pt x="394855" y="241528"/>
                  </a:lnTo>
                  <a:lnTo>
                    <a:pt x="394741" y="241249"/>
                  </a:lnTo>
                  <a:lnTo>
                    <a:pt x="394614" y="241223"/>
                  </a:lnTo>
                  <a:lnTo>
                    <a:pt x="394970" y="241223"/>
                  </a:lnTo>
                  <a:lnTo>
                    <a:pt x="394995" y="241071"/>
                  </a:lnTo>
                  <a:lnTo>
                    <a:pt x="394855" y="241033"/>
                  </a:lnTo>
                  <a:lnTo>
                    <a:pt x="394855" y="240715"/>
                  </a:lnTo>
                  <a:lnTo>
                    <a:pt x="394741" y="240449"/>
                  </a:lnTo>
                  <a:lnTo>
                    <a:pt x="394614" y="240411"/>
                  </a:lnTo>
                  <a:lnTo>
                    <a:pt x="394970" y="240398"/>
                  </a:lnTo>
                  <a:lnTo>
                    <a:pt x="394995" y="240271"/>
                  </a:lnTo>
                  <a:lnTo>
                    <a:pt x="394855" y="240220"/>
                  </a:lnTo>
                  <a:lnTo>
                    <a:pt x="394855" y="239890"/>
                  </a:lnTo>
                  <a:lnTo>
                    <a:pt x="394741" y="239636"/>
                  </a:lnTo>
                  <a:lnTo>
                    <a:pt x="394614" y="239585"/>
                  </a:lnTo>
                  <a:lnTo>
                    <a:pt x="394970" y="239585"/>
                  </a:lnTo>
                  <a:lnTo>
                    <a:pt x="394995" y="239458"/>
                  </a:lnTo>
                  <a:lnTo>
                    <a:pt x="394855" y="239420"/>
                  </a:lnTo>
                  <a:lnTo>
                    <a:pt x="394855" y="239077"/>
                  </a:lnTo>
                  <a:lnTo>
                    <a:pt x="394741" y="238810"/>
                  </a:lnTo>
                  <a:lnTo>
                    <a:pt x="394614" y="238785"/>
                  </a:lnTo>
                  <a:lnTo>
                    <a:pt x="394970" y="238785"/>
                  </a:lnTo>
                  <a:lnTo>
                    <a:pt x="394995" y="238633"/>
                  </a:lnTo>
                  <a:lnTo>
                    <a:pt x="394855" y="238594"/>
                  </a:lnTo>
                  <a:lnTo>
                    <a:pt x="394855" y="238277"/>
                  </a:lnTo>
                  <a:lnTo>
                    <a:pt x="394741" y="237998"/>
                  </a:lnTo>
                  <a:lnTo>
                    <a:pt x="394614" y="237972"/>
                  </a:lnTo>
                  <a:lnTo>
                    <a:pt x="394970" y="237959"/>
                  </a:lnTo>
                  <a:lnTo>
                    <a:pt x="394995" y="237820"/>
                  </a:lnTo>
                  <a:lnTo>
                    <a:pt x="394855" y="237782"/>
                  </a:lnTo>
                  <a:lnTo>
                    <a:pt x="394855" y="237451"/>
                  </a:lnTo>
                  <a:lnTo>
                    <a:pt x="394741" y="237185"/>
                  </a:lnTo>
                  <a:lnTo>
                    <a:pt x="394614" y="237147"/>
                  </a:lnTo>
                  <a:lnTo>
                    <a:pt x="394970" y="237147"/>
                  </a:lnTo>
                  <a:lnTo>
                    <a:pt x="394995" y="237020"/>
                  </a:lnTo>
                  <a:close/>
                </a:path>
                <a:path w="544830" h="318770">
                  <a:moveTo>
                    <a:pt x="401548" y="257073"/>
                  </a:moveTo>
                  <a:lnTo>
                    <a:pt x="401421" y="257073"/>
                  </a:lnTo>
                  <a:lnTo>
                    <a:pt x="401320" y="255803"/>
                  </a:lnTo>
                  <a:lnTo>
                    <a:pt x="401320" y="251993"/>
                  </a:lnTo>
                  <a:lnTo>
                    <a:pt x="401320" y="250723"/>
                  </a:lnTo>
                  <a:lnTo>
                    <a:pt x="401193" y="250723"/>
                  </a:lnTo>
                  <a:lnTo>
                    <a:pt x="401193" y="249453"/>
                  </a:lnTo>
                  <a:lnTo>
                    <a:pt x="401154" y="250723"/>
                  </a:lnTo>
                  <a:lnTo>
                    <a:pt x="401027" y="250723"/>
                  </a:lnTo>
                  <a:lnTo>
                    <a:pt x="400926" y="251993"/>
                  </a:lnTo>
                  <a:lnTo>
                    <a:pt x="400926" y="255803"/>
                  </a:lnTo>
                  <a:lnTo>
                    <a:pt x="400926" y="257073"/>
                  </a:lnTo>
                  <a:lnTo>
                    <a:pt x="400799" y="257073"/>
                  </a:lnTo>
                  <a:lnTo>
                    <a:pt x="400799" y="258343"/>
                  </a:lnTo>
                  <a:lnTo>
                    <a:pt x="401548" y="258343"/>
                  </a:lnTo>
                  <a:lnTo>
                    <a:pt x="401548" y="257073"/>
                  </a:lnTo>
                  <a:close/>
                </a:path>
                <a:path w="544830" h="318770">
                  <a:moveTo>
                    <a:pt x="405168" y="276123"/>
                  </a:moveTo>
                  <a:lnTo>
                    <a:pt x="403288" y="277393"/>
                  </a:lnTo>
                  <a:lnTo>
                    <a:pt x="405168" y="276123"/>
                  </a:lnTo>
                  <a:close/>
                </a:path>
                <a:path w="544830" h="318770">
                  <a:moveTo>
                    <a:pt x="406628" y="274967"/>
                  </a:moveTo>
                  <a:lnTo>
                    <a:pt x="405218" y="275996"/>
                  </a:lnTo>
                  <a:lnTo>
                    <a:pt x="405333" y="276123"/>
                  </a:lnTo>
                  <a:lnTo>
                    <a:pt x="406628" y="274967"/>
                  </a:lnTo>
                  <a:close/>
                </a:path>
                <a:path w="544830" h="318770">
                  <a:moveTo>
                    <a:pt x="410095" y="267233"/>
                  </a:moveTo>
                  <a:lnTo>
                    <a:pt x="408762" y="268249"/>
                  </a:lnTo>
                  <a:lnTo>
                    <a:pt x="410057" y="267347"/>
                  </a:lnTo>
                  <a:close/>
                </a:path>
                <a:path w="544830" h="318770">
                  <a:moveTo>
                    <a:pt x="410425" y="251841"/>
                  </a:moveTo>
                  <a:lnTo>
                    <a:pt x="408889" y="249453"/>
                  </a:lnTo>
                  <a:lnTo>
                    <a:pt x="408609" y="249453"/>
                  </a:lnTo>
                  <a:lnTo>
                    <a:pt x="410425" y="251841"/>
                  </a:lnTo>
                  <a:close/>
                </a:path>
                <a:path w="544830" h="318770">
                  <a:moveTo>
                    <a:pt x="411441" y="253161"/>
                  </a:moveTo>
                  <a:lnTo>
                    <a:pt x="410425" y="251841"/>
                  </a:lnTo>
                  <a:lnTo>
                    <a:pt x="411353" y="253263"/>
                  </a:lnTo>
                  <a:close/>
                </a:path>
                <a:path w="544830" h="318770">
                  <a:moveTo>
                    <a:pt x="412127" y="254063"/>
                  </a:moveTo>
                  <a:lnTo>
                    <a:pt x="411505" y="253250"/>
                  </a:lnTo>
                  <a:lnTo>
                    <a:pt x="412127" y="254063"/>
                  </a:lnTo>
                  <a:close/>
                </a:path>
                <a:path w="544830" h="318770">
                  <a:moveTo>
                    <a:pt x="414947" y="251968"/>
                  </a:moveTo>
                  <a:lnTo>
                    <a:pt x="413550" y="255803"/>
                  </a:lnTo>
                  <a:lnTo>
                    <a:pt x="412127" y="254063"/>
                  </a:lnTo>
                  <a:lnTo>
                    <a:pt x="413461" y="255803"/>
                  </a:lnTo>
                  <a:lnTo>
                    <a:pt x="410210" y="267233"/>
                  </a:lnTo>
                  <a:lnTo>
                    <a:pt x="410057" y="267347"/>
                  </a:lnTo>
                  <a:lnTo>
                    <a:pt x="408432" y="272313"/>
                  </a:lnTo>
                  <a:lnTo>
                    <a:pt x="406781" y="269773"/>
                  </a:lnTo>
                  <a:lnTo>
                    <a:pt x="408762" y="268249"/>
                  </a:lnTo>
                  <a:lnTo>
                    <a:pt x="406603" y="269773"/>
                  </a:lnTo>
                  <a:lnTo>
                    <a:pt x="408266" y="272313"/>
                  </a:lnTo>
                  <a:lnTo>
                    <a:pt x="403364" y="272313"/>
                  </a:lnTo>
                  <a:lnTo>
                    <a:pt x="406539" y="269824"/>
                  </a:lnTo>
                  <a:lnTo>
                    <a:pt x="403072" y="272275"/>
                  </a:lnTo>
                  <a:lnTo>
                    <a:pt x="403072" y="277393"/>
                  </a:lnTo>
                  <a:lnTo>
                    <a:pt x="402958" y="277253"/>
                  </a:lnTo>
                  <a:lnTo>
                    <a:pt x="402958" y="277393"/>
                  </a:lnTo>
                  <a:lnTo>
                    <a:pt x="399021" y="277393"/>
                  </a:lnTo>
                  <a:lnTo>
                    <a:pt x="400964" y="276123"/>
                  </a:lnTo>
                  <a:lnTo>
                    <a:pt x="402958" y="277393"/>
                  </a:lnTo>
                  <a:lnTo>
                    <a:pt x="402958" y="277253"/>
                  </a:lnTo>
                  <a:lnTo>
                    <a:pt x="402094" y="276123"/>
                  </a:lnTo>
                  <a:lnTo>
                    <a:pt x="401116" y="274853"/>
                  </a:lnTo>
                  <a:lnTo>
                    <a:pt x="402945" y="273583"/>
                  </a:lnTo>
                  <a:lnTo>
                    <a:pt x="403072" y="277393"/>
                  </a:lnTo>
                  <a:lnTo>
                    <a:pt x="403072" y="272275"/>
                  </a:lnTo>
                  <a:lnTo>
                    <a:pt x="402704" y="272313"/>
                  </a:lnTo>
                  <a:lnTo>
                    <a:pt x="402704" y="273583"/>
                  </a:lnTo>
                  <a:lnTo>
                    <a:pt x="400964" y="274853"/>
                  </a:lnTo>
                  <a:lnTo>
                    <a:pt x="400837" y="274764"/>
                  </a:lnTo>
                  <a:lnTo>
                    <a:pt x="398894" y="277393"/>
                  </a:lnTo>
                  <a:lnTo>
                    <a:pt x="399059" y="273583"/>
                  </a:lnTo>
                  <a:lnTo>
                    <a:pt x="400837" y="274853"/>
                  </a:lnTo>
                  <a:lnTo>
                    <a:pt x="399199" y="273583"/>
                  </a:lnTo>
                  <a:lnTo>
                    <a:pt x="402704" y="273583"/>
                  </a:lnTo>
                  <a:lnTo>
                    <a:pt x="402704" y="272313"/>
                  </a:lnTo>
                  <a:lnTo>
                    <a:pt x="398995" y="272313"/>
                  </a:lnTo>
                  <a:lnTo>
                    <a:pt x="398843" y="272224"/>
                  </a:lnTo>
                  <a:lnTo>
                    <a:pt x="398843" y="273583"/>
                  </a:lnTo>
                  <a:lnTo>
                    <a:pt x="398691" y="277393"/>
                  </a:lnTo>
                  <a:lnTo>
                    <a:pt x="396392" y="276123"/>
                  </a:lnTo>
                  <a:lnTo>
                    <a:pt x="398843" y="273583"/>
                  </a:lnTo>
                  <a:lnTo>
                    <a:pt x="398843" y="272224"/>
                  </a:lnTo>
                  <a:lnTo>
                    <a:pt x="398703" y="272135"/>
                  </a:lnTo>
                  <a:lnTo>
                    <a:pt x="398703" y="273583"/>
                  </a:lnTo>
                  <a:lnTo>
                    <a:pt x="396354" y="275996"/>
                  </a:lnTo>
                  <a:lnTo>
                    <a:pt x="396265" y="276123"/>
                  </a:lnTo>
                  <a:lnTo>
                    <a:pt x="396113" y="275996"/>
                  </a:lnTo>
                  <a:lnTo>
                    <a:pt x="393344" y="273583"/>
                  </a:lnTo>
                  <a:lnTo>
                    <a:pt x="398703" y="273583"/>
                  </a:lnTo>
                  <a:lnTo>
                    <a:pt x="398703" y="272135"/>
                  </a:lnTo>
                  <a:lnTo>
                    <a:pt x="395173" y="269824"/>
                  </a:lnTo>
                  <a:lnTo>
                    <a:pt x="398640" y="272313"/>
                  </a:lnTo>
                  <a:lnTo>
                    <a:pt x="393242" y="272313"/>
                  </a:lnTo>
                  <a:lnTo>
                    <a:pt x="395097" y="269773"/>
                  </a:lnTo>
                  <a:lnTo>
                    <a:pt x="392760" y="268249"/>
                  </a:lnTo>
                  <a:lnTo>
                    <a:pt x="394931" y="269773"/>
                  </a:lnTo>
                  <a:lnTo>
                    <a:pt x="393065" y="272313"/>
                  </a:lnTo>
                  <a:lnTo>
                    <a:pt x="391350" y="267335"/>
                  </a:lnTo>
                  <a:lnTo>
                    <a:pt x="391210" y="267233"/>
                  </a:lnTo>
                  <a:lnTo>
                    <a:pt x="387934" y="255803"/>
                  </a:lnTo>
                  <a:lnTo>
                    <a:pt x="389102" y="254368"/>
                  </a:lnTo>
                  <a:lnTo>
                    <a:pt x="387858" y="255803"/>
                  </a:lnTo>
                  <a:lnTo>
                    <a:pt x="386461" y="252031"/>
                  </a:lnTo>
                  <a:lnTo>
                    <a:pt x="392950" y="273583"/>
                  </a:lnTo>
                  <a:lnTo>
                    <a:pt x="398678" y="278663"/>
                  </a:lnTo>
                  <a:lnTo>
                    <a:pt x="397573" y="306603"/>
                  </a:lnTo>
                  <a:lnTo>
                    <a:pt x="397802" y="306603"/>
                  </a:lnTo>
                  <a:lnTo>
                    <a:pt x="397954" y="302793"/>
                  </a:lnTo>
                  <a:lnTo>
                    <a:pt x="398056" y="300253"/>
                  </a:lnTo>
                  <a:lnTo>
                    <a:pt x="398297" y="293954"/>
                  </a:lnTo>
                  <a:lnTo>
                    <a:pt x="400799" y="296443"/>
                  </a:lnTo>
                  <a:lnTo>
                    <a:pt x="398106" y="298983"/>
                  </a:lnTo>
                  <a:lnTo>
                    <a:pt x="400748" y="300253"/>
                  </a:lnTo>
                  <a:lnTo>
                    <a:pt x="397967" y="302793"/>
                  </a:lnTo>
                  <a:lnTo>
                    <a:pt x="400723" y="304063"/>
                  </a:lnTo>
                  <a:lnTo>
                    <a:pt x="397802" y="306603"/>
                  </a:lnTo>
                  <a:lnTo>
                    <a:pt x="398005" y="306603"/>
                  </a:lnTo>
                  <a:lnTo>
                    <a:pt x="400926" y="305333"/>
                  </a:lnTo>
                  <a:lnTo>
                    <a:pt x="403771" y="306603"/>
                  </a:lnTo>
                  <a:lnTo>
                    <a:pt x="402488" y="305333"/>
                  </a:lnTo>
                  <a:lnTo>
                    <a:pt x="401116" y="304063"/>
                  </a:lnTo>
                  <a:lnTo>
                    <a:pt x="403745" y="302806"/>
                  </a:lnTo>
                  <a:lnTo>
                    <a:pt x="403860" y="306603"/>
                  </a:lnTo>
                  <a:lnTo>
                    <a:pt x="404088" y="306603"/>
                  </a:lnTo>
                  <a:lnTo>
                    <a:pt x="403771" y="295173"/>
                  </a:lnTo>
                  <a:lnTo>
                    <a:pt x="403745" y="294335"/>
                  </a:lnTo>
                  <a:lnTo>
                    <a:pt x="403745" y="302793"/>
                  </a:lnTo>
                  <a:lnTo>
                    <a:pt x="401129" y="300253"/>
                  </a:lnTo>
                  <a:lnTo>
                    <a:pt x="403631" y="298996"/>
                  </a:lnTo>
                  <a:lnTo>
                    <a:pt x="403745" y="302793"/>
                  </a:lnTo>
                  <a:lnTo>
                    <a:pt x="403745" y="294335"/>
                  </a:lnTo>
                  <a:lnTo>
                    <a:pt x="403733" y="293903"/>
                  </a:lnTo>
                  <a:lnTo>
                    <a:pt x="403631" y="290093"/>
                  </a:lnTo>
                  <a:lnTo>
                    <a:pt x="403631" y="298983"/>
                  </a:lnTo>
                  <a:lnTo>
                    <a:pt x="400939" y="300253"/>
                  </a:lnTo>
                  <a:lnTo>
                    <a:pt x="403504" y="302793"/>
                  </a:lnTo>
                  <a:lnTo>
                    <a:pt x="400926" y="304063"/>
                  </a:lnTo>
                  <a:lnTo>
                    <a:pt x="398348" y="302793"/>
                  </a:lnTo>
                  <a:lnTo>
                    <a:pt x="400939" y="300253"/>
                  </a:lnTo>
                  <a:lnTo>
                    <a:pt x="398348" y="298983"/>
                  </a:lnTo>
                  <a:lnTo>
                    <a:pt x="400977" y="296443"/>
                  </a:lnTo>
                  <a:lnTo>
                    <a:pt x="398665" y="293903"/>
                  </a:lnTo>
                  <a:lnTo>
                    <a:pt x="401002" y="292633"/>
                  </a:lnTo>
                  <a:lnTo>
                    <a:pt x="398741" y="290093"/>
                  </a:lnTo>
                  <a:lnTo>
                    <a:pt x="401129" y="288823"/>
                  </a:lnTo>
                  <a:lnTo>
                    <a:pt x="400951" y="288632"/>
                  </a:lnTo>
                  <a:lnTo>
                    <a:pt x="400951" y="288823"/>
                  </a:lnTo>
                  <a:lnTo>
                    <a:pt x="398475" y="290093"/>
                  </a:lnTo>
                  <a:lnTo>
                    <a:pt x="400824" y="292633"/>
                  </a:lnTo>
                  <a:lnTo>
                    <a:pt x="398297" y="293890"/>
                  </a:lnTo>
                  <a:lnTo>
                    <a:pt x="398881" y="278663"/>
                  </a:lnTo>
                  <a:lnTo>
                    <a:pt x="400710" y="279933"/>
                  </a:lnTo>
                  <a:lnTo>
                    <a:pt x="398805" y="281203"/>
                  </a:lnTo>
                  <a:lnTo>
                    <a:pt x="398780" y="282473"/>
                  </a:lnTo>
                  <a:lnTo>
                    <a:pt x="400685" y="283743"/>
                  </a:lnTo>
                  <a:lnTo>
                    <a:pt x="398653" y="285013"/>
                  </a:lnTo>
                  <a:lnTo>
                    <a:pt x="398602" y="286283"/>
                  </a:lnTo>
                  <a:lnTo>
                    <a:pt x="400951" y="288823"/>
                  </a:lnTo>
                  <a:lnTo>
                    <a:pt x="400951" y="288632"/>
                  </a:lnTo>
                  <a:lnTo>
                    <a:pt x="398818" y="286283"/>
                  </a:lnTo>
                  <a:lnTo>
                    <a:pt x="400862" y="283743"/>
                  </a:lnTo>
                  <a:lnTo>
                    <a:pt x="398995" y="282473"/>
                  </a:lnTo>
                  <a:lnTo>
                    <a:pt x="399008" y="281203"/>
                  </a:lnTo>
                  <a:lnTo>
                    <a:pt x="400888" y="279933"/>
                  </a:lnTo>
                  <a:lnTo>
                    <a:pt x="399084" y="278663"/>
                  </a:lnTo>
                  <a:lnTo>
                    <a:pt x="402755" y="278663"/>
                  </a:lnTo>
                  <a:lnTo>
                    <a:pt x="400888" y="279933"/>
                  </a:lnTo>
                  <a:lnTo>
                    <a:pt x="403123" y="282473"/>
                  </a:lnTo>
                  <a:lnTo>
                    <a:pt x="400862" y="283743"/>
                  </a:lnTo>
                  <a:lnTo>
                    <a:pt x="403136" y="286118"/>
                  </a:lnTo>
                  <a:lnTo>
                    <a:pt x="401040" y="283743"/>
                  </a:lnTo>
                  <a:lnTo>
                    <a:pt x="403199" y="282473"/>
                  </a:lnTo>
                  <a:lnTo>
                    <a:pt x="403301" y="286283"/>
                  </a:lnTo>
                  <a:lnTo>
                    <a:pt x="401129" y="288823"/>
                  </a:lnTo>
                  <a:lnTo>
                    <a:pt x="403352" y="290093"/>
                  </a:lnTo>
                  <a:lnTo>
                    <a:pt x="401002" y="292633"/>
                  </a:lnTo>
                  <a:lnTo>
                    <a:pt x="403313" y="293903"/>
                  </a:lnTo>
                  <a:lnTo>
                    <a:pt x="400977" y="296443"/>
                  </a:lnTo>
                  <a:lnTo>
                    <a:pt x="403580" y="298983"/>
                  </a:lnTo>
                  <a:lnTo>
                    <a:pt x="401154" y="296443"/>
                  </a:lnTo>
                  <a:lnTo>
                    <a:pt x="403529" y="295173"/>
                  </a:lnTo>
                  <a:lnTo>
                    <a:pt x="403631" y="298983"/>
                  </a:lnTo>
                  <a:lnTo>
                    <a:pt x="403631" y="290093"/>
                  </a:lnTo>
                  <a:lnTo>
                    <a:pt x="403529" y="286283"/>
                  </a:lnTo>
                  <a:lnTo>
                    <a:pt x="403517" y="285813"/>
                  </a:lnTo>
                  <a:lnTo>
                    <a:pt x="403517" y="293903"/>
                  </a:lnTo>
                  <a:lnTo>
                    <a:pt x="401180" y="292633"/>
                  </a:lnTo>
                  <a:lnTo>
                    <a:pt x="403415" y="290106"/>
                  </a:lnTo>
                  <a:lnTo>
                    <a:pt x="403517" y="293903"/>
                  </a:lnTo>
                  <a:lnTo>
                    <a:pt x="403517" y="285813"/>
                  </a:lnTo>
                  <a:lnTo>
                    <a:pt x="403428" y="282473"/>
                  </a:lnTo>
                  <a:lnTo>
                    <a:pt x="403415" y="282054"/>
                  </a:lnTo>
                  <a:lnTo>
                    <a:pt x="403415" y="290093"/>
                  </a:lnTo>
                  <a:lnTo>
                    <a:pt x="401307" y="288823"/>
                  </a:lnTo>
                  <a:lnTo>
                    <a:pt x="403326" y="286283"/>
                  </a:lnTo>
                  <a:lnTo>
                    <a:pt x="403415" y="290093"/>
                  </a:lnTo>
                  <a:lnTo>
                    <a:pt x="403415" y="282054"/>
                  </a:lnTo>
                  <a:lnTo>
                    <a:pt x="403390" y="281203"/>
                  </a:lnTo>
                  <a:lnTo>
                    <a:pt x="403326" y="278663"/>
                  </a:lnTo>
                  <a:lnTo>
                    <a:pt x="403288" y="277393"/>
                  </a:lnTo>
                  <a:lnTo>
                    <a:pt x="403186" y="274015"/>
                  </a:lnTo>
                  <a:lnTo>
                    <a:pt x="403186" y="281203"/>
                  </a:lnTo>
                  <a:lnTo>
                    <a:pt x="401053" y="279933"/>
                  </a:lnTo>
                  <a:lnTo>
                    <a:pt x="403085" y="278663"/>
                  </a:lnTo>
                  <a:lnTo>
                    <a:pt x="403186" y="281203"/>
                  </a:lnTo>
                  <a:lnTo>
                    <a:pt x="403186" y="274015"/>
                  </a:lnTo>
                  <a:lnTo>
                    <a:pt x="403174" y="273583"/>
                  </a:lnTo>
                  <a:lnTo>
                    <a:pt x="405117" y="276072"/>
                  </a:lnTo>
                  <a:lnTo>
                    <a:pt x="403288" y="273583"/>
                  </a:lnTo>
                  <a:lnTo>
                    <a:pt x="408178" y="273583"/>
                  </a:lnTo>
                  <a:lnTo>
                    <a:pt x="406628" y="274967"/>
                  </a:lnTo>
                  <a:lnTo>
                    <a:pt x="408533" y="273583"/>
                  </a:lnTo>
                  <a:lnTo>
                    <a:pt x="408901" y="272313"/>
                  </a:lnTo>
                  <a:lnTo>
                    <a:pt x="414947" y="251968"/>
                  </a:lnTo>
                  <a:close/>
                </a:path>
                <a:path w="544830" h="318770">
                  <a:moveTo>
                    <a:pt x="415404" y="250723"/>
                  </a:moveTo>
                  <a:lnTo>
                    <a:pt x="414947" y="251968"/>
                  </a:lnTo>
                  <a:lnTo>
                    <a:pt x="415404" y="250723"/>
                  </a:lnTo>
                  <a:close/>
                </a:path>
                <a:path w="544830" h="318770">
                  <a:moveTo>
                    <a:pt x="418185" y="241833"/>
                  </a:moveTo>
                  <a:lnTo>
                    <a:pt x="418045" y="241833"/>
                  </a:lnTo>
                  <a:lnTo>
                    <a:pt x="415531" y="249453"/>
                  </a:lnTo>
                  <a:lnTo>
                    <a:pt x="415290" y="249453"/>
                  </a:lnTo>
                  <a:lnTo>
                    <a:pt x="411454" y="253161"/>
                  </a:lnTo>
                  <a:lnTo>
                    <a:pt x="415290" y="250799"/>
                  </a:lnTo>
                  <a:lnTo>
                    <a:pt x="415696" y="249453"/>
                  </a:lnTo>
                  <a:lnTo>
                    <a:pt x="418185" y="241833"/>
                  </a:lnTo>
                  <a:close/>
                </a:path>
                <a:path w="544830" h="318770">
                  <a:moveTo>
                    <a:pt x="418719" y="241833"/>
                  </a:moveTo>
                  <a:lnTo>
                    <a:pt x="418477" y="241833"/>
                  </a:lnTo>
                  <a:lnTo>
                    <a:pt x="418299" y="243103"/>
                  </a:lnTo>
                  <a:lnTo>
                    <a:pt x="418503" y="243103"/>
                  </a:lnTo>
                  <a:lnTo>
                    <a:pt x="418719" y="241833"/>
                  </a:lnTo>
                  <a:close/>
                </a:path>
                <a:path w="544830" h="318770">
                  <a:moveTo>
                    <a:pt x="422402" y="250952"/>
                  </a:moveTo>
                  <a:lnTo>
                    <a:pt x="422275" y="250913"/>
                  </a:lnTo>
                  <a:lnTo>
                    <a:pt x="422275" y="250621"/>
                  </a:lnTo>
                  <a:lnTo>
                    <a:pt x="422186" y="250367"/>
                  </a:lnTo>
                  <a:lnTo>
                    <a:pt x="422059" y="250342"/>
                  </a:lnTo>
                  <a:lnTo>
                    <a:pt x="422059" y="249910"/>
                  </a:lnTo>
                  <a:lnTo>
                    <a:pt x="422008" y="250342"/>
                  </a:lnTo>
                  <a:lnTo>
                    <a:pt x="421881" y="250367"/>
                  </a:lnTo>
                  <a:lnTo>
                    <a:pt x="421792" y="250621"/>
                  </a:lnTo>
                  <a:lnTo>
                    <a:pt x="421792" y="250913"/>
                  </a:lnTo>
                  <a:lnTo>
                    <a:pt x="421652" y="250952"/>
                  </a:lnTo>
                  <a:lnTo>
                    <a:pt x="421703" y="251079"/>
                  </a:lnTo>
                  <a:lnTo>
                    <a:pt x="422008" y="251079"/>
                  </a:lnTo>
                  <a:lnTo>
                    <a:pt x="421881" y="251117"/>
                  </a:lnTo>
                  <a:lnTo>
                    <a:pt x="421792" y="251371"/>
                  </a:lnTo>
                  <a:lnTo>
                    <a:pt x="421792" y="251663"/>
                  </a:lnTo>
                  <a:lnTo>
                    <a:pt x="421652" y="251714"/>
                  </a:lnTo>
                  <a:lnTo>
                    <a:pt x="422008" y="251828"/>
                  </a:lnTo>
                  <a:lnTo>
                    <a:pt x="421881" y="251866"/>
                  </a:lnTo>
                  <a:lnTo>
                    <a:pt x="421792" y="252107"/>
                  </a:lnTo>
                  <a:lnTo>
                    <a:pt x="421792" y="252412"/>
                  </a:lnTo>
                  <a:lnTo>
                    <a:pt x="421652" y="252450"/>
                  </a:lnTo>
                  <a:lnTo>
                    <a:pt x="421703" y="252577"/>
                  </a:lnTo>
                  <a:lnTo>
                    <a:pt x="422008" y="252577"/>
                  </a:lnTo>
                  <a:lnTo>
                    <a:pt x="421881" y="252615"/>
                  </a:lnTo>
                  <a:lnTo>
                    <a:pt x="421792" y="252857"/>
                  </a:lnTo>
                  <a:lnTo>
                    <a:pt x="421792" y="253161"/>
                  </a:lnTo>
                  <a:lnTo>
                    <a:pt x="421652" y="253199"/>
                  </a:lnTo>
                  <a:lnTo>
                    <a:pt x="421703" y="253326"/>
                  </a:lnTo>
                  <a:lnTo>
                    <a:pt x="422008" y="253326"/>
                  </a:lnTo>
                  <a:lnTo>
                    <a:pt x="421881" y="253365"/>
                  </a:lnTo>
                  <a:lnTo>
                    <a:pt x="421792" y="253606"/>
                  </a:lnTo>
                  <a:lnTo>
                    <a:pt x="421792" y="253911"/>
                  </a:lnTo>
                  <a:lnTo>
                    <a:pt x="421652" y="253949"/>
                  </a:lnTo>
                  <a:lnTo>
                    <a:pt x="421703" y="254076"/>
                  </a:lnTo>
                  <a:lnTo>
                    <a:pt x="422008" y="254076"/>
                  </a:lnTo>
                  <a:lnTo>
                    <a:pt x="421881" y="254114"/>
                  </a:lnTo>
                  <a:lnTo>
                    <a:pt x="421792" y="254355"/>
                  </a:lnTo>
                  <a:lnTo>
                    <a:pt x="421792" y="254660"/>
                  </a:lnTo>
                  <a:lnTo>
                    <a:pt x="421652" y="254698"/>
                  </a:lnTo>
                  <a:lnTo>
                    <a:pt x="421703" y="254825"/>
                  </a:lnTo>
                  <a:lnTo>
                    <a:pt x="422008" y="254825"/>
                  </a:lnTo>
                  <a:lnTo>
                    <a:pt x="421881" y="254850"/>
                  </a:lnTo>
                  <a:lnTo>
                    <a:pt x="421792" y="255104"/>
                  </a:lnTo>
                  <a:lnTo>
                    <a:pt x="421792" y="255409"/>
                  </a:lnTo>
                  <a:lnTo>
                    <a:pt x="421652" y="255447"/>
                  </a:lnTo>
                  <a:lnTo>
                    <a:pt x="421703" y="255574"/>
                  </a:lnTo>
                  <a:lnTo>
                    <a:pt x="422008" y="255574"/>
                  </a:lnTo>
                  <a:lnTo>
                    <a:pt x="421881" y="255600"/>
                  </a:lnTo>
                  <a:lnTo>
                    <a:pt x="421792" y="255854"/>
                  </a:lnTo>
                  <a:lnTo>
                    <a:pt x="421792" y="256159"/>
                  </a:lnTo>
                  <a:lnTo>
                    <a:pt x="421652" y="256197"/>
                  </a:lnTo>
                  <a:lnTo>
                    <a:pt x="421703" y="256324"/>
                  </a:lnTo>
                  <a:lnTo>
                    <a:pt x="422008" y="256324"/>
                  </a:lnTo>
                  <a:lnTo>
                    <a:pt x="421881" y="256349"/>
                  </a:lnTo>
                  <a:lnTo>
                    <a:pt x="421792" y="256603"/>
                  </a:lnTo>
                  <a:lnTo>
                    <a:pt x="421792" y="256908"/>
                  </a:lnTo>
                  <a:lnTo>
                    <a:pt x="421652" y="256946"/>
                  </a:lnTo>
                  <a:lnTo>
                    <a:pt x="421690" y="257073"/>
                  </a:lnTo>
                  <a:lnTo>
                    <a:pt x="422008" y="257073"/>
                  </a:lnTo>
                  <a:lnTo>
                    <a:pt x="421881" y="257098"/>
                  </a:lnTo>
                  <a:lnTo>
                    <a:pt x="421792" y="257352"/>
                  </a:lnTo>
                  <a:lnTo>
                    <a:pt x="421792" y="257657"/>
                  </a:lnTo>
                  <a:lnTo>
                    <a:pt x="421652" y="257695"/>
                  </a:lnTo>
                  <a:lnTo>
                    <a:pt x="421690" y="257822"/>
                  </a:lnTo>
                  <a:lnTo>
                    <a:pt x="422008" y="257822"/>
                  </a:lnTo>
                  <a:lnTo>
                    <a:pt x="422008" y="258406"/>
                  </a:lnTo>
                  <a:lnTo>
                    <a:pt x="422059" y="257822"/>
                  </a:lnTo>
                  <a:lnTo>
                    <a:pt x="422376" y="257822"/>
                  </a:lnTo>
                  <a:lnTo>
                    <a:pt x="422402" y="257695"/>
                  </a:lnTo>
                  <a:lnTo>
                    <a:pt x="422275" y="257657"/>
                  </a:lnTo>
                  <a:lnTo>
                    <a:pt x="422275" y="257352"/>
                  </a:lnTo>
                  <a:lnTo>
                    <a:pt x="422186" y="257098"/>
                  </a:lnTo>
                  <a:lnTo>
                    <a:pt x="422059" y="257073"/>
                  </a:lnTo>
                  <a:lnTo>
                    <a:pt x="422376" y="257073"/>
                  </a:lnTo>
                  <a:lnTo>
                    <a:pt x="422402" y="256946"/>
                  </a:lnTo>
                  <a:lnTo>
                    <a:pt x="422275" y="256908"/>
                  </a:lnTo>
                  <a:lnTo>
                    <a:pt x="422275" y="256603"/>
                  </a:lnTo>
                  <a:lnTo>
                    <a:pt x="422186" y="256349"/>
                  </a:lnTo>
                  <a:lnTo>
                    <a:pt x="422059" y="256324"/>
                  </a:lnTo>
                  <a:lnTo>
                    <a:pt x="422376" y="256324"/>
                  </a:lnTo>
                  <a:lnTo>
                    <a:pt x="422402" y="256197"/>
                  </a:lnTo>
                  <a:lnTo>
                    <a:pt x="422275" y="256159"/>
                  </a:lnTo>
                  <a:lnTo>
                    <a:pt x="422275" y="255854"/>
                  </a:lnTo>
                  <a:lnTo>
                    <a:pt x="422186" y="255600"/>
                  </a:lnTo>
                  <a:lnTo>
                    <a:pt x="422059" y="255574"/>
                  </a:lnTo>
                  <a:lnTo>
                    <a:pt x="422376" y="255574"/>
                  </a:lnTo>
                  <a:lnTo>
                    <a:pt x="422402" y="255447"/>
                  </a:lnTo>
                  <a:lnTo>
                    <a:pt x="422275" y="255409"/>
                  </a:lnTo>
                  <a:lnTo>
                    <a:pt x="422275" y="255104"/>
                  </a:lnTo>
                  <a:lnTo>
                    <a:pt x="422186" y="254850"/>
                  </a:lnTo>
                  <a:lnTo>
                    <a:pt x="422059" y="254825"/>
                  </a:lnTo>
                  <a:lnTo>
                    <a:pt x="422376" y="254825"/>
                  </a:lnTo>
                  <a:lnTo>
                    <a:pt x="422402" y="254698"/>
                  </a:lnTo>
                  <a:lnTo>
                    <a:pt x="422275" y="254660"/>
                  </a:lnTo>
                  <a:lnTo>
                    <a:pt x="422275" y="254355"/>
                  </a:lnTo>
                  <a:lnTo>
                    <a:pt x="422186" y="254114"/>
                  </a:lnTo>
                  <a:lnTo>
                    <a:pt x="422059" y="254076"/>
                  </a:lnTo>
                  <a:lnTo>
                    <a:pt x="422376" y="254076"/>
                  </a:lnTo>
                  <a:lnTo>
                    <a:pt x="422402" y="253949"/>
                  </a:lnTo>
                  <a:lnTo>
                    <a:pt x="422275" y="253911"/>
                  </a:lnTo>
                  <a:lnTo>
                    <a:pt x="422275" y="253606"/>
                  </a:lnTo>
                  <a:lnTo>
                    <a:pt x="422186" y="253365"/>
                  </a:lnTo>
                  <a:lnTo>
                    <a:pt x="422059" y="253326"/>
                  </a:lnTo>
                  <a:lnTo>
                    <a:pt x="422376" y="253326"/>
                  </a:lnTo>
                  <a:lnTo>
                    <a:pt x="422402" y="253199"/>
                  </a:lnTo>
                  <a:lnTo>
                    <a:pt x="422275" y="253161"/>
                  </a:lnTo>
                  <a:lnTo>
                    <a:pt x="422275" y="252857"/>
                  </a:lnTo>
                  <a:lnTo>
                    <a:pt x="422186" y="252615"/>
                  </a:lnTo>
                  <a:lnTo>
                    <a:pt x="422059" y="252577"/>
                  </a:lnTo>
                  <a:lnTo>
                    <a:pt x="422376" y="252577"/>
                  </a:lnTo>
                  <a:lnTo>
                    <a:pt x="422402" y="252450"/>
                  </a:lnTo>
                  <a:lnTo>
                    <a:pt x="422275" y="252412"/>
                  </a:lnTo>
                  <a:lnTo>
                    <a:pt x="422275" y="252107"/>
                  </a:lnTo>
                  <a:lnTo>
                    <a:pt x="422186" y="251866"/>
                  </a:lnTo>
                  <a:lnTo>
                    <a:pt x="422059" y="251828"/>
                  </a:lnTo>
                  <a:lnTo>
                    <a:pt x="422376" y="251828"/>
                  </a:lnTo>
                  <a:lnTo>
                    <a:pt x="422376" y="251663"/>
                  </a:lnTo>
                  <a:lnTo>
                    <a:pt x="422275" y="251371"/>
                  </a:lnTo>
                  <a:lnTo>
                    <a:pt x="422186" y="251117"/>
                  </a:lnTo>
                  <a:lnTo>
                    <a:pt x="422059" y="251079"/>
                  </a:lnTo>
                  <a:lnTo>
                    <a:pt x="422376" y="251079"/>
                  </a:lnTo>
                  <a:lnTo>
                    <a:pt x="422402" y="250952"/>
                  </a:lnTo>
                  <a:close/>
                </a:path>
                <a:path w="544830" h="318770">
                  <a:moveTo>
                    <a:pt x="454571" y="80010"/>
                  </a:moveTo>
                  <a:close/>
                </a:path>
                <a:path w="544830" h="318770">
                  <a:moveTo>
                    <a:pt x="461429" y="82575"/>
                  </a:moveTo>
                  <a:lnTo>
                    <a:pt x="457847" y="81280"/>
                  </a:lnTo>
                  <a:lnTo>
                    <a:pt x="454571" y="80022"/>
                  </a:lnTo>
                  <a:lnTo>
                    <a:pt x="454571" y="80200"/>
                  </a:lnTo>
                  <a:lnTo>
                    <a:pt x="457542" y="81280"/>
                  </a:lnTo>
                  <a:lnTo>
                    <a:pt x="461225" y="82550"/>
                  </a:lnTo>
                  <a:lnTo>
                    <a:pt x="461429" y="82575"/>
                  </a:lnTo>
                  <a:close/>
                </a:path>
                <a:path w="544830" h="318770">
                  <a:moveTo>
                    <a:pt x="480250" y="142748"/>
                  </a:moveTo>
                  <a:lnTo>
                    <a:pt x="478523" y="143510"/>
                  </a:lnTo>
                  <a:lnTo>
                    <a:pt x="480250" y="142748"/>
                  </a:lnTo>
                  <a:close/>
                </a:path>
                <a:path w="544830" h="318770">
                  <a:moveTo>
                    <a:pt x="483844" y="140970"/>
                  </a:moveTo>
                  <a:lnTo>
                    <a:pt x="481355" y="142240"/>
                  </a:lnTo>
                  <a:lnTo>
                    <a:pt x="480250" y="142748"/>
                  </a:lnTo>
                  <a:lnTo>
                    <a:pt x="481406" y="142240"/>
                  </a:lnTo>
                  <a:lnTo>
                    <a:pt x="483819" y="141058"/>
                  </a:lnTo>
                  <a:close/>
                </a:path>
                <a:path w="544830" h="318770">
                  <a:moveTo>
                    <a:pt x="500722" y="121577"/>
                  </a:moveTo>
                  <a:lnTo>
                    <a:pt x="499821" y="123190"/>
                  </a:lnTo>
                  <a:lnTo>
                    <a:pt x="496316" y="128270"/>
                  </a:lnTo>
                  <a:lnTo>
                    <a:pt x="496849" y="128270"/>
                  </a:lnTo>
                  <a:lnTo>
                    <a:pt x="498030" y="127000"/>
                  </a:lnTo>
                  <a:lnTo>
                    <a:pt x="500722" y="121577"/>
                  </a:lnTo>
                  <a:close/>
                </a:path>
                <a:path w="544830" h="318770">
                  <a:moveTo>
                    <a:pt x="505777" y="218846"/>
                  </a:moveTo>
                  <a:lnTo>
                    <a:pt x="504215" y="217258"/>
                  </a:lnTo>
                  <a:lnTo>
                    <a:pt x="505231" y="218440"/>
                  </a:lnTo>
                  <a:lnTo>
                    <a:pt x="505777" y="218846"/>
                  </a:lnTo>
                  <a:close/>
                </a:path>
                <a:path w="544830" h="318770">
                  <a:moveTo>
                    <a:pt x="514769" y="226060"/>
                  </a:moveTo>
                  <a:lnTo>
                    <a:pt x="512572" y="224790"/>
                  </a:lnTo>
                  <a:lnTo>
                    <a:pt x="508647" y="220980"/>
                  </a:lnTo>
                  <a:lnTo>
                    <a:pt x="506882" y="219710"/>
                  </a:lnTo>
                  <a:lnTo>
                    <a:pt x="505777" y="218846"/>
                  </a:lnTo>
                  <a:lnTo>
                    <a:pt x="506603" y="219710"/>
                  </a:lnTo>
                  <a:lnTo>
                    <a:pt x="508393" y="222250"/>
                  </a:lnTo>
                  <a:lnTo>
                    <a:pt x="512368" y="224790"/>
                  </a:lnTo>
                  <a:lnTo>
                    <a:pt x="514629" y="226060"/>
                  </a:lnTo>
                  <a:lnTo>
                    <a:pt x="514769" y="226060"/>
                  </a:lnTo>
                  <a:close/>
                </a:path>
                <a:path w="544830" h="318770">
                  <a:moveTo>
                    <a:pt x="518439" y="38100"/>
                  </a:moveTo>
                  <a:lnTo>
                    <a:pt x="517867" y="38658"/>
                  </a:lnTo>
                  <a:lnTo>
                    <a:pt x="518261" y="38544"/>
                  </a:lnTo>
                  <a:lnTo>
                    <a:pt x="518439" y="38100"/>
                  </a:lnTo>
                  <a:close/>
                </a:path>
                <a:path w="544830" h="318770">
                  <a:moveTo>
                    <a:pt x="519658" y="38188"/>
                  </a:moveTo>
                  <a:lnTo>
                    <a:pt x="519036" y="38100"/>
                  </a:lnTo>
                  <a:lnTo>
                    <a:pt x="518934" y="38379"/>
                  </a:lnTo>
                  <a:lnTo>
                    <a:pt x="519658" y="38188"/>
                  </a:lnTo>
                  <a:close/>
                </a:path>
                <a:path w="544830" h="318770">
                  <a:moveTo>
                    <a:pt x="523659" y="224790"/>
                  </a:moveTo>
                  <a:lnTo>
                    <a:pt x="523392" y="224497"/>
                  </a:lnTo>
                  <a:lnTo>
                    <a:pt x="523570" y="224790"/>
                  </a:lnTo>
                  <a:close/>
                </a:path>
                <a:path w="544830" h="318770">
                  <a:moveTo>
                    <a:pt x="523862" y="224790"/>
                  </a:moveTo>
                  <a:lnTo>
                    <a:pt x="523659" y="224790"/>
                  </a:lnTo>
                  <a:lnTo>
                    <a:pt x="521639" y="226060"/>
                  </a:lnTo>
                  <a:lnTo>
                    <a:pt x="521779" y="226060"/>
                  </a:lnTo>
                  <a:lnTo>
                    <a:pt x="523862" y="224790"/>
                  </a:lnTo>
                  <a:close/>
                </a:path>
                <a:path w="544830" h="318770">
                  <a:moveTo>
                    <a:pt x="536219" y="232410"/>
                  </a:moveTo>
                  <a:lnTo>
                    <a:pt x="532892" y="232410"/>
                  </a:lnTo>
                  <a:lnTo>
                    <a:pt x="534492" y="233680"/>
                  </a:lnTo>
                  <a:lnTo>
                    <a:pt x="536219" y="232410"/>
                  </a:lnTo>
                  <a:close/>
                </a:path>
                <a:path w="544830" h="318770">
                  <a:moveTo>
                    <a:pt x="538556" y="208343"/>
                  </a:moveTo>
                  <a:lnTo>
                    <a:pt x="537159" y="232410"/>
                  </a:lnTo>
                  <a:lnTo>
                    <a:pt x="538556" y="208343"/>
                  </a:lnTo>
                  <a:close/>
                </a:path>
                <a:path w="544830" h="318770">
                  <a:moveTo>
                    <a:pt x="538911" y="201930"/>
                  </a:moveTo>
                  <a:lnTo>
                    <a:pt x="538149" y="204470"/>
                  </a:lnTo>
                  <a:lnTo>
                    <a:pt x="536829" y="207010"/>
                  </a:lnTo>
                  <a:lnTo>
                    <a:pt x="534885" y="212090"/>
                  </a:lnTo>
                  <a:lnTo>
                    <a:pt x="532676" y="215900"/>
                  </a:lnTo>
                  <a:lnTo>
                    <a:pt x="528053" y="222250"/>
                  </a:lnTo>
                  <a:lnTo>
                    <a:pt x="526249" y="223520"/>
                  </a:lnTo>
                  <a:lnTo>
                    <a:pt x="523989" y="224790"/>
                  </a:lnTo>
                  <a:lnTo>
                    <a:pt x="523862" y="224790"/>
                  </a:lnTo>
                  <a:lnTo>
                    <a:pt x="525221" y="227330"/>
                  </a:lnTo>
                  <a:lnTo>
                    <a:pt x="526732" y="228600"/>
                  </a:lnTo>
                  <a:lnTo>
                    <a:pt x="529844" y="231140"/>
                  </a:lnTo>
                  <a:lnTo>
                    <a:pt x="531279" y="232410"/>
                  </a:lnTo>
                  <a:lnTo>
                    <a:pt x="531431" y="232410"/>
                  </a:lnTo>
                  <a:lnTo>
                    <a:pt x="530021" y="231140"/>
                  </a:lnTo>
                  <a:lnTo>
                    <a:pt x="525513" y="227330"/>
                  </a:lnTo>
                  <a:lnTo>
                    <a:pt x="524192" y="224790"/>
                  </a:lnTo>
                  <a:lnTo>
                    <a:pt x="526478" y="223520"/>
                  </a:lnTo>
                  <a:lnTo>
                    <a:pt x="528307" y="222250"/>
                  </a:lnTo>
                  <a:lnTo>
                    <a:pt x="532980" y="215900"/>
                  </a:lnTo>
                  <a:lnTo>
                    <a:pt x="535190" y="212090"/>
                  </a:lnTo>
                  <a:lnTo>
                    <a:pt x="537133" y="207010"/>
                  </a:lnTo>
                  <a:lnTo>
                    <a:pt x="538441" y="204470"/>
                  </a:lnTo>
                  <a:lnTo>
                    <a:pt x="538848" y="203200"/>
                  </a:lnTo>
                  <a:lnTo>
                    <a:pt x="538911" y="201930"/>
                  </a:lnTo>
                  <a:close/>
                </a:path>
                <a:path w="544830" h="318770">
                  <a:moveTo>
                    <a:pt x="539673" y="189230"/>
                  </a:moveTo>
                  <a:lnTo>
                    <a:pt x="539356" y="194310"/>
                  </a:lnTo>
                  <a:lnTo>
                    <a:pt x="539673" y="189230"/>
                  </a:lnTo>
                  <a:close/>
                </a:path>
                <a:path w="544830" h="318770">
                  <a:moveTo>
                    <a:pt x="541185" y="162560"/>
                  </a:moveTo>
                  <a:lnTo>
                    <a:pt x="539991" y="182880"/>
                  </a:lnTo>
                  <a:lnTo>
                    <a:pt x="541185" y="162560"/>
                  </a:lnTo>
                  <a:close/>
                </a:path>
                <a:path w="544830" h="318770">
                  <a:moveTo>
                    <a:pt x="544487" y="105410"/>
                  </a:moveTo>
                  <a:lnTo>
                    <a:pt x="543115" y="128270"/>
                  </a:lnTo>
                  <a:lnTo>
                    <a:pt x="541756" y="128270"/>
                  </a:lnTo>
                  <a:lnTo>
                    <a:pt x="541261" y="126758"/>
                  </a:lnTo>
                  <a:lnTo>
                    <a:pt x="541261" y="128270"/>
                  </a:lnTo>
                  <a:lnTo>
                    <a:pt x="529424" y="128270"/>
                  </a:lnTo>
                  <a:lnTo>
                    <a:pt x="529424" y="129540"/>
                  </a:lnTo>
                  <a:lnTo>
                    <a:pt x="523189" y="137160"/>
                  </a:lnTo>
                  <a:lnTo>
                    <a:pt x="522541" y="136867"/>
                  </a:lnTo>
                  <a:lnTo>
                    <a:pt x="522541" y="138430"/>
                  </a:lnTo>
                  <a:lnTo>
                    <a:pt x="521093" y="139700"/>
                  </a:lnTo>
                  <a:lnTo>
                    <a:pt x="520941" y="139509"/>
                  </a:lnTo>
                  <a:lnTo>
                    <a:pt x="520941" y="140970"/>
                  </a:lnTo>
                  <a:lnTo>
                    <a:pt x="517486" y="144780"/>
                  </a:lnTo>
                  <a:lnTo>
                    <a:pt x="517944" y="143510"/>
                  </a:lnTo>
                  <a:lnTo>
                    <a:pt x="518858" y="140970"/>
                  </a:lnTo>
                  <a:lnTo>
                    <a:pt x="519506" y="138430"/>
                  </a:lnTo>
                  <a:lnTo>
                    <a:pt x="520941" y="140970"/>
                  </a:lnTo>
                  <a:lnTo>
                    <a:pt x="520941" y="139509"/>
                  </a:lnTo>
                  <a:lnTo>
                    <a:pt x="520090" y="138430"/>
                  </a:lnTo>
                  <a:lnTo>
                    <a:pt x="519620" y="138430"/>
                  </a:lnTo>
                  <a:lnTo>
                    <a:pt x="520077" y="135890"/>
                  </a:lnTo>
                  <a:lnTo>
                    <a:pt x="522541" y="138430"/>
                  </a:lnTo>
                  <a:lnTo>
                    <a:pt x="522541" y="136867"/>
                  </a:lnTo>
                  <a:lnTo>
                    <a:pt x="520395" y="135890"/>
                  </a:lnTo>
                  <a:lnTo>
                    <a:pt x="521512" y="132080"/>
                  </a:lnTo>
                  <a:lnTo>
                    <a:pt x="522046" y="129540"/>
                  </a:lnTo>
                  <a:lnTo>
                    <a:pt x="529424" y="129540"/>
                  </a:lnTo>
                  <a:lnTo>
                    <a:pt x="529424" y="128270"/>
                  </a:lnTo>
                  <a:lnTo>
                    <a:pt x="522351" y="128270"/>
                  </a:lnTo>
                  <a:lnTo>
                    <a:pt x="524560" y="120650"/>
                  </a:lnTo>
                  <a:lnTo>
                    <a:pt x="526643" y="113030"/>
                  </a:lnTo>
                  <a:lnTo>
                    <a:pt x="528637" y="105410"/>
                  </a:lnTo>
                  <a:lnTo>
                    <a:pt x="530542" y="96520"/>
                  </a:lnTo>
                  <a:lnTo>
                    <a:pt x="531215" y="96520"/>
                  </a:lnTo>
                  <a:lnTo>
                    <a:pt x="533819" y="104140"/>
                  </a:lnTo>
                  <a:lnTo>
                    <a:pt x="536346" y="113030"/>
                  </a:lnTo>
                  <a:lnTo>
                    <a:pt x="539229" y="121920"/>
                  </a:lnTo>
                  <a:lnTo>
                    <a:pt x="541261" y="128270"/>
                  </a:lnTo>
                  <a:lnTo>
                    <a:pt x="541261" y="126758"/>
                  </a:lnTo>
                  <a:lnTo>
                    <a:pt x="539267" y="120650"/>
                  </a:lnTo>
                  <a:lnTo>
                    <a:pt x="536727" y="111760"/>
                  </a:lnTo>
                  <a:lnTo>
                    <a:pt x="534136" y="104140"/>
                  </a:lnTo>
                  <a:lnTo>
                    <a:pt x="531850" y="96520"/>
                  </a:lnTo>
                  <a:lnTo>
                    <a:pt x="531469" y="95250"/>
                  </a:lnTo>
                  <a:lnTo>
                    <a:pt x="531469" y="93980"/>
                  </a:lnTo>
                  <a:lnTo>
                    <a:pt x="532815" y="93980"/>
                  </a:lnTo>
                  <a:lnTo>
                    <a:pt x="532815" y="92710"/>
                  </a:lnTo>
                  <a:lnTo>
                    <a:pt x="532257" y="92710"/>
                  </a:lnTo>
                  <a:lnTo>
                    <a:pt x="532155" y="91440"/>
                  </a:lnTo>
                  <a:lnTo>
                    <a:pt x="532815" y="91440"/>
                  </a:lnTo>
                  <a:lnTo>
                    <a:pt x="532815" y="90170"/>
                  </a:lnTo>
                  <a:lnTo>
                    <a:pt x="532257" y="90170"/>
                  </a:lnTo>
                  <a:lnTo>
                    <a:pt x="532155" y="88900"/>
                  </a:lnTo>
                  <a:lnTo>
                    <a:pt x="532815" y="88900"/>
                  </a:lnTo>
                  <a:lnTo>
                    <a:pt x="532815" y="87630"/>
                  </a:lnTo>
                  <a:lnTo>
                    <a:pt x="532295" y="87630"/>
                  </a:lnTo>
                  <a:lnTo>
                    <a:pt x="532257" y="86360"/>
                  </a:lnTo>
                  <a:lnTo>
                    <a:pt x="532536" y="86360"/>
                  </a:lnTo>
                  <a:lnTo>
                    <a:pt x="532815" y="85090"/>
                  </a:lnTo>
                  <a:lnTo>
                    <a:pt x="532599" y="83820"/>
                  </a:lnTo>
                  <a:lnTo>
                    <a:pt x="532155" y="83820"/>
                  </a:lnTo>
                  <a:lnTo>
                    <a:pt x="531990" y="82550"/>
                  </a:lnTo>
                  <a:lnTo>
                    <a:pt x="532815" y="82550"/>
                  </a:lnTo>
                  <a:lnTo>
                    <a:pt x="532815" y="81280"/>
                  </a:lnTo>
                  <a:lnTo>
                    <a:pt x="532257" y="81280"/>
                  </a:lnTo>
                  <a:lnTo>
                    <a:pt x="532155" y="80010"/>
                  </a:lnTo>
                  <a:lnTo>
                    <a:pt x="532815" y="80010"/>
                  </a:lnTo>
                  <a:lnTo>
                    <a:pt x="532815" y="78740"/>
                  </a:lnTo>
                  <a:lnTo>
                    <a:pt x="532295" y="78740"/>
                  </a:lnTo>
                  <a:lnTo>
                    <a:pt x="532257" y="77470"/>
                  </a:lnTo>
                  <a:lnTo>
                    <a:pt x="532498" y="77470"/>
                  </a:lnTo>
                  <a:lnTo>
                    <a:pt x="532752" y="76200"/>
                  </a:lnTo>
                  <a:lnTo>
                    <a:pt x="536257" y="86360"/>
                  </a:lnTo>
                  <a:lnTo>
                    <a:pt x="539877" y="95250"/>
                  </a:lnTo>
                  <a:lnTo>
                    <a:pt x="543699" y="104140"/>
                  </a:lnTo>
                  <a:lnTo>
                    <a:pt x="544436" y="105410"/>
                  </a:lnTo>
                  <a:lnTo>
                    <a:pt x="543941" y="104140"/>
                  </a:lnTo>
                  <a:lnTo>
                    <a:pt x="540042" y="93980"/>
                  </a:lnTo>
                  <a:lnTo>
                    <a:pt x="536371" y="85090"/>
                  </a:lnTo>
                  <a:lnTo>
                    <a:pt x="532409" y="73660"/>
                  </a:lnTo>
                  <a:lnTo>
                    <a:pt x="532815" y="73660"/>
                  </a:lnTo>
                  <a:lnTo>
                    <a:pt x="532599" y="72390"/>
                  </a:lnTo>
                  <a:lnTo>
                    <a:pt x="532257" y="72390"/>
                  </a:lnTo>
                  <a:lnTo>
                    <a:pt x="532155" y="71120"/>
                  </a:lnTo>
                  <a:lnTo>
                    <a:pt x="532815" y="71120"/>
                  </a:lnTo>
                  <a:lnTo>
                    <a:pt x="532815" y="69850"/>
                  </a:lnTo>
                  <a:lnTo>
                    <a:pt x="532257" y="69850"/>
                  </a:lnTo>
                  <a:lnTo>
                    <a:pt x="532155" y="68580"/>
                  </a:lnTo>
                  <a:lnTo>
                    <a:pt x="532815" y="68580"/>
                  </a:lnTo>
                  <a:lnTo>
                    <a:pt x="532815" y="67310"/>
                  </a:lnTo>
                  <a:lnTo>
                    <a:pt x="532295" y="67310"/>
                  </a:lnTo>
                  <a:lnTo>
                    <a:pt x="532257" y="66040"/>
                  </a:lnTo>
                  <a:lnTo>
                    <a:pt x="532104" y="66040"/>
                  </a:lnTo>
                  <a:lnTo>
                    <a:pt x="531876" y="64770"/>
                  </a:lnTo>
                  <a:lnTo>
                    <a:pt x="533641" y="64770"/>
                  </a:lnTo>
                  <a:lnTo>
                    <a:pt x="533641" y="63500"/>
                  </a:lnTo>
                  <a:lnTo>
                    <a:pt x="530364" y="63500"/>
                  </a:lnTo>
                  <a:lnTo>
                    <a:pt x="530364" y="93980"/>
                  </a:lnTo>
                  <a:lnTo>
                    <a:pt x="530364" y="95250"/>
                  </a:lnTo>
                  <a:lnTo>
                    <a:pt x="528370" y="104140"/>
                  </a:lnTo>
                  <a:lnTo>
                    <a:pt x="526288" y="111760"/>
                  </a:lnTo>
                  <a:lnTo>
                    <a:pt x="524090" y="120650"/>
                  </a:lnTo>
                  <a:lnTo>
                    <a:pt x="521766" y="128270"/>
                  </a:lnTo>
                  <a:lnTo>
                    <a:pt x="521449" y="128270"/>
                  </a:lnTo>
                  <a:lnTo>
                    <a:pt x="521449" y="129540"/>
                  </a:lnTo>
                  <a:lnTo>
                    <a:pt x="519912" y="134620"/>
                  </a:lnTo>
                  <a:lnTo>
                    <a:pt x="519607" y="134442"/>
                  </a:lnTo>
                  <a:lnTo>
                    <a:pt x="519607" y="135890"/>
                  </a:lnTo>
                  <a:lnTo>
                    <a:pt x="519226" y="137160"/>
                  </a:lnTo>
                  <a:lnTo>
                    <a:pt x="519112" y="136956"/>
                  </a:lnTo>
                  <a:lnTo>
                    <a:pt x="519112" y="137160"/>
                  </a:lnTo>
                  <a:lnTo>
                    <a:pt x="518464" y="139700"/>
                  </a:lnTo>
                  <a:lnTo>
                    <a:pt x="517080" y="143510"/>
                  </a:lnTo>
                  <a:lnTo>
                    <a:pt x="516547" y="141909"/>
                  </a:lnTo>
                  <a:lnTo>
                    <a:pt x="516547" y="146050"/>
                  </a:lnTo>
                  <a:lnTo>
                    <a:pt x="514705" y="151130"/>
                  </a:lnTo>
                  <a:lnTo>
                    <a:pt x="508863" y="166370"/>
                  </a:lnTo>
                  <a:lnTo>
                    <a:pt x="506996" y="171450"/>
                  </a:lnTo>
                  <a:lnTo>
                    <a:pt x="504990" y="175260"/>
                  </a:lnTo>
                  <a:lnTo>
                    <a:pt x="504710" y="174244"/>
                  </a:lnTo>
                  <a:lnTo>
                    <a:pt x="504710" y="176530"/>
                  </a:lnTo>
                  <a:lnTo>
                    <a:pt x="501878" y="182880"/>
                  </a:lnTo>
                  <a:lnTo>
                    <a:pt x="498754" y="187960"/>
                  </a:lnTo>
                  <a:lnTo>
                    <a:pt x="494182" y="195580"/>
                  </a:lnTo>
                  <a:lnTo>
                    <a:pt x="492125" y="198120"/>
                  </a:lnTo>
                  <a:lnTo>
                    <a:pt x="490194" y="194310"/>
                  </a:lnTo>
                  <a:lnTo>
                    <a:pt x="488365" y="191770"/>
                  </a:lnTo>
                  <a:lnTo>
                    <a:pt x="486638" y="187960"/>
                  </a:lnTo>
                  <a:lnTo>
                    <a:pt x="487172" y="186690"/>
                  </a:lnTo>
                  <a:lnTo>
                    <a:pt x="487705" y="185420"/>
                  </a:lnTo>
                  <a:lnTo>
                    <a:pt x="488708" y="182880"/>
                  </a:lnTo>
                  <a:lnTo>
                    <a:pt x="489661" y="179070"/>
                  </a:lnTo>
                  <a:lnTo>
                    <a:pt x="491998" y="172720"/>
                  </a:lnTo>
                  <a:lnTo>
                    <a:pt x="494144" y="165100"/>
                  </a:lnTo>
                  <a:lnTo>
                    <a:pt x="496125" y="158750"/>
                  </a:lnTo>
                  <a:lnTo>
                    <a:pt x="497967" y="151130"/>
                  </a:lnTo>
                  <a:lnTo>
                    <a:pt x="498094" y="151130"/>
                  </a:lnTo>
                  <a:lnTo>
                    <a:pt x="499681" y="157480"/>
                  </a:lnTo>
                  <a:lnTo>
                    <a:pt x="501307" y="163830"/>
                  </a:lnTo>
                  <a:lnTo>
                    <a:pt x="502983" y="170180"/>
                  </a:lnTo>
                  <a:lnTo>
                    <a:pt x="504710" y="176530"/>
                  </a:lnTo>
                  <a:lnTo>
                    <a:pt x="504710" y="174244"/>
                  </a:lnTo>
                  <a:lnTo>
                    <a:pt x="503262" y="168910"/>
                  </a:lnTo>
                  <a:lnTo>
                    <a:pt x="501599" y="162560"/>
                  </a:lnTo>
                  <a:lnTo>
                    <a:pt x="499973" y="157480"/>
                  </a:lnTo>
                  <a:lnTo>
                    <a:pt x="498386" y="151130"/>
                  </a:lnTo>
                  <a:lnTo>
                    <a:pt x="498386" y="149860"/>
                  </a:lnTo>
                  <a:lnTo>
                    <a:pt x="499275" y="149860"/>
                  </a:lnTo>
                  <a:lnTo>
                    <a:pt x="499275" y="148590"/>
                  </a:lnTo>
                  <a:lnTo>
                    <a:pt x="498830" y="148590"/>
                  </a:lnTo>
                  <a:lnTo>
                    <a:pt x="498690" y="147320"/>
                  </a:lnTo>
                  <a:lnTo>
                    <a:pt x="498932" y="147320"/>
                  </a:lnTo>
                  <a:lnTo>
                    <a:pt x="498919" y="146050"/>
                  </a:lnTo>
                  <a:lnTo>
                    <a:pt x="499275" y="146050"/>
                  </a:lnTo>
                  <a:lnTo>
                    <a:pt x="499275" y="144780"/>
                  </a:lnTo>
                  <a:lnTo>
                    <a:pt x="498830" y="144780"/>
                  </a:lnTo>
                  <a:lnTo>
                    <a:pt x="498690" y="143510"/>
                  </a:lnTo>
                  <a:lnTo>
                    <a:pt x="498932" y="143510"/>
                  </a:lnTo>
                  <a:lnTo>
                    <a:pt x="498919" y="142240"/>
                  </a:lnTo>
                  <a:lnTo>
                    <a:pt x="499275" y="142240"/>
                  </a:lnTo>
                  <a:lnTo>
                    <a:pt x="499275" y="140970"/>
                  </a:lnTo>
                  <a:lnTo>
                    <a:pt x="498830" y="140970"/>
                  </a:lnTo>
                  <a:lnTo>
                    <a:pt x="498690" y="139700"/>
                  </a:lnTo>
                  <a:lnTo>
                    <a:pt x="498932" y="139700"/>
                  </a:lnTo>
                  <a:lnTo>
                    <a:pt x="498919" y="138430"/>
                  </a:lnTo>
                  <a:lnTo>
                    <a:pt x="499275" y="138430"/>
                  </a:lnTo>
                  <a:lnTo>
                    <a:pt x="499275" y="137160"/>
                  </a:lnTo>
                  <a:lnTo>
                    <a:pt x="498830" y="137160"/>
                  </a:lnTo>
                  <a:lnTo>
                    <a:pt x="498690" y="135890"/>
                  </a:lnTo>
                  <a:lnTo>
                    <a:pt x="498932" y="135890"/>
                  </a:lnTo>
                  <a:lnTo>
                    <a:pt x="498919" y="134620"/>
                  </a:lnTo>
                  <a:lnTo>
                    <a:pt x="499275" y="134620"/>
                  </a:lnTo>
                  <a:lnTo>
                    <a:pt x="499275" y="133350"/>
                  </a:lnTo>
                  <a:lnTo>
                    <a:pt x="498830" y="133350"/>
                  </a:lnTo>
                  <a:lnTo>
                    <a:pt x="498690" y="132080"/>
                  </a:lnTo>
                  <a:lnTo>
                    <a:pt x="498932" y="132080"/>
                  </a:lnTo>
                  <a:lnTo>
                    <a:pt x="498906" y="130810"/>
                  </a:lnTo>
                  <a:lnTo>
                    <a:pt x="498386" y="130810"/>
                  </a:lnTo>
                  <a:lnTo>
                    <a:pt x="498386" y="129540"/>
                  </a:lnTo>
                  <a:lnTo>
                    <a:pt x="511556" y="129540"/>
                  </a:lnTo>
                  <a:lnTo>
                    <a:pt x="516547" y="146050"/>
                  </a:lnTo>
                  <a:lnTo>
                    <a:pt x="516547" y="141909"/>
                  </a:lnTo>
                  <a:lnTo>
                    <a:pt x="512876" y="130810"/>
                  </a:lnTo>
                  <a:lnTo>
                    <a:pt x="516597" y="133350"/>
                  </a:lnTo>
                  <a:lnTo>
                    <a:pt x="517436" y="134620"/>
                  </a:lnTo>
                  <a:lnTo>
                    <a:pt x="517194" y="134620"/>
                  </a:lnTo>
                  <a:lnTo>
                    <a:pt x="517563" y="134810"/>
                  </a:lnTo>
                  <a:lnTo>
                    <a:pt x="519112" y="137160"/>
                  </a:lnTo>
                  <a:lnTo>
                    <a:pt x="519112" y="136956"/>
                  </a:lnTo>
                  <a:lnTo>
                    <a:pt x="518121" y="135102"/>
                  </a:lnTo>
                  <a:lnTo>
                    <a:pt x="519607" y="135890"/>
                  </a:lnTo>
                  <a:lnTo>
                    <a:pt x="519607" y="134442"/>
                  </a:lnTo>
                  <a:lnTo>
                    <a:pt x="515734" y="132080"/>
                  </a:lnTo>
                  <a:lnTo>
                    <a:pt x="515188" y="130810"/>
                  </a:lnTo>
                  <a:lnTo>
                    <a:pt x="513372" y="129540"/>
                  </a:lnTo>
                  <a:lnTo>
                    <a:pt x="514324" y="129540"/>
                  </a:lnTo>
                  <a:lnTo>
                    <a:pt x="515162" y="130810"/>
                  </a:lnTo>
                  <a:lnTo>
                    <a:pt x="514629" y="129540"/>
                  </a:lnTo>
                  <a:lnTo>
                    <a:pt x="521449" y="129540"/>
                  </a:lnTo>
                  <a:lnTo>
                    <a:pt x="521449" y="128270"/>
                  </a:lnTo>
                  <a:lnTo>
                    <a:pt x="514032" y="128270"/>
                  </a:lnTo>
                  <a:lnTo>
                    <a:pt x="513727" y="127736"/>
                  </a:lnTo>
                  <a:lnTo>
                    <a:pt x="513727" y="128270"/>
                  </a:lnTo>
                  <a:lnTo>
                    <a:pt x="512267" y="128270"/>
                  </a:lnTo>
                  <a:lnTo>
                    <a:pt x="510311" y="121920"/>
                  </a:lnTo>
                  <a:lnTo>
                    <a:pt x="512559" y="127000"/>
                  </a:lnTo>
                  <a:lnTo>
                    <a:pt x="513727" y="128270"/>
                  </a:lnTo>
                  <a:lnTo>
                    <a:pt x="513727" y="127736"/>
                  </a:lnTo>
                  <a:lnTo>
                    <a:pt x="512584" y="125730"/>
                  </a:lnTo>
                  <a:lnTo>
                    <a:pt x="511187" y="123190"/>
                  </a:lnTo>
                  <a:lnTo>
                    <a:pt x="510514" y="121920"/>
                  </a:lnTo>
                  <a:lnTo>
                    <a:pt x="509841" y="120650"/>
                  </a:lnTo>
                  <a:lnTo>
                    <a:pt x="507415" y="113030"/>
                  </a:lnTo>
                  <a:lnTo>
                    <a:pt x="506590" y="110426"/>
                  </a:lnTo>
                  <a:lnTo>
                    <a:pt x="506590" y="114198"/>
                  </a:lnTo>
                  <a:lnTo>
                    <a:pt x="505828" y="113030"/>
                  </a:lnTo>
                  <a:lnTo>
                    <a:pt x="506196" y="113030"/>
                  </a:lnTo>
                  <a:lnTo>
                    <a:pt x="506590" y="114198"/>
                  </a:lnTo>
                  <a:lnTo>
                    <a:pt x="506590" y="110426"/>
                  </a:lnTo>
                  <a:lnTo>
                    <a:pt x="506209" y="109220"/>
                  </a:lnTo>
                  <a:lnTo>
                    <a:pt x="504647" y="109220"/>
                  </a:lnTo>
                  <a:lnTo>
                    <a:pt x="505104" y="111760"/>
                  </a:lnTo>
                  <a:lnTo>
                    <a:pt x="501815" y="119380"/>
                  </a:lnTo>
                  <a:lnTo>
                    <a:pt x="500722" y="121577"/>
                  </a:lnTo>
                  <a:lnTo>
                    <a:pt x="502666" y="118110"/>
                  </a:lnTo>
                  <a:lnTo>
                    <a:pt x="505206" y="113030"/>
                  </a:lnTo>
                  <a:lnTo>
                    <a:pt x="505536" y="113030"/>
                  </a:lnTo>
                  <a:lnTo>
                    <a:pt x="506933" y="115570"/>
                  </a:lnTo>
                  <a:lnTo>
                    <a:pt x="507631" y="116840"/>
                  </a:lnTo>
                  <a:lnTo>
                    <a:pt x="511225" y="128270"/>
                  </a:lnTo>
                  <a:lnTo>
                    <a:pt x="497801" y="128270"/>
                  </a:lnTo>
                  <a:lnTo>
                    <a:pt x="497801" y="129540"/>
                  </a:lnTo>
                  <a:lnTo>
                    <a:pt x="497801" y="130810"/>
                  </a:lnTo>
                  <a:lnTo>
                    <a:pt x="497293" y="130810"/>
                  </a:lnTo>
                  <a:lnTo>
                    <a:pt x="497255" y="132080"/>
                  </a:lnTo>
                  <a:lnTo>
                    <a:pt x="497509" y="132080"/>
                  </a:lnTo>
                  <a:lnTo>
                    <a:pt x="497357" y="133350"/>
                  </a:lnTo>
                  <a:lnTo>
                    <a:pt x="496925" y="133350"/>
                  </a:lnTo>
                  <a:lnTo>
                    <a:pt x="496925" y="134620"/>
                  </a:lnTo>
                  <a:lnTo>
                    <a:pt x="497281" y="134620"/>
                  </a:lnTo>
                  <a:lnTo>
                    <a:pt x="497255" y="135890"/>
                  </a:lnTo>
                  <a:lnTo>
                    <a:pt x="497509" y="135890"/>
                  </a:lnTo>
                  <a:lnTo>
                    <a:pt x="497357" y="137160"/>
                  </a:lnTo>
                  <a:lnTo>
                    <a:pt x="496925" y="137160"/>
                  </a:lnTo>
                  <a:lnTo>
                    <a:pt x="496925" y="138430"/>
                  </a:lnTo>
                  <a:lnTo>
                    <a:pt x="497281" y="138430"/>
                  </a:lnTo>
                  <a:lnTo>
                    <a:pt x="497255" y="139700"/>
                  </a:lnTo>
                  <a:lnTo>
                    <a:pt x="497509" y="139700"/>
                  </a:lnTo>
                  <a:lnTo>
                    <a:pt x="497357" y="140970"/>
                  </a:lnTo>
                  <a:lnTo>
                    <a:pt x="496925" y="140970"/>
                  </a:lnTo>
                  <a:lnTo>
                    <a:pt x="496925" y="142240"/>
                  </a:lnTo>
                  <a:lnTo>
                    <a:pt x="497281" y="142240"/>
                  </a:lnTo>
                  <a:lnTo>
                    <a:pt x="497255" y="143510"/>
                  </a:lnTo>
                  <a:lnTo>
                    <a:pt x="497509" y="143510"/>
                  </a:lnTo>
                  <a:lnTo>
                    <a:pt x="497357" y="144780"/>
                  </a:lnTo>
                  <a:lnTo>
                    <a:pt x="496925" y="144780"/>
                  </a:lnTo>
                  <a:lnTo>
                    <a:pt x="496925" y="146050"/>
                  </a:lnTo>
                  <a:lnTo>
                    <a:pt x="497281" y="146050"/>
                  </a:lnTo>
                  <a:lnTo>
                    <a:pt x="497255" y="147320"/>
                  </a:lnTo>
                  <a:lnTo>
                    <a:pt x="497509" y="147320"/>
                  </a:lnTo>
                  <a:lnTo>
                    <a:pt x="497357" y="148590"/>
                  </a:lnTo>
                  <a:lnTo>
                    <a:pt x="496925" y="148590"/>
                  </a:lnTo>
                  <a:lnTo>
                    <a:pt x="496925" y="149860"/>
                  </a:lnTo>
                  <a:lnTo>
                    <a:pt x="497801" y="149860"/>
                  </a:lnTo>
                  <a:lnTo>
                    <a:pt x="495896" y="157480"/>
                  </a:lnTo>
                  <a:lnTo>
                    <a:pt x="493852" y="165100"/>
                  </a:lnTo>
                  <a:lnTo>
                    <a:pt x="491629" y="172720"/>
                  </a:lnTo>
                  <a:lnTo>
                    <a:pt x="489077" y="179387"/>
                  </a:lnTo>
                  <a:lnTo>
                    <a:pt x="488302" y="181610"/>
                  </a:lnTo>
                  <a:lnTo>
                    <a:pt x="486346" y="186690"/>
                  </a:lnTo>
                  <a:lnTo>
                    <a:pt x="486117" y="186169"/>
                  </a:lnTo>
                  <a:lnTo>
                    <a:pt x="486117" y="187960"/>
                  </a:lnTo>
                  <a:lnTo>
                    <a:pt x="484428" y="191770"/>
                  </a:lnTo>
                  <a:lnTo>
                    <a:pt x="481304" y="198310"/>
                  </a:lnTo>
                  <a:lnTo>
                    <a:pt x="479018" y="203200"/>
                  </a:lnTo>
                  <a:lnTo>
                    <a:pt x="473354" y="210820"/>
                  </a:lnTo>
                  <a:lnTo>
                    <a:pt x="470065" y="214630"/>
                  </a:lnTo>
                  <a:lnTo>
                    <a:pt x="465721" y="218440"/>
                  </a:lnTo>
                  <a:lnTo>
                    <a:pt x="462559" y="218440"/>
                  </a:lnTo>
                  <a:lnTo>
                    <a:pt x="462559" y="283210"/>
                  </a:lnTo>
                  <a:lnTo>
                    <a:pt x="461886" y="282752"/>
                  </a:lnTo>
                  <a:lnTo>
                    <a:pt x="461886" y="284480"/>
                  </a:lnTo>
                  <a:lnTo>
                    <a:pt x="451510" y="290830"/>
                  </a:lnTo>
                  <a:lnTo>
                    <a:pt x="449834" y="289801"/>
                  </a:lnTo>
                  <a:lnTo>
                    <a:pt x="449834" y="292100"/>
                  </a:lnTo>
                  <a:lnTo>
                    <a:pt x="439597" y="298450"/>
                  </a:lnTo>
                  <a:lnTo>
                    <a:pt x="440055" y="285750"/>
                  </a:lnTo>
                  <a:lnTo>
                    <a:pt x="449834" y="292100"/>
                  </a:lnTo>
                  <a:lnTo>
                    <a:pt x="449834" y="289801"/>
                  </a:lnTo>
                  <a:lnTo>
                    <a:pt x="443318" y="285750"/>
                  </a:lnTo>
                  <a:lnTo>
                    <a:pt x="441274" y="284480"/>
                  </a:lnTo>
                  <a:lnTo>
                    <a:pt x="443014" y="283210"/>
                  </a:lnTo>
                  <a:lnTo>
                    <a:pt x="451700" y="276860"/>
                  </a:lnTo>
                  <a:lnTo>
                    <a:pt x="461886" y="284480"/>
                  </a:lnTo>
                  <a:lnTo>
                    <a:pt x="461886" y="282752"/>
                  </a:lnTo>
                  <a:lnTo>
                    <a:pt x="453263" y="276860"/>
                  </a:lnTo>
                  <a:lnTo>
                    <a:pt x="455053" y="275590"/>
                  </a:lnTo>
                  <a:lnTo>
                    <a:pt x="462229" y="270510"/>
                  </a:lnTo>
                  <a:lnTo>
                    <a:pt x="462559" y="283210"/>
                  </a:lnTo>
                  <a:lnTo>
                    <a:pt x="462559" y="218440"/>
                  </a:lnTo>
                  <a:lnTo>
                    <a:pt x="462280" y="208280"/>
                  </a:lnTo>
                  <a:lnTo>
                    <a:pt x="462127" y="202425"/>
                  </a:lnTo>
                  <a:lnTo>
                    <a:pt x="462127" y="266700"/>
                  </a:lnTo>
                  <a:lnTo>
                    <a:pt x="460248" y="265353"/>
                  </a:lnTo>
                  <a:lnTo>
                    <a:pt x="460248" y="267970"/>
                  </a:lnTo>
                  <a:lnTo>
                    <a:pt x="460184" y="269240"/>
                  </a:lnTo>
                  <a:lnTo>
                    <a:pt x="451700" y="275590"/>
                  </a:lnTo>
                  <a:lnTo>
                    <a:pt x="450151" y="274434"/>
                  </a:lnTo>
                  <a:lnTo>
                    <a:pt x="450151" y="276860"/>
                  </a:lnTo>
                  <a:lnTo>
                    <a:pt x="440156" y="283210"/>
                  </a:lnTo>
                  <a:lnTo>
                    <a:pt x="440524" y="272897"/>
                  </a:lnTo>
                  <a:lnTo>
                    <a:pt x="441452" y="269887"/>
                  </a:lnTo>
                  <a:lnTo>
                    <a:pt x="450151" y="276860"/>
                  </a:lnTo>
                  <a:lnTo>
                    <a:pt x="450151" y="274434"/>
                  </a:lnTo>
                  <a:lnTo>
                    <a:pt x="443217" y="269240"/>
                  </a:lnTo>
                  <a:lnTo>
                    <a:pt x="460184" y="269240"/>
                  </a:lnTo>
                  <a:lnTo>
                    <a:pt x="460184" y="267970"/>
                  </a:lnTo>
                  <a:lnTo>
                    <a:pt x="449719" y="267970"/>
                  </a:lnTo>
                  <a:lnTo>
                    <a:pt x="449630" y="267614"/>
                  </a:lnTo>
                  <a:lnTo>
                    <a:pt x="449554" y="267411"/>
                  </a:lnTo>
                  <a:lnTo>
                    <a:pt x="449719" y="267385"/>
                  </a:lnTo>
                  <a:lnTo>
                    <a:pt x="449719" y="267246"/>
                  </a:lnTo>
                  <a:lnTo>
                    <a:pt x="449630" y="266992"/>
                  </a:lnTo>
                  <a:lnTo>
                    <a:pt x="449554" y="266801"/>
                  </a:lnTo>
                  <a:lnTo>
                    <a:pt x="449719" y="266763"/>
                  </a:lnTo>
                  <a:lnTo>
                    <a:pt x="449719" y="266636"/>
                  </a:lnTo>
                  <a:lnTo>
                    <a:pt x="449630" y="266382"/>
                  </a:lnTo>
                  <a:lnTo>
                    <a:pt x="449554" y="266179"/>
                  </a:lnTo>
                  <a:lnTo>
                    <a:pt x="449719" y="266153"/>
                  </a:lnTo>
                  <a:lnTo>
                    <a:pt x="449719" y="266014"/>
                  </a:lnTo>
                  <a:lnTo>
                    <a:pt x="449630" y="265772"/>
                  </a:lnTo>
                  <a:lnTo>
                    <a:pt x="449554" y="265557"/>
                  </a:lnTo>
                  <a:lnTo>
                    <a:pt x="449719" y="265531"/>
                  </a:lnTo>
                  <a:lnTo>
                    <a:pt x="449719" y="265391"/>
                  </a:lnTo>
                  <a:lnTo>
                    <a:pt x="449630" y="265150"/>
                  </a:lnTo>
                  <a:lnTo>
                    <a:pt x="449554" y="264947"/>
                  </a:lnTo>
                  <a:lnTo>
                    <a:pt x="449719" y="264922"/>
                  </a:lnTo>
                  <a:lnTo>
                    <a:pt x="449719" y="264782"/>
                  </a:lnTo>
                  <a:lnTo>
                    <a:pt x="449630" y="264528"/>
                  </a:lnTo>
                  <a:lnTo>
                    <a:pt x="449554" y="264325"/>
                  </a:lnTo>
                  <a:lnTo>
                    <a:pt x="449719" y="264299"/>
                  </a:lnTo>
                  <a:lnTo>
                    <a:pt x="449719" y="264160"/>
                  </a:lnTo>
                  <a:lnTo>
                    <a:pt x="449630" y="263918"/>
                  </a:lnTo>
                  <a:lnTo>
                    <a:pt x="449554" y="263715"/>
                  </a:lnTo>
                  <a:lnTo>
                    <a:pt x="449719" y="263677"/>
                  </a:lnTo>
                  <a:lnTo>
                    <a:pt x="449719" y="263550"/>
                  </a:lnTo>
                  <a:lnTo>
                    <a:pt x="449630" y="263296"/>
                  </a:lnTo>
                  <a:lnTo>
                    <a:pt x="451764" y="261620"/>
                  </a:lnTo>
                  <a:lnTo>
                    <a:pt x="460248" y="267970"/>
                  </a:lnTo>
                  <a:lnTo>
                    <a:pt x="460248" y="265353"/>
                  </a:lnTo>
                  <a:lnTo>
                    <a:pt x="455066" y="261620"/>
                  </a:lnTo>
                  <a:lnTo>
                    <a:pt x="453301" y="260350"/>
                  </a:lnTo>
                  <a:lnTo>
                    <a:pt x="455434" y="259080"/>
                  </a:lnTo>
                  <a:lnTo>
                    <a:pt x="461810" y="255270"/>
                  </a:lnTo>
                  <a:lnTo>
                    <a:pt x="462127" y="266700"/>
                  </a:lnTo>
                  <a:lnTo>
                    <a:pt x="462127" y="202425"/>
                  </a:lnTo>
                  <a:lnTo>
                    <a:pt x="462114" y="201930"/>
                  </a:lnTo>
                  <a:lnTo>
                    <a:pt x="461810" y="190500"/>
                  </a:lnTo>
                  <a:lnTo>
                    <a:pt x="461721" y="187172"/>
                  </a:lnTo>
                  <a:lnTo>
                    <a:pt x="461721" y="251460"/>
                  </a:lnTo>
                  <a:lnTo>
                    <a:pt x="461175" y="251053"/>
                  </a:lnTo>
                  <a:lnTo>
                    <a:pt x="461175" y="252730"/>
                  </a:lnTo>
                  <a:lnTo>
                    <a:pt x="451777" y="259080"/>
                  </a:lnTo>
                  <a:lnTo>
                    <a:pt x="450227" y="258025"/>
                  </a:lnTo>
                  <a:lnTo>
                    <a:pt x="450227" y="260350"/>
                  </a:lnTo>
                  <a:lnTo>
                    <a:pt x="449414" y="260896"/>
                  </a:lnTo>
                  <a:lnTo>
                    <a:pt x="449402" y="263677"/>
                  </a:lnTo>
                  <a:lnTo>
                    <a:pt x="449224" y="263918"/>
                  </a:lnTo>
                  <a:lnTo>
                    <a:pt x="449224" y="264160"/>
                  </a:lnTo>
                  <a:lnTo>
                    <a:pt x="449135" y="264299"/>
                  </a:lnTo>
                  <a:lnTo>
                    <a:pt x="449402" y="264299"/>
                  </a:lnTo>
                  <a:lnTo>
                    <a:pt x="449224" y="264528"/>
                  </a:lnTo>
                  <a:lnTo>
                    <a:pt x="449224" y="264782"/>
                  </a:lnTo>
                  <a:lnTo>
                    <a:pt x="449135" y="264922"/>
                  </a:lnTo>
                  <a:lnTo>
                    <a:pt x="449402" y="264922"/>
                  </a:lnTo>
                  <a:lnTo>
                    <a:pt x="449224" y="265150"/>
                  </a:lnTo>
                  <a:lnTo>
                    <a:pt x="449224" y="265391"/>
                  </a:lnTo>
                  <a:lnTo>
                    <a:pt x="449135" y="265531"/>
                  </a:lnTo>
                  <a:lnTo>
                    <a:pt x="449402" y="265531"/>
                  </a:lnTo>
                  <a:lnTo>
                    <a:pt x="449224" y="265772"/>
                  </a:lnTo>
                  <a:lnTo>
                    <a:pt x="449224" y="266014"/>
                  </a:lnTo>
                  <a:lnTo>
                    <a:pt x="449135" y="266153"/>
                  </a:lnTo>
                  <a:lnTo>
                    <a:pt x="449402" y="266153"/>
                  </a:lnTo>
                  <a:lnTo>
                    <a:pt x="449224" y="266382"/>
                  </a:lnTo>
                  <a:lnTo>
                    <a:pt x="449224" y="266636"/>
                  </a:lnTo>
                  <a:lnTo>
                    <a:pt x="449135" y="266763"/>
                  </a:lnTo>
                  <a:lnTo>
                    <a:pt x="449402" y="266763"/>
                  </a:lnTo>
                  <a:lnTo>
                    <a:pt x="449224" y="266992"/>
                  </a:lnTo>
                  <a:lnTo>
                    <a:pt x="449224" y="267246"/>
                  </a:lnTo>
                  <a:lnTo>
                    <a:pt x="449135" y="267385"/>
                  </a:lnTo>
                  <a:lnTo>
                    <a:pt x="449402" y="267385"/>
                  </a:lnTo>
                  <a:lnTo>
                    <a:pt x="449224" y="267614"/>
                  </a:lnTo>
                  <a:lnTo>
                    <a:pt x="449224" y="267855"/>
                  </a:lnTo>
                  <a:lnTo>
                    <a:pt x="443191" y="267970"/>
                  </a:lnTo>
                  <a:lnTo>
                    <a:pt x="444906" y="266700"/>
                  </a:lnTo>
                  <a:lnTo>
                    <a:pt x="449122" y="263588"/>
                  </a:lnTo>
                  <a:lnTo>
                    <a:pt x="449402" y="263677"/>
                  </a:lnTo>
                  <a:lnTo>
                    <a:pt x="449402" y="260896"/>
                  </a:lnTo>
                  <a:lnTo>
                    <a:pt x="449224" y="260896"/>
                  </a:lnTo>
                  <a:lnTo>
                    <a:pt x="449224" y="263512"/>
                  </a:lnTo>
                  <a:lnTo>
                    <a:pt x="449224" y="260896"/>
                  </a:lnTo>
                  <a:lnTo>
                    <a:pt x="449211" y="261023"/>
                  </a:lnTo>
                  <a:lnTo>
                    <a:pt x="442887" y="265277"/>
                  </a:lnTo>
                  <a:lnTo>
                    <a:pt x="444119" y="261277"/>
                  </a:lnTo>
                  <a:lnTo>
                    <a:pt x="444195" y="261023"/>
                  </a:lnTo>
                  <a:lnTo>
                    <a:pt x="449211" y="261023"/>
                  </a:lnTo>
                  <a:lnTo>
                    <a:pt x="449211" y="260896"/>
                  </a:lnTo>
                  <a:lnTo>
                    <a:pt x="444246" y="260896"/>
                  </a:lnTo>
                  <a:lnTo>
                    <a:pt x="445452" y="256984"/>
                  </a:lnTo>
                  <a:lnTo>
                    <a:pt x="450227" y="260350"/>
                  </a:lnTo>
                  <a:lnTo>
                    <a:pt x="450227" y="258025"/>
                  </a:lnTo>
                  <a:lnTo>
                    <a:pt x="446011" y="255143"/>
                  </a:lnTo>
                  <a:lnTo>
                    <a:pt x="446239" y="254419"/>
                  </a:lnTo>
                  <a:lnTo>
                    <a:pt x="446481" y="254546"/>
                  </a:lnTo>
                  <a:lnTo>
                    <a:pt x="446328" y="255308"/>
                  </a:lnTo>
                  <a:lnTo>
                    <a:pt x="446506" y="255308"/>
                  </a:lnTo>
                  <a:lnTo>
                    <a:pt x="446620" y="254800"/>
                  </a:lnTo>
                  <a:lnTo>
                    <a:pt x="446659" y="254419"/>
                  </a:lnTo>
                  <a:lnTo>
                    <a:pt x="446201" y="254165"/>
                  </a:lnTo>
                  <a:lnTo>
                    <a:pt x="446112" y="254292"/>
                  </a:lnTo>
                  <a:lnTo>
                    <a:pt x="445871" y="255041"/>
                  </a:lnTo>
                  <a:lnTo>
                    <a:pt x="445300" y="254647"/>
                  </a:lnTo>
                  <a:lnTo>
                    <a:pt x="445300" y="256882"/>
                  </a:lnTo>
                  <a:lnTo>
                    <a:pt x="444055" y="260896"/>
                  </a:lnTo>
                  <a:lnTo>
                    <a:pt x="443953" y="261277"/>
                  </a:lnTo>
                  <a:lnTo>
                    <a:pt x="442671" y="265417"/>
                  </a:lnTo>
                  <a:lnTo>
                    <a:pt x="442099" y="265798"/>
                  </a:lnTo>
                  <a:lnTo>
                    <a:pt x="441998" y="265671"/>
                  </a:lnTo>
                  <a:lnTo>
                    <a:pt x="441998" y="265874"/>
                  </a:lnTo>
                  <a:lnTo>
                    <a:pt x="441299" y="266344"/>
                  </a:lnTo>
                  <a:lnTo>
                    <a:pt x="441299" y="269760"/>
                  </a:lnTo>
                  <a:lnTo>
                    <a:pt x="440550" y="272199"/>
                  </a:lnTo>
                  <a:lnTo>
                    <a:pt x="440664" y="269240"/>
                  </a:lnTo>
                  <a:lnTo>
                    <a:pt x="441299" y="269760"/>
                  </a:lnTo>
                  <a:lnTo>
                    <a:pt x="441299" y="266344"/>
                  </a:lnTo>
                  <a:lnTo>
                    <a:pt x="440753" y="266700"/>
                  </a:lnTo>
                  <a:lnTo>
                    <a:pt x="440842" y="264337"/>
                  </a:lnTo>
                  <a:lnTo>
                    <a:pt x="441998" y="265874"/>
                  </a:lnTo>
                  <a:lnTo>
                    <a:pt x="441998" y="265671"/>
                  </a:lnTo>
                  <a:lnTo>
                    <a:pt x="440842" y="264121"/>
                  </a:lnTo>
                  <a:lnTo>
                    <a:pt x="440855" y="263829"/>
                  </a:lnTo>
                  <a:lnTo>
                    <a:pt x="443953" y="261277"/>
                  </a:lnTo>
                  <a:lnTo>
                    <a:pt x="443953" y="260896"/>
                  </a:lnTo>
                  <a:lnTo>
                    <a:pt x="443865" y="261023"/>
                  </a:lnTo>
                  <a:lnTo>
                    <a:pt x="440867" y="263601"/>
                  </a:lnTo>
                  <a:lnTo>
                    <a:pt x="440969" y="261023"/>
                  </a:lnTo>
                  <a:lnTo>
                    <a:pt x="443865" y="261023"/>
                  </a:lnTo>
                  <a:lnTo>
                    <a:pt x="443865" y="260896"/>
                  </a:lnTo>
                  <a:lnTo>
                    <a:pt x="440969" y="260896"/>
                  </a:lnTo>
                  <a:lnTo>
                    <a:pt x="441248" y="254000"/>
                  </a:lnTo>
                  <a:lnTo>
                    <a:pt x="445300" y="256882"/>
                  </a:lnTo>
                  <a:lnTo>
                    <a:pt x="445300" y="254647"/>
                  </a:lnTo>
                  <a:lnTo>
                    <a:pt x="444373" y="254000"/>
                  </a:lnTo>
                  <a:lnTo>
                    <a:pt x="442518" y="252730"/>
                  </a:lnTo>
                  <a:lnTo>
                    <a:pt x="444398" y="251460"/>
                  </a:lnTo>
                  <a:lnTo>
                    <a:pt x="451916" y="246380"/>
                  </a:lnTo>
                  <a:lnTo>
                    <a:pt x="461175" y="252730"/>
                  </a:lnTo>
                  <a:lnTo>
                    <a:pt x="461175" y="251053"/>
                  </a:lnTo>
                  <a:lnTo>
                    <a:pt x="455015" y="246380"/>
                  </a:lnTo>
                  <a:lnTo>
                    <a:pt x="453339" y="245110"/>
                  </a:lnTo>
                  <a:lnTo>
                    <a:pt x="454939" y="243840"/>
                  </a:lnTo>
                  <a:lnTo>
                    <a:pt x="461365" y="238760"/>
                  </a:lnTo>
                  <a:lnTo>
                    <a:pt x="461721" y="251460"/>
                  </a:lnTo>
                  <a:lnTo>
                    <a:pt x="461721" y="187172"/>
                  </a:lnTo>
                  <a:lnTo>
                    <a:pt x="461708" y="186690"/>
                  </a:lnTo>
                  <a:lnTo>
                    <a:pt x="461391" y="175260"/>
                  </a:lnTo>
                  <a:lnTo>
                    <a:pt x="461365" y="173990"/>
                  </a:lnTo>
                  <a:lnTo>
                    <a:pt x="461327" y="172720"/>
                  </a:lnTo>
                  <a:lnTo>
                    <a:pt x="462800" y="171450"/>
                  </a:lnTo>
                  <a:lnTo>
                    <a:pt x="471614" y="163830"/>
                  </a:lnTo>
                  <a:lnTo>
                    <a:pt x="474548" y="161290"/>
                  </a:lnTo>
                  <a:lnTo>
                    <a:pt x="477151" y="167640"/>
                  </a:lnTo>
                  <a:lnTo>
                    <a:pt x="479856" y="173990"/>
                  </a:lnTo>
                  <a:lnTo>
                    <a:pt x="483844" y="182880"/>
                  </a:lnTo>
                  <a:lnTo>
                    <a:pt x="484962" y="185420"/>
                  </a:lnTo>
                  <a:lnTo>
                    <a:pt x="486117" y="187960"/>
                  </a:lnTo>
                  <a:lnTo>
                    <a:pt x="486117" y="186169"/>
                  </a:lnTo>
                  <a:lnTo>
                    <a:pt x="485254" y="184150"/>
                  </a:lnTo>
                  <a:lnTo>
                    <a:pt x="484187" y="182880"/>
                  </a:lnTo>
                  <a:lnTo>
                    <a:pt x="480250" y="173990"/>
                  </a:lnTo>
                  <a:lnTo>
                    <a:pt x="477532" y="167640"/>
                  </a:lnTo>
                  <a:lnTo>
                    <a:pt x="475361" y="161290"/>
                  </a:lnTo>
                  <a:lnTo>
                    <a:pt x="474929" y="160020"/>
                  </a:lnTo>
                  <a:lnTo>
                    <a:pt x="476567" y="158750"/>
                  </a:lnTo>
                  <a:lnTo>
                    <a:pt x="481469" y="154940"/>
                  </a:lnTo>
                  <a:lnTo>
                    <a:pt x="481520" y="153670"/>
                  </a:lnTo>
                  <a:lnTo>
                    <a:pt x="481939" y="152400"/>
                  </a:lnTo>
                  <a:lnTo>
                    <a:pt x="482358" y="151130"/>
                  </a:lnTo>
                  <a:lnTo>
                    <a:pt x="486105" y="139700"/>
                  </a:lnTo>
                  <a:lnTo>
                    <a:pt x="487438" y="138430"/>
                  </a:lnTo>
                  <a:lnTo>
                    <a:pt x="488759" y="137160"/>
                  </a:lnTo>
                  <a:lnTo>
                    <a:pt x="491121" y="134620"/>
                  </a:lnTo>
                  <a:lnTo>
                    <a:pt x="494182" y="132080"/>
                  </a:lnTo>
                  <a:lnTo>
                    <a:pt x="495960" y="129540"/>
                  </a:lnTo>
                  <a:lnTo>
                    <a:pt x="497801" y="129540"/>
                  </a:lnTo>
                  <a:lnTo>
                    <a:pt x="497801" y="128270"/>
                  </a:lnTo>
                  <a:lnTo>
                    <a:pt x="496849" y="128270"/>
                  </a:lnTo>
                  <a:lnTo>
                    <a:pt x="490969" y="134620"/>
                  </a:lnTo>
                  <a:lnTo>
                    <a:pt x="488746" y="137160"/>
                  </a:lnTo>
                  <a:lnTo>
                    <a:pt x="486257" y="138430"/>
                  </a:lnTo>
                  <a:lnTo>
                    <a:pt x="487845" y="133350"/>
                  </a:lnTo>
                  <a:lnTo>
                    <a:pt x="502132" y="87630"/>
                  </a:lnTo>
                  <a:lnTo>
                    <a:pt x="507288" y="71120"/>
                  </a:lnTo>
                  <a:lnTo>
                    <a:pt x="508317" y="67310"/>
                  </a:lnTo>
                  <a:lnTo>
                    <a:pt x="509003" y="64770"/>
                  </a:lnTo>
                  <a:lnTo>
                    <a:pt x="528802" y="64770"/>
                  </a:lnTo>
                  <a:lnTo>
                    <a:pt x="529399" y="67310"/>
                  </a:lnTo>
                  <a:lnTo>
                    <a:pt x="529031" y="67310"/>
                  </a:lnTo>
                  <a:lnTo>
                    <a:pt x="529031" y="68580"/>
                  </a:lnTo>
                  <a:lnTo>
                    <a:pt x="529678" y="68580"/>
                  </a:lnTo>
                  <a:lnTo>
                    <a:pt x="529577" y="69850"/>
                  </a:lnTo>
                  <a:lnTo>
                    <a:pt x="529031" y="69850"/>
                  </a:lnTo>
                  <a:lnTo>
                    <a:pt x="529031" y="71120"/>
                  </a:lnTo>
                  <a:lnTo>
                    <a:pt x="529678" y="71120"/>
                  </a:lnTo>
                  <a:lnTo>
                    <a:pt x="529577" y="72390"/>
                  </a:lnTo>
                  <a:lnTo>
                    <a:pt x="529247" y="72390"/>
                  </a:lnTo>
                  <a:lnTo>
                    <a:pt x="529031" y="73660"/>
                  </a:lnTo>
                  <a:lnTo>
                    <a:pt x="529856" y="73660"/>
                  </a:lnTo>
                  <a:lnTo>
                    <a:pt x="529678" y="74930"/>
                  </a:lnTo>
                  <a:lnTo>
                    <a:pt x="529551" y="76200"/>
                  </a:lnTo>
                  <a:lnTo>
                    <a:pt x="529031" y="76200"/>
                  </a:lnTo>
                  <a:lnTo>
                    <a:pt x="529310" y="77470"/>
                  </a:lnTo>
                  <a:lnTo>
                    <a:pt x="529577" y="77470"/>
                  </a:lnTo>
                  <a:lnTo>
                    <a:pt x="529551" y="78740"/>
                  </a:lnTo>
                  <a:lnTo>
                    <a:pt x="529031" y="78740"/>
                  </a:lnTo>
                  <a:lnTo>
                    <a:pt x="529031" y="80010"/>
                  </a:lnTo>
                  <a:lnTo>
                    <a:pt x="529678" y="80010"/>
                  </a:lnTo>
                  <a:lnTo>
                    <a:pt x="529577" y="81280"/>
                  </a:lnTo>
                  <a:lnTo>
                    <a:pt x="529031" y="81280"/>
                  </a:lnTo>
                  <a:lnTo>
                    <a:pt x="529031" y="82550"/>
                  </a:lnTo>
                  <a:lnTo>
                    <a:pt x="529856" y="82550"/>
                  </a:lnTo>
                  <a:lnTo>
                    <a:pt x="529678" y="83820"/>
                  </a:lnTo>
                  <a:lnTo>
                    <a:pt x="529247" y="83820"/>
                  </a:lnTo>
                  <a:lnTo>
                    <a:pt x="529031" y="85090"/>
                  </a:lnTo>
                  <a:lnTo>
                    <a:pt x="529310" y="86360"/>
                  </a:lnTo>
                  <a:lnTo>
                    <a:pt x="529577" y="86360"/>
                  </a:lnTo>
                  <a:lnTo>
                    <a:pt x="529551" y="87630"/>
                  </a:lnTo>
                  <a:lnTo>
                    <a:pt x="529031" y="87630"/>
                  </a:lnTo>
                  <a:lnTo>
                    <a:pt x="529031" y="88900"/>
                  </a:lnTo>
                  <a:lnTo>
                    <a:pt x="529678" y="88900"/>
                  </a:lnTo>
                  <a:lnTo>
                    <a:pt x="529577" y="90170"/>
                  </a:lnTo>
                  <a:lnTo>
                    <a:pt x="529031" y="90170"/>
                  </a:lnTo>
                  <a:lnTo>
                    <a:pt x="529031" y="91440"/>
                  </a:lnTo>
                  <a:lnTo>
                    <a:pt x="529678" y="91440"/>
                  </a:lnTo>
                  <a:lnTo>
                    <a:pt x="529577" y="92710"/>
                  </a:lnTo>
                  <a:lnTo>
                    <a:pt x="529031" y="92710"/>
                  </a:lnTo>
                  <a:lnTo>
                    <a:pt x="529031" y="93980"/>
                  </a:lnTo>
                  <a:lnTo>
                    <a:pt x="530364" y="93980"/>
                  </a:lnTo>
                  <a:lnTo>
                    <a:pt x="530364" y="63500"/>
                  </a:lnTo>
                  <a:lnTo>
                    <a:pt x="528650" y="63500"/>
                  </a:lnTo>
                  <a:lnTo>
                    <a:pt x="526440" y="57150"/>
                  </a:lnTo>
                  <a:lnTo>
                    <a:pt x="524268" y="50800"/>
                  </a:lnTo>
                  <a:lnTo>
                    <a:pt x="520026" y="38100"/>
                  </a:lnTo>
                  <a:lnTo>
                    <a:pt x="519658" y="38188"/>
                  </a:lnTo>
                  <a:lnTo>
                    <a:pt x="523862" y="50800"/>
                  </a:lnTo>
                  <a:lnTo>
                    <a:pt x="526008" y="57150"/>
                  </a:lnTo>
                  <a:lnTo>
                    <a:pt x="528193" y="63500"/>
                  </a:lnTo>
                  <a:lnTo>
                    <a:pt x="509562" y="63500"/>
                  </a:lnTo>
                  <a:lnTo>
                    <a:pt x="511556" y="57150"/>
                  </a:lnTo>
                  <a:lnTo>
                    <a:pt x="513956" y="49530"/>
                  </a:lnTo>
                  <a:lnTo>
                    <a:pt x="515188" y="46990"/>
                  </a:lnTo>
                  <a:lnTo>
                    <a:pt x="515810" y="45720"/>
                  </a:lnTo>
                  <a:lnTo>
                    <a:pt x="517512" y="41910"/>
                  </a:lnTo>
                  <a:lnTo>
                    <a:pt x="518934" y="38379"/>
                  </a:lnTo>
                  <a:lnTo>
                    <a:pt x="518261" y="38544"/>
                  </a:lnTo>
                  <a:lnTo>
                    <a:pt x="517436" y="40640"/>
                  </a:lnTo>
                  <a:lnTo>
                    <a:pt x="516178" y="43180"/>
                  </a:lnTo>
                  <a:lnTo>
                    <a:pt x="514832" y="46990"/>
                  </a:lnTo>
                  <a:lnTo>
                    <a:pt x="517118" y="39370"/>
                  </a:lnTo>
                  <a:lnTo>
                    <a:pt x="517867" y="38658"/>
                  </a:lnTo>
                  <a:lnTo>
                    <a:pt x="515112" y="39370"/>
                  </a:lnTo>
                  <a:lnTo>
                    <a:pt x="510501" y="54610"/>
                  </a:lnTo>
                  <a:lnTo>
                    <a:pt x="509866" y="55524"/>
                  </a:lnTo>
                  <a:lnTo>
                    <a:pt x="509866" y="57150"/>
                  </a:lnTo>
                  <a:lnTo>
                    <a:pt x="507746" y="63500"/>
                  </a:lnTo>
                  <a:lnTo>
                    <a:pt x="506704" y="63500"/>
                  </a:lnTo>
                  <a:lnTo>
                    <a:pt x="506704" y="67310"/>
                  </a:lnTo>
                  <a:lnTo>
                    <a:pt x="500253" y="87630"/>
                  </a:lnTo>
                  <a:lnTo>
                    <a:pt x="499618" y="86855"/>
                  </a:lnTo>
                  <a:lnTo>
                    <a:pt x="499618" y="90170"/>
                  </a:lnTo>
                  <a:lnTo>
                    <a:pt x="487159" y="130810"/>
                  </a:lnTo>
                  <a:lnTo>
                    <a:pt x="486219" y="131584"/>
                  </a:lnTo>
                  <a:lnTo>
                    <a:pt x="486219" y="133350"/>
                  </a:lnTo>
                  <a:lnTo>
                    <a:pt x="484009" y="140970"/>
                  </a:lnTo>
                  <a:lnTo>
                    <a:pt x="483819" y="141058"/>
                  </a:lnTo>
                  <a:lnTo>
                    <a:pt x="480504" y="151130"/>
                  </a:lnTo>
                  <a:lnTo>
                    <a:pt x="479209" y="149072"/>
                  </a:lnTo>
                  <a:lnTo>
                    <a:pt x="479209" y="152400"/>
                  </a:lnTo>
                  <a:lnTo>
                    <a:pt x="478548" y="152400"/>
                  </a:lnTo>
                  <a:lnTo>
                    <a:pt x="478548" y="154940"/>
                  </a:lnTo>
                  <a:lnTo>
                    <a:pt x="474243" y="158750"/>
                  </a:lnTo>
                  <a:lnTo>
                    <a:pt x="473862" y="157835"/>
                  </a:lnTo>
                  <a:lnTo>
                    <a:pt x="473862" y="158750"/>
                  </a:lnTo>
                  <a:lnTo>
                    <a:pt x="468744" y="163830"/>
                  </a:lnTo>
                  <a:lnTo>
                    <a:pt x="467474" y="162229"/>
                  </a:lnTo>
                  <a:lnTo>
                    <a:pt x="467474" y="165100"/>
                  </a:lnTo>
                  <a:lnTo>
                    <a:pt x="461276" y="171437"/>
                  </a:lnTo>
                  <a:lnTo>
                    <a:pt x="461276" y="234950"/>
                  </a:lnTo>
                  <a:lnTo>
                    <a:pt x="459613" y="233603"/>
                  </a:lnTo>
                  <a:lnTo>
                    <a:pt x="459613" y="236220"/>
                  </a:lnTo>
                  <a:lnTo>
                    <a:pt x="459613" y="237490"/>
                  </a:lnTo>
                  <a:lnTo>
                    <a:pt x="451916" y="243840"/>
                  </a:lnTo>
                  <a:lnTo>
                    <a:pt x="450494" y="242658"/>
                  </a:lnTo>
                  <a:lnTo>
                    <a:pt x="450494" y="245110"/>
                  </a:lnTo>
                  <a:lnTo>
                    <a:pt x="441337" y="251460"/>
                  </a:lnTo>
                  <a:lnTo>
                    <a:pt x="441871" y="237490"/>
                  </a:lnTo>
                  <a:lnTo>
                    <a:pt x="450494" y="245110"/>
                  </a:lnTo>
                  <a:lnTo>
                    <a:pt x="450494" y="242658"/>
                  </a:lnTo>
                  <a:lnTo>
                    <a:pt x="444309" y="237490"/>
                  </a:lnTo>
                  <a:lnTo>
                    <a:pt x="459613" y="237490"/>
                  </a:lnTo>
                  <a:lnTo>
                    <a:pt x="459613" y="236220"/>
                  </a:lnTo>
                  <a:lnTo>
                    <a:pt x="444347" y="236220"/>
                  </a:lnTo>
                  <a:lnTo>
                    <a:pt x="445884" y="234950"/>
                  </a:lnTo>
                  <a:lnTo>
                    <a:pt x="452005" y="229870"/>
                  </a:lnTo>
                  <a:lnTo>
                    <a:pt x="459613" y="236220"/>
                  </a:lnTo>
                  <a:lnTo>
                    <a:pt x="459613" y="233603"/>
                  </a:lnTo>
                  <a:lnTo>
                    <a:pt x="455002" y="229870"/>
                  </a:lnTo>
                  <a:lnTo>
                    <a:pt x="453440" y="228600"/>
                  </a:lnTo>
                  <a:lnTo>
                    <a:pt x="454939" y="227330"/>
                  </a:lnTo>
                  <a:lnTo>
                    <a:pt x="460946" y="222250"/>
                  </a:lnTo>
                  <a:lnTo>
                    <a:pt x="461276" y="234950"/>
                  </a:lnTo>
                  <a:lnTo>
                    <a:pt x="461276" y="171437"/>
                  </a:lnTo>
                  <a:lnTo>
                    <a:pt x="460870" y="156210"/>
                  </a:lnTo>
                  <a:lnTo>
                    <a:pt x="467474" y="165100"/>
                  </a:lnTo>
                  <a:lnTo>
                    <a:pt x="467474" y="162229"/>
                  </a:lnTo>
                  <a:lnTo>
                    <a:pt x="462711" y="156210"/>
                  </a:lnTo>
                  <a:lnTo>
                    <a:pt x="461708" y="154940"/>
                  </a:lnTo>
                  <a:lnTo>
                    <a:pt x="472160" y="154940"/>
                  </a:lnTo>
                  <a:lnTo>
                    <a:pt x="473862" y="158750"/>
                  </a:lnTo>
                  <a:lnTo>
                    <a:pt x="473862" y="157835"/>
                  </a:lnTo>
                  <a:lnTo>
                    <a:pt x="472668" y="154940"/>
                  </a:lnTo>
                  <a:lnTo>
                    <a:pt x="478548" y="154940"/>
                  </a:lnTo>
                  <a:lnTo>
                    <a:pt x="478548" y="152400"/>
                  </a:lnTo>
                  <a:lnTo>
                    <a:pt x="471982" y="152400"/>
                  </a:lnTo>
                  <a:lnTo>
                    <a:pt x="471474" y="151561"/>
                  </a:lnTo>
                  <a:lnTo>
                    <a:pt x="471474" y="152400"/>
                  </a:lnTo>
                  <a:lnTo>
                    <a:pt x="462381" y="152400"/>
                  </a:lnTo>
                  <a:lnTo>
                    <a:pt x="469328" y="147320"/>
                  </a:lnTo>
                  <a:lnTo>
                    <a:pt x="470052" y="148590"/>
                  </a:lnTo>
                  <a:lnTo>
                    <a:pt x="470750" y="151130"/>
                  </a:lnTo>
                  <a:lnTo>
                    <a:pt x="471474" y="152400"/>
                  </a:lnTo>
                  <a:lnTo>
                    <a:pt x="471474" y="151561"/>
                  </a:lnTo>
                  <a:lnTo>
                    <a:pt x="471220" y="151130"/>
                  </a:lnTo>
                  <a:lnTo>
                    <a:pt x="469734" y="147320"/>
                  </a:lnTo>
                  <a:lnTo>
                    <a:pt x="472821" y="144780"/>
                  </a:lnTo>
                  <a:lnTo>
                    <a:pt x="473849" y="144780"/>
                  </a:lnTo>
                  <a:lnTo>
                    <a:pt x="479209" y="152400"/>
                  </a:lnTo>
                  <a:lnTo>
                    <a:pt x="479209" y="149072"/>
                  </a:lnTo>
                  <a:lnTo>
                    <a:pt x="475729" y="143510"/>
                  </a:lnTo>
                  <a:lnTo>
                    <a:pt x="475526" y="143510"/>
                  </a:lnTo>
                  <a:lnTo>
                    <a:pt x="474878" y="142240"/>
                  </a:lnTo>
                  <a:lnTo>
                    <a:pt x="486219" y="133350"/>
                  </a:lnTo>
                  <a:lnTo>
                    <a:pt x="486219" y="131584"/>
                  </a:lnTo>
                  <a:lnTo>
                    <a:pt x="473278" y="142240"/>
                  </a:lnTo>
                  <a:lnTo>
                    <a:pt x="472605" y="142240"/>
                  </a:lnTo>
                  <a:lnTo>
                    <a:pt x="470573" y="143510"/>
                  </a:lnTo>
                  <a:lnTo>
                    <a:pt x="469188" y="143510"/>
                  </a:lnTo>
                  <a:lnTo>
                    <a:pt x="469646" y="144780"/>
                  </a:lnTo>
                  <a:lnTo>
                    <a:pt x="469099" y="144780"/>
                  </a:lnTo>
                  <a:lnTo>
                    <a:pt x="468706" y="143510"/>
                  </a:lnTo>
                  <a:lnTo>
                    <a:pt x="468693" y="146050"/>
                  </a:lnTo>
                  <a:lnTo>
                    <a:pt x="460832" y="151549"/>
                  </a:lnTo>
                  <a:lnTo>
                    <a:pt x="460832" y="218440"/>
                  </a:lnTo>
                  <a:lnTo>
                    <a:pt x="460438" y="218440"/>
                  </a:lnTo>
                  <a:lnTo>
                    <a:pt x="460197" y="218262"/>
                  </a:lnTo>
                  <a:lnTo>
                    <a:pt x="460197" y="220980"/>
                  </a:lnTo>
                  <a:lnTo>
                    <a:pt x="457441" y="222250"/>
                  </a:lnTo>
                  <a:lnTo>
                    <a:pt x="459498" y="222250"/>
                  </a:lnTo>
                  <a:lnTo>
                    <a:pt x="452005" y="227330"/>
                  </a:lnTo>
                  <a:lnTo>
                    <a:pt x="450570" y="226288"/>
                  </a:lnTo>
                  <a:lnTo>
                    <a:pt x="450570" y="228600"/>
                  </a:lnTo>
                  <a:lnTo>
                    <a:pt x="441960" y="234950"/>
                  </a:lnTo>
                  <a:lnTo>
                    <a:pt x="442442" y="222250"/>
                  </a:lnTo>
                  <a:lnTo>
                    <a:pt x="444754" y="224790"/>
                  </a:lnTo>
                  <a:lnTo>
                    <a:pt x="450570" y="228600"/>
                  </a:lnTo>
                  <a:lnTo>
                    <a:pt x="450570" y="226288"/>
                  </a:lnTo>
                  <a:lnTo>
                    <a:pt x="445020" y="222250"/>
                  </a:lnTo>
                  <a:lnTo>
                    <a:pt x="443280" y="220980"/>
                  </a:lnTo>
                  <a:lnTo>
                    <a:pt x="444868" y="219710"/>
                  </a:lnTo>
                  <a:lnTo>
                    <a:pt x="446989" y="220980"/>
                  </a:lnTo>
                  <a:lnTo>
                    <a:pt x="449211" y="222250"/>
                  </a:lnTo>
                  <a:lnTo>
                    <a:pt x="451650" y="222250"/>
                  </a:lnTo>
                  <a:lnTo>
                    <a:pt x="449465" y="220980"/>
                  </a:lnTo>
                  <a:lnTo>
                    <a:pt x="447382" y="220980"/>
                  </a:lnTo>
                  <a:lnTo>
                    <a:pt x="445389" y="219710"/>
                  </a:lnTo>
                  <a:lnTo>
                    <a:pt x="447078" y="218440"/>
                  </a:lnTo>
                  <a:lnTo>
                    <a:pt x="448754" y="217170"/>
                  </a:lnTo>
                  <a:lnTo>
                    <a:pt x="451167" y="218440"/>
                  </a:lnTo>
                  <a:lnTo>
                    <a:pt x="454202" y="218440"/>
                  </a:lnTo>
                  <a:lnTo>
                    <a:pt x="451523" y="217170"/>
                  </a:lnTo>
                  <a:lnTo>
                    <a:pt x="449440" y="217170"/>
                  </a:lnTo>
                  <a:lnTo>
                    <a:pt x="452488" y="214630"/>
                  </a:lnTo>
                  <a:lnTo>
                    <a:pt x="457504" y="218440"/>
                  </a:lnTo>
                  <a:lnTo>
                    <a:pt x="454380" y="218440"/>
                  </a:lnTo>
                  <a:lnTo>
                    <a:pt x="456412" y="219710"/>
                  </a:lnTo>
                  <a:lnTo>
                    <a:pt x="458444" y="219710"/>
                  </a:lnTo>
                  <a:lnTo>
                    <a:pt x="460197" y="220980"/>
                  </a:lnTo>
                  <a:lnTo>
                    <a:pt x="460197" y="218262"/>
                  </a:lnTo>
                  <a:lnTo>
                    <a:pt x="455536" y="214630"/>
                  </a:lnTo>
                  <a:lnTo>
                    <a:pt x="453898" y="213360"/>
                  </a:lnTo>
                  <a:lnTo>
                    <a:pt x="455561" y="212090"/>
                  </a:lnTo>
                  <a:lnTo>
                    <a:pt x="460540" y="208280"/>
                  </a:lnTo>
                  <a:lnTo>
                    <a:pt x="460832" y="218440"/>
                  </a:lnTo>
                  <a:lnTo>
                    <a:pt x="460832" y="151549"/>
                  </a:lnTo>
                  <a:lnTo>
                    <a:pt x="460451" y="151815"/>
                  </a:lnTo>
                  <a:lnTo>
                    <a:pt x="460451" y="204470"/>
                  </a:lnTo>
                  <a:lnTo>
                    <a:pt x="460451" y="205740"/>
                  </a:lnTo>
                  <a:lnTo>
                    <a:pt x="452501" y="212090"/>
                  </a:lnTo>
                  <a:lnTo>
                    <a:pt x="451065" y="211124"/>
                  </a:lnTo>
                  <a:lnTo>
                    <a:pt x="451065" y="213360"/>
                  </a:lnTo>
                  <a:lnTo>
                    <a:pt x="447560" y="215900"/>
                  </a:lnTo>
                  <a:lnTo>
                    <a:pt x="446887" y="215379"/>
                  </a:lnTo>
                  <a:lnTo>
                    <a:pt x="446887" y="215900"/>
                  </a:lnTo>
                  <a:lnTo>
                    <a:pt x="443687" y="218440"/>
                  </a:lnTo>
                  <a:lnTo>
                    <a:pt x="442988" y="218440"/>
                  </a:lnTo>
                  <a:lnTo>
                    <a:pt x="442785" y="218351"/>
                  </a:lnTo>
                  <a:lnTo>
                    <a:pt x="442620" y="218262"/>
                  </a:lnTo>
                  <a:lnTo>
                    <a:pt x="442671" y="217170"/>
                  </a:lnTo>
                  <a:lnTo>
                    <a:pt x="442760" y="214630"/>
                  </a:lnTo>
                  <a:lnTo>
                    <a:pt x="444106" y="214630"/>
                  </a:lnTo>
                  <a:lnTo>
                    <a:pt x="445477" y="215900"/>
                  </a:lnTo>
                  <a:lnTo>
                    <a:pt x="446887" y="215900"/>
                  </a:lnTo>
                  <a:lnTo>
                    <a:pt x="446887" y="215379"/>
                  </a:lnTo>
                  <a:lnTo>
                    <a:pt x="445922" y="214630"/>
                  </a:lnTo>
                  <a:lnTo>
                    <a:pt x="444334" y="214630"/>
                  </a:lnTo>
                  <a:lnTo>
                    <a:pt x="442798" y="213360"/>
                  </a:lnTo>
                  <a:lnTo>
                    <a:pt x="442849" y="212090"/>
                  </a:lnTo>
                  <a:lnTo>
                    <a:pt x="443026" y="207010"/>
                  </a:lnTo>
                  <a:lnTo>
                    <a:pt x="445135" y="209550"/>
                  </a:lnTo>
                  <a:lnTo>
                    <a:pt x="451065" y="213360"/>
                  </a:lnTo>
                  <a:lnTo>
                    <a:pt x="451065" y="211124"/>
                  </a:lnTo>
                  <a:lnTo>
                    <a:pt x="444982" y="207010"/>
                  </a:lnTo>
                  <a:lnTo>
                    <a:pt x="443103" y="205740"/>
                  </a:lnTo>
                  <a:lnTo>
                    <a:pt x="443153" y="204470"/>
                  </a:lnTo>
                  <a:lnTo>
                    <a:pt x="445922" y="201930"/>
                  </a:lnTo>
                  <a:lnTo>
                    <a:pt x="451472" y="196850"/>
                  </a:lnTo>
                  <a:lnTo>
                    <a:pt x="460451" y="204470"/>
                  </a:lnTo>
                  <a:lnTo>
                    <a:pt x="460451" y="151815"/>
                  </a:lnTo>
                  <a:lnTo>
                    <a:pt x="460400" y="201930"/>
                  </a:lnTo>
                  <a:lnTo>
                    <a:pt x="454367" y="196850"/>
                  </a:lnTo>
                  <a:lnTo>
                    <a:pt x="452856" y="195580"/>
                  </a:lnTo>
                  <a:lnTo>
                    <a:pt x="460070" y="190500"/>
                  </a:lnTo>
                  <a:lnTo>
                    <a:pt x="460400" y="201930"/>
                  </a:lnTo>
                  <a:lnTo>
                    <a:pt x="460400" y="151853"/>
                  </a:lnTo>
                  <a:lnTo>
                    <a:pt x="459955" y="152171"/>
                  </a:lnTo>
                  <a:lnTo>
                    <a:pt x="459955" y="186690"/>
                  </a:lnTo>
                  <a:lnTo>
                    <a:pt x="459511" y="186296"/>
                  </a:lnTo>
                  <a:lnTo>
                    <a:pt x="459511" y="187960"/>
                  </a:lnTo>
                  <a:lnTo>
                    <a:pt x="451485" y="195580"/>
                  </a:lnTo>
                  <a:lnTo>
                    <a:pt x="450113" y="194233"/>
                  </a:lnTo>
                  <a:lnTo>
                    <a:pt x="450113" y="195580"/>
                  </a:lnTo>
                  <a:lnTo>
                    <a:pt x="443230" y="201930"/>
                  </a:lnTo>
                  <a:lnTo>
                    <a:pt x="443661" y="190500"/>
                  </a:lnTo>
                  <a:lnTo>
                    <a:pt x="450113" y="195580"/>
                  </a:lnTo>
                  <a:lnTo>
                    <a:pt x="450113" y="194233"/>
                  </a:lnTo>
                  <a:lnTo>
                    <a:pt x="446316" y="190500"/>
                  </a:lnTo>
                  <a:lnTo>
                    <a:pt x="443738" y="187960"/>
                  </a:lnTo>
                  <a:lnTo>
                    <a:pt x="446862" y="185420"/>
                  </a:lnTo>
                  <a:lnTo>
                    <a:pt x="451523" y="181610"/>
                  </a:lnTo>
                  <a:lnTo>
                    <a:pt x="459511" y="187960"/>
                  </a:lnTo>
                  <a:lnTo>
                    <a:pt x="459511" y="186296"/>
                  </a:lnTo>
                  <a:lnTo>
                    <a:pt x="454291" y="181610"/>
                  </a:lnTo>
                  <a:lnTo>
                    <a:pt x="452882" y="180340"/>
                  </a:lnTo>
                  <a:lnTo>
                    <a:pt x="454571" y="179070"/>
                  </a:lnTo>
                  <a:lnTo>
                    <a:pt x="459638" y="175260"/>
                  </a:lnTo>
                  <a:lnTo>
                    <a:pt x="459955" y="186690"/>
                  </a:lnTo>
                  <a:lnTo>
                    <a:pt x="459955" y="152171"/>
                  </a:lnTo>
                  <a:lnTo>
                    <a:pt x="459613" y="152400"/>
                  </a:lnTo>
                  <a:lnTo>
                    <a:pt x="459536" y="171450"/>
                  </a:lnTo>
                  <a:lnTo>
                    <a:pt x="458584" y="170154"/>
                  </a:lnTo>
                  <a:lnTo>
                    <a:pt x="458584" y="172720"/>
                  </a:lnTo>
                  <a:lnTo>
                    <a:pt x="457517" y="172720"/>
                  </a:lnTo>
                  <a:lnTo>
                    <a:pt x="457517" y="173990"/>
                  </a:lnTo>
                  <a:lnTo>
                    <a:pt x="451548" y="179070"/>
                  </a:lnTo>
                  <a:lnTo>
                    <a:pt x="450189" y="177876"/>
                  </a:lnTo>
                  <a:lnTo>
                    <a:pt x="450189" y="180340"/>
                  </a:lnTo>
                  <a:lnTo>
                    <a:pt x="443839" y="185420"/>
                  </a:lnTo>
                  <a:lnTo>
                    <a:pt x="444284" y="175260"/>
                  </a:lnTo>
                  <a:lnTo>
                    <a:pt x="450189" y="180340"/>
                  </a:lnTo>
                  <a:lnTo>
                    <a:pt x="450189" y="177876"/>
                  </a:lnTo>
                  <a:lnTo>
                    <a:pt x="447243" y="175260"/>
                  </a:lnTo>
                  <a:lnTo>
                    <a:pt x="445808" y="173990"/>
                  </a:lnTo>
                  <a:lnTo>
                    <a:pt x="457517" y="173990"/>
                  </a:lnTo>
                  <a:lnTo>
                    <a:pt x="457517" y="172720"/>
                  </a:lnTo>
                  <a:lnTo>
                    <a:pt x="445312" y="172720"/>
                  </a:lnTo>
                  <a:lnTo>
                    <a:pt x="446252" y="171450"/>
                  </a:lnTo>
                  <a:lnTo>
                    <a:pt x="451891" y="163830"/>
                  </a:lnTo>
                  <a:lnTo>
                    <a:pt x="458584" y="172720"/>
                  </a:lnTo>
                  <a:lnTo>
                    <a:pt x="458584" y="170154"/>
                  </a:lnTo>
                  <a:lnTo>
                    <a:pt x="453936" y="163830"/>
                  </a:lnTo>
                  <a:lnTo>
                    <a:pt x="453009" y="162560"/>
                  </a:lnTo>
                  <a:lnTo>
                    <a:pt x="454228" y="161290"/>
                  </a:lnTo>
                  <a:lnTo>
                    <a:pt x="459117" y="156210"/>
                  </a:lnTo>
                  <a:lnTo>
                    <a:pt x="459536" y="171450"/>
                  </a:lnTo>
                  <a:lnTo>
                    <a:pt x="459536" y="152400"/>
                  </a:lnTo>
                  <a:lnTo>
                    <a:pt x="457631" y="152400"/>
                  </a:lnTo>
                  <a:lnTo>
                    <a:pt x="457631" y="154940"/>
                  </a:lnTo>
                  <a:lnTo>
                    <a:pt x="451878" y="161290"/>
                  </a:lnTo>
                  <a:lnTo>
                    <a:pt x="450761" y="160083"/>
                  </a:lnTo>
                  <a:lnTo>
                    <a:pt x="450761" y="162560"/>
                  </a:lnTo>
                  <a:lnTo>
                    <a:pt x="444411" y="171450"/>
                  </a:lnTo>
                  <a:lnTo>
                    <a:pt x="444931" y="156210"/>
                  </a:lnTo>
                  <a:lnTo>
                    <a:pt x="450761" y="162560"/>
                  </a:lnTo>
                  <a:lnTo>
                    <a:pt x="450761" y="160083"/>
                  </a:lnTo>
                  <a:lnTo>
                    <a:pt x="447179" y="156210"/>
                  </a:lnTo>
                  <a:lnTo>
                    <a:pt x="446011" y="154940"/>
                  </a:lnTo>
                  <a:lnTo>
                    <a:pt x="457631" y="154940"/>
                  </a:lnTo>
                  <a:lnTo>
                    <a:pt x="457631" y="152400"/>
                  </a:lnTo>
                  <a:lnTo>
                    <a:pt x="444423" y="152400"/>
                  </a:lnTo>
                  <a:lnTo>
                    <a:pt x="443204" y="151574"/>
                  </a:lnTo>
                  <a:lnTo>
                    <a:pt x="443204" y="156210"/>
                  </a:lnTo>
                  <a:lnTo>
                    <a:pt x="442658" y="171450"/>
                  </a:lnTo>
                  <a:lnTo>
                    <a:pt x="442582" y="173990"/>
                  </a:lnTo>
                  <a:lnTo>
                    <a:pt x="441109" y="212090"/>
                  </a:lnTo>
                  <a:lnTo>
                    <a:pt x="441083" y="213360"/>
                  </a:lnTo>
                  <a:lnTo>
                    <a:pt x="440931" y="217170"/>
                  </a:lnTo>
                  <a:lnTo>
                    <a:pt x="439978" y="215900"/>
                  </a:lnTo>
                  <a:lnTo>
                    <a:pt x="439039" y="215900"/>
                  </a:lnTo>
                  <a:lnTo>
                    <a:pt x="438124" y="214630"/>
                  </a:lnTo>
                  <a:lnTo>
                    <a:pt x="434136" y="212090"/>
                  </a:lnTo>
                  <a:lnTo>
                    <a:pt x="430593" y="208280"/>
                  </a:lnTo>
                  <a:lnTo>
                    <a:pt x="424180" y="200660"/>
                  </a:lnTo>
                  <a:lnTo>
                    <a:pt x="421297" y="196837"/>
                  </a:lnTo>
                  <a:lnTo>
                    <a:pt x="418553" y="193040"/>
                  </a:lnTo>
                  <a:lnTo>
                    <a:pt x="423964" y="199390"/>
                  </a:lnTo>
                  <a:lnTo>
                    <a:pt x="429869" y="205740"/>
                  </a:lnTo>
                  <a:lnTo>
                    <a:pt x="438073" y="210820"/>
                  </a:lnTo>
                  <a:lnTo>
                    <a:pt x="441083" y="213360"/>
                  </a:lnTo>
                  <a:lnTo>
                    <a:pt x="441083" y="212090"/>
                  </a:lnTo>
                  <a:lnTo>
                    <a:pt x="439724" y="212090"/>
                  </a:lnTo>
                  <a:lnTo>
                    <a:pt x="437083" y="209550"/>
                  </a:lnTo>
                  <a:lnTo>
                    <a:pt x="430745" y="204470"/>
                  </a:lnTo>
                  <a:lnTo>
                    <a:pt x="424878" y="199390"/>
                  </a:lnTo>
                  <a:lnTo>
                    <a:pt x="419392" y="193040"/>
                  </a:lnTo>
                  <a:lnTo>
                    <a:pt x="414235" y="186690"/>
                  </a:lnTo>
                  <a:lnTo>
                    <a:pt x="413969" y="185420"/>
                  </a:lnTo>
                  <a:lnTo>
                    <a:pt x="417156" y="180340"/>
                  </a:lnTo>
                  <a:lnTo>
                    <a:pt x="420128" y="176530"/>
                  </a:lnTo>
                  <a:lnTo>
                    <a:pt x="424700" y="167640"/>
                  </a:lnTo>
                  <a:lnTo>
                    <a:pt x="426415" y="163830"/>
                  </a:lnTo>
                  <a:lnTo>
                    <a:pt x="428091" y="161290"/>
                  </a:lnTo>
                  <a:lnTo>
                    <a:pt x="442582" y="173990"/>
                  </a:lnTo>
                  <a:lnTo>
                    <a:pt x="442582" y="171399"/>
                  </a:lnTo>
                  <a:lnTo>
                    <a:pt x="434873" y="165100"/>
                  </a:lnTo>
                  <a:lnTo>
                    <a:pt x="436067" y="163830"/>
                  </a:lnTo>
                  <a:lnTo>
                    <a:pt x="443204" y="156210"/>
                  </a:lnTo>
                  <a:lnTo>
                    <a:pt x="443204" y="151574"/>
                  </a:lnTo>
                  <a:lnTo>
                    <a:pt x="442074" y="150799"/>
                  </a:lnTo>
                  <a:lnTo>
                    <a:pt x="442074" y="154940"/>
                  </a:lnTo>
                  <a:lnTo>
                    <a:pt x="433565" y="163830"/>
                  </a:lnTo>
                  <a:lnTo>
                    <a:pt x="431215" y="161290"/>
                  </a:lnTo>
                  <a:lnTo>
                    <a:pt x="428853" y="158750"/>
                  </a:lnTo>
                  <a:lnTo>
                    <a:pt x="430352" y="156210"/>
                  </a:lnTo>
                  <a:lnTo>
                    <a:pt x="431076" y="154940"/>
                  </a:lnTo>
                  <a:lnTo>
                    <a:pt x="442074" y="154940"/>
                  </a:lnTo>
                  <a:lnTo>
                    <a:pt x="442074" y="150799"/>
                  </a:lnTo>
                  <a:lnTo>
                    <a:pt x="441566" y="150456"/>
                  </a:lnTo>
                  <a:lnTo>
                    <a:pt x="441566" y="152400"/>
                  </a:lnTo>
                  <a:lnTo>
                    <a:pt x="431914" y="152400"/>
                  </a:lnTo>
                  <a:lnTo>
                    <a:pt x="432765" y="151130"/>
                  </a:lnTo>
                  <a:lnTo>
                    <a:pt x="434390" y="147320"/>
                  </a:lnTo>
                  <a:lnTo>
                    <a:pt x="441566" y="152400"/>
                  </a:lnTo>
                  <a:lnTo>
                    <a:pt x="441566" y="150456"/>
                  </a:lnTo>
                  <a:lnTo>
                    <a:pt x="436981" y="147320"/>
                  </a:lnTo>
                  <a:lnTo>
                    <a:pt x="435127" y="146050"/>
                  </a:lnTo>
                  <a:lnTo>
                    <a:pt x="435635" y="144780"/>
                  </a:lnTo>
                  <a:lnTo>
                    <a:pt x="438150" y="138430"/>
                  </a:lnTo>
                  <a:lnTo>
                    <a:pt x="440461" y="133350"/>
                  </a:lnTo>
                  <a:lnTo>
                    <a:pt x="442150" y="128270"/>
                  </a:lnTo>
                  <a:lnTo>
                    <a:pt x="444931" y="130810"/>
                  </a:lnTo>
                  <a:lnTo>
                    <a:pt x="447878" y="133350"/>
                  </a:lnTo>
                  <a:lnTo>
                    <a:pt x="454215" y="138430"/>
                  </a:lnTo>
                  <a:lnTo>
                    <a:pt x="457631" y="140970"/>
                  </a:lnTo>
                  <a:lnTo>
                    <a:pt x="463511" y="143510"/>
                  </a:lnTo>
                  <a:lnTo>
                    <a:pt x="465772" y="143510"/>
                  </a:lnTo>
                  <a:lnTo>
                    <a:pt x="463562" y="142240"/>
                  </a:lnTo>
                  <a:lnTo>
                    <a:pt x="457822" y="139700"/>
                  </a:lnTo>
                  <a:lnTo>
                    <a:pt x="454431" y="138430"/>
                  </a:lnTo>
                  <a:lnTo>
                    <a:pt x="448094" y="133350"/>
                  </a:lnTo>
                  <a:lnTo>
                    <a:pt x="445135" y="130810"/>
                  </a:lnTo>
                  <a:lnTo>
                    <a:pt x="442315" y="128270"/>
                  </a:lnTo>
                  <a:lnTo>
                    <a:pt x="442772" y="127000"/>
                  </a:lnTo>
                  <a:lnTo>
                    <a:pt x="445033" y="120650"/>
                  </a:lnTo>
                  <a:lnTo>
                    <a:pt x="447636" y="113030"/>
                  </a:lnTo>
                  <a:lnTo>
                    <a:pt x="450151" y="105410"/>
                  </a:lnTo>
                  <a:lnTo>
                    <a:pt x="452577" y="99060"/>
                  </a:lnTo>
                  <a:lnTo>
                    <a:pt x="456272" y="109220"/>
                  </a:lnTo>
                  <a:lnTo>
                    <a:pt x="460502" y="121920"/>
                  </a:lnTo>
                  <a:lnTo>
                    <a:pt x="463969" y="132080"/>
                  </a:lnTo>
                  <a:lnTo>
                    <a:pt x="468007" y="143510"/>
                  </a:lnTo>
                  <a:lnTo>
                    <a:pt x="468160" y="143510"/>
                  </a:lnTo>
                  <a:lnTo>
                    <a:pt x="468693" y="146050"/>
                  </a:lnTo>
                  <a:lnTo>
                    <a:pt x="468693" y="143510"/>
                  </a:lnTo>
                  <a:lnTo>
                    <a:pt x="468566" y="143510"/>
                  </a:lnTo>
                  <a:lnTo>
                    <a:pt x="464489" y="132080"/>
                  </a:lnTo>
                  <a:lnTo>
                    <a:pt x="460552" y="120650"/>
                  </a:lnTo>
                  <a:lnTo>
                    <a:pt x="456742" y="109220"/>
                  </a:lnTo>
                  <a:lnTo>
                    <a:pt x="453440" y="99060"/>
                  </a:lnTo>
                  <a:lnTo>
                    <a:pt x="453021" y="97790"/>
                  </a:lnTo>
                  <a:lnTo>
                    <a:pt x="453212" y="97790"/>
                  </a:lnTo>
                  <a:lnTo>
                    <a:pt x="453212" y="95250"/>
                  </a:lnTo>
                  <a:lnTo>
                    <a:pt x="454571" y="95250"/>
                  </a:lnTo>
                  <a:lnTo>
                    <a:pt x="454355" y="93980"/>
                  </a:lnTo>
                  <a:lnTo>
                    <a:pt x="454012" y="93980"/>
                  </a:lnTo>
                  <a:lnTo>
                    <a:pt x="453910" y="92710"/>
                  </a:lnTo>
                  <a:lnTo>
                    <a:pt x="454571" y="92710"/>
                  </a:lnTo>
                  <a:lnTo>
                    <a:pt x="454571" y="91440"/>
                  </a:lnTo>
                  <a:lnTo>
                    <a:pt x="454012" y="91440"/>
                  </a:lnTo>
                  <a:lnTo>
                    <a:pt x="453910" y="90170"/>
                  </a:lnTo>
                  <a:lnTo>
                    <a:pt x="454571" y="90170"/>
                  </a:lnTo>
                  <a:lnTo>
                    <a:pt x="454571" y="88900"/>
                  </a:lnTo>
                  <a:lnTo>
                    <a:pt x="454050" y="88900"/>
                  </a:lnTo>
                  <a:lnTo>
                    <a:pt x="454012" y="87630"/>
                  </a:lnTo>
                  <a:lnTo>
                    <a:pt x="454291" y="87630"/>
                  </a:lnTo>
                  <a:lnTo>
                    <a:pt x="454571" y="86360"/>
                  </a:lnTo>
                  <a:lnTo>
                    <a:pt x="454355" y="85090"/>
                  </a:lnTo>
                  <a:lnTo>
                    <a:pt x="453910" y="85090"/>
                  </a:lnTo>
                  <a:lnTo>
                    <a:pt x="453732" y="83820"/>
                  </a:lnTo>
                  <a:lnTo>
                    <a:pt x="454571" y="83820"/>
                  </a:lnTo>
                  <a:lnTo>
                    <a:pt x="454571" y="82550"/>
                  </a:lnTo>
                  <a:lnTo>
                    <a:pt x="454012" y="82550"/>
                  </a:lnTo>
                  <a:lnTo>
                    <a:pt x="453910" y="81280"/>
                  </a:lnTo>
                  <a:lnTo>
                    <a:pt x="454571" y="81280"/>
                  </a:lnTo>
                  <a:lnTo>
                    <a:pt x="454571" y="80200"/>
                  </a:lnTo>
                  <a:lnTo>
                    <a:pt x="454063" y="80022"/>
                  </a:lnTo>
                  <a:lnTo>
                    <a:pt x="453961" y="78740"/>
                  </a:lnTo>
                  <a:lnTo>
                    <a:pt x="454571" y="78740"/>
                  </a:lnTo>
                  <a:lnTo>
                    <a:pt x="454571" y="77470"/>
                  </a:lnTo>
                  <a:lnTo>
                    <a:pt x="454050" y="77470"/>
                  </a:lnTo>
                  <a:lnTo>
                    <a:pt x="454012" y="76200"/>
                  </a:lnTo>
                  <a:lnTo>
                    <a:pt x="453732" y="74930"/>
                  </a:lnTo>
                  <a:lnTo>
                    <a:pt x="454571" y="74930"/>
                  </a:lnTo>
                  <a:lnTo>
                    <a:pt x="454355" y="73660"/>
                  </a:lnTo>
                  <a:lnTo>
                    <a:pt x="453910" y="73660"/>
                  </a:lnTo>
                  <a:lnTo>
                    <a:pt x="453732" y="72390"/>
                  </a:lnTo>
                  <a:lnTo>
                    <a:pt x="454571" y="72390"/>
                  </a:lnTo>
                  <a:lnTo>
                    <a:pt x="454571" y="71120"/>
                  </a:lnTo>
                  <a:lnTo>
                    <a:pt x="454012" y="71120"/>
                  </a:lnTo>
                  <a:lnTo>
                    <a:pt x="453910" y="69850"/>
                  </a:lnTo>
                  <a:lnTo>
                    <a:pt x="454571" y="69850"/>
                  </a:lnTo>
                  <a:lnTo>
                    <a:pt x="454571" y="68580"/>
                  </a:lnTo>
                  <a:lnTo>
                    <a:pt x="454050" y="68580"/>
                  </a:lnTo>
                  <a:lnTo>
                    <a:pt x="453986" y="67310"/>
                  </a:lnTo>
                  <a:lnTo>
                    <a:pt x="453720" y="66040"/>
                  </a:lnTo>
                  <a:lnTo>
                    <a:pt x="481126" y="66040"/>
                  </a:lnTo>
                  <a:lnTo>
                    <a:pt x="485292" y="71120"/>
                  </a:lnTo>
                  <a:lnTo>
                    <a:pt x="490537" y="77470"/>
                  </a:lnTo>
                  <a:lnTo>
                    <a:pt x="487387" y="80010"/>
                  </a:lnTo>
                  <a:lnTo>
                    <a:pt x="483958" y="81280"/>
                  </a:lnTo>
                  <a:lnTo>
                    <a:pt x="475361" y="83820"/>
                  </a:lnTo>
                  <a:lnTo>
                    <a:pt x="470090" y="83820"/>
                  </a:lnTo>
                  <a:lnTo>
                    <a:pt x="461429" y="82575"/>
                  </a:lnTo>
                  <a:lnTo>
                    <a:pt x="470052" y="85090"/>
                  </a:lnTo>
                  <a:lnTo>
                    <a:pt x="475424" y="85090"/>
                  </a:lnTo>
                  <a:lnTo>
                    <a:pt x="479806" y="83820"/>
                  </a:lnTo>
                  <a:lnTo>
                    <a:pt x="484187" y="82550"/>
                  </a:lnTo>
                  <a:lnTo>
                    <a:pt x="487680" y="80010"/>
                  </a:lnTo>
                  <a:lnTo>
                    <a:pt x="490880" y="78740"/>
                  </a:lnTo>
                  <a:lnTo>
                    <a:pt x="499618" y="90170"/>
                  </a:lnTo>
                  <a:lnTo>
                    <a:pt x="499618" y="86855"/>
                  </a:lnTo>
                  <a:lnTo>
                    <a:pt x="493064" y="78740"/>
                  </a:lnTo>
                  <a:lnTo>
                    <a:pt x="494550" y="77470"/>
                  </a:lnTo>
                  <a:lnTo>
                    <a:pt x="501980" y="71120"/>
                  </a:lnTo>
                  <a:lnTo>
                    <a:pt x="503555" y="69850"/>
                  </a:lnTo>
                  <a:lnTo>
                    <a:pt x="506704" y="67310"/>
                  </a:lnTo>
                  <a:lnTo>
                    <a:pt x="506704" y="63500"/>
                  </a:lnTo>
                  <a:lnTo>
                    <a:pt x="505904" y="63500"/>
                  </a:lnTo>
                  <a:lnTo>
                    <a:pt x="505904" y="64770"/>
                  </a:lnTo>
                  <a:lnTo>
                    <a:pt x="499986" y="69850"/>
                  </a:lnTo>
                  <a:lnTo>
                    <a:pt x="501421" y="68580"/>
                  </a:lnTo>
                  <a:lnTo>
                    <a:pt x="502767" y="67310"/>
                  </a:lnTo>
                  <a:lnTo>
                    <a:pt x="504050" y="64770"/>
                  </a:lnTo>
                  <a:lnTo>
                    <a:pt x="505904" y="64770"/>
                  </a:lnTo>
                  <a:lnTo>
                    <a:pt x="505904" y="63500"/>
                  </a:lnTo>
                  <a:lnTo>
                    <a:pt x="505371" y="63500"/>
                  </a:lnTo>
                  <a:lnTo>
                    <a:pt x="506971" y="60960"/>
                  </a:lnTo>
                  <a:lnTo>
                    <a:pt x="508469" y="59690"/>
                  </a:lnTo>
                  <a:lnTo>
                    <a:pt x="509866" y="57150"/>
                  </a:lnTo>
                  <a:lnTo>
                    <a:pt x="509866" y="55524"/>
                  </a:lnTo>
                  <a:lnTo>
                    <a:pt x="508736" y="57150"/>
                  </a:lnTo>
                  <a:lnTo>
                    <a:pt x="506818" y="60960"/>
                  </a:lnTo>
                  <a:lnTo>
                    <a:pt x="504736" y="63500"/>
                  </a:lnTo>
                  <a:lnTo>
                    <a:pt x="503389" y="63500"/>
                  </a:lnTo>
                  <a:lnTo>
                    <a:pt x="503389" y="64770"/>
                  </a:lnTo>
                  <a:lnTo>
                    <a:pt x="500595" y="68580"/>
                  </a:lnTo>
                  <a:lnTo>
                    <a:pt x="498856" y="71120"/>
                  </a:lnTo>
                  <a:lnTo>
                    <a:pt x="497509" y="72390"/>
                  </a:lnTo>
                  <a:lnTo>
                    <a:pt x="493966" y="74930"/>
                  </a:lnTo>
                  <a:lnTo>
                    <a:pt x="493674" y="76200"/>
                  </a:lnTo>
                  <a:lnTo>
                    <a:pt x="491959" y="77470"/>
                  </a:lnTo>
                  <a:lnTo>
                    <a:pt x="487476" y="71120"/>
                  </a:lnTo>
                  <a:lnTo>
                    <a:pt x="483311" y="66040"/>
                  </a:lnTo>
                  <a:lnTo>
                    <a:pt x="503389" y="64770"/>
                  </a:lnTo>
                  <a:lnTo>
                    <a:pt x="503389" y="63500"/>
                  </a:lnTo>
                  <a:lnTo>
                    <a:pt x="452132" y="63500"/>
                  </a:lnTo>
                  <a:lnTo>
                    <a:pt x="452132" y="95250"/>
                  </a:lnTo>
                  <a:lnTo>
                    <a:pt x="452132" y="97790"/>
                  </a:lnTo>
                  <a:lnTo>
                    <a:pt x="449707" y="105410"/>
                  </a:lnTo>
                  <a:lnTo>
                    <a:pt x="446760" y="114300"/>
                  </a:lnTo>
                  <a:lnTo>
                    <a:pt x="444576" y="120650"/>
                  </a:lnTo>
                  <a:lnTo>
                    <a:pt x="441858" y="127000"/>
                  </a:lnTo>
                  <a:lnTo>
                    <a:pt x="441680" y="126834"/>
                  </a:lnTo>
                  <a:lnTo>
                    <a:pt x="441680" y="128270"/>
                  </a:lnTo>
                  <a:lnTo>
                    <a:pt x="439928" y="132080"/>
                  </a:lnTo>
                  <a:lnTo>
                    <a:pt x="437603" y="138430"/>
                  </a:lnTo>
                  <a:lnTo>
                    <a:pt x="436130" y="142240"/>
                  </a:lnTo>
                  <a:lnTo>
                    <a:pt x="434619" y="144780"/>
                  </a:lnTo>
                  <a:lnTo>
                    <a:pt x="433882" y="144221"/>
                  </a:lnTo>
                  <a:lnTo>
                    <a:pt x="433882" y="147320"/>
                  </a:lnTo>
                  <a:lnTo>
                    <a:pt x="432130" y="151130"/>
                  </a:lnTo>
                  <a:lnTo>
                    <a:pt x="431215" y="152400"/>
                  </a:lnTo>
                  <a:lnTo>
                    <a:pt x="430352" y="152400"/>
                  </a:lnTo>
                  <a:lnTo>
                    <a:pt x="430352" y="154940"/>
                  </a:lnTo>
                  <a:lnTo>
                    <a:pt x="429704" y="156210"/>
                  </a:lnTo>
                  <a:lnTo>
                    <a:pt x="428345" y="158750"/>
                  </a:lnTo>
                  <a:lnTo>
                    <a:pt x="423608" y="154940"/>
                  </a:lnTo>
                  <a:lnTo>
                    <a:pt x="430352" y="154940"/>
                  </a:lnTo>
                  <a:lnTo>
                    <a:pt x="430352" y="152400"/>
                  </a:lnTo>
                  <a:lnTo>
                    <a:pt x="422922" y="152400"/>
                  </a:lnTo>
                  <a:lnTo>
                    <a:pt x="429348" y="143510"/>
                  </a:lnTo>
                  <a:lnTo>
                    <a:pt x="433882" y="147320"/>
                  </a:lnTo>
                  <a:lnTo>
                    <a:pt x="433882" y="144221"/>
                  </a:lnTo>
                  <a:lnTo>
                    <a:pt x="432955" y="143510"/>
                  </a:lnTo>
                  <a:lnTo>
                    <a:pt x="427977" y="139725"/>
                  </a:lnTo>
                  <a:lnTo>
                    <a:pt x="427977" y="142240"/>
                  </a:lnTo>
                  <a:lnTo>
                    <a:pt x="421563" y="152400"/>
                  </a:lnTo>
                  <a:lnTo>
                    <a:pt x="415544" y="132080"/>
                  </a:lnTo>
                  <a:lnTo>
                    <a:pt x="427977" y="142240"/>
                  </a:lnTo>
                  <a:lnTo>
                    <a:pt x="427977" y="139725"/>
                  </a:lnTo>
                  <a:lnTo>
                    <a:pt x="417957" y="132080"/>
                  </a:lnTo>
                  <a:lnTo>
                    <a:pt x="414616" y="129540"/>
                  </a:lnTo>
                  <a:lnTo>
                    <a:pt x="402107" y="90170"/>
                  </a:lnTo>
                  <a:lnTo>
                    <a:pt x="404063" y="87630"/>
                  </a:lnTo>
                  <a:lnTo>
                    <a:pt x="407962" y="82550"/>
                  </a:lnTo>
                  <a:lnTo>
                    <a:pt x="413981" y="92710"/>
                  </a:lnTo>
                  <a:lnTo>
                    <a:pt x="420255" y="101600"/>
                  </a:lnTo>
                  <a:lnTo>
                    <a:pt x="426872" y="110490"/>
                  </a:lnTo>
                  <a:lnTo>
                    <a:pt x="433920" y="119380"/>
                  </a:lnTo>
                  <a:lnTo>
                    <a:pt x="436410" y="121920"/>
                  </a:lnTo>
                  <a:lnTo>
                    <a:pt x="438988" y="125730"/>
                  </a:lnTo>
                  <a:lnTo>
                    <a:pt x="441680" y="128270"/>
                  </a:lnTo>
                  <a:lnTo>
                    <a:pt x="441680" y="126834"/>
                  </a:lnTo>
                  <a:lnTo>
                    <a:pt x="439216" y="124460"/>
                  </a:lnTo>
                  <a:lnTo>
                    <a:pt x="436702" y="121920"/>
                  </a:lnTo>
                  <a:lnTo>
                    <a:pt x="434276" y="119380"/>
                  </a:lnTo>
                  <a:lnTo>
                    <a:pt x="427228" y="110490"/>
                  </a:lnTo>
                  <a:lnTo>
                    <a:pt x="420611" y="101600"/>
                  </a:lnTo>
                  <a:lnTo>
                    <a:pt x="414337" y="91440"/>
                  </a:lnTo>
                  <a:lnTo>
                    <a:pt x="408317" y="82550"/>
                  </a:lnTo>
                  <a:lnTo>
                    <a:pt x="410311" y="80010"/>
                  </a:lnTo>
                  <a:lnTo>
                    <a:pt x="412318" y="77470"/>
                  </a:lnTo>
                  <a:lnTo>
                    <a:pt x="417309" y="71120"/>
                  </a:lnTo>
                  <a:lnTo>
                    <a:pt x="421690" y="66040"/>
                  </a:lnTo>
                  <a:lnTo>
                    <a:pt x="432409" y="66040"/>
                  </a:lnTo>
                  <a:lnTo>
                    <a:pt x="437934" y="69850"/>
                  </a:lnTo>
                  <a:lnTo>
                    <a:pt x="438708" y="71120"/>
                  </a:lnTo>
                  <a:lnTo>
                    <a:pt x="443839" y="74930"/>
                  </a:lnTo>
                  <a:lnTo>
                    <a:pt x="450697" y="78740"/>
                  </a:lnTo>
                  <a:lnTo>
                    <a:pt x="451446" y="78740"/>
                  </a:lnTo>
                  <a:lnTo>
                    <a:pt x="451332" y="80010"/>
                  </a:lnTo>
                  <a:lnTo>
                    <a:pt x="450786" y="80010"/>
                  </a:lnTo>
                  <a:lnTo>
                    <a:pt x="450786" y="81280"/>
                  </a:lnTo>
                  <a:lnTo>
                    <a:pt x="451446" y="81280"/>
                  </a:lnTo>
                  <a:lnTo>
                    <a:pt x="451332" y="82550"/>
                  </a:lnTo>
                  <a:lnTo>
                    <a:pt x="450786" y="82550"/>
                  </a:lnTo>
                  <a:lnTo>
                    <a:pt x="450786" y="83820"/>
                  </a:lnTo>
                  <a:lnTo>
                    <a:pt x="451612" y="83820"/>
                  </a:lnTo>
                  <a:lnTo>
                    <a:pt x="451446" y="85090"/>
                  </a:lnTo>
                  <a:lnTo>
                    <a:pt x="450989" y="85090"/>
                  </a:lnTo>
                  <a:lnTo>
                    <a:pt x="450786" y="86360"/>
                  </a:lnTo>
                  <a:lnTo>
                    <a:pt x="451053" y="87630"/>
                  </a:lnTo>
                  <a:lnTo>
                    <a:pt x="451332" y="87630"/>
                  </a:lnTo>
                  <a:lnTo>
                    <a:pt x="451294" y="88900"/>
                  </a:lnTo>
                  <a:lnTo>
                    <a:pt x="450786" y="88900"/>
                  </a:lnTo>
                  <a:lnTo>
                    <a:pt x="450786" y="90170"/>
                  </a:lnTo>
                  <a:lnTo>
                    <a:pt x="451446" y="90170"/>
                  </a:lnTo>
                  <a:lnTo>
                    <a:pt x="451332" y="91440"/>
                  </a:lnTo>
                  <a:lnTo>
                    <a:pt x="450786" y="91440"/>
                  </a:lnTo>
                  <a:lnTo>
                    <a:pt x="450786" y="92710"/>
                  </a:lnTo>
                  <a:lnTo>
                    <a:pt x="451446" y="92710"/>
                  </a:lnTo>
                  <a:lnTo>
                    <a:pt x="451332" y="93980"/>
                  </a:lnTo>
                  <a:lnTo>
                    <a:pt x="450989" y="93980"/>
                  </a:lnTo>
                  <a:lnTo>
                    <a:pt x="450786" y="95250"/>
                  </a:lnTo>
                  <a:lnTo>
                    <a:pt x="452132" y="95250"/>
                  </a:lnTo>
                  <a:lnTo>
                    <a:pt x="452132" y="63500"/>
                  </a:lnTo>
                  <a:lnTo>
                    <a:pt x="451624" y="63500"/>
                  </a:lnTo>
                  <a:lnTo>
                    <a:pt x="451624" y="66040"/>
                  </a:lnTo>
                  <a:lnTo>
                    <a:pt x="451370" y="67310"/>
                  </a:lnTo>
                  <a:lnTo>
                    <a:pt x="451294" y="68580"/>
                  </a:lnTo>
                  <a:lnTo>
                    <a:pt x="450786" y="68580"/>
                  </a:lnTo>
                  <a:lnTo>
                    <a:pt x="450786" y="69850"/>
                  </a:lnTo>
                  <a:lnTo>
                    <a:pt x="451446" y="69850"/>
                  </a:lnTo>
                  <a:lnTo>
                    <a:pt x="451332" y="71120"/>
                  </a:lnTo>
                  <a:lnTo>
                    <a:pt x="450786" y="71120"/>
                  </a:lnTo>
                  <a:lnTo>
                    <a:pt x="450786" y="72390"/>
                  </a:lnTo>
                  <a:lnTo>
                    <a:pt x="451612" y="72390"/>
                  </a:lnTo>
                  <a:lnTo>
                    <a:pt x="451446" y="73660"/>
                  </a:lnTo>
                  <a:lnTo>
                    <a:pt x="450989" y="73660"/>
                  </a:lnTo>
                  <a:lnTo>
                    <a:pt x="450786" y="74930"/>
                  </a:lnTo>
                  <a:lnTo>
                    <a:pt x="451612" y="74930"/>
                  </a:lnTo>
                  <a:lnTo>
                    <a:pt x="451446" y="76200"/>
                  </a:lnTo>
                  <a:lnTo>
                    <a:pt x="451294" y="77470"/>
                  </a:lnTo>
                  <a:lnTo>
                    <a:pt x="450824" y="77470"/>
                  </a:lnTo>
                  <a:lnTo>
                    <a:pt x="444398" y="74930"/>
                  </a:lnTo>
                  <a:lnTo>
                    <a:pt x="439762" y="71120"/>
                  </a:lnTo>
                  <a:lnTo>
                    <a:pt x="438708" y="69850"/>
                  </a:lnTo>
                  <a:lnTo>
                    <a:pt x="433387" y="66040"/>
                  </a:lnTo>
                  <a:lnTo>
                    <a:pt x="451624" y="66040"/>
                  </a:lnTo>
                  <a:lnTo>
                    <a:pt x="451624" y="63500"/>
                  </a:lnTo>
                  <a:lnTo>
                    <a:pt x="431380" y="63500"/>
                  </a:lnTo>
                  <a:lnTo>
                    <a:pt x="430428" y="62814"/>
                  </a:lnTo>
                  <a:lnTo>
                    <a:pt x="430428" y="63500"/>
                  </a:lnTo>
                  <a:lnTo>
                    <a:pt x="419455" y="63500"/>
                  </a:lnTo>
                  <a:lnTo>
                    <a:pt x="419455" y="66040"/>
                  </a:lnTo>
                  <a:lnTo>
                    <a:pt x="415086" y="71120"/>
                  </a:lnTo>
                  <a:lnTo>
                    <a:pt x="410235" y="77470"/>
                  </a:lnTo>
                  <a:lnTo>
                    <a:pt x="409155" y="76568"/>
                  </a:lnTo>
                  <a:lnTo>
                    <a:pt x="409155" y="78740"/>
                  </a:lnTo>
                  <a:lnTo>
                    <a:pt x="407352" y="80010"/>
                  </a:lnTo>
                  <a:lnTo>
                    <a:pt x="406996" y="79438"/>
                  </a:lnTo>
                  <a:lnTo>
                    <a:pt x="406996" y="81280"/>
                  </a:lnTo>
                  <a:lnTo>
                    <a:pt x="401472" y="87630"/>
                  </a:lnTo>
                  <a:lnTo>
                    <a:pt x="394906" y="67310"/>
                  </a:lnTo>
                  <a:lnTo>
                    <a:pt x="399808" y="71120"/>
                  </a:lnTo>
                  <a:lnTo>
                    <a:pt x="402043" y="72390"/>
                  </a:lnTo>
                  <a:lnTo>
                    <a:pt x="405079" y="77470"/>
                  </a:lnTo>
                  <a:lnTo>
                    <a:pt x="406996" y="81280"/>
                  </a:lnTo>
                  <a:lnTo>
                    <a:pt x="406996" y="79438"/>
                  </a:lnTo>
                  <a:lnTo>
                    <a:pt x="405777" y="77470"/>
                  </a:lnTo>
                  <a:lnTo>
                    <a:pt x="403237" y="73660"/>
                  </a:lnTo>
                  <a:lnTo>
                    <a:pt x="409155" y="78740"/>
                  </a:lnTo>
                  <a:lnTo>
                    <a:pt x="409155" y="76568"/>
                  </a:lnTo>
                  <a:lnTo>
                    <a:pt x="405676" y="73660"/>
                  </a:lnTo>
                  <a:lnTo>
                    <a:pt x="402628" y="71120"/>
                  </a:lnTo>
                  <a:lnTo>
                    <a:pt x="400761" y="69850"/>
                  </a:lnTo>
                  <a:lnTo>
                    <a:pt x="400011" y="68580"/>
                  </a:lnTo>
                  <a:lnTo>
                    <a:pt x="399605" y="67906"/>
                  </a:lnTo>
                  <a:lnTo>
                    <a:pt x="399605" y="68580"/>
                  </a:lnTo>
                  <a:lnTo>
                    <a:pt x="397675" y="67310"/>
                  </a:lnTo>
                  <a:lnTo>
                    <a:pt x="395744" y="66040"/>
                  </a:lnTo>
                  <a:lnTo>
                    <a:pt x="397852" y="66040"/>
                  </a:lnTo>
                  <a:lnTo>
                    <a:pt x="399605" y="68580"/>
                  </a:lnTo>
                  <a:lnTo>
                    <a:pt x="399605" y="67906"/>
                  </a:lnTo>
                  <a:lnTo>
                    <a:pt x="398500" y="66040"/>
                  </a:lnTo>
                  <a:lnTo>
                    <a:pt x="419455" y="66040"/>
                  </a:lnTo>
                  <a:lnTo>
                    <a:pt x="419455" y="63500"/>
                  </a:lnTo>
                  <a:lnTo>
                    <a:pt x="397497" y="63500"/>
                  </a:lnTo>
                  <a:lnTo>
                    <a:pt x="396849" y="62230"/>
                  </a:lnTo>
                  <a:lnTo>
                    <a:pt x="425640" y="59690"/>
                  </a:lnTo>
                  <a:lnTo>
                    <a:pt x="427304" y="60960"/>
                  </a:lnTo>
                  <a:lnTo>
                    <a:pt x="430428" y="63500"/>
                  </a:lnTo>
                  <a:lnTo>
                    <a:pt x="430428" y="62814"/>
                  </a:lnTo>
                  <a:lnTo>
                    <a:pt x="427913" y="60960"/>
                  </a:lnTo>
                  <a:lnTo>
                    <a:pt x="427189" y="59690"/>
                  </a:lnTo>
                  <a:lnTo>
                    <a:pt x="426466" y="58420"/>
                  </a:lnTo>
                  <a:lnTo>
                    <a:pt x="396240" y="62242"/>
                  </a:lnTo>
                  <a:lnTo>
                    <a:pt x="396836" y="63500"/>
                  </a:lnTo>
                  <a:lnTo>
                    <a:pt x="393611" y="63500"/>
                  </a:lnTo>
                  <a:lnTo>
                    <a:pt x="396163" y="62255"/>
                  </a:lnTo>
                  <a:lnTo>
                    <a:pt x="374027" y="65062"/>
                  </a:lnTo>
                  <a:lnTo>
                    <a:pt x="376847" y="66040"/>
                  </a:lnTo>
                  <a:lnTo>
                    <a:pt x="392595" y="66040"/>
                  </a:lnTo>
                  <a:lnTo>
                    <a:pt x="394322" y="71120"/>
                  </a:lnTo>
                  <a:lnTo>
                    <a:pt x="420471" y="153670"/>
                  </a:lnTo>
                  <a:lnTo>
                    <a:pt x="427596" y="160020"/>
                  </a:lnTo>
                  <a:lnTo>
                    <a:pt x="425894" y="163830"/>
                  </a:lnTo>
                  <a:lnTo>
                    <a:pt x="424141" y="167640"/>
                  </a:lnTo>
                  <a:lnTo>
                    <a:pt x="419595" y="175260"/>
                  </a:lnTo>
                  <a:lnTo>
                    <a:pt x="416699" y="180340"/>
                  </a:lnTo>
                  <a:lnTo>
                    <a:pt x="413575" y="185420"/>
                  </a:lnTo>
                  <a:lnTo>
                    <a:pt x="413054" y="184594"/>
                  </a:lnTo>
                  <a:lnTo>
                    <a:pt x="413054" y="185420"/>
                  </a:lnTo>
                  <a:lnTo>
                    <a:pt x="409041" y="191770"/>
                  </a:lnTo>
                  <a:lnTo>
                    <a:pt x="404685" y="198120"/>
                  </a:lnTo>
                  <a:lnTo>
                    <a:pt x="399808" y="203200"/>
                  </a:lnTo>
                  <a:lnTo>
                    <a:pt x="395351" y="208280"/>
                  </a:lnTo>
                  <a:lnTo>
                    <a:pt x="390461" y="212090"/>
                  </a:lnTo>
                  <a:lnTo>
                    <a:pt x="380619" y="219024"/>
                  </a:lnTo>
                  <a:lnTo>
                    <a:pt x="380174" y="215163"/>
                  </a:lnTo>
                  <a:lnTo>
                    <a:pt x="379971" y="211353"/>
                  </a:lnTo>
                  <a:lnTo>
                    <a:pt x="380149" y="215163"/>
                  </a:lnTo>
                  <a:lnTo>
                    <a:pt x="380593" y="219036"/>
                  </a:lnTo>
                  <a:lnTo>
                    <a:pt x="380009" y="219443"/>
                  </a:lnTo>
                  <a:lnTo>
                    <a:pt x="379628" y="219710"/>
                  </a:lnTo>
                  <a:lnTo>
                    <a:pt x="373634" y="222250"/>
                  </a:lnTo>
                  <a:lnTo>
                    <a:pt x="364718" y="224942"/>
                  </a:lnTo>
                  <a:lnTo>
                    <a:pt x="368147" y="213893"/>
                  </a:lnTo>
                  <a:lnTo>
                    <a:pt x="364490" y="225005"/>
                  </a:lnTo>
                  <a:lnTo>
                    <a:pt x="364007" y="225158"/>
                  </a:lnTo>
                  <a:lnTo>
                    <a:pt x="364007" y="226466"/>
                  </a:lnTo>
                  <a:lnTo>
                    <a:pt x="363969" y="226593"/>
                  </a:lnTo>
                  <a:lnTo>
                    <a:pt x="363778" y="226745"/>
                  </a:lnTo>
                  <a:lnTo>
                    <a:pt x="361683" y="234213"/>
                  </a:lnTo>
                  <a:lnTo>
                    <a:pt x="359575" y="230403"/>
                  </a:lnTo>
                  <a:lnTo>
                    <a:pt x="362267" y="227990"/>
                  </a:lnTo>
                  <a:lnTo>
                    <a:pt x="359333" y="230403"/>
                  </a:lnTo>
                  <a:lnTo>
                    <a:pt x="355549" y="232918"/>
                  </a:lnTo>
                  <a:lnTo>
                    <a:pt x="355422" y="233019"/>
                  </a:lnTo>
                  <a:lnTo>
                    <a:pt x="355219" y="233184"/>
                  </a:lnTo>
                  <a:lnTo>
                    <a:pt x="355168" y="233464"/>
                  </a:lnTo>
                  <a:lnTo>
                    <a:pt x="354749" y="234213"/>
                  </a:lnTo>
                  <a:lnTo>
                    <a:pt x="354685" y="233514"/>
                  </a:lnTo>
                  <a:lnTo>
                    <a:pt x="354088" y="234213"/>
                  </a:lnTo>
                  <a:lnTo>
                    <a:pt x="353568" y="234213"/>
                  </a:lnTo>
                  <a:lnTo>
                    <a:pt x="351497" y="227863"/>
                  </a:lnTo>
                  <a:lnTo>
                    <a:pt x="351320" y="227863"/>
                  </a:lnTo>
                  <a:lnTo>
                    <a:pt x="353314" y="234213"/>
                  </a:lnTo>
                  <a:lnTo>
                    <a:pt x="353542" y="234886"/>
                  </a:lnTo>
                  <a:lnTo>
                    <a:pt x="353428" y="235026"/>
                  </a:lnTo>
                  <a:lnTo>
                    <a:pt x="353568" y="235026"/>
                  </a:lnTo>
                  <a:lnTo>
                    <a:pt x="353669" y="235483"/>
                  </a:lnTo>
                  <a:lnTo>
                    <a:pt x="353987" y="235483"/>
                  </a:lnTo>
                  <a:lnTo>
                    <a:pt x="354723" y="237756"/>
                  </a:lnTo>
                  <a:lnTo>
                    <a:pt x="354850" y="239293"/>
                  </a:lnTo>
                  <a:lnTo>
                    <a:pt x="352374" y="236804"/>
                  </a:lnTo>
                  <a:lnTo>
                    <a:pt x="353225" y="235483"/>
                  </a:lnTo>
                  <a:lnTo>
                    <a:pt x="352856" y="235483"/>
                  </a:lnTo>
                  <a:lnTo>
                    <a:pt x="352158" y="236740"/>
                  </a:lnTo>
                  <a:lnTo>
                    <a:pt x="354698" y="240563"/>
                  </a:lnTo>
                  <a:lnTo>
                    <a:pt x="354431" y="240563"/>
                  </a:lnTo>
                  <a:lnTo>
                    <a:pt x="352031" y="241833"/>
                  </a:lnTo>
                  <a:lnTo>
                    <a:pt x="349745" y="240563"/>
                  </a:lnTo>
                  <a:lnTo>
                    <a:pt x="350481" y="239293"/>
                  </a:lnTo>
                  <a:lnTo>
                    <a:pt x="352120" y="236804"/>
                  </a:lnTo>
                  <a:lnTo>
                    <a:pt x="351434" y="235483"/>
                  </a:lnTo>
                  <a:lnTo>
                    <a:pt x="351218" y="235483"/>
                  </a:lnTo>
                  <a:lnTo>
                    <a:pt x="349885" y="234213"/>
                  </a:lnTo>
                  <a:lnTo>
                    <a:pt x="349707" y="234213"/>
                  </a:lnTo>
                  <a:lnTo>
                    <a:pt x="350850" y="235483"/>
                  </a:lnTo>
                  <a:lnTo>
                    <a:pt x="351053" y="235483"/>
                  </a:lnTo>
                  <a:lnTo>
                    <a:pt x="351955" y="236740"/>
                  </a:lnTo>
                  <a:lnTo>
                    <a:pt x="349516" y="239293"/>
                  </a:lnTo>
                  <a:lnTo>
                    <a:pt x="349643" y="235483"/>
                  </a:lnTo>
                  <a:lnTo>
                    <a:pt x="349707" y="234213"/>
                  </a:lnTo>
                  <a:lnTo>
                    <a:pt x="349440" y="234073"/>
                  </a:lnTo>
                  <a:lnTo>
                    <a:pt x="349440" y="234213"/>
                  </a:lnTo>
                  <a:lnTo>
                    <a:pt x="349389" y="235483"/>
                  </a:lnTo>
                  <a:lnTo>
                    <a:pt x="349224" y="240563"/>
                  </a:lnTo>
                  <a:lnTo>
                    <a:pt x="348881" y="248183"/>
                  </a:lnTo>
                  <a:lnTo>
                    <a:pt x="348335" y="246913"/>
                  </a:lnTo>
                  <a:lnTo>
                    <a:pt x="348081" y="245643"/>
                  </a:lnTo>
                  <a:lnTo>
                    <a:pt x="348056" y="244373"/>
                  </a:lnTo>
                  <a:lnTo>
                    <a:pt x="348310" y="244373"/>
                  </a:lnTo>
                  <a:lnTo>
                    <a:pt x="348195" y="243103"/>
                  </a:lnTo>
                  <a:lnTo>
                    <a:pt x="348310" y="241833"/>
                  </a:lnTo>
                  <a:lnTo>
                    <a:pt x="348056" y="240563"/>
                  </a:lnTo>
                  <a:lnTo>
                    <a:pt x="348310" y="240563"/>
                  </a:lnTo>
                  <a:lnTo>
                    <a:pt x="348284" y="239293"/>
                  </a:lnTo>
                  <a:lnTo>
                    <a:pt x="348449" y="239293"/>
                  </a:lnTo>
                  <a:lnTo>
                    <a:pt x="348449" y="238023"/>
                  </a:lnTo>
                  <a:lnTo>
                    <a:pt x="348310" y="238023"/>
                  </a:lnTo>
                  <a:lnTo>
                    <a:pt x="348195" y="236753"/>
                  </a:lnTo>
                  <a:lnTo>
                    <a:pt x="348056" y="236753"/>
                  </a:lnTo>
                  <a:lnTo>
                    <a:pt x="348056" y="235483"/>
                  </a:lnTo>
                  <a:lnTo>
                    <a:pt x="349440" y="234213"/>
                  </a:lnTo>
                  <a:lnTo>
                    <a:pt x="349440" y="234073"/>
                  </a:lnTo>
                  <a:lnTo>
                    <a:pt x="344678" y="230428"/>
                  </a:lnTo>
                  <a:lnTo>
                    <a:pt x="349173" y="234213"/>
                  </a:lnTo>
                  <a:lnTo>
                    <a:pt x="347726" y="235483"/>
                  </a:lnTo>
                  <a:lnTo>
                    <a:pt x="347484" y="235483"/>
                  </a:lnTo>
                  <a:lnTo>
                    <a:pt x="346113" y="236740"/>
                  </a:lnTo>
                  <a:lnTo>
                    <a:pt x="342379" y="234213"/>
                  </a:lnTo>
                  <a:lnTo>
                    <a:pt x="343433" y="231673"/>
                  </a:lnTo>
                  <a:lnTo>
                    <a:pt x="344652" y="230403"/>
                  </a:lnTo>
                  <a:lnTo>
                    <a:pt x="341566" y="228053"/>
                  </a:lnTo>
                  <a:lnTo>
                    <a:pt x="344424" y="230403"/>
                  </a:lnTo>
                  <a:lnTo>
                    <a:pt x="343230" y="231673"/>
                  </a:lnTo>
                  <a:lnTo>
                    <a:pt x="342049" y="234213"/>
                  </a:lnTo>
                  <a:lnTo>
                    <a:pt x="340601" y="229133"/>
                  </a:lnTo>
                  <a:lnTo>
                    <a:pt x="339852" y="226733"/>
                  </a:lnTo>
                  <a:lnTo>
                    <a:pt x="339674" y="226593"/>
                  </a:lnTo>
                  <a:lnTo>
                    <a:pt x="339229" y="225323"/>
                  </a:lnTo>
                  <a:lnTo>
                    <a:pt x="339928" y="224536"/>
                  </a:lnTo>
                  <a:lnTo>
                    <a:pt x="353707" y="227215"/>
                  </a:lnTo>
                  <a:lnTo>
                    <a:pt x="354215" y="229133"/>
                  </a:lnTo>
                  <a:lnTo>
                    <a:pt x="355473" y="232943"/>
                  </a:lnTo>
                  <a:lnTo>
                    <a:pt x="354253" y="229133"/>
                  </a:lnTo>
                  <a:lnTo>
                    <a:pt x="353745" y="227228"/>
                  </a:lnTo>
                  <a:lnTo>
                    <a:pt x="354304" y="227330"/>
                  </a:lnTo>
                  <a:lnTo>
                    <a:pt x="361073" y="227330"/>
                  </a:lnTo>
                  <a:lnTo>
                    <a:pt x="364007" y="226466"/>
                  </a:lnTo>
                  <a:lnTo>
                    <a:pt x="364007" y="225158"/>
                  </a:lnTo>
                  <a:lnTo>
                    <a:pt x="360972" y="226060"/>
                  </a:lnTo>
                  <a:lnTo>
                    <a:pt x="354317" y="226060"/>
                  </a:lnTo>
                  <a:lnTo>
                    <a:pt x="353415" y="225983"/>
                  </a:lnTo>
                  <a:lnTo>
                    <a:pt x="353250" y="225323"/>
                  </a:lnTo>
                  <a:lnTo>
                    <a:pt x="352399" y="220243"/>
                  </a:lnTo>
                  <a:lnTo>
                    <a:pt x="353212" y="225323"/>
                  </a:lnTo>
                  <a:lnTo>
                    <a:pt x="353377" y="225971"/>
                  </a:lnTo>
                  <a:lnTo>
                    <a:pt x="341312" y="224790"/>
                  </a:lnTo>
                  <a:lnTo>
                    <a:pt x="340131" y="224320"/>
                  </a:lnTo>
                  <a:lnTo>
                    <a:pt x="340334" y="224091"/>
                  </a:lnTo>
                  <a:lnTo>
                    <a:pt x="340677" y="223888"/>
                  </a:lnTo>
                  <a:lnTo>
                    <a:pt x="342658" y="222783"/>
                  </a:lnTo>
                  <a:lnTo>
                    <a:pt x="344817" y="221513"/>
                  </a:lnTo>
                  <a:lnTo>
                    <a:pt x="346887" y="218973"/>
                  </a:lnTo>
                  <a:lnTo>
                    <a:pt x="344766" y="221513"/>
                  </a:lnTo>
                  <a:lnTo>
                    <a:pt x="342531" y="222821"/>
                  </a:lnTo>
                  <a:lnTo>
                    <a:pt x="339979" y="224053"/>
                  </a:lnTo>
                  <a:lnTo>
                    <a:pt x="339877" y="224218"/>
                  </a:lnTo>
                  <a:lnTo>
                    <a:pt x="339699" y="224155"/>
                  </a:lnTo>
                  <a:lnTo>
                    <a:pt x="339699" y="224497"/>
                  </a:lnTo>
                  <a:lnTo>
                    <a:pt x="339204" y="225323"/>
                  </a:lnTo>
                  <a:lnTo>
                    <a:pt x="338874" y="224332"/>
                  </a:lnTo>
                  <a:lnTo>
                    <a:pt x="339699" y="224497"/>
                  </a:lnTo>
                  <a:lnTo>
                    <a:pt x="339699" y="224155"/>
                  </a:lnTo>
                  <a:lnTo>
                    <a:pt x="338696" y="223748"/>
                  </a:lnTo>
                  <a:lnTo>
                    <a:pt x="338416" y="222885"/>
                  </a:lnTo>
                  <a:lnTo>
                    <a:pt x="338416" y="223634"/>
                  </a:lnTo>
                  <a:lnTo>
                    <a:pt x="337248" y="223164"/>
                  </a:lnTo>
                  <a:lnTo>
                    <a:pt x="335000" y="222250"/>
                  </a:lnTo>
                  <a:lnTo>
                    <a:pt x="329704" y="220002"/>
                  </a:lnTo>
                  <a:lnTo>
                    <a:pt x="329679" y="218973"/>
                  </a:lnTo>
                  <a:lnTo>
                    <a:pt x="334314" y="215163"/>
                  </a:lnTo>
                  <a:lnTo>
                    <a:pt x="335432" y="217703"/>
                  </a:lnTo>
                  <a:lnTo>
                    <a:pt x="335508" y="217944"/>
                  </a:lnTo>
                  <a:lnTo>
                    <a:pt x="335457" y="217703"/>
                  </a:lnTo>
                  <a:lnTo>
                    <a:pt x="334886" y="216433"/>
                  </a:lnTo>
                  <a:lnTo>
                    <a:pt x="334352" y="215163"/>
                  </a:lnTo>
                  <a:lnTo>
                    <a:pt x="335318" y="213893"/>
                  </a:lnTo>
                  <a:lnTo>
                    <a:pt x="338416" y="223634"/>
                  </a:lnTo>
                  <a:lnTo>
                    <a:pt x="338416" y="222885"/>
                  </a:lnTo>
                  <a:lnTo>
                    <a:pt x="335546" y="213893"/>
                  </a:lnTo>
                  <a:lnTo>
                    <a:pt x="336778" y="212623"/>
                  </a:lnTo>
                  <a:lnTo>
                    <a:pt x="338023" y="211353"/>
                  </a:lnTo>
                  <a:lnTo>
                    <a:pt x="338518" y="210083"/>
                  </a:lnTo>
                  <a:lnTo>
                    <a:pt x="339305" y="208813"/>
                  </a:lnTo>
                  <a:lnTo>
                    <a:pt x="340906" y="206273"/>
                  </a:lnTo>
                  <a:lnTo>
                    <a:pt x="341503" y="208813"/>
                  </a:lnTo>
                  <a:lnTo>
                    <a:pt x="342138" y="210083"/>
                  </a:lnTo>
                  <a:lnTo>
                    <a:pt x="342849" y="212623"/>
                  </a:lnTo>
                  <a:lnTo>
                    <a:pt x="343674" y="213893"/>
                  </a:lnTo>
                  <a:lnTo>
                    <a:pt x="344563" y="216433"/>
                  </a:lnTo>
                  <a:lnTo>
                    <a:pt x="346062" y="218973"/>
                  </a:lnTo>
                  <a:lnTo>
                    <a:pt x="346544" y="218973"/>
                  </a:lnTo>
                  <a:lnTo>
                    <a:pt x="346189" y="217703"/>
                  </a:lnTo>
                  <a:lnTo>
                    <a:pt x="344703" y="216433"/>
                  </a:lnTo>
                  <a:lnTo>
                    <a:pt x="343814" y="213893"/>
                  </a:lnTo>
                  <a:lnTo>
                    <a:pt x="342265" y="210083"/>
                  </a:lnTo>
                  <a:lnTo>
                    <a:pt x="341630" y="208813"/>
                  </a:lnTo>
                  <a:lnTo>
                    <a:pt x="341033" y="206273"/>
                  </a:lnTo>
                  <a:lnTo>
                    <a:pt x="342074" y="205003"/>
                  </a:lnTo>
                  <a:lnTo>
                    <a:pt x="341452" y="205003"/>
                  </a:lnTo>
                  <a:lnTo>
                    <a:pt x="341706" y="204711"/>
                  </a:lnTo>
                  <a:lnTo>
                    <a:pt x="340804" y="204711"/>
                  </a:lnTo>
                  <a:lnTo>
                    <a:pt x="340804" y="206273"/>
                  </a:lnTo>
                  <a:lnTo>
                    <a:pt x="338734" y="208813"/>
                  </a:lnTo>
                  <a:lnTo>
                    <a:pt x="339852" y="205003"/>
                  </a:lnTo>
                  <a:lnTo>
                    <a:pt x="340436" y="205003"/>
                  </a:lnTo>
                  <a:lnTo>
                    <a:pt x="340804" y="206273"/>
                  </a:lnTo>
                  <a:lnTo>
                    <a:pt x="340804" y="204711"/>
                  </a:lnTo>
                  <a:lnTo>
                    <a:pt x="340601" y="204711"/>
                  </a:lnTo>
                  <a:lnTo>
                    <a:pt x="340702" y="205003"/>
                  </a:lnTo>
                  <a:lnTo>
                    <a:pt x="340525" y="205003"/>
                  </a:lnTo>
                  <a:lnTo>
                    <a:pt x="340233" y="203733"/>
                  </a:lnTo>
                  <a:lnTo>
                    <a:pt x="349440" y="174523"/>
                  </a:lnTo>
                  <a:lnTo>
                    <a:pt x="350672" y="170713"/>
                  </a:lnTo>
                  <a:lnTo>
                    <a:pt x="351053" y="169443"/>
                  </a:lnTo>
                  <a:lnTo>
                    <a:pt x="351561" y="168173"/>
                  </a:lnTo>
                  <a:lnTo>
                    <a:pt x="351942" y="167233"/>
                  </a:lnTo>
                  <a:lnTo>
                    <a:pt x="351243" y="168173"/>
                  </a:lnTo>
                  <a:lnTo>
                    <a:pt x="353415" y="161823"/>
                  </a:lnTo>
                  <a:lnTo>
                    <a:pt x="353720" y="161823"/>
                  </a:lnTo>
                  <a:lnTo>
                    <a:pt x="353009" y="164185"/>
                  </a:lnTo>
                  <a:lnTo>
                    <a:pt x="353644" y="163093"/>
                  </a:lnTo>
                  <a:lnTo>
                    <a:pt x="353860" y="163093"/>
                  </a:lnTo>
                  <a:lnTo>
                    <a:pt x="355015" y="167233"/>
                  </a:lnTo>
                  <a:lnTo>
                    <a:pt x="356082" y="170713"/>
                  </a:lnTo>
                  <a:lnTo>
                    <a:pt x="357365" y="174523"/>
                  </a:lnTo>
                  <a:lnTo>
                    <a:pt x="356184" y="170713"/>
                  </a:lnTo>
                  <a:lnTo>
                    <a:pt x="355003" y="166903"/>
                  </a:lnTo>
                  <a:lnTo>
                    <a:pt x="353961" y="163093"/>
                  </a:lnTo>
                  <a:lnTo>
                    <a:pt x="354266" y="161823"/>
                  </a:lnTo>
                  <a:lnTo>
                    <a:pt x="353339" y="160553"/>
                  </a:lnTo>
                  <a:lnTo>
                    <a:pt x="353174" y="160553"/>
                  </a:lnTo>
                  <a:lnTo>
                    <a:pt x="350405" y="169443"/>
                  </a:lnTo>
                  <a:lnTo>
                    <a:pt x="350177" y="170713"/>
                  </a:lnTo>
                  <a:lnTo>
                    <a:pt x="349427" y="171983"/>
                  </a:lnTo>
                  <a:lnTo>
                    <a:pt x="348564" y="173253"/>
                  </a:lnTo>
                  <a:lnTo>
                    <a:pt x="347243" y="174523"/>
                  </a:lnTo>
                  <a:lnTo>
                    <a:pt x="347522" y="174523"/>
                  </a:lnTo>
                  <a:lnTo>
                    <a:pt x="348640" y="173253"/>
                  </a:lnTo>
                  <a:lnTo>
                    <a:pt x="349567" y="171856"/>
                  </a:lnTo>
                  <a:lnTo>
                    <a:pt x="350227" y="170713"/>
                  </a:lnTo>
                  <a:lnTo>
                    <a:pt x="349199" y="174523"/>
                  </a:lnTo>
                  <a:lnTo>
                    <a:pt x="348996" y="174523"/>
                  </a:lnTo>
                  <a:lnTo>
                    <a:pt x="346024" y="184683"/>
                  </a:lnTo>
                  <a:lnTo>
                    <a:pt x="342734" y="179603"/>
                  </a:lnTo>
                  <a:lnTo>
                    <a:pt x="348996" y="174523"/>
                  </a:lnTo>
                  <a:lnTo>
                    <a:pt x="348805" y="174523"/>
                  </a:lnTo>
                  <a:lnTo>
                    <a:pt x="342519" y="179603"/>
                  </a:lnTo>
                  <a:lnTo>
                    <a:pt x="338582" y="174523"/>
                  </a:lnTo>
                  <a:lnTo>
                    <a:pt x="338137" y="174523"/>
                  </a:lnTo>
                  <a:lnTo>
                    <a:pt x="345909" y="184683"/>
                  </a:lnTo>
                  <a:lnTo>
                    <a:pt x="340715" y="201193"/>
                  </a:lnTo>
                  <a:lnTo>
                    <a:pt x="340474" y="201485"/>
                  </a:lnTo>
                  <a:lnTo>
                    <a:pt x="339966" y="201841"/>
                  </a:lnTo>
                  <a:lnTo>
                    <a:pt x="339966" y="203733"/>
                  </a:lnTo>
                  <a:lnTo>
                    <a:pt x="339572" y="205003"/>
                  </a:lnTo>
                  <a:lnTo>
                    <a:pt x="338264" y="208813"/>
                  </a:lnTo>
                  <a:lnTo>
                    <a:pt x="336588" y="207911"/>
                  </a:lnTo>
                  <a:lnTo>
                    <a:pt x="337908" y="209740"/>
                  </a:lnTo>
                  <a:lnTo>
                    <a:pt x="337781" y="209905"/>
                  </a:lnTo>
                  <a:lnTo>
                    <a:pt x="337921" y="209753"/>
                  </a:lnTo>
                  <a:lnTo>
                    <a:pt x="338175" y="210083"/>
                  </a:lnTo>
                  <a:lnTo>
                    <a:pt x="337629" y="210083"/>
                  </a:lnTo>
                  <a:lnTo>
                    <a:pt x="336473" y="207848"/>
                  </a:lnTo>
                  <a:lnTo>
                    <a:pt x="335915" y="207543"/>
                  </a:lnTo>
                  <a:lnTo>
                    <a:pt x="335229" y="206273"/>
                  </a:lnTo>
                  <a:lnTo>
                    <a:pt x="336499" y="205003"/>
                  </a:lnTo>
                  <a:lnTo>
                    <a:pt x="336829" y="205003"/>
                  </a:lnTo>
                  <a:lnTo>
                    <a:pt x="339636" y="202463"/>
                  </a:lnTo>
                  <a:lnTo>
                    <a:pt x="339966" y="203733"/>
                  </a:lnTo>
                  <a:lnTo>
                    <a:pt x="339966" y="201841"/>
                  </a:lnTo>
                  <a:lnTo>
                    <a:pt x="339775" y="201993"/>
                  </a:lnTo>
                  <a:lnTo>
                    <a:pt x="339839" y="202260"/>
                  </a:lnTo>
                  <a:lnTo>
                    <a:pt x="339674" y="202463"/>
                  </a:lnTo>
                  <a:lnTo>
                    <a:pt x="339521" y="201942"/>
                  </a:lnTo>
                  <a:lnTo>
                    <a:pt x="339521" y="202463"/>
                  </a:lnTo>
                  <a:lnTo>
                    <a:pt x="336283" y="205003"/>
                  </a:lnTo>
                  <a:lnTo>
                    <a:pt x="335940" y="205003"/>
                  </a:lnTo>
                  <a:lnTo>
                    <a:pt x="335038" y="206121"/>
                  </a:lnTo>
                  <a:lnTo>
                    <a:pt x="334949" y="205968"/>
                  </a:lnTo>
                  <a:lnTo>
                    <a:pt x="334987" y="206171"/>
                  </a:lnTo>
                  <a:lnTo>
                    <a:pt x="334645" y="206273"/>
                  </a:lnTo>
                  <a:lnTo>
                    <a:pt x="337400" y="210083"/>
                  </a:lnTo>
                  <a:lnTo>
                    <a:pt x="337286" y="210604"/>
                  </a:lnTo>
                  <a:lnTo>
                    <a:pt x="336384" y="211620"/>
                  </a:lnTo>
                  <a:lnTo>
                    <a:pt x="337248" y="210794"/>
                  </a:lnTo>
                  <a:lnTo>
                    <a:pt x="337146" y="211353"/>
                  </a:lnTo>
                  <a:lnTo>
                    <a:pt x="336842" y="211353"/>
                  </a:lnTo>
                  <a:lnTo>
                    <a:pt x="335381" y="212623"/>
                  </a:lnTo>
                  <a:lnTo>
                    <a:pt x="335203" y="212229"/>
                  </a:lnTo>
                  <a:lnTo>
                    <a:pt x="335203" y="213893"/>
                  </a:lnTo>
                  <a:lnTo>
                    <a:pt x="334225" y="213893"/>
                  </a:lnTo>
                  <a:lnTo>
                    <a:pt x="333908" y="212623"/>
                  </a:lnTo>
                  <a:lnTo>
                    <a:pt x="333336" y="211353"/>
                  </a:lnTo>
                  <a:lnTo>
                    <a:pt x="333870" y="213893"/>
                  </a:lnTo>
                  <a:lnTo>
                    <a:pt x="334200" y="213893"/>
                  </a:lnTo>
                  <a:lnTo>
                    <a:pt x="332905" y="215163"/>
                  </a:lnTo>
                  <a:lnTo>
                    <a:pt x="332651" y="214871"/>
                  </a:lnTo>
                  <a:lnTo>
                    <a:pt x="332651" y="215163"/>
                  </a:lnTo>
                  <a:lnTo>
                    <a:pt x="329666" y="218973"/>
                  </a:lnTo>
                  <a:lnTo>
                    <a:pt x="329476" y="211353"/>
                  </a:lnTo>
                  <a:lnTo>
                    <a:pt x="332651" y="215163"/>
                  </a:lnTo>
                  <a:lnTo>
                    <a:pt x="332651" y="214871"/>
                  </a:lnTo>
                  <a:lnTo>
                    <a:pt x="329641" y="211353"/>
                  </a:lnTo>
                  <a:lnTo>
                    <a:pt x="329793" y="211353"/>
                  </a:lnTo>
                  <a:lnTo>
                    <a:pt x="332524" y="208813"/>
                  </a:lnTo>
                  <a:lnTo>
                    <a:pt x="333425" y="207543"/>
                  </a:lnTo>
                  <a:lnTo>
                    <a:pt x="334403" y="211353"/>
                  </a:lnTo>
                  <a:lnTo>
                    <a:pt x="335203" y="213893"/>
                  </a:lnTo>
                  <a:lnTo>
                    <a:pt x="335203" y="212229"/>
                  </a:lnTo>
                  <a:lnTo>
                    <a:pt x="334810" y="211353"/>
                  </a:lnTo>
                  <a:lnTo>
                    <a:pt x="334683" y="211353"/>
                  </a:lnTo>
                  <a:lnTo>
                    <a:pt x="333654" y="207543"/>
                  </a:lnTo>
                  <a:lnTo>
                    <a:pt x="334645" y="206273"/>
                  </a:lnTo>
                  <a:lnTo>
                    <a:pt x="333108" y="205003"/>
                  </a:lnTo>
                  <a:lnTo>
                    <a:pt x="332968" y="205003"/>
                  </a:lnTo>
                  <a:lnTo>
                    <a:pt x="334352" y="206273"/>
                  </a:lnTo>
                  <a:lnTo>
                    <a:pt x="333540" y="207543"/>
                  </a:lnTo>
                  <a:lnTo>
                    <a:pt x="332968" y="205003"/>
                  </a:lnTo>
                  <a:lnTo>
                    <a:pt x="332803" y="205003"/>
                  </a:lnTo>
                  <a:lnTo>
                    <a:pt x="329755" y="196113"/>
                  </a:lnTo>
                  <a:lnTo>
                    <a:pt x="329552" y="196113"/>
                  </a:lnTo>
                  <a:lnTo>
                    <a:pt x="332511" y="205003"/>
                  </a:lnTo>
                  <a:lnTo>
                    <a:pt x="333311" y="207543"/>
                  </a:lnTo>
                  <a:lnTo>
                    <a:pt x="332447" y="208813"/>
                  </a:lnTo>
                  <a:lnTo>
                    <a:pt x="331711" y="205003"/>
                  </a:lnTo>
                  <a:lnTo>
                    <a:pt x="332219" y="207911"/>
                  </a:lnTo>
                  <a:lnTo>
                    <a:pt x="332422" y="208813"/>
                  </a:lnTo>
                  <a:lnTo>
                    <a:pt x="329349" y="211239"/>
                  </a:lnTo>
                  <a:lnTo>
                    <a:pt x="329349" y="219849"/>
                  </a:lnTo>
                  <a:lnTo>
                    <a:pt x="329031" y="219710"/>
                  </a:lnTo>
                  <a:lnTo>
                    <a:pt x="328815" y="219595"/>
                  </a:lnTo>
                  <a:lnTo>
                    <a:pt x="329336" y="218973"/>
                  </a:lnTo>
                  <a:lnTo>
                    <a:pt x="329349" y="219849"/>
                  </a:lnTo>
                  <a:lnTo>
                    <a:pt x="329349" y="211239"/>
                  </a:lnTo>
                  <a:lnTo>
                    <a:pt x="329196" y="211353"/>
                  </a:lnTo>
                  <a:lnTo>
                    <a:pt x="329323" y="218973"/>
                  </a:lnTo>
                  <a:lnTo>
                    <a:pt x="329120" y="218732"/>
                  </a:lnTo>
                  <a:lnTo>
                    <a:pt x="329120" y="218973"/>
                  </a:lnTo>
                  <a:lnTo>
                    <a:pt x="328803" y="218973"/>
                  </a:lnTo>
                  <a:lnTo>
                    <a:pt x="328333" y="219341"/>
                  </a:lnTo>
                  <a:lnTo>
                    <a:pt x="327202" y="218732"/>
                  </a:lnTo>
                  <a:lnTo>
                    <a:pt x="327202" y="220192"/>
                  </a:lnTo>
                  <a:lnTo>
                    <a:pt x="327202" y="218732"/>
                  </a:lnTo>
                  <a:lnTo>
                    <a:pt x="327050" y="218643"/>
                  </a:lnTo>
                  <a:lnTo>
                    <a:pt x="327050" y="220243"/>
                  </a:lnTo>
                  <a:lnTo>
                    <a:pt x="325818" y="221513"/>
                  </a:lnTo>
                  <a:lnTo>
                    <a:pt x="324497" y="220243"/>
                  </a:lnTo>
                  <a:lnTo>
                    <a:pt x="324827" y="218973"/>
                  </a:lnTo>
                  <a:lnTo>
                    <a:pt x="326986" y="220078"/>
                  </a:lnTo>
                  <a:lnTo>
                    <a:pt x="327050" y="220243"/>
                  </a:lnTo>
                  <a:lnTo>
                    <a:pt x="327050" y="218643"/>
                  </a:lnTo>
                  <a:lnTo>
                    <a:pt x="326517" y="218351"/>
                  </a:lnTo>
                  <a:lnTo>
                    <a:pt x="326402" y="217830"/>
                  </a:lnTo>
                  <a:lnTo>
                    <a:pt x="326402" y="218274"/>
                  </a:lnTo>
                  <a:lnTo>
                    <a:pt x="325196" y="217614"/>
                  </a:lnTo>
                  <a:lnTo>
                    <a:pt x="325704" y="215163"/>
                  </a:lnTo>
                  <a:lnTo>
                    <a:pt x="326402" y="218274"/>
                  </a:lnTo>
                  <a:lnTo>
                    <a:pt x="326402" y="217830"/>
                  </a:lnTo>
                  <a:lnTo>
                    <a:pt x="325818" y="215163"/>
                  </a:lnTo>
                  <a:lnTo>
                    <a:pt x="325958" y="215163"/>
                  </a:lnTo>
                  <a:lnTo>
                    <a:pt x="329120" y="218973"/>
                  </a:lnTo>
                  <a:lnTo>
                    <a:pt x="329120" y="218732"/>
                  </a:lnTo>
                  <a:lnTo>
                    <a:pt x="326224" y="215163"/>
                  </a:lnTo>
                  <a:lnTo>
                    <a:pt x="327164" y="213893"/>
                  </a:lnTo>
                  <a:lnTo>
                    <a:pt x="329120" y="211353"/>
                  </a:lnTo>
                  <a:lnTo>
                    <a:pt x="328726" y="211353"/>
                  </a:lnTo>
                  <a:lnTo>
                    <a:pt x="326047" y="213893"/>
                  </a:lnTo>
                  <a:lnTo>
                    <a:pt x="325818" y="212623"/>
                  </a:lnTo>
                  <a:lnTo>
                    <a:pt x="326097" y="212623"/>
                  </a:lnTo>
                  <a:lnTo>
                    <a:pt x="326097" y="211353"/>
                  </a:lnTo>
                  <a:lnTo>
                    <a:pt x="326021" y="210083"/>
                  </a:lnTo>
                  <a:lnTo>
                    <a:pt x="326263" y="210083"/>
                  </a:lnTo>
                  <a:lnTo>
                    <a:pt x="326263" y="208813"/>
                  </a:lnTo>
                  <a:lnTo>
                    <a:pt x="326097" y="208813"/>
                  </a:lnTo>
                  <a:lnTo>
                    <a:pt x="325970" y="206273"/>
                  </a:lnTo>
                  <a:lnTo>
                    <a:pt x="325818" y="206273"/>
                  </a:lnTo>
                  <a:lnTo>
                    <a:pt x="325818" y="205003"/>
                  </a:lnTo>
                  <a:lnTo>
                    <a:pt x="325755" y="206273"/>
                  </a:lnTo>
                  <a:lnTo>
                    <a:pt x="325602" y="206273"/>
                  </a:lnTo>
                  <a:lnTo>
                    <a:pt x="325501" y="207302"/>
                  </a:lnTo>
                  <a:lnTo>
                    <a:pt x="325475" y="208813"/>
                  </a:lnTo>
                  <a:lnTo>
                    <a:pt x="325310" y="208813"/>
                  </a:lnTo>
                  <a:lnTo>
                    <a:pt x="325310" y="210083"/>
                  </a:lnTo>
                  <a:lnTo>
                    <a:pt x="325551" y="210083"/>
                  </a:lnTo>
                  <a:lnTo>
                    <a:pt x="325513" y="211353"/>
                  </a:lnTo>
                  <a:lnTo>
                    <a:pt x="325475" y="212623"/>
                  </a:lnTo>
                  <a:lnTo>
                    <a:pt x="325755" y="212623"/>
                  </a:lnTo>
                  <a:lnTo>
                    <a:pt x="325640" y="213550"/>
                  </a:lnTo>
                  <a:lnTo>
                    <a:pt x="325628" y="215163"/>
                  </a:lnTo>
                  <a:lnTo>
                    <a:pt x="325107" y="217563"/>
                  </a:lnTo>
                  <a:lnTo>
                    <a:pt x="324815" y="217411"/>
                  </a:lnTo>
                  <a:lnTo>
                    <a:pt x="324815" y="218897"/>
                  </a:lnTo>
                  <a:lnTo>
                    <a:pt x="324396" y="220243"/>
                  </a:lnTo>
                  <a:lnTo>
                    <a:pt x="322948" y="218973"/>
                  </a:lnTo>
                  <a:lnTo>
                    <a:pt x="323443" y="218160"/>
                  </a:lnTo>
                  <a:lnTo>
                    <a:pt x="324815" y="218897"/>
                  </a:lnTo>
                  <a:lnTo>
                    <a:pt x="324815" y="217411"/>
                  </a:lnTo>
                  <a:lnTo>
                    <a:pt x="324218" y="217081"/>
                  </a:lnTo>
                  <a:lnTo>
                    <a:pt x="325628" y="215163"/>
                  </a:lnTo>
                  <a:lnTo>
                    <a:pt x="325628" y="213614"/>
                  </a:lnTo>
                  <a:lnTo>
                    <a:pt x="325602" y="213893"/>
                  </a:lnTo>
                  <a:lnTo>
                    <a:pt x="325412" y="213893"/>
                  </a:lnTo>
                  <a:lnTo>
                    <a:pt x="323138" y="211353"/>
                  </a:lnTo>
                  <a:lnTo>
                    <a:pt x="322910" y="211353"/>
                  </a:lnTo>
                  <a:lnTo>
                    <a:pt x="325501" y="215163"/>
                  </a:lnTo>
                  <a:lnTo>
                    <a:pt x="324129" y="217043"/>
                  </a:lnTo>
                  <a:lnTo>
                    <a:pt x="323316" y="216598"/>
                  </a:lnTo>
                  <a:lnTo>
                    <a:pt x="323316" y="218097"/>
                  </a:lnTo>
                  <a:lnTo>
                    <a:pt x="322656" y="218973"/>
                  </a:lnTo>
                  <a:lnTo>
                    <a:pt x="322694" y="217754"/>
                  </a:lnTo>
                  <a:lnTo>
                    <a:pt x="323316" y="218097"/>
                  </a:lnTo>
                  <a:lnTo>
                    <a:pt x="323316" y="216598"/>
                  </a:lnTo>
                  <a:lnTo>
                    <a:pt x="322745" y="216281"/>
                  </a:lnTo>
                  <a:lnTo>
                    <a:pt x="322910" y="211353"/>
                  </a:lnTo>
                  <a:lnTo>
                    <a:pt x="322567" y="211035"/>
                  </a:lnTo>
                  <a:lnTo>
                    <a:pt x="322567" y="211353"/>
                  </a:lnTo>
                  <a:lnTo>
                    <a:pt x="322402" y="216090"/>
                  </a:lnTo>
                  <a:lnTo>
                    <a:pt x="322072" y="215900"/>
                  </a:lnTo>
                  <a:lnTo>
                    <a:pt x="319430" y="214401"/>
                  </a:lnTo>
                  <a:lnTo>
                    <a:pt x="322567" y="211353"/>
                  </a:lnTo>
                  <a:lnTo>
                    <a:pt x="322567" y="211035"/>
                  </a:lnTo>
                  <a:lnTo>
                    <a:pt x="322338" y="210743"/>
                  </a:lnTo>
                  <a:lnTo>
                    <a:pt x="322338" y="211353"/>
                  </a:lnTo>
                  <a:lnTo>
                    <a:pt x="319278" y="214312"/>
                  </a:lnTo>
                  <a:lnTo>
                    <a:pt x="318922" y="214109"/>
                  </a:lnTo>
                  <a:lnTo>
                    <a:pt x="319036" y="213893"/>
                  </a:lnTo>
                  <a:lnTo>
                    <a:pt x="319595" y="212623"/>
                  </a:lnTo>
                  <a:lnTo>
                    <a:pt x="320116" y="211353"/>
                  </a:lnTo>
                  <a:lnTo>
                    <a:pt x="320255" y="211353"/>
                  </a:lnTo>
                  <a:lnTo>
                    <a:pt x="320713" y="210083"/>
                  </a:lnTo>
                  <a:lnTo>
                    <a:pt x="322237" y="211353"/>
                  </a:lnTo>
                  <a:lnTo>
                    <a:pt x="322338" y="210743"/>
                  </a:lnTo>
                  <a:lnTo>
                    <a:pt x="321818" y="210083"/>
                  </a:lnTo>
                  <a:lnTo>
                    <a:pt x="320827" y="208813"/>
                  </a:lnTo>
                  <a:lnTo>
                    <a:pt x="321335" y="207543"/>
                  </a:lnTo>
                  <a:lnTo>
                    <a:pt x="322173" y="205003"/>
                  </a:lnTo>
                  <a:lnTo>
                    <a:pt x="322732" y="203733"/>
                  </a:lnTo>
                  <a:lnTo>
                    <a:pt x="323253" y="201193"/>
                  </a:lnTo>
                  <a:lnTo>
                    <a:pt x="324548" y="196113"/>
                  </a:lnTo>
                  <a:lnTo>
                    <a:pt x="325589" y="192303"/>
                  </a:lnTo>
                  <a:lnTo>
                    <a:pt x="326542" y="187223"/>
                  </a:lnTo>
                  <a:lnTo>
                    <a:pt x="326669" y="187223"/>
                  </a:lnTo>
                  <a:lnTo>
                    <a:pt x="326656" y="185953"/>
                  </a:lnTo>
                  <a:lnTo>
                    <a:pt x="326834" y="185953"/>
                  </a:lnTo>
                  <a:lnTo>
                    <a:pt x="327037" y="184683"/>
                  </a:lnTo>
                  <a:lnTo>
                    <a:pt x="327634" y="180873"/>
                  </a:lnTo>
                  <a:lnTo>
                    <a:pt x="328244" y="178333"/>
                  </a:lnTo>
                  <a:lnTo>
                    <a:pt x="328688" y="175298"/>
                  </a:lnTo>
                  <a:lnTo>
                    <a:pt x="332003" y="170561"/>
                  </a:lnTo>
                  <a:lnTo>
                    <a:pt x="332041" y="170713"/>
                  </a:lnTo>
                  <a:lnTo>
                    <a:pt x="332790" y="174523"/>
                  </a:lnTo>
                  <a:lnTo>
                    <a:pt x="333730" y="178333"/>
                  </a:lnTo>
                  <a:lnTo>
                    <a:pt x="334645" y="183413"/>
                  </a:lnTo>
                  <a:lnTo>
                    <a:pt x="336588" y="191033"/>
                  </a:lnTo>
                  <a:lnTo>
                    <a:pt x="337629" y="196113"/>
                  </a:lnTo>
                  <a:lnTo>
                    <a:pt x="339521" y="202463"/>
                  </a:lnTo>
                  <a:lnTo>
                    <a:pt x="339521" y="201942"/>
                  </a:lnTo>
                  <a:lnTo>
                    <a:pt x="338937" y="199923"/>
                  </a:lnTo>
                  <a:lnTo>
                    <a:pt x="337794" y="196113"/>
                  </a:lnTo>
                  <a:lnTo>
                    <a:pt x="336765" y="191033"/>
                  </a:lnTo>
                  <a:lnTo>
                    <a:pt x="334822" y="183413"/>
                  </a:lnTo>
                  <a:lnTo>
                    <a:pt x="333921" y="178333"/>
                  </a:lnTo>
                  <a:lnTo>
                    <a:pt x="333070" y="174523"/>
                  </a:lnTo>
                  <a:lnTo>
                    <a:pt x="332181" y="170307"/>
                  </a:lnTo>
                  <a:lnTo>
                    <a:pt x="335178" y="166027"/>
                  </a:lnTo>
                  <a:lnTo>
                    <a:pt x="335622" y="166903"/>
                  </a:lnTo>
                  <a:lnTo>
                    <a:pt x="337959" y="170713"/>
                  </a:lnTo>
                  <a:lnTo>
                    <a:pt x="338797" y="171983"/>
                  </a:lnTo>
                  <a:lnTo>
                    <a:pt x="340296" y="173253"/>
                  </a:lnTo>
                  <a:lnTo>
                    <a:pt x="340436" y="173253"/>
                  </a:lnTo>
                  <a:lnTo>
                    <a:pt x="338912" y="170713"/>
                  </a:lnTo>
                  <a:lnTo>
                    <a:pt x="338086" y="170713"/>
                  </a:lnTo>
                  <a:lnTo>
                    <a:pt x="335762" y="166903"/>
                  </a:lnTo>
                  <a:lnTo>
                    <a:pt x="335254" y="165912"/>
                  </a:lnTo>
                  <a:lnTo>
                    <a:pt x="336715" y="163830"/>
                  </a:lnTo>
                  <a:lnTo>
                    <a:pt x="342544" y="154940"/>
                  </a:lnTo>
                  <a:lnTo>
                    <a:pt x="360476" y="120650"/>
                  </a:lnTo>
                  <a:lnTo>
                    <a:pt x="363918" y="113030"/>
                  </a:lnTo>
                  <a:lnTo>
                    <a:pt x="367220" y="106680"/>
                  </a:lnTo>
                  <a:lnTo>
                    <a:pt x="370078" y="111760"/>
                  </a:lnTo>
                  <a:lnTo>
                    <a:pt x="372986" y="118110"/>
                  </a:lnTo>
                  <a:lnTo>
                    <a:pt x="375996" y="124460"/>
                  </a:lnTo>
                  <a:lnTo>
                    <a:pt x="397344" y="162560"/>
                  </a:lnTo>
                  <a:lnTo>
                    <a:pt x="412483" y="185420"/>
                  </a:lnTo>
                  <a:lnTo>
                    <a:pt x="413054" y="185420"/>
                  </a:lnTo>
                  <a:lnTo>
                    <a:pt x="413054" y="184594"/>
                  </a:lnTo>
                  <a:lnTo>
                    <a:pt x="411200" y="181610"/>
                  </a:lnTo>
                  <a:lnTo>
                    <a:pt x="410629" y="180340"/>
                  </a:lnTo>
                  <a:lnTo>
                    <a:pt x="410044" y="179070"/>
                  </a:lnTo>
                  <a:lnTo>
                    <a:pt x="409244" y="177736"/>
                  </a:lnTo>
                  <a:lnTo>
                    <a:pt x="409244" y="179387"/>
                  </a:lnTo>
                  <a:lnTo>
                    <a:pt x="405561" y="173990"/>
                  </a:lnTo>
                  <a:lnTo>
                    <a:pt x="384886" y="139700"/>
                  </a:lnTo>
                  <a:lnTo>
                    <a:pt x="376758" y="123190"/>
                  </a:lnTo>
                  <a:lnTo>
                    <a:pt x="373646" y="118110"/>
                  </a:lnTo>
                  <a:lnTo>
                    <a:pt x="370636" y="111760"/>
                  </a:lnTo>
                  <a:lnTo>
                    <a:pt x="368274" y="106680"/>
                  </a:lnTo>
                  <a:lnTo>
                    <a:pt x="367690" y="105410"/>
                  </a:lnTo>
                  <a:lnTo>
                    <a:pt x="368223" y="104140"/>
                  </a:lnTo>
                  <a:lnTo>
                    <a:pt x="369811" y="100330"/>
                  </a:lnTo>
                  <a:lnTo>
                    <a:pt x="370840" y="97790"/>
                  </a:lnTo>
                  <a:lnTo>
                    <a:pt x="376555" y="111760"/>
                  </a:lnTo>
                  <a:lnTo>
                    <a:pt x="382473" y="125730"/>
                  </a:lnTo>
                  <a:lnTo>
                    <a:pt x="388645" y="138430"/>
                  </a:lnTo>
                  <a:lnTo>
                    <a:pt x="395097" y="152400"/>
                  </a:lnTo>
                  <a:lnTo>
                    <a:pt x="398513" y="160020"/>
                  </a:lnTo>
                  <a:lnTo>
                    <a:pt x="402031" y="166370"/>
                  </a:lnTo>
                  <a:lnTo>
                    <a:pt x="405676" y="172720"/>
                  </a:lnTo>
                  <a:lnTo>
                    <a:pt x="409244" y="179387"/>
                  </a:lnTo>
                  <a:lnTo>
                    <a:pt x="409244" y="177736"/>
                  </a:lnTo>
                  <a:lnTo>
                    <a:pt x="406260" y="172720"/>
                  </a:lnTo>
                  <a:lnTo>
                    <a:pt x="402615" y="166370"/>
                  </a:lnTo>
                  <a:lnTo>
                    <a:pt x="399110" y="158750"/>
                  </a:lnTo>
                  <a:lnTo>
                    <a:pt x="395706" y="152400"/>
                  </a:lnTo>
                  <a:lnTo>
                    <a:pt x="389255" y="138430"/>
                  </a:lnTo>
                  <a:lnTo>
                    <a:pt x="383095" y="124460"/>
                  </a:lnTo>
                  <a:lnTo>
                    <a:pt x="377177" y="110490"/>
                  </a:lnTo>
                  <a:lnTo>
                    <a:pt x="371983" y="97790"/>
                  </a:lnTo>
                  <a:lnTo>
                    <a:pt x="371462" y="96520"/>
                  </a:lnTo>
                  <a:lnTo>
                    <a:pt x="371462" y="95250"/>
                  </a:lnTo>
                  <a:lnTo>
                    <a:pt x="372808" y="95250"/>
                  </a:lnTo>
                  <a:lnTo>
                    <a:pt x="372808" y="93980"/>
                  </a:lnTo>
                  <a:lnTo>
                    <a:pt x="372287" y="93980"/>
                  </a:lnTo>
                  <a:lnTo>
                    <a:pt x="372249" y="92710"/>
                  </a:lnTo>
                  <a:lnTo>
                    <a:pt x="372529" y="92710"/>
                  </a:lnTo>
                  <a:lnTo>
                    <a:pt x="372808" y="91440"/>
                  </a:lnTo>
                  <a:lnTo>
                    <a:pt x="372592" y="90170"/>
                  </a:lnTo>
                  <a:lnTo>
                    <a:pt x="372160" y="90170"/>
                  </a:lnTo>
                  <a:lnTo>
                    <a:pt x="371983" y="88900"/>
                  </a:lnTo>
                  <a:lnTo>
                    <a:pt x="372808" y="88900"/>
                  </a:lnTo>
                  <a:lnTo>
                    <a:pt x="372808" y="87630"/>
                  </a:lnTo>
                  <a:lnTo>
                    <a:pt x="372249" y="87630"/>
                  </a:lnTo>
                  <a:lnTo>
                    <a:pt x="372160" y="86360"/>
                  </a:lnTo>
                  <a:lnTo>
                    <a:pt x="372808" y="86360"/>
                  </a:lnTo>
                  <a:lnTo>
                    <a:pt x="372808" y="85090"/>
                  </a:lnTo>
                  <a:lnTo>
                    <a:pt x="372287" y="85090"/>
                  </a:lnTo>
                  <a:lnTo>
                    <a:pt x="372249" y="83820"/>
                  </a:lnTo>
                  <a:lnTo>
                    <a:pt x="372808" y="83820"/>
                  </a:lnTo>
                  <a:lnTo>
                    <a:pt x="372808" y="82550"/>
                  </a:lnTo>
                  <a:lnTo>
                    <a:pt x="372287" y="82550"/>
                  </a:lnTo>
                  <a:lnTo>
                    <a:pt x="372249" y="81280"/>
                  </a:lnTo>
                  <a:lnTo>
                    <a:pt x="371983" y="80010"/>
                  </a:lnTo>
                  <a:lnTo>
                    <a:pt x="372808" y="80010"/>
                  </a:lnTo>
                  <a:lnTo>
                    <a:pt x="372592" y="78740"/>
                  </a:lnTo>
                  <a:lnTo>
                    <a:pt x="372160" y="78740"/>
                  </a:lnTo>
                  <a:lnTo>
                    <a:pt x="371983" y="77470"/>
                  </a:lnTo>
                  <a:lnTo>
                    <a:pt x="372808" y="77470"/>
                  </a:lnTo>
                  <a:lnTo>
                    <a:pt x="372808" y="76200"/>
                  </a:lnTo>
                  <a:lnTo>
                    <a:pt x="372249" y="76200"/>
                  </a:lnTo>
                  <a:lnTo>
                    <a:pt x="372160" y="74930"/>
                  </a:lnTo>
                  <a:lnTo>
                    <a:pt x="372808" y="74930"/>
                  </a:lnTo>
                  <a:lnTo>
                    <a:pt x="372808" y="73660"/>
                  </a:lnTo>
                  <a:lnTo>
                    <a:pt x="372287" y="73660"/>
                  </a:lnTo>
                  <a:lnTo>
                    <a:pt x="372249" y="72390"/>
                  </a:lnTo>
                  <a:lnTo>
                    <a:pt x="372529" y="72390"/>
                  </a:lnTo>
                  <a:lnTo>
                    <a:pt x="372808" y="71120"/>
                  </a:lnTo>
                  <a:lnTo>
                    <a:pt x="372592" y="71120"/>
                  </a:lnTo>
                  <a:lnTo>
                    <a:pt x="372287" y="69850"/>
                  </a:lnTo>
                  <a:lnTo>
                    <a:pt x="372160" y="69850"/>
                  </a:lnTo>
                  <a:lnTo>
                    <a:pt x="371983" y="68580"/>
                  </a:lnTo>
                  <a:lnTo>
                    <a:pt x="372808" y="68580"/>
                  </a:lnTo>
                  <a:lnTo>
                    <a:pt x="372808" y="67310"/>
                  </a:lnTo>
                  <a:lnTo>
                    <a:pt x="372237" y="67310"/>
                  </a:lnTo>
                  <a:lnTo>
                    <a:pt x="371957" y="66040"/>
                  </a:lnTo>
                  <a:lnTo>
                    <a:pt x="371576" y="66040"/>
                  </a:lnTo>
                  <a:lnTo>
                    <a:pt x="372554" y="65252"/>
                  </a:lnTo>
                  <a:lnTo>
                    <a:pt x="370370" y="65532"/>
                  </a:lnTo>
                  <a:lnTo>
                    <a:pt x="370370" y="95250"/>
                  </a:lnTo>
                  <a:lnTo>
                    <a:pt x="370370" y="96520"/>
                  </a:lnTo>
                  <a:lnTo>
                    <a:pt x="369354" y="99060"/>
                  </a:lnTo>
                  <a:lnTo>
                    <a:pt x="367245" y="104140"/>
                  </a:lnTo>
                  <a:lnTo>
                    <a:pt x="363016" y="95250"/>
                  </a:lnTo>
                  <a:lnTo>
                    <a:pt x="358889" y="85090"/>
                  </a:lnTo>
                  <a:lnTo>
                    <a:pt x="352526" y="71120"/>
                  </a:lnTo>
                  <a:lnTo>
                    <a:pt x="351256" y="68580"/>
                  </a:lnTo>
                  <a:lnTo>
                    <a:pt x="369874" y="66052"/>
                  </a:lnTo>
                  <a:lnTo>
                    <a:pt x="369608" y="67310"/>
                  </a:lnTo>
                  <a:lnTo>
                    <a:pt x="369036" y="67310"/>
                  </a:lnTo>
                  <a:lnTo>
                    <a:pt x="369036" y="68580"/>
                  </a:lnTo>
                  <a:lnTo>
                    <a:pt x="369849" y="68580"/>
                  </a:lnTo>
                  <a:lnTo>
                    <a:pt x="369684" y="69850"/>
                  </a:lnTo>
                  <a:lnTo>
                    <a:pt x="369544" y="69850"/>
                  </a:lnTo>
                  <a:lnTo>
                    <a:pt x="369239" y="71120"/>
                  </a:lnTo>
                  <a:lnTo>
                    <a:pt x="369036" y="71120"/>
                  </a:lnTo>
                  <a:lnTo>
                    <a:pt x="369303" y="72390"/>
                  </a:lnTo>
                  <a:lnTo>
                    <a:pt x="369582" y="72390"/>
                  </a:lnTo>
                  <a:lnTo>
                    <a:pt x="369544" y="73660"/>
                  </a:lnTo>
                  <a:lnTo>
                    <a:pt x="369036" y="73660"/>
                  </a:lnTo>
                  <a:lnTo>
                    <a:pt x="369036" y="74930"/>
                  </a:lnTo>
                  <a:lnTo>
                    <a:pt x="369684" y="74930"/>
                  </a:lnTo>
                  <a:lnTo>
                    <a:pt x="369582" y="76200"/>
                  </a:lnTo>
                  <a:lnTo>
                    <a:pt x="369036" y="76200"/>
                  </a:lnTo>
                  <a:lnTo>
                    <a:pt x="369036" y="77470"/>
                  </a:lnTo>
                  <a:lnTo>
                    <a:pt x="369849" y="77470"/>
                  </a:lnTo>
                  <a:lnTo>
                    <a:pt x="369684" y="78740"/>
                  </a:lnTo>
                  <a:lnTo>
                    <a:pt x="369239" y="78740"/>
                  </a:lnTo>
                  <a:lnTo>
                    <a:pt x="369036" y="80010"/>
                  </a:lnTo>
                  <a:lnTo>
                    <a:pt x="369849" y="80010"/>
                  </a:lnTo>
                  <a:lnTo>
                    <a:pt x="369684" y="81280"/>
                  </a:lnTo>
                  <a:lnTo>
                    <a:pt x="369544" y="82550"/>
                  </a:lnTo>
                  <a:lnTo>
                    <a:pt x="369036" y="82550"/>
                  </a:lnTo>
                  <a:lnTo>
                    <a:pt x="369036" y="83820"/>
                  </a:lnTo>
                  <a:lnTo>
                    <a:pt x="369582" y="83820"/>
                  </a:lnTo>
                  <a:lnTo>
                    <a:pt x="369544" y="85090"/>
                  </a:lnTo>
                  <a:lnTo>
                    <a:pt x="369036" y="85090"/>
                  </a:lnTo>
                  <a:lnTo>
                    <a:pt x="369036" y="86360"/>
                  </a:lnTo>
                  <a:lnTo>
                    <a:pt x="369684" y="86360"/>
                  </a:lnTo>
                  <a:lnTo>
                    <a:pt x="369582" y="87630"/>
                  </a:lnTo>
                  <a:lnTo>
                    <a:pt x="369036" y="87630"/>
                  </a:lnTo>
                  <a:lnTo>
                    <a:pt x="369036" y="88900"/>
                  </a:lnTo>
                  <a:lnTo>
                    <a:pt x="369849" y="88900"/>
                  </a:lnTo>
                  <a:lnTo>
                    <a:pt x="369684" y="90170"/>
                  </a:lnTo>
                  <a:lnTo>
                    <a:pt x="369239" y="90170"/>
                  </a:lnTo>
                  <a:lnTo>
                    <a:pt x="369036" y="91440"/>
                  </a:lnTo>
                  <a:lnTo>
                    <a:pt x="369303" y="92710"/>
                  </a:lnTo>
                  <a:lnTo>
                    <a:pt x="369582" y="92710"/>
                  </a:lnTo>
                  <a:lnTo>
                    <a:pt x="369544" y="93980"/>
                  </a:lnTo>
                  <a:lnTo>
                    <a:pt x="369036" y="93980"/>
                  </a:lnTo>
                  <a:lnTo>
                    <a:pt x="369036" y="95250"/>
                  </a:lnTo>
                  <a:lnTo>
                    <a:pt x="370370" y="95250"/>
                  </a:lnTo>
                  <a:lnTo>
                    <a:pt x="370370" y="65532"/>
                  </a:lnTo>
                  <a:lnTo>
                    <a:pt x="326326" y="71120"/>
                  </a:lnTo>
                  <a:lnTo>
                    <a:pt x="346633" y="68580"/>
                  </a:lnTo>
                  <a:lnTo>
                    <a:pt x="343115" y="69850"/>
                  </a:lnTo>
                  <a:lnTo>
                    <a:pt x="341503" y="71120"/>
                  </a:lnTo>
                  <a:lnTo>
                    <a:pt x="336194" y="73660"/>
                  </a:lnTo>
                  <a:lnTo>
                    <a:pt x="321741" y="76200"/>
                  </a:lnTo>
                  <a:lnTo>
                    <a:pt x="312547" y="77470"/>
                  </a:lnTo>
                  <a:lnTo>
                    <a:pt x="294106" y="77470"/>
                  </a:lnTo>
                  <a:lnTo>
                    <a:pt x="303276" y="78740"/>
                  </a:lnTo>
                  <a:lnTo>
                    <a:pt x="312597" y="78740"/>
                  </a:lnTo>
                  <a:lnTo>
                    <a:pt x="348640" y="68580"/>
                  </a:lnTo>
                  <a:lnTo>
                    <a:pt x="350278" y="68580"/>
                  </a:lnTo>
                  <a:lnTo>
                    <a:pt x="351510" y="71120"/>
                  </a:lnTo>
                  <a:lnTo>
                    <a:pt x="354114" y="77470"/>
                  </a:lnTo>
                  <a:lnTo>
                    <a:pt x="358254" y="86360"/>
                  </a:lnTo>
                  <a:lnTo>
                    <a:pt x="362470" y="95250"/>
                  </a:lnTo>
                  <a:lnTo>
                    <a:pt x="366776" y="105410"/>
                  </a:lnTo>
                  <a:lnTo>
                    <a:pt x="363397" y="113030"/>
                  </a:lnTo>
                  <a:lnTo>
                    <a:pt x="359892" y="120650"/>
                  </a:lnTo>
                  <a:lnTo>
                    <a:pt x="356247" y="128270"/>
                  </a:lnTo>
                  <a:lnTo>
                    <a:pt x="352437" y="135890"/>
                  </a:lnTo>
                  <a:lnTo>
                    <a:pt x="347281" y="144780"/>
                  </a:lnTo>
                  <a:lnTo>
                    <a:pt x="341820" y="154940"/>
                  </a:lnTo>
                  <a:lnTo>
                    <a:pt x="336003" y="163830"/>
                  </a:lnTo>
                  <a:lnTo>
                    <a:pt x="334962" y="165315"/>
                  </a:lnTo>
                  <a:lnTo>
                    <a:pt x="334886" y="165163"/>
                  </a:lnTo>
                  <a:lnTo>
                    <a:pt x="334886" y="165430"/>
                  </a:lnTo>
                  <a:lnTo>
                    <a:pt x="332028" y="169506"/>
                  </a:lnTo>
                  <a:lnTo>
                    <a:pt x="331863" y="168617"/>
                  </a:lnTo>
                  <a:lnTo>
                    <a:pt x="331863" y="169760"/>
                  </a:lnTo>
                  <a:lnTo>
                    <a:pt x="329793" y="172720"/>
                  </a:lnTo>
                  <a:lnTo>
                    <a:pt x="329006" y="173685"/>
                  </a:lnTo>
                  <a:lnTo>
                    <a:pt x="329488" y="170713"/>
                  </a:lnTo>
                  <a:lnTo>
                    <a:pt x="330593" y="163093"/>
                  </a:lnTo>
                  <a:lnTo>
                    <a:pt x="331863" y="169760"/>
                  </a:lnTo>
                  <a:lnTo>
                    <a:pt x="331863" y="168617"/>
                  </a:lnTo>
                  <a:lnTo>
                    <a:pt x="331546" y="166903"/>
                  </a:lnTo>
                  <a:lnTo>
                    <a:pt x="330873" y="163093"/>
                  </a:lnTo>
                  <a:lnTo>
                    <a:pt x="330911" y="161823"/>
                  </a:lnTo>
                  <a:lnTo>
                    <a:pt x="331673" y="161823"/>
                  </a:lnTo>
                  <a:lnTo>
                    <a:pt x="331673" y="160553"/>
                  </a:lnTo>
                  <a:lnTo>
                    <a:pt x="331279" y="160553"/>
                  </a:lnTo>
                  <a:lnTo>
                    <a:pt x="331165" y="159283"/>
                  </a:lnTo>
                  <a:lnTo>
                    <a:pt x="331355" y="159283"/>
                  </a:lnTo>
                  <a:lnTo>
                    <a:pt x="331279" y="158013"/>
                  </a:lnTo>
                  <a:lnTo>
                    <a:pt x="331673" y="158013"/>
                  </a:lnTo>
                  <a:lnTo>
                    <a:pt x="331609" y="157429"/>
                  </a:lnTo>
                  <a:lnTo>
                    <a:pt x="332524" y="159283"/>
                  </a:lnTo>
                  <a:lnTo>
                    <a:pt x="334365" y="164363"/>
                  </a:lnTo>
                  <a:lnTo>
                    <a:pt x="334886" y="165430"/>
                  </a:lnTo>
                  <a:lnTo>
                    <a:pt x="334886" y="165163"/>
                  </a:lnTo>
                  <a:lnTo>
                    <a:pt x="334505" y="164363"/>
                  </a:lnTo>
                  <a:lnTo>
                    <a:pt x="333336" y="160553"/>
                  </a:lnTo>
                  <a:lnTo>
                    <a:pt x="332041" y="158013"/>
                  </a:lnTo>
                  <a:lnTo>
                    <a:pt x="331571" y="157022"/>
                  </a:lnTo>
                  <a:lnTo>
                    <a:pt x="331546" y="156743"/>
                  </a:lnTo>
                  <a:lnTo>
                    <a:pt x="331673" y="156743"/>
                  </a:lnTo>
                  <a:lnTo>
                    <a:pt x="331673" y="155473"/>
                  </a:lnTo>
                  <a:lnTo>
                    <a:pt x="331292" y="155473"/>
                  </a:lnTo>
                  <a:lnTo>
                    <a:pt x="331165" y="154203"/>
                  </a:lnTo>
                  <a:lnTo>
                    <a:pt x="331355" y="154203"/>
                  </a:lnTo>
                  <a:lnTo>
                    <a:pt x="331292" y="152933"/>
                  </a:lnTo>
                  <a:lnTo>
                    <a:pt x="331355" y="151663"/>
                  </a:lnTo>
                  <a:lnTo>
                    <a:pt x="331673" y="151663"/>
                  </a:lnTo>
                  <a:lnTo>
                    <a:pt x="331673" y="150393"/>
                  </a:lnTo>
                  <a:lnTo>
                    <a:pt x="331546" y="150393"/>
                  </a:lnTo>
                  <a:lnTo>
                    <a:pt x="331673" y="149123"/>
                  </a:lnTo>
                  <a:lnTo>
                    <a:pt x="331355" y="149123"/>
                  </a:lnTo>
                  <a:lnTo>
                    <a:pt x="331292" y="147853"/>
                  </a:lnTo>
                  <a:lnTo>
                    <a:pt x="331355" y="146583"/>
                  </a:lnTo>
                  <a:lnTo>
                    <a:pt x="331673" y="146583"/>
                  </a:lnTo>
                  <a:lnTo>
                    <a:pt x="331546" y="145313"/>
                  </a:lnTo>
                  <a:lnTo>
                    <a:pt x="331203" y="145313"/>
                  </a:lnTo>
                  <a:lnTo>
                    <a:pt x="330911" y="144043"/>
                  </a:lnTo>
                  <a:lnTo>
                    <a:pt x="330415" y="144043"/>
                  </a:lnTo>
                  <a:lnTo>
                    <a:pt x="330123" y="145313"/>
                  </a:lnTo>
                  <a:lnTo>
                    <a:pt x="329768" y="145313"/>
                  </a:lnTo>
                  <a:lnTo>
                    <a:pt x="329641" y="146583"/>
                  </a:lnTo>
                  <a:lnTo>
                    <a:pt x="329958" y="146583"/>
                  </a:lnTo>
                  <a:lnTo>
                    <a:pt x="329933" y="147853"/>
                  </a:lnTo>
                  <a:lnTo>
                    <a:pt x="329958" y="149123"/>
                  </a:lnTo>
                  <a:lnTo>
                    <a:pt x="329641" y="149123"/>
                  </a:lnTo>
                  <a:lnTo>
                    <a:pt x="329780" y="150393"/>
                  </a:lnTo>
                  <a:lnTo>
                    <a:pt x="329641" y="150393"/>
                  </a:lnTo>
                  <a:lnTo>
                    <a:pt x="329641" y="151663"/>
                  </a:lnTo>
                  <a:lnTo>
                    <a:pt x="329971" y="151663"/>
                  </a:lnTo>
                  <a:lnTo>
                    <a:pt x="329946" y="152933"/>
                  </a:lnTo>
                  <a:lnTo>
                    <a:pt x="330098" y="152933"/>
                  </a:lnTo>
                  <a:lnTo>
                    <a:pt x="329958" y="154203"/>
                  </a:lnTo>
                  <a:lnTo>
                    <a:pt x="330149" y="154203"/>
                  </a:lnTo>
                  <a:lnTo>
                    <a:pt x="330022" y="155473"/>
                  </a:lnTo>
                  <a:lnTo>
                    <a:pt x="329641" y="155473"/>
                  </a:lnTo>
                  <a:lnTo>
                    <a:pt x="329641" y="156743"/>
                  </a:lnTo>
                  <a:lnTo>
                    <a:pt x="329768" y="156743"/>
                  </a:lnTo>
                  <a:lnTo>
                    <a:pt x="329641" y="158013"/>
                  </a:lnTo>
                  <a:lnTo>
                    <a:pt x="330022" y="158013"/>
                  </a:lnTo>
                  <a:lnTo>
                    <a:pt x="329958" y="159283"/>
                  </a:lnTo>
                  <a:lnTo>
                    <a:pt x="330149" y="159283"/>
                  </a:lnTo>
                  <a:lnTo>
                    <a:pt x="330022" y="160553"/>
                  </a:lnTo>
                  <a:lnTo>
                    <a:pt x="329641" y="160553"/>
                  </a:lnTo>
                  <a:lnTo>
                    <a:pt x="329641" y="161823"/>
                  </a:lnTo>
                  <a:lnTo>
                    <a:pt x="330415" y="161823"/>
                  </a:lnTo>
                  <a:lnTo>
                    <a:pt x="329857" y="166903"/>
                  </a:lnTo>
                  <a:lnTo>
                    <a:pt x="329057" y="171983"/>
                  </a:lnTo>
                  <a:lnTo>
                    <a:pt x="328714" y="174040"/>
                  </a:lnTo>
                  <a:lnTo>
                    <a:pt x="328269" y="174599"/>
                  </a:lnTo>
                  <a:lnTo>
                    <a:pt x="328269" y="175895"/>
                  </a:lnTo>
                  <a:lnTo>
                    <a:pt x="328028" y="177063"/>
                  </a:lnTo>
                  <a:lnTo>
                    <a:pt x="327456" y="180873"/>
                  </a:lnTo>
                  <a:lnTo>
                    <a:pt x="326821" y="184683"/>
                  </a:lnTo>
                  <a:lnTo>
                    <a:pt x="326669" y="184683"/>
                  </a:lnTo>
                  <a:lnTo>
                    <a:pt x="326669" y="184378"/>
                  </a:lnTo>
                  <a:lnTo>
                    <a:pt x="326707" y="184175"/>
                  </a:lnTo>
                  <a:lnTo>
                    <a:pt x="326745" y="184023"/>
                  </a:lnTo>
                  <a:lnTo>
                    <a:pt x="326771" y="183857"/>
                  </a:lnTo>
                  <a:lnTo>
                    <a:pt x="326669" y="178333"/>
                  </a:lnTo>
                  <a:lnTo>
                    <a:pt x="328269" y="175895"/>
                  </a:lnTo>
                  <a:lnTo>
                    <a:pt x="328269" y="174599"/>
                  </a:lnTo>
                  <a:lnTo>
                    <a:pt x="326618" y="176618"/>
                  </a:lnTo>
                  <a:lnTo>
                    <a:pt x="326529" y="175793"/>
                  </a:lnTo>
                  <a:lnTo>
                    <a:pt x="326669" y="175793"/>
                  </a:lnTo>
                  <a:lnTo>
                    <a:pt x="326529" y="174523"/>
                  </a:lnTo>
                  <a:lnTo>
                    <a:pt x="326250" y="174523"/>
                  </a:lnTo>
                  <a:lnTo>
                    <a:pt x="326250" y="187223"/>
                  </a:lnTo>
                  <a:lnTo>
                    <a:pt x="325297" y="192303"/>
                  </a:lnTo>
                  <a:lnTo>
                    <a:pt x="324256" y="196113"/>
                  </a:lnTo>
                  <a:lnTo>
                    <a:pt x="322999" y="201193"/>
                  </a:lnTo>
                  <a:lnTo>
                    <a:pt x="322465" y="203733"/>
                  </a:lnTo>
                  <a:lnTo>
                    <a:pt x="321906" y="205003"/>
                  </a:lnTo>
                  <a:lnTo>
                    <a:pt x="320929" y="207911"/>
                  </a:lnTo>
                  <a:lnTo>
                    <a:pt x="320598" y="208813"/>
                  </a:lnTo>
                  <a:lnTo>
                    <a:pt x="320471" y="208724"/>
                  </a:lnTo>
                  <a:lnTo>
                    <a:pt x="320471" y="210083"/>
                  </a:lnTo>
                  <a:lnTo>
                    <a:pt x="319963" y="211353"/>
                  </a:lnTo>
                  <a:lnTo>
                    <a:pt x="319824" y="211353"/>
                  </a:lnTo>
                  <a:lnTo>
                    <a:pt x="318782" y="213893"/>
                  </a:lnTo>
                  <a:lnTo>
                    <a:pt x="315404" y="212090"/>
                  </a:lnTo>
                  <a:lnTo>
                    <a:pt x="313766" y="211124"/>
                  </a:lnTo>
                  <a:lnTo>
                    <a:pt x="314375" y="210083"/>
                  </a:lnTo>
                  <a:lnTo>
                    <a:pt x="316598" y="206273"/>
                  </a:lnTo>
                  <a:lnTo>
                    <a:pt x="320471" y="210083"/>
                  </a:lnTo>
                  <a:lnTo>
                    <a:pt x="320471" y="208724"/>
                  </a:lnTo>
                  <a:lnTo>
                    <a:pt x="317195" y="206273"/>
                  </a:lnTo>
                  <a:lnTo>
                    <a:pt x="311607" y="202107"/>
                  </a:lnTo>
                  <a:lnTo>
                    <a:pt x="316318" y="206273"/>
                  </a:lnTo>
                  <a:lnTo>
                    <a:pt x="313359" y="210083"/>
                  </a:lnTo>
                  <a:lnTo>
                    <a:pt x="312915" y="208673"/>
                  </a:lnTo>
                  <a:lnTo>
                    <a:pt x="312915" y="210616"/>
                  </a:lnTo>
                  <a:lnTo>
                    <a:pt x="309016" y="208280"/>
                  </a:lnTo>
                  <a:lnTo>
                    <a:pt x="302882" y="203200"/>
                  </a:lnTo>
                  <a:lnTo>
                    <a:pt x="304152" y="201930"/>
                  </a:lnTo>
                  <a:lnTo>
                    <a:pt x="308838" y="197243"/>
                  </a:lnTo>
                  <a:lnTo>
                    <a:pt x="312915" y="210616"/>
                  </a:lnTo>
                  <a:lnTo>
                    <a:pt x="312915" y="208673"/>
                  </a:lnTo>
                  <a:lnTo>
                    <a:pt x="310629" y="201383"/>
                  </a:lnTo>
                  <a:lnTo>
                    <a:pt x="310388" y="201193"/>
                  </a:lnTo>
                  <a:lnTo>
                    <a:pt x="309054" y="197027"/>
                  </a:lnTo>
                  <a:lnTo>
                    <a:pt x="310502" y="195580"/>
                  </a:lnTo>
                  <a:lnTo>
                    <a:pt x="313080" y="193281"/>
                  </a:lnTo>
                  <a:lnTo>
                    <a:pt x="315163" y="196113"/>
                  </a:lnTo>
                  <a:lnTo>
                    <a:pt x="316674" y="197383"/>
                  </a:lnTo>
                  <a:lnTo>
                    <a:pt x="319328" y="199923"/>
                  </a:lnTo>
                  <a:lnTo>
                    <a:pt x="316725" y="197383"/>
                  </a:lnTo>
                  <a:lnTo>
                    <a:pt x="315226" y="196113"/>
                  </a:lnTo>
                  <a:lnTo>
                    <a:pt x="313118" y="193243"/>
                  </a:lnTo>
                  <a:lnTo>
                    <a:pt x="317627" y="189230"/>
                  </a:lnTo>
                  <a:lnTo>
                    <a:pt x="324281" y="181610"/>
                  </a:lnTo>
                  <a:lnTo>
                    <a:pt x="325894" y="179311"/>
                  </a:lnTo>
                  <a:lnTo>
                    <a:pt x="325894" y="187223"/>
                  </a:lnTo>
                  <a:lnTo>
                    <a:pt x="326250" y="187223"/>
                  </a:lnTo>
                  <a:lnTo>
                    <a:pt x="326250" y="174523"/>
                  </a:lnTo>
                  <a:lnTo>
                    <a:pt x="326047" y="174523"/>
                  </a:lnTo>
                  <a:lnTo>
                    <a:pt x="325894" y="175793"/>
                  </a:lnTo>
                  <a:lnTo>
                    <a:pt x="326047" y="175793"/>
                  </a:lnTo>
                  <a:lnTo>
                    <a:pt x="325894" y="177063"/>
                  </a:lnTo>
                  <a:lnTo>
                    <a:pt x="326047" y="177063"/>
                  </a:lnTo>
                  <a:lnTo>
                    <a:pt x="326009" y="177355"/>
                  </a:lnTo>
                  <a:lnTo>
                    <a:pt x="323570" y="180340"/>
                  </a:lnTo>
                  <a:lnTo>
                    <a:pt x="316903" y="187960"/>
                  </a:lnTo>
                  <a:lnTo>
                    <a:pt x="312610" y="192544"/>
                  </a:lnTo>
                  <a:lnTo>
                    <a:pt x="309778" y="195580"/>
                  </a:lnTo>
                  <a:lnTo>
                    <a:pt x="308851" y="196354"/>
                  </a:lnTo>
                  <a:lnTo>
                    <a:pt x="308622" y="195630"/>
                  </a:lnTo>
                  <a:lnTo>
                    <a:pt x="308622" y="196545"/>
                  </a:lnTo>
                  <a:lnTo>
                    <a:pt x="302171" y="201930"/>
                  </a:lnTo>
                  <a:lnTo>
                    <a:pt x="301485" y="201460"/>
                  </a:lnTo>
                  <a:lnTo>
                    <a:pt x="301485" y="203200"/>
                  </a:lnTo>
                  <a:lnTo>
                    <a:pt x="300189" y="203200"/>
                  </a:lnTo>
                  <a:lnTo>
                    <a:pt x="297624" y="205054"/>
                  </a:lnTo>
                  <a:lnTo>
                    <a:pt x="297421" y="204609"/>
                  </a:lnTo>
                  <a:lnTo>
                    <a:pt x="297421" y="205206"/>
                  </a:lnTo>
                  <a:lnTo>
                    <a:pt x="296887" y="204266"/>
                  </a:lnTo>
                  <a:lnTo>
                    <a:pt x="296887" y="205587"/>
                  </a:lnTo>
                  <a:lnTo>
                    <a:pt x="291388" y="209550"/>
                  </a:lnTo>
                  <a:lnTo>
                    <a:pt x="289877" y="210362"/>
                  </a:lnTo>
                  <a:lnTo>
                    <a:pt x="289864" y="209854"/>
                  </a:lnTo>
                  <a:lnTo>
                    <a:pt x="289864" y="240563"/>
                  </a:lnTo>
                  <a:lnTo>
                    <a:pt x="289052" y="239903"/>
                  </a:lnTo>
                  <a:lnTo>
                    <a:pt x="289052" y="241833"/>
                  </a:lnTo>
                  <a:lnTo>
                    <a:pt x="284492" y="245643"/>
                  </a:lnTo>
                  <a:lnTo>
                    <a:pt x="283781" y="245046"/>
                  </a:lnTo>
                  <a:lnTo>
                    <a:pt x="283781" y="246913"/>
                  </a:lnTo>
                  <a:lnTo>
                    <a:pt x="278422" y="250723"/>
                  </a:lnTo>
                  <a:lnTo>
                    <a:pt x="278676" y="243103"/>
                  </a:lnTo>
                  <a:lnTo>
                    <a:pt x="278752" y="241884"/>
                  </a:lnTo>
                  <a:lnTo>
                    <a:pt x="283781" y="246913"/>
                  </a:lnTo>
                  <a:lnTo>
                    <a:pt x="283781" y="245046"/>
                  </a:lnTo>
                  <a:lnTo>
                    <a:pt x="279984" y="241833"/>
                  </a:lnTo>
                  <a:lnTo>
                    <a:pt x="284530" y="238023"/>
                  </a:lnTo>
                  <a:lnTo>
                    <a:pt x="289052" y="241833"/>
                  </a:lnTo>
                  <a:lnTo>
                    <a:pt x="289052" y="239903"/>
                  </a:lnTo>
                  <a:lnTo>
                    <a:pt x="286778" y="238023"/>
                  </a:lnTo>
                  <a:lnTo>
                    <a:pt x="285242" y="236753"/>
                  </a:lnTo>
                  <a:lnTo>
                    <a:pt x="289674" y="234213"/>
                  </a:lnTo>
                  <a:lnTo>
                    <a:pt x="289864" y="240563"/>
                  </a:lnTo>
                  <a:lnTo>
                    <a:pt x="289864" y="209854"/>
                  </a:lnTo>
                  <a:lnTo>
                    <a:pt x="289775" y="206273"/>
                  </a:lnTo>
                  <a:lnTo>
                    <a:pt x="291071" y="205003"/>
                  </a:lnTo>
                  <a:lnTo>
                    <a:pt x="294982" y="201193"/>
                  </a:lnTo>
                  <a:lnTo>
                    <a:pt x="296633" y="205003"/>
                  </a:lnTo>
                  <a:lnTo>
                    <a:pt x="296887" y="205587"/>
                  </a:lnTo>
                  <a:lnTo>
                    <a:pt x="296887" y="204266"/>
                  </a:lnTo>
                  <a:lnTo>
                    <a:pt x="296672" y="203733"/>
                  </a:lnTo>
                  <a:lnTo>
                    <a:pt x="297421" y="205206"/>
                  </a:lnTo>
                  <a:lnTo>
                    <a:pt x="297421" y="204609"/>
                  </a:lnTo>
                  <a:lnTo>
                    <a:pt x="297027" y="203733"/>
                  </a:lnTo>
                  <a:lnTo>
                    <a:pt x="296443" y="202463"/>
                  </a:lnTo>
                  <a:lnTo>
                    <a:pt x="296164" y="201193"/>
                  </a:lnTo>
                  <a:lnTo>
                    <a:pt x="295884" y="199923"/>
                  </a:lnTo>
                  <a:lnTo>
                    <a:pt x="297078" y="198780"/>
                  </a:lnTo>
                  <a:lnTo>
                    <a:pt x="299694" y="200660"/>
                  </a:lnTo>
                  <a:lnTo>
                    <a:pt x="301485" y="203200"/>
                  </a:lnTo>
                  <a:lnTo>
                    <a:pt x="301485" y="201460"/>
                  </a:lnTo>
                  <a:lnTo>
                    <a:pt x="298526" y="199390"/>
                  </a:lnTo>
                  <a:lnTo>
                    <a:pt x="297700" y="198196"/>
                  </a:lnTo>
                  <a:lnTo>
                    <a:pt x="301244" y="194843"/>
                  </a:lnTo>
                  <a:lnTo>
                    <a:pt x="301612" y="193573"/>
                  </a:lnTo>
                  <a:lnTo>
                    <a:pt x="304634" y="183413"/>
                  </a:lnTo>
                  <a:lnTo>
                    <a:pt x="305015" y="184683"/>
                  </a:lnTo>
                  <a:lnTo>
                    <a:pt x="308622" y="196545"/>
                  </a:lnTo>
                  <a:lnTo>
                    <a:pt x="308622" y="195630"/>
                  </a:lnTo>
                  <a:lnTo>
                    <a:pt x="305168" y="184683"/>
                  </a:lnTo>
                  <a:lnTo>
                    <a:pt x="306717" y="182143"/>
                  </a:lnTo>
                  <a:lnTo>
                    <a:pt x="307733" y="184683"/>
                  </a:lnTo>
                  <a:lnTo>
                    <a:pt x="308800" y="186004"/>
                  </a:lnTo>
                  <a:lnTo>
                    <a:pt x="311099" y="189763"/>
                  </a:lnTo>
                  <a:lnTo>
                    <a:pt x="312369" y="192303"/>
                  </a:lnTo>
                  <a:lnTo>
                    <a:pt x="312572" y="192595"/>
                  </a:lnTo>
                  <a:lnTo>
                    <a:pt x="312445" y="192303"/>
                  </a:lnTo>
                  <a:lnTo>
                    <a:pt x="311162" y="189763"/>
                  </a:lnTo>
                  <a:lnTo>
                    <a:pt x="308851" y="185953"/>
                  </a:lnTo>
                  <a:lnTo>
                    <a:pt x="307797" y="184683"/>
                  </a:lnTo>
                  <a:lnTo>
                    <a:pt x="306781" y="182143"/>
                  </a:lnTo>
                  <a:lnTo>
                    <a:pt x="308978" y="179603"/>
                  </a:lnTo>
                  <a:lnTo>
                    <a:pt x="313385" y="174523"/>
                  </a:lnTo>
                  <a:lnTo>
                    <a:pt x="312940" y="174523"/>
                  </a:lnTo>
                  <a:lnTo>
                    <a:pt x="308762" y="179603"/>
                  </a:lnTo>
                  <a:lnTo>
                    <a:pt x="308546" y="179489"/>
                  </a:lnTo>
                  <a:lnTo>
                    <a:pt x="306590" y="182143"/>
                  </a:lnTo>
                  <a:lnTo>
                    <a:pt x="305041" y="184683"/>
                  </a:lnTo>
                  <a:lnTo>
                    <a:pt x="304812" y="183413"/>
                  </a:lnTo>
                  <a:lnTo>
                    <a:pt x="305231" y="182143"/>
                  </a:lnTo>
                  <a:lnTo>
                    <a:pt x="305663" y="180873"/>
                  </a:lnTo>
                  <a:lnTo>
                    <a:pt x="306235" y="182143"/>
                  </a:lnTo>
                  <a:lnTo>
                    <a:pt x="306539" y="182143"/>
                  </a:lnTo>
                  <a:lnTo>
                    <a:pt x="305714" y="180873"/>
                  </a:lnTo>
                  <a:lnTo>
                    <a:pt x="306451" y="178333"/>
                  </a:lnTo>
                  <a:lnTo>
                    <a:pt x="308546" y="179603"/>
                  </a:lnTo>
                  <a:lnTo>
                    <a:pt x="306552" y="178333"/>
                  </a:lnTo>
                  <a:lnTo>
                    <a:pt x="307619" y="174523"/>
                  </a:lnTo>
                  <a:lnTo>
                    <a:pt x="313067" y="156743"/>
                  </a:lnTo>
                  <a:lnTo>
                    <a:pt x="316496" y="145313"/>
                  </a:lnTo>
                  <a:lnTo>
                    <a:pt x="316877" y="144043"/>
                  </a:lnTo>
                  <a:lnTo>
                    <a:pt x="317157" y="144043"/>
                  </a:lnTo>
                  <a:lnTo>
                    <a:pt x="318147" y="140233"/>
                  </a:lnTo>
                  <a:lnTo>
                    <a:pt x="319239" y="137693"/>
                  </a:lnTo>
                  <a:lnTo>
                    <a:pt x="319798" y="136423"/>
                  </a:lnTo>
                  <a:lnTo>
                    <a:pt x="321144" y="132613"/>
                  </a:lnTo>
                  <a:lnTo>
                    <a:pt x="322389" y="128803"/>
                  </a:lnTo>
                  <a:lnTo>
                    <a:pt x="322821" y="128803"/>
                  </a:lnTo>
                  <a:lnTo>
                    <a:pt x="324091" y="133883"/>
                  </a:lnTo>
                  <a:lnTo>
                    <a:pt x="325437" y="138963"/>
                  </a:lnTo>
                  <a:lnTo>
                    <a:pt x="326898" y="144043"/>
                  </a:lnTo>
                  <a:lnTo>
                    <a:pt x="327101" y="144043"/>
                  </a:lnTo>
                  <a:lnTo>
                    <a:pt x="325640" y="138963"/>
                  </a:lnTo>
                  <a:lnTo>
                    <a:pt x="324307" y="133883"/>
                  </a:lnTo>
                  <a:lnTo>
                    <a:pt x="323049" y="128803"/>
                  </a:lnTo>
                  <a:lnTo>
                    <a:pt x="323570" y="126263"/>
                  </a:lnTo>
                  <a:lnTo>
                    <a:pt x="322630" y="126263"/>
                  </a:lnTo>
                  <a:lnTo>
                    <a:pt x="322313" y="128803"/>
                  </a:lnTo>
                  <a:lnTo>
                    <a:pt x="321284" y="131343"/>
                  </a:lnTo>
                  <a:lnTo>
                    <a:pt x="320141" y="135153"/>
                  </a:lnTo>
                  <a:lnTo>
                    <a:pt x="318871" y="137693"/>
                  </a:lnTo>
                  <a:lnTo>
                    <a:pt x="322338" y="126263"/>
                  </a:lnTo>
                  <a:lnTo>
                    <a:pt x="321691" y="126263"/>
                  </a:lnTo>
                  <a:lnTo>
                    <a:pt x="316255" y="144043"/>
                  </a:lnTo>
                  <a:lnTo>
                    <a:pt x="315734" y="144043"/>
                  </a:lnTo>
                  <a:lnTo>
                    <a:pt x="315734" y="145313"/>
                  </a:lnTo>
                  <a:lnTo>
                    <a:pt x="311975" y="156743"/>
                  </a:lnTo>
                  <a:lnTo>
                    <a:pt x="309118" y="154203"/>
                  </a:lnTo>
                  <a:lnTo>
                    <a:pt x="309981" y="152933"/>
                  </a:lnTo>
                  <a:lnTo>
                    <a:pt x="310769" y="151663"/>
                  </a:lnTo>
                  <a:lnTo>
                    <a:pt x="313156" y="149123"/>
                  </a:lnTo>
                  <a:lnTo>
                    <a:pt x="314528" y="147853"/>
                  </a:lnTo>
                  <a:lnTo>
                    <a:pt x="315734" y="145313"/>
                  </a:lnTo>
                  <a:lnTo>
                    <a:pt x="315734" y="144043"/>
                  </a:lnTo>
                  <a:lnTo>
                    <a:pt x="315341" y="144043"/>
                  </a:lnTo>
                  <a:lnTo>
                    <a:pt x="315226" y="145313"/>
                  </a:lnTo>
                  <a:lnTo>
                    <a:pt x="314096" y="147853"/>
                  </a:lnTo>
                  <a:lnTo>
                    <a:pt x="312826" y="149123"/>
                  </a:lnTo>
                  <a:lnTo>
                    <a:pt x="310591" y="151663"/>
                  </a:lnTo>
                  <a:lnTo>
                    <a:pt x="309816" y="152933"/>
                  </a:lnTo>
                  <a:lnTo>
                    <a:pt x="308965" y="152933"/>
                  </a:lnTo>
                  <a:lnTo>
                    <a:pt x="307797" y="151663"/>
                  </a:lnTo>
                  <a:lnTo>
                    <a:pt x="315226" y="145313"/>
                  </a:lnTo>
                  <a:lnTo>
                    <a:pt x="315226" y="144157"/>
                  </a:lnTo>
                  <a:lnTo>
                    <a:pt x="307263" y="151663"/>
                  </a:lnTo>
                  <a:lnTo>
                    <a:pt x="302196" y="144043"/>
                  </a:lnTo>
                  <a:lnTo>
                    <a:pt x="301117" y="144043"/>
                  </a:lnTo>
                  <a:lnTo>
                    <a:pt x="308254" y="154203"/>
                  </a:lnTo>
                  <a:lnTo>
                    <a:pt x="306946" y="154203"/>
                  </a:lnTo>
                  <a:lnTo>
                    <a:pt x="305511" y="155473"/>
                  </a:lnTo>
                  <a:lnTo>
                    <a:pt x="307073" y="155473"/>
                  </a:lnTo>
                  <a:lnTo>
                    <a:pt x="308406" y="154203"/>
                  </a:lnTo>
                  <a:lnTo>
                    <a:pt x="311670" y="158013"/>
                  </a:lnTo>
                  <a:lnTo>
                    <a:pt x="306844" y="174523"/>
                  </a:lnTo>
                  <a:lnTo>
                    <a:pt x="305841" y="177063"/>
                  </a:lnTo>
                  <a:lnTo>
                    <a:pt x="305155" y="179603"/>
                  </a:lnTo>
                  <a:lnTo>
                    <a:pt x="303796" y="177063"/>
                  </a:lnTo>
                  <a:lnTo>
                    <a:pt x="303161" y="175793"/>
                  </a:lnTo>
                  <a:lnTo>
                    <a:pt x="305739" y="177063"/>
                  </a:lnTo>
                  <a:lnTo>
                    <a:pt x="304330" y="175793"/>
                  </a:lnTo>
                  <a:lnTo>
                    <a:pt x="302818" y="174523"/>
                  </a:lnTo>
                  <a:lnTo>
                    <a:pt x="302425" y="174523"/>
                  </a:lnTo>
                  <a:lnTo>
                    <a:pt x="301815" y="173253"/>
                  </a:lnTo>
                  <a:lnTo>
                    <a:pt x="302298" y="174523"/>
                  </a:lnTo>
                  <a:lnTo>
                    <a:pt x="302031" y="174523"/>
                  </a:lnTo>
                  <a:lnTo>
                    <a:pt x="302958" y="175793"/>
                  </a:lnTo>
                  <a:lnTo>
                    <a:pt x="303657" y="177063"/>
                  </a:lnTo>
                  <a:lnTo>
                    <a:pt x="305104" y="179603"/>
                  </a:lnTo>
                  <a:lnTo>
                    <a:pt x="304571" y="180873"/>
                  </a:lnTo>
                  <a:lnTo>
                    <a:pt x="304228" y="182143"/>
                  </a:lnTo>
                  <a:lnTo>
                    <a:pt x="304101" y="181711"/>
                  </a:lnTo>
                  <a:lnTo>
                    <a:pt x="304101" y="183413"/>
                  </a:lnTo>
                  <a:lnTo>
                    <a:pt x="300761" y="193573"/>
                  </a:lnTo>
                  <a:lnTo>
                    <a:pt x="300101" y="192557"/>
                  </a:lnTo>
                  <a:lnTo>
                    <a:pt x="300101" y="194843"/>
                  </a:lnTo>
                  <a:lnTo>
                    <a:pt x="299783" y="194843"/>
                  </a:lnTo>
                  <a:lnTo>
                    <a:pt x="297091" y="197319"/>
                  </a:lnTo>
                  <a:lnTo>
                    <a:pt x="296773" y="196837"/>
                  </a:lnTo>
                  <a:lnTo>
                    <a:pt x="296202" y="196342"/>
                  </a:lnTo>
                  <a:lnTo>
                    <a:pt x="296202" y="198145"/>
                  </a:lnTo>
                  <a:lnTo>
                    <a:pt x="295643" y="198653"/>
                  </a:lnTo>
                  <a:lnTo>
                    <a:pt x="295478" y="197980"/>
                  </a:lnTo>
                  <a:lnTo>
                    <a:pt x="295478" y="198653"/>
                  </a:lnTo>
                  <a:lnTo>
                    <a:pt x="295224" y="199923"/>
                  </a:lnTo>
                  <a:lnTo>
                    <a:pt x="295109" y="199415"/>
                  </a:lnTo>
                  <a:lnTo>
                    <a:pt x="295109" y="199923"/>
                  </a:lnTo>
                  <a:lnTo>
                    <a:pt x="294906" y="199923"/>
                  </a:lnTo>
                  <a:lnTo>
                    <a:pt x="294640" y="199161"/>
                  </a:lnTo>
                  <a:lnTo>
                    <a:pt x="294640" y="199923"/>
                  </a:lnTo>
                  <a:lnTo>
                    <a:pt x="294043" y="199923"/>
                  </a:lnTo>
                  <a:lnTo>
                    <a:pt x="293408" y="199161"/>
                  </a:lnTo>
                  <a:lnTo>
                    <a:pt x="293408" y="201193"/>
                  </a:lnTo>
                  <a:lnTo>
                    <a:pt x="289737" y="205003"/>
                  </a:lnTo>
                  <a:lnTo>
                    <a:pt x="289699" y="203733"/>
                  </a:lnTo>
                  <a:lnTo>
                    <a:pt x="289636" y="201193"/>
                  </a:lnTo>
                  <a:lnTo>
                    <a:pt x="289953" y="199923"/>
                  </a:lnTo>
                  <a:lnTo>
                    <a:pt x="290588" y="197383"/>
                  </a:lnTo>
                  <a:lnTo>
                    <a:pt x="293408" y="201193"/>
                  </a:lnTo>
                  <a:lnTo>
                    <a:pt x="293408" y="199161"/>
                  </a:lnTo>
                  <a:lnTo>
                    <a:pt x="291934" y="197383"/>
                  </a:lnTo>
                  <a:lnTo>
                    <a:pt x="290893" y="196113"/>
                  </a:lnTo>
                  <a:lnTo>
                    <a:pt x="291236" y="194843"/>
                  </a:lnTo>
                  <a:lnTo>
                    <a:pt x="291465" y="194843"/>
                  </a:lnTo>
                  <a:lnTo>
                    <a:pt x="291642" y="194119"/>
                  </a:lnTo>
                  <a:lnTo>
                    <a:pt x="292455" y="194830"/>
                  </a:lnTo>
                  <a:lnTo>
                    <a:pt x="292900" y="195224"/>
                  </a:lnTo>
                  <a:lnTo>
                    <a:pt x="294005" y="198653"/>
                  </a:lnTo>
                  <a:lnTo>
                    <a:pt x="294640" y="199923"/>
                  </a:lnTo>
                  <a:lnTo>
                    <a:pt x="294640" y="199161"/>
                  </a:lnTo>
                  <a:lnTo>
                    <a:pt x="293446" y="195707"/>
                  </a:lnTo>
                  <a:lnTo>
                    <a:pt x="293979" y="196176"/>
                  </a:lnTo>
                  <a:lnTo>
                    <a:pt x="294525" y="198653"/>
                  </a:lnTo>
                  <a:lnTo>
                    <a:pt x="295109" y="199923"/>
                  </a:lnTo>
                  <a:lnTo>
                    <a:pt x="295109" y="199415"/>
                  </a:lnTo>
                  <a:lnTo>
                    <a:pt x="294665" y="197383"/>
                  </a:lnTo>
                  <a:lnTo>
                    <a:pt x="294271" y="196443"/>
                  </a:lnTo>
                  <a:lnTo>
                    <a:pt x="295109" y="197180"/>
                  </a:lnTo>
                  <a:lnTo>
                    <a:pt x="295478" y="198653"/>
                  </a:lnTo>
                  <a:lnTo>
                    <a:pt x="295478" y="197980"/>
                  </a:lnTo>
                  <a:lnTo>
                    <a:pt x="295338" y="197396"/>
                  </a:lnTo>
                  <a:lnTo>
                    <a:pt x="296176" y="198120"/>
                  </a:lnTo>
                  <a:lnTo>
                    <a:pt x="296202" y="196342"/>
                  </a:lnTo>
                  <a:lnTo>
                    <a:pt x="294805" y="195097"/>
                  </a:lnTo>
                  <a:lnTo>
                    <a:pt x="294754" y="194843"/>
                  </a:lnTo>
                  <a:lnTo>
                    <a:pt x="294551" y="194843"/>
                  </a:lnTo>
                  <a:lnTo>
                    <a:pt x="294297" y="193471"/>
                  </a:lnTo>
                  <a:lnTo>
                    <a:pt x="294297" y="194640"/>
                  </a:lnTo>
                  <a:lnTo>
                    <a:pt x="293103" y="193598"/>
                  </a:lnTo>
                  <a:lnTo>
                    <a:pt x="292912" y="193040"/>
                  </a:lnTo>
                  <a:lnTo>
                    <a:pt x="292696" y="192417"/>
                  </a:lnTo>
                  <a:lnTo>
                    <a:pt x="293712" y="191033"/>
                  </a:lnTo>
                  <a:lnTo>
                    <a:pt x="294297" y="194640"/>
                  </a:lnTo>
                  <a:lnTo>
                    <a:pt x="294297" y="193471"/>
                  </a:lnTo>
                  <a:lnTo>
                    <a:pt x="293890" y="191033"/>
                  </a:lnTo>
                  <a:lnTo>
                    <a:pt x="295338" y="189763"/>
                  </a:lnTo>
                  <a:lnTo>
                    <a:pt x="296786" y="188493"/>
                  </a:lnTo>
                  <a:lnTo>
                    <a:pt x="300101" y="194843"/>
                  </a:lnTo>
                  <a:lnTo>
                    <a:pt x="300101" y="192557"/>
                  </a:lnTo>
                  <a:lnTo>
                    <a:pt x="297459" y="188493"/>
                  </a:lnTo>
                  <a:lnTo>
                    <a:pt x="304101" y="183413"/>
                  </a:lnTo>
                  <a:lnTo>
                    <a:pt x="304101" y="181711"/>
                  </a:lnTo>
                  <a:lnTo>
                    <a:pt x="302031" y="174523"/>
                  </a:lnTo>
                  <a:lnTo>
                    <a:pt x="301828" y="174523"/>
                  </a:lnTo>
                  <a:lnTo>
                    <a:pt x="301155" y="171856"/>
                  </a:lnTo>
                  <a:lnTo>
                    <a:pt x="300621" y="170713"/>
                  </a:lnTo>
                  <a:lnTo>
                    <a:pt x="299504" y="166903"/>
                  </a:lnTo>
                  <a:lnTo>
                    <a:pt x="298030" y="161823"/>
                  </a:lnTo>
                  <a:lnTo>
                    <a:pt x="297776" y="161823"/>
                  </a:lnTo>
                  <a:lnTo>
                    <a:pt x="299402" y="166903"/>
                  </a:lnTo>
                  <a:lnTo>
                    <a:pt x="297827" y="164363"/>
                  </a:lnTo>
                  <a:lnTo>
                    <a:pt x="297980" y="164363"/>
                  </a:lnTo>
                  <a:lnTo>
                    <a:pt x="297840" y="163093"/>
                  </a:lnTo>
                  <a:lnTo>
                    <a:pt x="297700" y="161823"/>
                  </a:lnTo>
                  <a:lnTo>
                    <a:pt x="297332" y="161823"/>
                  </a:lnTo>
                  <a:lnTo>
                    <a:pt x="297548" y="163093"/>
                  </a:lnTo>
                  <a:lnTo>
                    <a:pt x="296570" y="166903"/>
                  </a:lnTo>
                  <a:lnTo>
                    <a:pt x="295287" y="169443"/>
                  </a:lnTo>
                  <a:lnTo>
                    <a:pt x="291896" y="173253"/>
                  </a:lnTo>
                  <a:lnTo>
                    <a:pt x="290499" y="174523"/>
                  </a:lnTo>
                  <a:lnTo>
                    <a:pt x="288582" y="175793"/>
                  </a:lnTo>
                  <a:lnTo>
                    <a:pt x="288937" y="175793"/>
                  </a:lnTo>
                  <a:lnTo>
                    <a:pt x="290588" y="174523"/>
                  </a:lnTo>
                  <a:lnTo>
                    <a:pt x="291985" y="174523"/>
                  </a:lnTo>
                  <a:lnTo>
                    <a:pt x="293141" y="173253"/>
                  </a:lnTo>
                  <a:lnTo>
                    <a:pt x="295376" y="169443"/>
                  </a:lnTo>
                  <a:lnTo>
                    <a:pt x="296646" y="166903"/>
                  </a:lnTo>
                  <a:lnTo>
                    <a:pt x="297573" y="163093"/>
                  </a:lnTo>
                  <a:lnTo>
                    <a:pt x="297649" y="164363"/>
                  </a:lnTo>
                  <a:lnTo>
                    <a:pt x="298361" y="165633"/>
                  </a:lnTo>
                  <a:lnTo>
                    <a:pt x="299732" y="168173"/>
                  </a:lnTo>
                  <a:lnTo>
                    <a:pt x="301459" y="174523"/>
                  </a:lnTo>
                  <a:lnTo>
                    <a:pt x="303949" y="182143"/>
                  </a:lnTo>
                  <a:lnTo>
                    <a:pt x="296316" y="188493"/>
                  </a:lnTo>
                  <a:lnTo>
                    <a:pt x="293687" y="189763"/>
                  </a:lnTo>
                  <a:lnTo>
                    <a:pt x="293509" y="189001"/>
                  </a:lnTo>
                  <a:lnTo>
                    <a:pt x="293509" y="191033"/>
                  </a:lnTo>
                  <a:lnTo>
                    <a:pt x="292265" y="191033"/>
                  </a:lnTo>
                  <a:lnTo>
                    <a:pt x="292785" y="189763"/>
                  </a:lnTo>
                  <a:lnTo>
                    <a:pt x="293027" y="188493"/>
                  </a:lnTo>
                  <a:lnTo>
                    <a:pt x="293509" y="191033"/>
                  </a:lnTo>
                  <a:lnTo>
                    <a:pt x="293509" y="189001"/>
                  </a:lnTo>
                  <a:lnTo>
                    <a:pt x="293395" y="188493"/>
                  </a:lnTo>
                  <a:lnTo>
                    <a:pt x="293116" y="187223"/>
                  </a:lnTo>
                  <a:lnTo>
                    <a:pt x="293458" y="187223"/>
                  </a:lnTo>
                  <a:lnTo>
                    <a:pt x="293458" y="178333"/>
                  </a:lnTo>
                  <a:lnTo>
                    <a:pt x="293319" y="177063"/>
                  </a:lnTo>
                  <a:lnTo>
                    <a:pt x="293458" y="177063"/>
                  </a:lnTo>
                  <a:lnTo>
                    <a:pt x="293319" y="175793"/>
                  </a:lnTo>
                  <a:lnTo>
                    <a:pt x="293458" y="175793"/>
                  </a:lnTo>
                  <a:lnTo>
                    <a:pt x="293319" y="174523"/>
                  </a:lnTo>
                  <a:lnTo>
                    <a:pt x="292836" y="174523"/>
                  </a:lnTo>
                  <a:lnTo>
                    <a:pt x="292684" y="175793"/>
                  </a:lnTo>
                  <a:lnTo>
                    <a:pt x="292836" y="175793"/>
                  </a:lnTo>
                  <a:lnTo>
                    <a:pt x="292684" y="177063"/>
                  </a:lnTo>
                  <a:lnTo>
                    <a:pt x="292836" y="177063"/>
                  </a:lnTo>
                  <a:lnTo>
                    <a:pt x="292684" y="178333"/>
                  </a:lnTo>
                  <a:lnTo>
                    <a:pt x="292684" y="187223"/>
                  </a:lnTo>
                  <a:lnTo>
                    <a:pt x="293039" y="187223"/>
                  </a:lnTo>
                  <a:lnTo>
                    <a:pt x="292684" y="188493"/>
                  </a:lnTo>
                  <a:lnTo>
                    <a:pt x="292138" y="191033"/>
                  </a:lnTo>
                  <a:lnTo>
                    <a:pt x="292061" y="190766"/>
                  </a:lnTo>
                  <a:lnTo>
                    <a:pt x="292061" y="191033"/>
                  </a:lnTo>
                  <a:lnTo>
                    <a:pt x="291909" y="192303"/>
                  </a:lnTo>
                  <a:lnTo>
                    <a:pt x="292011" y="192620"/>
                  </a:lnTo>
                  <a:lnTo>
                    <a:pt x="291884" y="192506"/>
                  </a:lnTo>
                  <a:lnTo>
                    <a:pt x="291909" y="192303"/>
                  </a:lnTo>
                  <a:lnTo>
                    <a:pt x="291604" y="191452"/>
                  </a:lnTo>
                  <a:lnTo>
                    <a:pt x="291604" y="192252"/>
                  </a:lnTo>
                  <a:lnTo>
                    <a:pt x="290639" y="191389"/>
                  </a:lnTo>
                  <a:lnTo>
                    <a:pt x="290639" y="193217"/>
                  </a:lnTo>
                  <a:lnTo>
                    <a:pt x="290423" y="193421"/>
                  </a:lnTo>
                  <a:lnTo>
                    <a:pt x="290423" y="197383"/>
                  </a:lnTo>
                  <a:lnTo>
                    <a:pt x="289623" y="199923"/>
                  </a:lnTo>
                  <a:lnTo>
                    <a:pt x="289623" y="231673"/>
                  </a:lnTo>
                  <a:lnTo>
                    <a:pt x="289394" y="231533"/>
                  </a:lnTo>
                  <a:lnTo>
                    <a:pt x="289394" y="232943"/>
                  </a:lnTo>
                  <a:lnTo>
                    <a:pt x="284530" y="236753"/>
                  </a:lnTo>
                  <a:lnTo>
                    <a:pt x="283806" y="236169"/>
                  </a:lnTo>
                  <a:lnTo>
                    <a:pt x="283806" y="236740"/>
                  </a:lnTo>
                  <a:lnTo>
                    <a:pt x="278765" y="241833"/>
                  </a:lnTo>
                  <a:lnTo>
                    <a:pt x="279019" y="234213"/>
                  </a:lnTo>
                  <a:lnTo>
                    <a:pt x="279082" y="232981"/>
                  </a:lnTo>
                  <a:lnTo>
                    <a:pt x="283806" y="236740"/>
                  </a:lnTo>
                  <a:lnTo>
                    <a:pt x="283806" y="236169"/>
                  </a:lnTo>
                  <a:lnTo>
                    <a:pt x="279895" y="232943"/>
                  </a:lnTo>
                  <a:lnTo>
                    <a:pt x="284822" y="229133"/>
                  </a:lnTo>
                  <a:lnTo>
                    <a:pt x="289394" y="232943"/>
                  </a:lnTo>
                  <a:lnTo>
                    <a:pt x="289394" y="231533"/>
                  </a:lnTo>
                  <a:lnTo>
                    <a:pt x="285508" y="229133"/>
                  </a:lnTo>
                  <a:lnTo>
                    <a:pt x="286816" y="227863"/>
                  </a:lnTo>
                  <a:lnTo>
                    <a:pt x="289445" y="225323"/>
                  </a:lnTo>
                  <a:lnTo>
                    <a:pt x="289623" y="231673"/>
                  </a:lnTo>
                  <a:lnTo>
                    <a:pt x="289623" y="199923"/>
                  </a:lnTo>
                  <a:lnTo>
                    <a:pt x="289509" y="196113"/>
                  </a:lnTo>
                  <a:lnTo>
                    <a:pt x="290423" y="197383"/>
                  </a:lnTo>
                  <a:lnTo>
                    <a:pt x="290423" y="193421"/>
                  </a:lnTo>
                  <a:lnTo>
                    <a:pt x="289369" y="194398"/>
                  </a:lnTo>
                  <a:lnTo>
                    <a:pt x="289369" y="222783"/>
                  </a:lnTo>
                  <a:lnTo>
                    <a:pt x="289344" y="224091"/>
                  </a:lnTo>
                  <a:lnTo>
                    <a:pt x="284835" y="227863"/>
                  </a:lnTo>
                  <a:lnTo>
                    <a:pt x="284137" y="227253"/>
                  </a:lnTo>
                  <a:lnTo>
                    <a:pt x="284137" y="229133"/>
                  </a:lnTo>
                  <a:lnTo>
                    <a:pt x="279095" y="232943"/>
                  </a:lnTo>
                  <a:lnTo>
                    <a:pt x="279285" y="227863"/>
                  </a:lnTo>
                  <a:lnTo>
                    <a:pt x="279336" y="226593"/>
                  </a:lnTo>
                  <a:lnTo>
                    <a:pt x="280085" y="225323"/>
                  </a:lnTo>
                  <a:lnTo>
                    <a:pt x="284137" y="229133"/>
                  </a:lnTo>
                  <a:lnTo>
                    <a:pt x="284137" y="227253"/>
                  </a:lnTo>
                  <a:lnTo>
                    <a:pt x="281965" y="225323"/>
                  </a:lnTo>
                  <a:lnTo>
                    <a:pt x="280530" y="224053"/>
                  </a:lnTo>
                  <a:lnTo>
                    <a:pt x="281190" y="222783"/>
                  </a:lnTo>
                  <a:lnTo>
                    <a:pt x="280873" y="222783"/>
                  </a:lnTo>
                  <a:lnTo>
                    <a:pt x="280314" y="224053"/>
                  </a:lnTo>
                  <a:lnTo>
                    <a:pt x="279946" y="224053"/>
                  </a:lnTo>
                  <a:lnTo>
                    <a:pt x="279996" y="222783"/>
                  </a:lnTo>
                  <a:lnTo>
                    <a:pt x="281736" y="221627"/>
                  </a:lnTo>
                  <a:lnTo>
                    <a:pt x="282384" y="220243"/>
                  </a:lnTo>
                  <a:lnTo>
                    <a:pt x="284238" y="218973"/>
                  </a:lnTo>
                  <a:lnTo>
                    <a:pt x="289217" y="223888"/>
                  </a:lnTo>
                  <a:lnTo>
                    <a:pt x="289344" y="224091"/>
                  </a:lnTo>
                  <a:lnTo>
                    <a:pt x="289344" y="222770"/>
                  </a:lnTo>
                  <a:lnTo>
                    <a:pt x="284924" y="218973"/>
                  </a:lnTo>
                  <a:lnTo>
                    <a:pt x="286334" y="217703"/>
                  </a:lnTo>
                  <a:lnTo>
                    <a:pt x="289166" y="215163"/>
                  </a:lnTo>
                  <a:lnTo>
                    <a:pt x="289369" y="222783"/>
                  </a:lnTo>
                  <a:lnTo>
                    <a:pt x="289369" y="194398"/>
                  </a:lnTo>
                  <a:lnTo>
                    <a:pt x="289128" y="194614"/>
                  </a:lnTo>
                  <a:lnTo>
                    <a:pt x="289128" y="213893"/>
                  </a:lnTo>
                  <a:lnTo>
                    <a:pt x="288899" y="213690"/>
                  </a:lnTo>
                  <a:lnTo>
                    <a:pt x="288899" y="213893"/>
                  </a:lnTo>
                  <a:lnTo>
                    <a:pt x="284251" y="217703"/>
                  </a:lnTo>
                  <a:lnTo>
                    <a:pt x="283730" y="217703"/>
                  </a:lnTo>
                  <a:lnTo>
                    <a:pt x="284556" y="216433"/>
                  </a:lnTo>
                  <a:lnTo>
                    <a:pt x="285165" y="214426"/>
                  </a:lnTo>
                  <a:lnTo>
                    <a:pt x="287858" y="212979"/>
                  </a:lnTo>
                  <a:lnTo>
                    <a:pt x="288899" y="213893"/>
                  </a:lnTo>
                  <a:lnTo>
                    <a:pt x="288899" y="213690"/>
                  </a:lnTo>
                  <a:lnTo>
                    <a:pt x="288023" y="212890"/>
                  </a:lnTo>
                  <a:lnTo>
                    <a:pt x="289077" y="212331"/>
                  </a:lnTo>
                  <a:lnTo>
                    <a:pt x="289128" y="213893"/>
                  </a:lnTo>
                  <a:lnTo>
                    <a:pt x="289128" y="194614"/>
                  </a:lnTo>
                  <a:lnTo>
                    <a:pt x="289039" y="210820"/>
                  </a:lnTo>
                  <a:lnTo>
                    <a:pt x="286981" y="211937"/>
                  </a:lnTo>
                  <a:lnTo>
                    <a:pt x="286791" y="211759"/>
                  </a:lnTo>
                  <a:lnTo>
                    <a:pt x="286791" y="212039"/>
                  </a:lnTo>
                  <a:lnTo>
                    <a:pt x="285673" y="212636"/>
                  </a:lnTo>
                  <a:lnTo>
                    <a:pt x="286042" y="211353"/>
                  </a:lnTo>
                  <a:lnTo>
                    <a:pt x="286791" y="212039"/>
                  </a:lnTo>
                  <a:lnTo>
                    <a:pt x="286791" y="211759"/>
                  </a:lnTo>
                  <a:lnTo>
                    <a:pt x="286359" y="211353"/>
                  </a:lnTo>
                  <a:lnTo>
                    <a:pt x="287159" y="208813"/>
                  </a:lnTo>
                  <a:lnTo>
                    <a:pt x="287528" y="207543"/>
                  </a:lnTo>
                  <a:lnTo>
                    <a:pt x="288937" y="206273"/>
                  </a:lnTo>
                  <a:lnTo>
                    <a:pt x="289039" y="210820"/>
                  </a:lnTo>
                  <a:lnTo>
                    <a:pt x="289039" y="194703"/>
                  </a:lnTo>
                  <a:lnTo>
                    <a:pt x="288874" y="194843"/>
                  </a:lnTo>
                  <a:lnTo>
                    <a:pt x="288836" y="202463"/>
                  </a:lnTo>
                  <a:lnTo>
                    <a:pt x="288531" y="203733"/>
                  </a:lnTo>
                  <a:lnTo>
                    <a:pt x="288124" y="203403"/>
                  </a:lnTo>
                  <a:lnTo>
                    <a:pt x="288124" y="205003"/>
                  </a:lnTo>
                  <a:lnTo>
                    <a:pt x="287680" y="205003"/>
                  </a:lnTo>
                  <a:lnTo>
                    <a:pt x="287680" y="206273"/>
                  </a:lnTo>
                  <a:lnTo>
                    <a:pt x="287172" y="206654"/>
                  </a:lnTo>
                  <a:lnTo>
                    <a:pt x="287172" y="207543"/>
                  </a:lnTo>
                  <a:lnTo>
                    <a:pt x="286156" y="211353"/>
                  </a:lnTo>
                  <a:lnTo>
                    <a:pt x="285851" y="211035"/>
                  </a:lnTo>
                  <a:lnTo>
                    <a:pt x="285851" y="211353"/>
                  </a:lnTo>
                  <a:lnTo>
                    <a:pt x="285445" y="212763"/>
                  </a:lnTo>
                  <a:lnTo>
                    <a:pt x="284632" y="213207"/>
                  </a:lnTo>
                  <a:lnTo>
                    <a:pt x="284632" y="214706"/>
                  </a:lnTo>
                  <a:lnTo>
                    <a:pt x="284340" y="215201"/>
                  </a:lnTo>
                  <a:lnTo>
                    <a:pt x="283527" y="217703"/>
                  </a:lnTo>
                  <a:lnTo>
                    <a:pt x="283171" y="217436"/>
                  </a:lnTo>
                  <a:lnTo>
                    <a:pt x="283171" y="218973"/>
                  </a:lnTo>
                  <a:lnTo>
                    <a:pt x="282765" y="218973"/>
                  </a:lnTo>
                  <a:lnTo>
                    <a:pt x="279488" y="221513"/>
                  </a:lnTo>
                  <a:lnTo>
                    <a:pt x="279654" y="216941"/>
                  </a:lnTo>
                  <a:lnTo>
                    <a:pt x="280898" y="216471"/>
                  </a:lnTo>
                  <a:lnTo>
                    <a:pt x="283171" y="218973"/>
                  </a:lnTo>
                  <a:lnTo>
                    <a:pt x="283171" y="217436"/>
                  </a:lnTo>
                  <a:lnTo>
                    <a:pt x="281609" y="216204"/>
                  </a:lnTo>
                  <a:lnTo>
                    <a:pt x="282397" y="215900"/>
                  </a:lnTo>
                  <a:lnTo>
                    <a:pt x="284632" y="214706"/>
                  </a:lnTo>
                  <a:lnTo>
                    <a:pt x="284632" y="213207"/>
                  </a:lnTo>
                  <a:lnTo>
                    <a:pt x="281978" y="214630"/>
                  </a:lnTo>
                  <a:lnTo>
                    <a:pt x="280555" y="215366"/>
                  </a:lnTo>
                  <a:lnTo>
                    <a:pt x="280314" y="215163"/>
                  </a:lnTo>
                  <a:lnTo>
                    <a:pt x="280377" y="213893"/>
                  </a:lnTo>
                  <a:lnTo>
                    <a:pt x="281673" y="212623"/>
                  </a:lnTo>
                  <a:lnTo>
                    <a:pt x="284264" y="210083"/>
                  </a:lnTo>
                  <a:lnTo>
                    <a:pt x="285851" y="211353"/>
                  </a:lnTo>
                  <a:lnTo>
                    <a:pt x="285851" y="211035"/>
                  </a:lnTo>
                  <a:lnTo>
                    <a:pt x="284937" y="210083"/>
                  </a:lnTo>
                  <a:lnTo>
                    <a:pt x="286054" y="208813"/>
                  </a:lnTo>
                  <a:lnTo>
                    <a:pt x="287172" y="207543"/>
                  </a:lnTo>
                  <a:lnTo>
                    <a:pt x="287172" y="206654"/>
                  </a:lnTo>
                  <a:lnTo>
                    <a:pt x="284276" y="208813"/>
                  </a:lnTo>
                  <a:lnTo>
                    <a:pt x="283603" y="208318"/>
                  </a:lnTo>
                  <a:lnTo>
                    <a:pt x="283603" y="210083"/>
                  </a:lnTo>
                  <a:lnTo>
                    <a:pt x="280098" y="212458"/>
                  </a:lnTo>
                  <a:lnTo>
                    <a:pt x="280098" y="215595"/>
                  </a:lnTo>
                  <a:lnTo>
                    <a:pt x="279704" y="215798"/>
                  </a:lnTo>
                  <a:lnTo>
                    <a:pt x="279730" y="215163"/>
                  </a:lnTo>
                  <a:lnTo>
                    <a:pt x="280098" y="215595"/>
                  </a:lnTo>
                  <a:lnTo>
                    <a:pt x="280098" y="212458"/>
                  </a:lnTo>
                  <a:lnTo>
                    <a:pt x="279844" y="212623"/>
                  </a:lnTo>
                  <a:lnTo>
                    <a:pt x="280073" y="206273"/>
                  </a:lnTo>
                  <a:lnTo>
                    <a:pt x="283603" y="210083"/>
                  </a:lnTo>
                  <a:lnTo>
                    <a:pt x="283603" y="208318"/>
                  </a:lnTo>
                  <a:lnTo>
                    <a:pt x="280847" y="206273"/>
                  </a:lnTo>
                  <a:lnTo>
                    <a:pt x="287680" y="206273"/>
                  </a:lnTo>
                  <a:lnTo>
                    <a:pt x="287680" y="205003"/>
                  </a:lnTo>
                  <a:lnTo>
                    <a:pt x="280593" y="205003"/>
                  </a:lnTo>
                  <a:lnTo>
                    <a:pt x="284480" y="201193"/>
                  </a:lnTo>
                  <a:lnTo>
                    <a:pt x="288124" y="205003"/>
                  </a:lnTo>
                  <a:lnTo>
                    <a:pt x="288124" y="203403"/>
                  </a:lnTo>
                  <a:lnTo>
                    <a:pt x="286156" y="201193"/>
                  </a:lnTo>
                  <a:lnTo>
                    <a:pt x="285026" y="199923"/>
                  </a:lnTo>
                  <a:lnTo>
                    <a:pt x="288645" y="196113"/>
                  </a:lnTo>
                  <a:lnTo>
                    <a:pt x="288836" y="202463"/>
                  </a:lnTo>
                  <a:lnTo>
                    <a:pt x="288836" y="194843"/>
                  </a:lnTo>
                  <a:lnTo>
                    <a:pt x="287870" y="194843"/>
                  </a:lnTo>
                  <a:lnTo>
                    <a:pt x="284467" y="199923"/>
                  </a:lnTo>
                  <a:lnTo>
                    <a:pt x="283908" y="199110"/>
                  </a:lnTo>
                  <a:lnTo>
                    <a:pt x="283908" y="199923"/>
                  </a:lnTo>
                  <a:lnTo>
                    <a:pt x="280149" y="205003"/>
                  </a:lnTo>
                  <a:lnTo>
                    <a:pt x="280454" y="196113"/>
                  </a:lnTo>
                  <a:lnTo>
                    <a:pt x="283908" y="199923"/>
                  </a:lnTo>
                  <a:lnTo>
                    <a:pt x="283908" y="199110"/>
                  </a:lnTo>
                  <a:lnTo>
                    <a:pt x="281863" y="196113"/>
                  </a:lnTo>
                  <a:lnTo>
                    <a:pt x="281000" y="194843"/>
                  </a:lnTo>
                  <a:lnTo>
                    <a:pt x="280212" y="194843"/>
                  </a:lnTo>
                  <a:lnTo>
                    <a:pt x="279603" y="194322"/>
                  </a:lnTo>
                  <a:lnTo>
                    <a:pt x="279603" y="196113"/>
                  </a:lnTo>
                  <a:lnTo>
                    <a:pt x="279285" y="205003"/>
                  </a:lnTo>
                  <a:lnTo>
                    <a:pt x="279247" y="206273"/>
                  </a:lnTo>
                  <a:lnTo>
                    <a:pt x="278853" y="216230"/>
                  </a:lnTo>
                  <a:lnTo>
                    <a:pt x="272034" y="219710"/>
                  </a:lnTo>
                  <a:lnTo>
                    <a:pt x="267817" y="220751"/>
                  </a:lnTo>
                  <a:lnTo>
                    <a:pt x="269214" y="218973"/>
                  </a:lnTo>
                  <a:lnTo>
                    <a:pt x="271119" y="215163"/>
                  </a:lnTo>
                  <a:lnTo>
                    <a:pt x="273913" y="208813"/>
                  </a:lnTo>
                  <a:lnTo>
                    <a:pt x="274916" y="206273"/>
                  </a:lnTo>
                  <a:lnTo>
                    <a:pt x="275818" y="202463"/>
                  </a:lnTo>
                  <a:lnTo>
                    <a:pt x="279247" y="206273"/>
                  </a:lnTo>
                  <a:lnTo>
                    <a:pt x="279247" y="204978"/>
                  </a:lnTo>
                  <a:lnTo>
                    <a:pt x="276123" y="202463"/>
                  </a:lnTo>
                  <a:lnTo>
                    <a:pt x="277329" y="198653"/>
                  </a:lnTo>
                  <a:lnTo>
                    <a:pt x="279603" y="196113"/>
                  </a:lnTo>
                  <a:lnTo>
                    <a:pt x="279603" y="194322"/>
                  </a:lnTo>
                  <a:lnTo>
                    <a:pt x="278726" y="193573"/>
                  </a:lnTo>
                  <a:lnTo>
                    <a:pt x="279260" y="191033"/>
                  </a:lnTo>
                  <a:lnTo>
                    <a:pt x="280238" y="187223"/>
                  </a:lnTo>
                  <a:lnTo>
                    <a:pt x="281114" y="183413"/>
                  </a:lnTo>
                  <a:lnTo>
                    <a:pt x="281190" y="183045"/>
                  </a:lnTo>
                  <a:lnTo>
                    <a:pt x="282155" y="184150"/>
                  </a:lnTo>
                  <a:lnTo>
                    <a:pt x="289013" y="191770"/>
                  </a:lnTo>
                  <a:lnTo>
                    <a:pt x="290639" y="193217"/>
                  </a:lnTo>
                  <a:lnTo>
                    <a:pt x="290639" y="191389"/>
                  </a:lnTo>
                  <a:lnTo>
                    <a:pt x="289648" y="190500"/>
                  </a:lnTo>
                  <a:lnTo>
                    <a:pt x="282816" y="182880"/>
                  </a:lnTo>
                  <a:lnTo>
                    <a:pt x="281482" y="181610"/>
                  </a:lnTo>
                  <a:lnTo>
                    <a:pt x="281914" y="179603"/>
                  </a:lnTo>
                  <a:lnTo>
                    <a:pt x="282651" y="175793"/>
                  </a:lnTo>
                  <a:lnTo>
                    <a:pt x="283375" y="171856"/>
                  </a:lnTo>
                  <a:lnTo>
                    <a:pt x="283984" y="168173"/>
                  </a:lnTo>
                  <a:lnTo>
                    <a:pt x="286283" y="175793"/>
                  </a:lnTo>
                  <a:lnTo>
                    <a:pt x="287235" y="179603"/>
                  </a:lnTo>
                  <a:lnTo>
                    <a:pt x="290271" y="188493"/>
                  </a:lnTo>
                  <a:lnTo>
                    <a:pt x="291604" y="192252"/>
                  </a:lnTo>
                  <a:lnTo>
                    <a:pt x="291604" y="191452"/>
                  </a:lnTo>
                  <a:lnTo>
                    <a:pt x="290563" y="188493"/>
                  </a:lnTo>
                  <a:lnTo>
                    <a:pt x="289293" y="184683"/>
                  </a:lnTo>
                  <a:lnTo>
                    <a:pt x="287591" y="178333"/>
                  </a:lnTo>
                  <a:lnTo>
                    <a:pt x="286702" y="175793"/>
                  </a:lnTo>
                  <a:lnTo>
                    <a:pt x="284949" y="170713"/>
                  </a:lnTo>
                  <a:lnTo>
                    <a:pt x="284124" y="168173"/>
                  </a:lnTo>
                  <a:lnTo>
                    <a:pt x="284314" y="166903"/>
                  </a:lnTo>
                  <a:lnTo>
                    <a:pt x="284746" y="164185"/>
                  </a:lnTo>
                  <a:lnTo>
                    <a:pt x="284975" y="163093"/>
                  </a:lnTo>
                  <a:lnTo>
                    <a:pt x="285826" y="166903"/>
                  </a:lnTo>
                  <a:lnTo>
                    <a:pt x="286727" y="171983"/>
                  </a:lnTo>
                  <a:lnTo>
                    <a:pt x="287756" y="175793"/>
                  </a:lnTo>
                  <a:lnTo>
                    <a:pt x="288937" y="180873"/>
                  </a:lnTo>
                  <a:lnTo>
                    <a:pt x="290220" y="186004"/>
                  </a:lnTo>
                  <a:lnTo>
                    <a:pt x="291680" y="189763"/>
                  </a:lnTo>
                  <a:lnTo>
                    <a:pt x="292061" y="191033"/>
                  </a:lnTo>
                  <a:lnTo>
                    <a:pt x="292061" y="190766"/>
                  </a:lnTo>
                  <a:lnTo>
                    <a:pt x="290385" y="184683"/>
                  </a:lnTo>
                  <a:lnTo>
                    <a:pt x="289102" y="180873"/>
                  </a:lnTo>
                  <a:lnTo>
                    <a:pt x="287972" y="175793"/>
                  </a:lnTo>
                  <a:lnTo>
                    <a:pt x="286893" y="171856"/>
                  </a:lnTo>
                  <a:lnTo>
                    <a:pt x="286004" y="166903"/>
                  </a:lnTo>
                  <a:lnTo>
                    <a:pt x="285165" y="163093"/>
                  </a:lnTo>
                  <a:lnTo>
                    <a:pt x="285165" y="161823"/>
                  </a:lnTo>
                  <a:lnTo>
                    <a:pt x="285927" y="161823"/>
                  </a:lnTo>
                  <a:lnTo>
                    <a:pt x="285927" y="160553"/>
                  </a:lnTo>
                  <a:lnTo>
                    <a:pt x="285800" y="160553"/>
                  </a:lnTo>
                  <a:lnTo>
                    <a:pt x="285927" y="159283"/>
                  </a:lnTo>
                  <a:lnTo>
                    <a:pt x="285623" y="159283"/>
                  </a:lnTo>
                  <a:lnTo>
                    <a:pt x="285559" y="158013"/>
                  </a:lnTo>
                  <a:lnTo>
                    <a:pt x="285623" y="156743"/>
                  </a:lnTo>
                  <a:lnTo>
                    <a:pt x="285927" y="156743"/>
                  </a:lnTo>
                  <a:lnTo>
                    <a:pt x="285800" y="155473"/>
                  </a:lnTo>
                  <a:lnTo>
                    <a:pt x="285927" y="155473"/>
                  </a:lnTo>
                  <a:lnTo>
                    <a:pt x="285927" y="154203"/>
                  </a:lnTo>
                  <a:lnTo>
                    <a:pt x="285559" y="154203"/>
                  </a:lnTo>
                  <a:lnTo>
                    <a:pt x="285419" y="152933"/>
                  </a:lnTo>
                  <a:lnTo>
                    <a:pt x="285623" y="152933"/>
                  </a:lnTo>
                  <a:lnTo>
                    <a:pt x="285559" y="151663"/>
                  </a:lnTo>
                  <a:lnTo>
                    <a:pt x="285623" y="150393"/>
                  </a:lnTo>
                  <a:lnTo>
                    <a:pt x="285927" y="150393"/>
                  </a:lnTo>
                  <a:lnTo>
                    <a:pt x="285927" y="149123"/>
                  </a:lnTo>
                  <a:lnTo>
                    <a:pt x="285800" y="149123"/>
                  </a:lnTo>
                  <a:lnTo>
                    <a:pt x="285927" y="147853"/>
                  </a:lnTo>
                  <a:lnTo>
                    <a:pt x="285623" y="147853"/>
                  </a:lnTo>
                  <a:lnTo>
                    <a:pt x="285559" y="146583"/>
                  </a:lnTo>
                  <a:lnTo>
                    <a:pt x="285610" y="145313"/>
                  </a:lnTo>
                  <a:lnTo>
                    <a:pt x="285165" y="145313"/>
                  </a:lnTo>
                  <a:lnTo>
                    <a:pt x="285165" y="144043"/>
                  </a:lnTo>
                  <a:lnTo>
                    <a:pt x="284670" y="144043"/>
                  </a:lnTo>
                  <a:lnTo>
                    <a:pt x="284670" y="145313"/>
                  </a:lnTo>
                  <a:lnTo>
                    <a:pt x="284226" y="145313"/>
                  </a:lnTo>
                  <a:lnTo>
                    <a:pt x="284187" y="146583"/>
                  </a:lnTo>
                  <a:lnTo>
                    <a:pt x="284213" y="147853"/>
                  </a:lnTo>
                  <a:lnTo>
                    <a:pt x="283908" y="147853"/>
                  </a:lnTo>
                  <a:lnTo>
                    <a:pt x="284035" y="149123"/>
                  </a:lnTo>
                  <a:lnTo>
                    <a:pt x="283908" y="149123"/>
                  </a:lnTo>
                  <a:lnTo>
                    <a:pt x="283908" y="150393"/>
                  </a:lnTo>
                  <a:lnTo>
                    <a:pt x="284213" y="150393"/>
                  </a:lnTo>
                  <a:lnTo>
                    <a:pt x="284187" y="151663"/>
                  </a:lnTo>
                  <a:lnTo>
                    <a:pt x="284213" y="152933"/>
                  </a:lnTo>
                  <a:lnTo>
                    <a:pt x="284416" y="152933"/>
                  </a:lnTo>
                  <a:lnTo>
                    <a:pt x="284289" y="154203"/>
                  </a:lnTo>
                  <a:lnTo>
                    <a:pt x="283908" y="154203"/>
                  </a:lnTo>
                  <a:lnTo>
                    <a:pt x="283908" y="155473"/>
                  </a:lnTo>
                  <a:lnTo>
                    <a:pt x="283908" y="156743"/>
                  </a:lnTo>
                  <a:lnTo>
                    <a:pt x="284213" y="156743"/>
                  </a:lnTo>
                  <a:lnTo>
                    <a:pt x="284187" y="158013"/>
                  </a:lnTo>
                  <a:lnTo>
                    <a:pt x="284213" y="159283"/>
                  </a:lnTo>
                  <a:lnTo>
                    <a:pt x="283908" y="159283"/>
                  </a:lnTo>
                  <a:lnTo>
                    <a:pt x="284035" y="160553"/>
                  </a:lnTo>
                  <a:lnTo>
                    <a:pt x="283908" y="160553"/>
                  </a:lnTo>
                  <a:lnTo>
                    <a:pt x="283908" y="161823"/>
                  </a:lnTo>
                  <a:lnTo>
                    <a:pt x="284670" y="161823"/>
                  </a:lnTo>
                  <a:lnTo>
                    <a:pt x="284670" y="163093"/>
                  </a:lnTo>
                  <a:lnTo>
                    <a:pt x="283984" y="166903"/>
                  </a:lnTo>
                  <a:lnTo>
                    <a:pt x="283845" y="166484"/>
                  </a:lnTo>
                  <a:lnTo>
                    <a:pt x="283845" y="168173"/>
                  </a:lnTo>
                  <a:lnTo>
                    <a:pt x="282473" y="175793"/>
                  </a:lnTo>
                  <a:lnTo>
                    <a:pt x="281673" y="179603"/>
                  </a:lnTo>
                  <a:lnTo>
                    <a:pt x="281292" y="181419"/>
                  </a:lnTo>
                  <a:lnTo>
                    <a:pt x="280987" y="181127"/>
                  </a:lnTo>
                  <a:lnTo>
                    <a:pt x="280987" y="182816"/>
                  </a:lnTo>
                  <a:lnTo>
                    <a:pt x="280873" y="183413"/>
                  </a:lnTo>
                  <a:lnTo>
                    <a:pt x="279031" y="191033"/>
                  </a:lnTo>
                  <a:lnTo>
                    <a:pt x="278523" y="193459"/>
                  </a:lnTo>
                  <a:lnTo>
                    <a:pt x="278257" y="193382"/>
                  </a:lnTo>
                  <a:lnTo>
                    <a:pt x="278257" y="193573"/>
                  </a:lnTo>
                  <a:lnTo>
                    <a:pt x="278168" y="194525"/>
                  </a:lnTo>
                  <a:lnTo>
                    <a:pt x="278079" y="194843"/>
                  </a:lnTo>
                  <a:lnTo>
                    <a:pt x="277901" y="194843"/>
                  </a:lnTo>
                  <a:lnTo>
                    <a:pt x="277444" y="197383"/>
                  </a:lnTo>
                  <a:lnTo>
                    <a:pt x="276936" y="197777"/>
                  </a:lnTo>
                  <a:lnTo>
                    <a:pt x="276936" y="198653"/>
                  </a:lnTo>
                  <a:lnTo>
                    <a:pt x="275907" y="202463"/>
                  </a:lnTo>
                  <a:lnTo>
                    <a:pt x="275602" y="202145"/>
                  </a:lnTo>
                  <a:lnTo>
                    <a:pt x="275602" y="202463"/>
                  </a:lnTo>
                  <a:lnTo>
                    <a:pt x="274675" y="205003"/>
                  </a:lnTo>
                  <a:lnTo>
                    <a:pt x="273672" y="208813"/>
                  </a:lnTo>
                  <a:lnTo>
                    <a:pt x="272529" y="211353"/>
                  </a:lnTo>
                  <a:lnTo>
                    <a:pt x="270852" y="215201"/>
                  </a:lnTo>
                  <a:lnTo>
                    <a:pt x="268960" y="218973"/>
                  </a:lnTo>
                  <a:lnTo>
                    <a:pt x="267512" y="220814"/>
                  </a:lnTo>
                  <a:lnTo>
                    <a:pt x="266801" y="220992"/>
                  </a:lnTo>
                  <a:lnTo>
                    <a:pt x="266801" y="221729"/>
                  </a:lnTo>
                  <a:lnTo>
                    <a:pt x="264998" y="224028"/>
                  </a:lnTo>
                  <a:lnTo>
                    <a:pt x="263448" y="225323"/>
                  </a:lnTo>
                  <a:lnTo>
                    <a:pt x="261505" y="226593"/>
                  </a:lnTo>
                  <a:lnTo>
                    <a:pt x="260451" y="224028"/>
                  </a:lnTo>
                  <a:lnTo>
                    <a:pt x="260210" y="223723"/>
                  </a:lnTo>
                  <a:lnTo>
                    <a:pt x="261848" y="223520"/>
                  </a:lnTo>
                  <a:lnTo>
                    <a:pt x="266801" y="221729"/>
                  </a:lnTo>
                  <a:lnTo>
                    <a:pt x="266801" y="220992"/>
                  </a:lnTo>
                  <a:lnTo>
                    <a:pt x="261645" y="222250"/>
                  </a:lnTo>
                  <a:lnTo>
                    <a:pt x="259321" y="222529"/>
                  </a:lnTo>
                  <a:lnTo>
                    <a:pt x="258813" y="221843"/>
                  </a:lnTo>
                  <a:lnTo>
                    <a:pt x="258813" y="222592"/>
                  </a:lnTo>
                  <a:lnTo>
                    <a:pt x="250977" y="223520"/>
                  </a:lnTo>
                  <a:lnTo>
                    <a:pt x="249301" y="223520"/>
                  </a:lnTo>
                  <a:lnTo>
                    <a:pt x="249097" y="223367"/>
                  </a:lnTo>
                  <a:lnTo>
                    <a:pt x="249097" y="223520"/>
                  </a:lnTo>
                  <a:lnTo>
                    <a:pt x="240220" y="223520"/>
                  </a:lnTo>
                  <a:lnTo>
                    <a:pt x="229514" y="222250"/>
                  </a:lnTo>
                  <a:lnTo>
                    <a:pt x="217906" y="219417"/>
                  </a:lnTo>
                  <a:lnTo>
                    <a:pt x="220014" y="218973"/>
                  </a:lnTo>
                  <a:lnTo>
                    <a:pt x="224218" y="215163"/>
                  </a:lnTo>
                  <a:lnTo>
                    <a:pt x="227825" y="211353"/>
                  </a:lnTo>
                  <a:lnTo>
                    <a:pt x="230162" y="208813"/>
                  </a:lnTo>
                  <a:lnTo>
                    <a:pt x="232257" y="206273"/>
                  </a:lnTo>
                  <a:lnTo>
                    <a:pt x="234200" y="203733"/>
                  </a:lnTo>
                  <a:lnTo>
                    <a:pt x="236474" y="208813"/>
                  </a:lnTo>
                  <a:lnTo>
                    <a:pt x="237693" y="210083"/>
                  </a:lnTo>
                  <a:lnTo>
                    <a:pt x="239928" y="213893"/>
                  </a:lnTo>
                  <a:lnTo>
                    <a:pt x="242341" y="217703"/>
                  </a:lnTo>
                  <a:lnTo>
                    <a:pt x="246710" y="221627"/>
                  </a:lnTo>
                  <a:lnTo>
                    <a:pt x="248170" y="222821"/>
                  </a:lnTo>
                  <a:lnTo>
                    <a:pt x="249097" y="223520"/>
                  </a:lnTo>
                  <a:lnTo>
                    <a:pt x="249097" y="223367"/>
                  </a:lnTo>
                  <a:lnTo>
                    <a:pt x="248335" y="222783"/>
                  </a:lnTo>
                  <a:lnTo>
                    <a:pt x="246875" y="221564"/>
                  </a:lnTo>
                  <a:lnTo>
                    <a:pt x="242608" y="216433"/>
                  </a:lnTo>
                  <a:lnTo>
                    <a:pt x="240207" y="213893"/>
                  </a:lnTo>
                  <a:lnTo>
                    <a:pt x="236753" y="207543"/>
                  </a:lnTo>
                  <a:lnTo>
                    <a:pt x="235572" y="206273"/>
                  </a:lnTo>
                  <a:lnTo>
                    <a:pt x="234442" y="203733"/>
                  </a:lnTo>
                  <a:lnTo>
                    <a:pt x="245173" y="184683"/>
                  </a:lnTo>
                  <a:lnTo>
                    <a:pt x="246024" y="188493"/>
                  </a:lnTo>
                  <a:lnTo>
                    <a:pt x="246900" y="191033"/>
                  </a:lnTo>
                  <a:lnTo>
                    <a:pt x="249440" y="198653"/>
                  </a:lnTo>
                  <a:lnTo>
                    <a:pt x="251193" y="205003"/>
                  </a:lnTo>
                  <a:lnTo>
                    <a:pt x="255181" y="215201"/>
                  </a:lnTo>
                  <a:lnTo>
                    <a:pt x="257352" y="220243"/>
                  </a:lnTo>
                  <a:lnTo>
                    <a:pt x="258813" y="222592"/>
                  </a:lnTo>
                  <a:lnTo>
                    <a:pt x="258813" y="221843"/>
                  </a:lnTo>
                  <a:lnTo>
                    <a:pt x="257632" y="220243"/>
                  </a:lnTo>
                  <a:lnTo>
                    <a:pt x="255460" y="215163"/>
                  </a:lnTo>
                  <a:lnTo>
                    <a:pt x="250634" y="201193"/>
                  </a:lnTo>
                  <a:lnTo>
                    <a:pt x="247192" y="191033"/>
                  </a:lnTo>
                  <a:lnTo>
                    <a:pt x="245402" y="184683"/>
                  </a:lnTo>
                  <a:lnTo>
                    <a:pt x="246011" y="183413"/>
                  </a:lnTo>
                  <a:lnTo>
                    <a:pt x="247243" y="180873"/>
                  </a:lnTo>
                  <a:lnTo>
                    <a:pt x="248932" y="177063"/>
                  </a:lnTo>
                  <a:lnTo>
                    <a:pt x="252247" y="168173"/>
                  </a:lnTo>
                  <a:lnTo>
                    <a:pt x="253860" y="163093"/>
                  </a:lnTo>
                  <a:lnTo>
                    <a:pt x="255384" y="159283"/>
                  </a:lnTo>
                  <a:lnTo>
                    <a:pt x="266712" y="194843"/>
                  </a:lnTo>
                  <a:lnTo>
                    <a:pt x="275602" y="202463"/>
                  </a:lnTo>
                  <a:lnTo>
                    <a:pt x="275602" y="202145"/>
                  </a:lnTo>
                  <a:lnTo>
                    <a:pt x="274713" y="201193"/>
                  </a:lnTo>
                  <a:lnTo>
                    <a:pt x="275818" y="199923"/>
                  </a:lnTo>
                  <a:lnTo>
                    <a:pt x="276936" y="198653"/>
                  </a:lnTo>
                  <a:lnTo>
                    <a:pt x="276936" y="197777"/>
                  </a:lnTo>
                  <a:lnTo>
                    <a:pt x="274066" y="199923"/>
                  </a:lnTo>
                  <a:lnTo>
                    <a:pt x="268249" y="194843"/>
                  </a:lnTo>
                  <a:lnTo>
                    <a:pt x="267906" y="194843"/>
                  </a:lnTo>
                  <a:lnTo>
                    <a:pt x="268655" y="193573"/>
                  </a:lnTo>
                  <a:lnTo>
                    <a:pt x="271653" y="188493"/>
                  </a:lnTo>
                  <a:lnTo>
                    <a:pt x="278257" y="193573"/>
                  </a:lnTo>
                  <a:lnTo>
                    <a:pt x="278257" y="193382"/>
                  </a:lnTo>
                  <a:lnTo>
                    <a:pt x="272402" y="188493"/>
                  </a:lnTo>
                  <a:lnTo>
                    <a:pt x="270967" y="187312"/>
                  </a:lnTo>
                  <a:lnTo>
                    <a:pt x="270967" y="188493"/>
                  </a:lnTo>
                  <a:lnTo>
                    <a:pt x="267220" y="193573"/>
                  </a:lnTo>
                  <a:lnTo>
                    <a:pt x="263702" y="182143"/>
                  </a:lnTo>
                  <a:lnTo>
                    <a:pt x="270967" y="188493"/>
                  </a:lnTo>
                  <a:lnTo>
                    <a:pt x="270967" y="187312"/>
                  </a:lnTo>
                  <a:lnTo>
                    <a:pt x="264756" y="182143"/>
                  </a:lnTo>
                  <a:lnTo>
                    <a:pt x="263232" y="180873"/>
                  </a:lnTo>
                  <a:lnTo>
                    <a:pt x="256501" y="159283"/>
                  </a:lnTo>
                  <a:lnTo>
                    <a:pt x="256108" y="158013"/>
                  </a:lnTo>
                  <a:lnTo>
                    <a:pt x="257200" y="156743"/>
                  </a:lnTo>
                  <a:lnTo>
                    <a:pt x="258356" y="155409"/>
                  </a:lnTo>
                  <a:lnTo>
                    <a:pt x="262991" y="161290"/>
                  </a:lnTo>
                  <a:lnTo>
                    <a:pt x="269176" y="168910"/>
                  </a:lnTo>
                  <a:lnTo>
                    <a:pt x="275551" y="176530"/>
                  </a:lnTo>
                  <a:lnTo>
                    <a:pt x="280987" y="182816"/>
                  </a:lnTo>
                  <a:lnTo>
                    <a:pt x="280987" y="181127"/>
                  </a:lnTo>
                  <a:lnTo>
                    <a:pt x="276237" y="176530"/>
                  </a:lnTo>
                  <a:lnTo>
                    <a:pt x="269887" y="168910"/>
                  </a:lnTo>
                  <a:lnTo>
                    <a:pt x="263740" y="161290"/>
                  </a:lnTo>
                  <a:lnTo>
                    <a:pt x="259156" y="154470"/>
                  </a:lnTo>
                  <a:lnTo>
                    <a:pt x="259384" y="154203"/>
                  </a:lnTo>
                  <a:lnTo>
                    <a:pt x="261785" y="158013"/>
                  </a:lnTo>
                  <a:lnTo>
                    <a:pt x="264325" y="161823"/>
                  </a:lnTo>
                  <a:lnTo>
                    <a:pt x="269430" y="166903"/>
                  </a:lnTo>
                  <a:lnTo>
                    <a:pt x="271881" y="169443"/>
                  </a:lnTo>
                  <a:lnTo>
                    <a:pt x="275971" y="171983"/>
                  </a:lnTo>
                  <a:lnTo>
                    <a:pt x="277418" y="173253"/>
                  </a:lnTo>
                  <a:lnTo>
                    <a:pt x="280060" y="174523"/>
                  </a:lnTo>
                  <a:lnTo>
                    <a:pt x="281228" y="175793"/>
                  </a:lnTo>
                  <a:lnTo>
                    <a:pt x="280123" y="174523"/>
                  </a:lnTo>
                  <a:lnTo>
                    <a:pt x="277507" y="173253"/>
                  </a:lnTo>
                  <a:lnTo>
                    <a:pt x="276072" y="171983"/>
                  </a:lnTo>
                  <a:lnTo>
                    <a:pt x="272008" y="169443"/>
                  </a:lnTo>
                  <a:lnTo>
                    <a:pt x="269557" y="166903"/>
                  </a:lnTo>
                  <a:lnTo>
                    <a:pt x="267271" y="164363"/>
                  </a:lnTo>
                  <a:lnTo>
                    <a:pt x="264477" y="160553"/>
                  </a:lnTo>
                  <a:lnTo>
                    <a:pt x="261924" y="158013"/>
                  </a:lnTo>
                  <a:lnTo>
                    <a:pt x="259524" y="154203"/>
                  </a:lnTo>
                  <a:lnTo>
                    <a:pt x="260489" y="152933"/>
                  </a:lnTo>
                  <a:lnTo>
                    <a:pt x="261454" y="151663"/>
                  </a:lnTo>
                  <a:lnTo>
                    <a:pt x="267271" y="144043"/>
                  </a:lnTo>
                  <a:lnTo>
                    <a:pt x="266179" y="144043"/>
                  </a:lnTo>
                  <a:lnTo>
                    <a:pt x="260819" y="151663"/>
                  </a:lnTo>
                  <a:lnTo>
                    <a:pt x="260273" y="151091"/>
                  </a:lnTo>
                  <a:lnTo>
                    <a:pt x="260273" y="151663"/>
                  </a:lnTo>
                  <a:lnTo>
                    <a:pt x="259016" y="152933"/>
                  </a:lnTo>
                  <a:lnTo>
                    <a:pt x="258876" y="152793"/>
                  </a:lnTo>
                  <a:lnTo>
                    <a:pt x="258876" y="152933"/>
                  </a:lnTo>
                  <a:lnTo>
                    <a:pt x="258470" y="153454"/>
                  </a:lnTo>
                  <a:lnTo>
                    <a:pt x="257771" y="152400"/>
                  </a:lnTo>
                  <a:lnTo>
                    <a:pt x="257644" y="152247"/>
                  </a:lnTo>
                  <a:lnTo>
                    <a:pt x="257644" y="154508"/>
                  </a:lnTo>
                  <a:lnTo>
                    <a:pt x="255917" y="156743"/>
                  </a:lnTo>
                  <a:lnTo>
                    <a:pt x="257098" y="154203"/>
                  </a:lnTo>
                  <a:lnTo>
                    <a:pt x="257162" y="153898"/>
                  </a:lnTo>
                  <a:lnTo>
                    <a:pt x="257644" y="154508"/>
                  </a:lnTo>
                  <a:lnTo>
                    <a:pt x="257644" y="152247"/>
                  </a:lnTo>
                  <a:lnTo>
                    <a:pt x="257670" y="151663"/>
                  </a:lnTo>
                  <a:lnTo>
                    <a:pt x="258876" y="152933"/>
                  </a:lnTo>
                  <a:lnTo>
                    <a:pt x="258876" y="152793"/>
                  </a:lnTo>
                  <a:lnTo>
                    <a:pt x="257746" y="151663"/>
                  </a:lnTo>
                  <a:lnTo>
                    <a:pt x="258152" y="150393"/>
                  </a:lnTo>
                  <a:lnTo>
                    <a:pt x="260273" y="151663"/>
                  </a:lnTo>
                  <a:lnTo>
                    <a:pt x="260273" y="151091"/>
                  </a:lnTo>
                  <a:lnTo>
                    <a:pt x="258419" y="149123"/>
                  </a:lnTo>
                  <a:lnTo>
                    <a:pt x="259842" y="144043"/>
                  </a:lnTo>
                  <a:lnTo>
                    <a:pt x="260096" y="144043"/>
                  </a:lnTo>
                  <a:lnTo>
                    <a:pt x="261988" y="136423"/>
                  </a:lnTo>
                  <a:lnTo>
                    <a:pt x="263779" y="130073"/>
                  </a:lnTo>
                  <a:lnTo>
                    <a:pt x="265480" y="122453"/>
                  </a:lnTo>
                  <a:lnTo>
                    <a:pt x="267119" y="116103"/>
                  </a:lnTo>
                  <a:lnTo>
                    <a:pt x="267716" y="116103"/>
                  </a:lnTo>
                  <a:lnTo>
                    <a:pt x="269951" y="122453"/>
                  </a:lnTo>
                  <a:lnTo>
                    <a:pt x="272110" y="130073"/>
                  </a:lnTo>
                  <a:lnTo>
                    <a:pt x="274243" y="136423"/>
                  </a:lnTo>
                  <a:lnTo>
                    <a:pt x="276339" y="144043"/>
                  </a:lnTo>
                  <a:lnTo>
                    <a:pt x="276593" y="144043"/>
                  </a:lnTo>
                  <a:lnTo>
                    <a:pt x="280822" y="158013"/>
                  </a:lnTo>
                  <a:lnTo>
                    <a:pt x="282816" y="164363"/>
                  </a:lnTo>
                  <a:lnTo>
                    <a:pt x="283845" y="168173"/>
                  </a:lnTo>
                  <a:lnTo>
                    <a:pt x="283845" y="166484"/>
                  </a:lnTo>
                  <a:lnTo>
                    <a:pt x="279793" y="154203"/>
                  </a:lnTo>
                  <a:lnTo>
                    <a:pt x="277025" y="144043"/>
                  </a:lnTo>
                  <a:lnTo>
                    <a:pt x="276758" y="144043"/>
                  </a:lnTo>
                  <a:lnTo>
                    <a:pt x="274612" y="136423"/>
                  </a:lnTo>
                  <a:lnTo>
                    <a:pt x="272440" y="128803"/>
                  </a:lnTo>
                  <a:lnTo>
                    <a:pt x="270217" y="122453"/>
                  </a:lnTo>
                  <a:lnTo>
                    <a:pt x="268300" y="116103"/>
                  </a:lnTo>
                  <a:lnTo>
                    <a:pt x="267919" y="114833"/>
                  </a:lnTo>
                  <a:lnTo>
                    <a:pt x="267919" y="113563"/>
                  </a:lnTo>
                  <a:lnTo>
                    <a:pt x="269074" y="113563"/>
                  </a:lnTo>
                  <a:lnTo>
                    <a:pt x="268897" y="112293"/>
                  </a:lnTo>
                  <a:lnTo>
                    <a:pt x="268528" y="112293"/>
                  </a:lnTo>
                  <a:lnTo>
                    <a:pt x="268363" y="111023"/>
                  </a:lnTo>
                  <a:lnTo>
                    <a:pt x="268897" y="111023"/>
                  </a:lnTo>
                  <a:lnTo>
                    <a:pt x="268643" y="109753"/>
                  </a:lnTo>
                  <a:lnTo>
                    <a:pt x="268846" y="109753"/>
                  </a:lnTo>
                  <a:lnTo>
                    <a:pt x="269074" y="108483"/>
                  </a:lnTo>
                  <a:lnTo>
                    <a:pt x="268643" y="108483"/>
                  </a:lnTo>
                  <a:lnTo>
                    <a:pt x="268605" y="107213"/>
                  </a:lnTo>
                  <a:lnTo>
                    <a:pt x="268846" y="107213"/>
                  </a:lnTo>
                  <a:lnTo>
                    <a:pt x="269074" y="105943"/>
                  </a:lnTo>
                  <a:lnTo>
                    <a:pt x="268643" y="105943"/>
                  </a:lnTo>
                  <a:lnTo>
                    <a:pt x="268605" y="104673"/>
                  </a:lnTo>
                  <a:lnTo>
                    <a:pt x="268846" y="104673"/>
                  </a:lnTo>
                  <a:lnTo>
                    <a:pt x="269074" y="103403"/>
                  </a:lnTo>
                  <a:lnTo>
                    <a:pt x="268643" y="103403"/>
                  </a:lnTo>
                  <a:lnTo>
                    <a:pt x="268605" y="102133"/>
                  </a:lnTo>
                  <a:lnTo>
                    <a:pt x="268846" y="102133"/>
                  </a:lnTo>
                  <a:lnTo>
                    <a:pt x="269074" y="100863"/>
                  </a:lnTo>
                  <a:lnTo>
                    <a:pt x="268643" y="100863"/>
                  </a:lnTo>
                  <a:lnTo>
                    <a:pt x="268605" y="99593"/>
                  </a:lnTo>
                  <a:lnTo>
                    <a:pt x="269024" y="99593"/>
                  </a:lnTo>
                  <a:lnTo>
                    <a:pt x="269062" y="98323"/>
                  </a:lnTo>
                  <a:lnTo>
                    <a:pt x="272034" y="107213"/>
                  </a:lnTo>
                  <a:lnTo>
                    <a:pt x="275145" y="114833"/>
                  </a:lnTo>
                  <a:lnTo>
                    <a:pt x="278422" y="122453"/>
                  </a:lnTo>
                  <a:lnTo>
                    <a:pt x="281940" y="130073"/>
                  </a:lnTo>
                  <a:lnTo>
                    <a:pt x="284137" y="135153"/>
                  </a:lnTo>
                  <a:lnTo>
                    <a:pt x="286524" y="138963"/>
                  </a:lnTo>
                  <a:lnTo>
                    <a:pt x="289280" y="144043"/>
                  </a:lnTo>
                  <a:lnTo>
                    <a:pt x="289623" y="144043"/>
                  </a:lnTo>
                  <a:lnTo>
                    <a:pt x="286842" y="138963"/>
                  </a:lnTo>
                  <a:lnTo>
                    <a:pt x="284441" y="135153"/>
                  </a:lnTo>
                  <a:lnTo>
                    <a:pt x="282219" y="130073"/>
                  </a:lnTo>
                  <a:lnTo>
                    <a:pt x="278638" y="122453"/>
                  </a:lnTo>
                  <a:lnTo>
                    <a:pt x="275285" y="113563"/>
                  </a:lnTo>
                  <a:lnTo>
                    <a:pt x="272135" y="105943"/>
                  </a:lnTo>
                  <a:lnTo>
                    <a:pt x="269100" y="98323"/>
                  </a:lnTo>
                  <a:lnTo>
                    <a:pt x="268833" y="97447"/>
                  </a:lnTo>
                  <a:lnTo>
                    <a:pt x="268732" y="97053"/>
                  </a:lnTo>
                  <a:lnTo>
                    <a:pt x="268935" y="97053"/>
                  </a:lnTo>
                  <a:lnTo>
                    <a:pt x="269074" y="95783"/>
                  </a:lnTo>
                  <a:lnTo>
                    <a:pt x="268643" y="95783"/>
                  </a:lnTo>
                  <a:lnTo>
                    <a:pt x="268605" y="94513"/>
                  </a:lnTo>
                  <a:lnTo>
                    <a:pt x="269074" y="94513"/>
                  </a:lnTo>
                  <a:lnTo>
                    <a:pt x="269074" y="93243"/>
                  </a:lnTo>
                  <a:lnTo>
                    <a:pt x="268643" y="93243"/>
                  </a:lnTo>
                  <a:lnTo>
                    <a:pt x="268605" y="91973"/>
                  </a:lnTo>
                  <a:lnTo>
                    <a:pt x="269074" y="91973"/>
                  </a:lnTo>
                  <a:lnTo>
                    <a:pt x="269074" y="90703"/>
                  </a:lnTo>
                  <a:lnTo>
                    <a:pt x="268643" y="90703"/>
                  </a:lnTo>
                  <a:lnTo>
                    <a:pt x="268592" y="89433"/>
                  </a:lnTo>
                  <a:lnTo>
                    <a:pt x="269786" y="89433"/>
                  </a:lnTo>
                  <a:lnTo>
                    <a:pt x="269786" y="88163"/>
                  </a:lnTo>
                  <a:lnTo>
                    <a:pt x="267919" y="88163"/>
                  </a:lnTo>
                  <a:lnTo>
                    <a:pt x="267919" y="86893"/>
                  </a:lnTo>
                  <a:lnTo>
                    <a:pt x="266992" y="86893"/>
                  </a:lnTo>
                  <a:lnTo>
                    <a:pt x="266992" y="88163"/>
                  </a:lnTo>
                  <a:lnTo>
                    <a:pt x="266992" y="113563"/>
                  </a:lnTo>
                  <a:lnTo>
                    <a:pt x="266992" y="114833"/>
                  </a:lnTo>
                  <a:lnTo>
                    <a:pt x="265277" y="122453"/>
                  </a:lnTo>
                  <a:lnTo>
                    <a:pt x="263474" y="128803"/>
                  </a:lnTo>
                  <a:lnTo>
                    <a:pt x="261594" y="136423"/>
                  </a:lnTo>
                  <a:lnTo>
                    <a:pt x="259600" y="144043"/>
                  </a:lnTo>
                  <a:lnTo>
                    <a:pt x="259334" y="144043"/>
                  </a:lnTo>
                  <a:lnTo>
                    <a:pt x="258013" y="149123"/>
                  </a:lnTo>
                  <a:lnTo>
                    <a:pt x="257733" y="148932"/>
                  </a:lnTo>
                  <a:lnTo>
                    <a:pt x="257733" y="150393"/>
                  </a:lnTo>
                  <a:lnTo>
                    <a:pt x="257403" y="150393"/>
                  </a:lnTo>
                  <a:lnTo>
                    <a:pt x="257327" y="151663"/>
                  </a:lnTo>
                  <a:lnTo>
                    <a:pt x="256794" y="151130"/>
                  </a:lnTo>
                  <a:lnTo>
                    <a:pt x="256794" y="153416"/>
                  </a:lnTo>
                  <a:lnTo>
                    <a:pt x="256171" y="155473"/>
                  </a:lnTo>
                  <a:lnTo>
                    <a:pt x="255574" y="156743"/>
                  </a:lnTo>
                  <a:lnTo>
                    <a:pt x="255117" y="155308"/>
                  </a:lnTo>
                  <a:lnTo>
                    <a:pt x="255117" y="158013"/>
                  </a:lnTo>
                  <a:lnTo>
                    <a:pt x="253542" y="163093"/>
                  </a:lnTo>
                  <a:lnTo>
                    <a:pt x="251853" y="168173"/>
                  </a:lnTo>
                  <a:lnTo>
                    <a:pt x="248526" y="175793"/>
                  </a:lnTo>
                  <a:lnTo>
                    <a:pt x="246926" y="179603"/>
                  </a:lnTo>
                  <a:lnTo>
                    <a:pt x="245186" y="183413"/>
                  </a:lnTo>
                  <a:lnTo>
                    <a:pt x="244957" y="182702"/>
                  </a:lnTo>
                  <a:lnTo>
                    <a:pt x="244957" y="184683"/>
                  </a:lnTo>
                  <a:lnTo>
                    <a:pt x="234149" y="203733"/>
                  </a:lnTo>
                  <a:lnTo>
                    <a:pt x="233908" y="203187"/>
                  </a:lnTo>
                  <a:lnTo>
                    <a:pt x="233908" y="203733"/>
                  </a:lnTo>
                  <a:lnTo>
                    <a:pt x="216636" y="219100"/>
                  </a:lnTo>
                  <a:lnTo>
                    <a:pt x="214541" y="218592"/>
                  </a:lnTo>
                  <a:lnTo>
                    <a:pt x="215747" y="217703"/>
                  </a:lnTo>
                  <a:lnTo>
                    <a:pt x="218490" y="213893"/>
                  </a:lnTo>
                  <a:lnTo>
                    <a:pt x="220853" y="211353"/>
                  </a:lnTo>
                  <a:lnTo>
                    <a:pt x="223291" y="207543"/>
                  </a:lnTo>
                  <a:lnTo>
                    <a:pt x="225323" y="203733"/>
                  </a:lnTo>
                  <a:lnTo>
                    <a:pt x="227901" y="197383"/>
                  </a:lnTo>
                  <a:lnTo>
                    <a:pt x="229260" y="194843"/>
                  </a:lnTo>
                  <a:lnTo>
                    <a:pt x="230733" y="197383"/>
                  </a:lnTo>
                  <a:lnTo>
                    <a:pt x="232283" y="201193"/>
                  </a:lnTo>
                  <a:lnTo>
                    <a:pt x="233908" y="203733"/>
                  </a:lnTo>
                  <a:lnTo>
                    <a:pt x="233908" y="203187"/>
                  </a:lnTo>
                  <a:lnTo>
                    <a:pt x="232498" y="199923"/>
                  </a:lnTo>
                  <a:lnTo>
                    <a:pt x="230924" y="197383"/>
                  </a:lnTo>
                  <a:lnTo>
                    <a:pt x="229933" y="194843"/>
                  </a:lnTo>
                  <a:lnTo>
                    <a:pt x="229438" y="193573"/>
                  </a:lnTo>
                  <a:lnTo>
                    <a:pt x="230352" y="192303"/>
                  </a:lnTo>
                  <a:lnTo>
                    <a:pt x="231216" y="189763"/>
                  </a:lnTo>
                  <a:lnTo>
                    <a:pt x="234835" y="179603"/>
                  </a:lnTo>
                  <a:lnTo>
                    <a:pt x="237121" y="170713"/>
                  </a:lnTo>
                  <a:lnTo>
                    <a:pt x="239166" y="163093"/>
                  </a:lnTo>
                  <a:lnTo>
                    <a:pt x="241071" y="170713"/>
                  </a:lnTo>
                  <a:lnTo>
                    <a:pt x="242938" y="177063"/>
                  </a:lnTo>
                  <a:lnTo>
                    <a:pt x="244957" y="184683"/>
                  </a:lnTo>
                  <a:lnTo>
                    <a:pt x="244957" y="182702"/>
                  </a:lnTo>
                  <a:lnTo>
                    <a:pt x="243179" y="177063"/>
                  </a:lnTo>
                  <a:lnTo>
                    <a:pt x="239814" y="163093"/>
                  </a:lnTo>
                  <a:lnTo>
                    <a:pt x="239522" y="161823"/>
                  </a:lnTo>
                  <a:lnTo>
                    <a:pt x="240296" y="161823"/>
                  </a:lnTo>
                  <a:lnTo>
                    <a:pt x="240296" y="160553"/>
                  </a:lnTo>
                  <a:lnTo>
                    <a:pt x="240157" y="160553"/>
                  </a:lnTo>
                  <a:lnTo>
                    <a:pt x="240296" y="159283"/>
                  </a:lnTo>
                  <a:lnTo>
                    <a:pt x="239979" y="159283"/>
                  </a:lnTo>
                  <a:lnTo>
                    <a:pt x="239903" y="158013"/>
                  </a:lnTo>
                  <a:lnTo>
                    <a:pt x="239979" y="156743"/>
                  </a:lnTo>
                  <a:lnTo>
                    <a:pt x="240296" y="156743"/>
                  </a:lnTo>
                  <a:lnTo>
                    <a:pt x="240169" y="155473"/>
                  </a:lnTo>
                  <a:lnTo>
                    <a:pt x="240296" y="155473"/>
                  </a:lnTo>
                  <a:lnTo>
                    <a:pt x="240296" y="154203"/>
                  </a:lnTo>
                  <a:lnTo>
                    <a:pt x="239903" y="154203"/>
                  </a:lnTo>
                  <a:lnTo>
                    <a:pt x="239788" y="152933"/>
                  </a:lnTo>
                  <a:lnTo>
                    <a:pt x="239979" y="152933"/>
                  </a:lnTo>
                  <a:lnTo>
                    <a:pt x="239903" y="151663"/>
                  </a:lnTo>
                  <a:lnTo>
                    <a:pt x="239979" y="150393"/>
                  </a:lnTo>
                  <a:lnTo>
                    <a:pt x="240296" y="150393"/>
                  </a:lnTo>
                  <a:lnTo>
                    <a:pt x="240296" y="149123"/>
                  </a:lnTo>
                  <a:lnTo>
                    <a:pt x="240157" y="149123"/>
                  </a:lnTo>
                  <a:lnTo>
                    <a:pt x="240296" y="147853"/>
                  </a:lnTo>
                  <a:lnTo>
                    <a:pt x="239979" y="147853"/>
                  </a:lnTo>
                  <a:lnTo>
                    <a:pt x="239903" y="146583"/>
                  </a:lnTo>
                  <a:lnTo>
                    <a:pt x="239966" y="145313"/>
                  </a:lnTo>
                  <a:lnTo>
                    <a:pt x="239522" y="145313"/>
                  </a:lnTo>
                  <a:lnTo>
                    <a:pt x="239522" y="144043"/>
                  </a:lnTo>
                  <a:lnTo>
                    <a:pt x="239039" y="144043"/>
                  </a:lnTo>
                  <a:lnTo>
                    <a:pt x="239039" y="145313"/>
                  </a:lnTo>
                  <a:lnTo>
                    <a:pt x="238582" y="145313"/>
                  </a:lnTo>
                  <a:lnTo>
                    <a:pt x="238556" y="146583"/>
                  </a:lnTo>
                  <a:lnTo>
                    <a:pt x="238582" y="147853"/>
                  </a:lnTo>
                  <a:lnTo>
                    <a:pt x="238264" y="147853"/>
                  </a:lnTo>
                  <a:lnTo>
                    <a:pt x="238404" y="149123"/>
                  </a:lnTo>
                  <a:lnTo>
                    <a:pt x="238264" y="149123"/>
                  </a:lnTo>
                  <a:lnTo>
                    <a:pt x="238264" y="150393"/>
                  </a:lnTo>
                  <a:lnTo>
                    <a:pt x="238582" y="150393"/>
                  </a:lnTo>
                  <a:lnTo>
                    <a:pt x="238556" y="151663"/>
                  </a:lnTo>
                  <a:lnTo>
                    <a:pt x="238582" y="152933"/>
                  </a:lnTo>
                  <a:lnTo>
                    <a:pt x="238772" y="152933"/>
                  </a:lnTo>
                  <a:lnTo>
                    <a:pt x="238645" y="154203"/>
                  </a:lnTo>
                  <a:lnTo>
                    <a:pt x="238264" y="154203"/>
                  </a:lnTo>
                  <a:lnTo>
                    <a:pt x="238264" y="155473"/>
                  </a:lnTo>
                  <a:lnTo>
                    <a:pt x="238391" y="155473"/>
                  </a:lnTo>
                  <a:lnTo>
                    <a:pt x="238264" y="156743"/>
                  </a:lnTo>
                  <a:lnTo>
                    <a:pt x="238582" y="156743"/>
                  </a:lnTo>
                  <a:lnTo>
                    <a:pt x="238556" y="158013"/>
                  </a:lnTo>
                  <a:lnTo>
                    <a:pt x="238582" y="159283"/>
                  </a:lnTo>
                  <a:lnTo>
                    <a:pt x="238264" y="159283"/>
                  </a:lnTo>
                  <a:lnTo>
                    <a:pt x="238404" y="160553"/>
                  </a:lnTo>
                  <a:lnTo>
                    <a:pt x="238264" y="160553"/>
                  </a:lnTo>
                  <a:lnTo>
                    <a:pt x="238264" y="161823"/>
                  </a:lnTo>
                  <a:lnTo>
                    <a:pt x="239039" y="161823"/>
                  </a:lnTo>
                  <a:lnTo>
                    <a:pt x="237388" y="168173"/>
                  </a:lnTo>
                  <a:lnTo>
                    <a:pt x="235635" y="174523"/>
                  </a:lnTo>
                  <a:lnTo>
                    <a:pt x="233718" y="180873"/>
                  </a:lnTo>
                  <a:lnTo>
                    <a:pt x="231635" y="187223"/>
                  </a:lnTo>
                  <a:lnTo>
                    <a:pt x="230873" y="189763"/>
                  </a:lnTo>
                  <a:lnTo>
                    <a:pt x="230047" y="191033"/>
                  </a:lnTo>
                  <a:lnTo>
                    <a:pt x="229184" y="193573"/>
                  </a:lnTo>
                  <a:lnTo>
                    <a:pt x="228993" y="193065"/>
                  </a:lnTo>
                  <a:lnTo>
                    <a:pt x="228993" y="193573"/>
                  </a:lnTo>
                  <a:lnTo>
                    <a:pt x="227558" y="197383"/>
                  </a:lnTo>
                  <a:lnTo>
                    <a:pt x="224929" y="203733"/>
                  </a:lnTo>
                  <a:lnTo>
                    <a:pt x="222897" y="207543"/>
                  </a:lnTo>
                  <a:lnTo>
                    <a:pt x="220472" y="211353"/>
                  </a:lnTo>
                  <a:lnTo>
                    <a:pt x="218033" y="213893"/>
                  </a:lnTo>
                  <a:lnTo>
                    <a:pt x="215214" y="217703"/>
                  </a:lnTo>
                  <a:lnTo>
                    <a:pt x="214083" y="218478"/>
                  </a:lnTo>
                  <a:lnTo>
                    <a:pt x="213321" y="218300"/>
                  </a:lnTo>
                  <a:lnTo>
                    <a:pt x="213321" y="218998"/>
                  </a:lnTo>
                  <a:lnTo>
                    <a:pt x="211493" y="220243"/>
                  </a:lnTo>
                  <a:lnTo>
                    <a:pt x="208775" y="220243"/>
                  </a:lnTo>
                  <a:lnTo>
                    <a:pt x="208775" y="276123"/>
                  </a:lnTo>
                  <a:lnTo>
                    <a:pt x="208191" y="275666"/>
                  </a:lnTo>
                  <a:lnTo>
                    <a:pt x="208191" y="277393"/>
                  </a:lnTo>
                  <a:lnTo>
                    <a:pt x="199288" y="282473"/>
                  </a:lnTo>
                  <a:lnTo>
                    <a:pt x="197840" y="281647"/>
                  </a:lnTo>
                  <a:lnTo>
                    <a:pt x="197840" y="283743"/>
                  </a:lnTo>
                  <a:lnTo>
                    <a:pt x="189052" y="288823"/>
                  </a:lnTo>
                  <a:lnTo>
                    <a:pt x="189445" y="278663"/>
                  </a:lnTo>
                  <a:lnTo>
                    <a:pt x="197840" y="283743"/>
                  </a:lnTo>
                  <a:lnTo>
                    <a:pt x="197840" y="281647"/>
                  </a:lnTo>
                  <a:lnTo>
                    <a:pt x="192697" y="278663"/>
                  </a:lnTo>
                  <a:lnTo>
                    <a:pt x="190500" y="277393"/>
                  </a:lnTo>
                  <a:lnTo>
                    <a:pt x="192290" y="276123"/>
                  </a:lnTo>
                  <a:lnTo>
                    <a:pt x="199453" y="271043"/>
                  </a:lnTo>
                  <a:lnTo>
                    <a:pt x="208191" y="277393"/>
                  </a:lnTo>
                  <a:lnTo>
                    <a:pt x="208191" y="275666"/>
                  </a:lnTo>
                  <a:lnTo>
                    <a:pt x="202387" y="271043"/>
                  </a:lnTo>
                  <a:lnTo>
                    <a:pt x="200787" y="269773"/>
                  </a:lnTo>
                  <a:lnTo>
                    <a:pt x="208483" y="264693"/>
                  </a:lnTo>
                  <a:lnTo>
                    <a:pt x="208775" y="276123"/>
                  </a:lnTo>
                  <a:lnTo>
                    <a:pt x="208775" y="220243"/>
                  </a:lnTo>
                  <a:lnTo>
                    <a:pt x="208673" y="217271"/>
                  </a:lnTo>
                  <a:lnTo>
                    <a:pt x="213321" y="218998"/>
                  </a:lnTo>
                  <a:lnTo>
                    <a:pt x="213321" y="218300"/>
                  </a:lnTo>
                  <a:lnTo>
                    <a:pt x="208775" y="217170"/>
                  </a:lnTo>
                  <a:lnTo>
                    <a:pt x="208508" y="211353"/>
                  </a:lnTo>
                  <a:lnTo>
                    <a:pt x="208407" y="207543"/>
                  </a:lnTo>
                  <a:lnTo>
                    <a:pt x="208407" y="262153"/>
                  </a:lnTo>
                  <a:lnTo>
                    <a:pt x="206781" y="261073"/>
                  </a:lnTo>
                  <a:lnTo>
                    <a:pt x="206781" y="263423"/>
                  </a:lnTo>
                  <a:lnTo>
                    <a:pt x="206743" y="264693"/>
                  </a:lnTo>
                  <a:lnTo>
                    <a:pt x="199453" y="269773"/>
                  </a:lnTo>
                  <a:lnTo>
                    <a:pt x="198120" y="268846"/>
                  </a:lnTo>
                  <a:lnTo>
                    <a:pt x="198120" y="269773"/>
                  </a:lnTo>
                  <a:lnTo>
                    <a:pt x="189547" y="276123"/>
                  </a:lnTo>
                  <a:lnTo>
                    <a:pt x="189979" y="264693"/>
                  </a:lnTo>
                  <a:lnTo>
                    <a:pt x="198120" y="269773"/>
                  </a:lnTo>
                  <a:lnTo>
                    <a:pt x="198120" y="268846"/>
                  </a:lnTo>
                  <a:lnTo>
                    <a:pt x="192163" y="264693"/>
                  </a:lnTo>
                  <a:lnTo>
                    <a:pt x="206743" y="264693"/>
                  </a:lnTo>
                  <a:lnTo>
                    <a:pt x="206743" y="263423"/>
                  </a:lnTo>
                  <a:lnTo>
                    <a:pt x="192138" y="263423"/>
                  </a:lnTo>
                  <a:lnTo>
                    <a:pt x="193979" y="262153"/>
                  </a:lnTo>
                  <a:lnTo>
                    <a:pt x="199504" y="258343"/>
                  </a:lnTo>
                  <a:lnTo>
                    <a:pt x="206781" y="263423"/>
                  </a:lnTo>
                  <a:lnTo>
                    <a:pt x="206781" y="261073"/>
                  </a:lnTo>
                  <a:lnTo>
                    <a:pt x="202717" y="258343"/>
                  </a:lnTo>
                  <a:lnTo>
                    <a:pt x="200825" y="257073"/>
                  </a:lnTo>
                  <a:lnTo>
                    <a:pt x="202653" y="255803"/>
                  </a:lnTo>
                  <a:lnTo>
                    <a:pt x="208127" y="251993"/>
                  </a:lnTo>
                  <a:lnTo>
                    <a:pt x="208407" y="262153"/>
                  </a:lnTo>
                  <a:lnTo>
                    <a:pt x="208407" y="207543"/>
                  </a:lnTo>
                  <a:lnTo>
                    <a:pt x="208089" y="196113"/>
                  </a:lnTo>
                  <a:lnTo>
                    <a:pt x="208051" y="194589"/>
                  </a:lnTo>
                  <a:lnTo>
                    <a:pt x="208051" y="248183"/>
                  </a:lnTo>
                  <a:lnTo>
                    <a:pt x="207581" y="247853"/>
                  </a:lnTo>
                  <a:lnTo>
                    <a:pt x="207581" y="250723"/>
                  </a:lnTo>
                  <a:lnTo>
                    <a:pt x="199504" y="255803"/>
                  </a:lnTo>
                  <a:lnTo>
                    <a:pt x="198183" y="254965"/>
                  </a:lnTo>
                  <a:lnTo>
                    <a:pt x="198183" y="257073"/>
                  </a:lnTo>
                  <a:lnTo>
                    <a:pt x="190068" y="262153"/>
                  </a:lnTo>
                  <a:lnTo>
                    <a:pt x="190474" y="251993"/>
                  </a:lnTo>
                  <a:lnTo>
                    <a:pt x="198183" y="257073"/>
                  </a:lnTo>
                  <a:lnTo>
                    <a:pt x="198183" y="254965"/>
                  </a:lnTo>
                  <a:lnTo>
                    <a:pt x="193548" y="251993"/>
                  </a:lnTo>
                  <a:lnTo>
                    <a:pt x="191566" y="250723"/>
                  </a:lnTo>
                  <a:lnTo>
                    <a:pt x="193179" y="249453"/>
                  </a:lnTo>
                  <a:lnTo>
                    <a:pt x="199631" y="244373"/>
                  </a:lnTo>
                  <a:lnTo>
                    <a:pt x="207581" y="250723"/>
                  </a:lnTo>
                  <a:lnTo>
                    <a:pt x="207581" y="247853"/>
                  </a:lnTo>
                  <a:lnTo>
                    <a:pt x="202653" y="244373"/>
                  </a:lnTo>
                  <a:lnTo>
                    <a:pt x="200863" y="243103"/>
                  </a:lnTo>
                  <a:lnTo>
                    <a:pt x="202577" y="241833"/>
                  </a:lnTo>
                  <a:lnTo>
                    <a:pt x="207746" y="238023"/>
                  </a:lnTo>
                  <a:lnTo>
                    <a:pt x="208051" y="248183"/>
                  </a:lnTo>
                  <a:lnTo>
                    <a:pt x="208051" y="194589"/>
                  </a:lnTo>
                  <a:lnTo>
                    <a:pt x="208026" y="193573"/>
                  </a:lnTo>
                  <a:lnTo>
                    <a:pt x="207746" y="183413"/>
                  </a:lnTo>
                  <a:lnTo>
                    <a:pt x="207708" y="182143"/>
                  </a:lnTo>
                  <a:lnTo>
                    <a:pt x="208965" y="180873"/>
                  </a:lnTo>
                  <a:lnTo>
                    <a:pt x="210223" y="179603"/>
                  </a:lnTo>
                  <a:lnTo>
                    <a:pt x="216535" y="173253"/>
                  </a:lnTo>
                  <a:lnTo>
                    <a:pt x="219062" y="170713"/>
                  </a:lnTo>
                  <a:lnTo>
                    <a:pt x="221297" y="177063"/>
                  </a:lnTo>
                  <a:lnTo>
                    <a:pt x="223621" y="182143"/>
                  </a:lnTo>
                  <a:lnTo>
                    <a:pt x="227037" y="189763"/>
                  </a:lnTo>
                  <a:lnTo>
                    <a:pt x="228993" y="193573"/>
                  </a:lnTo>
                  <a:lnTo>
                    <a:pt x="228993" y="193065"/>
                  </a:lnTo>
                  <a:lnTo>
                    <a:pt x="228244" y="191033"/>
                  </a:lnTo>
                  <a:lnTo>
                    <a:pt x="223951" y="182143"/>
                  </a:lnTo>
                  <a:lnTo>
                    <a:pt x="221615" y="177063"/>
                  </a:lnTo>
                  <a:lnTo>
                    <a:pt x="219379" y="170713"/>
                  </a:lnTo>
                  <a:lnTo>
                    <a:pt x="220789" y="169443"/>
                  </a:lnTo>
                  <a:lnTo>
                    <a:pt x="225005" y="165633"/>
                  </a:lnTo>
                  <a:lnTo>
                    <a:pt x="225399" y="164363"/>
                  </a:lnTo>
                  <a:lnTo>
                    <a:pt x="225793" y="163093"/>
                  </a:lnTo>
                  <a:lnTo>
                    <a:pt x="228981" y="152933"/>
                  </a:lnTo>
                  <a:lnTo>
                    <a:pt x="231254" y="151663"/>
                  </a:lnTo>
                  <a:lnTo>
                    <a:pt x="233286" y="149123"/>
                  </a:lnTo>
                  <a:lnTo>
                    <a:pt x="235915" y="146583"/>
                  </a:lnTo>
                  <a:lnTo>
                    <a:pt x="237439" y="144043"/>
                  </a:lnTo>
                  <a:lnTo>
                    <a:pt x="237744" y="144043"/>
                  </a:lnTo>
                  <a:lnTo>
                    <a:pt x="240753" y="138963"/>
                  </a:lnTo>
                  <a:lnTo>
                    <a:pt x="243205" y="135153"/>
                  </a:lnTo>
                  <a:lnTo>
                    <a:pt x="243560" y="134302"/>
                  </a:lnTo>
                  <a:lnTo>
                    <a:pt x="245478" y="137160"/>
                  </a:lnTo>
                  <a:lnTo>
                    <a:pt x="251167" y="146050"/>
                  </a:lnTo>
                  <a:lnTo>
                    <a:pt x="251625" y="146659"/>
                  </a:lnTo>
                  <a:lnTo>
                    <a:pt x="255117" y="158013"/>
                  </a:lnTo>
                  <a:lnTo>
                    <a:pt x="255117" y="155308"/>
                  </a:lnTo>
                  <a:lnTo>
                    <a:pt x="252920" y="148348"/>
                  </a:lnTo>
                  <a:lnTo>
                    <a:pt x="256794" y="153416"/>
                  </a:lnTo>
                  <a:lnTo>
                    <a:pt x="256794" y="151130"/>
                  </a:lnTo>
                  <a:lnTo>
                    <a:pt x="252971" y="146126"/>
                  </a:lnTo>
                  <a:lnTo>
                    <a:pt x="255155" y="147853"/>
                  </a:lnTo>
                  <a:lnTo>
                    <a:pt x="257327" y="151663"/>
                  </a:lnTo>
                  <a:lnTo>
                    <a:pt x="257327" y="150291"/>
                  </a:lnTo>
                  <a:lnTo>
                    <a:pt x="255676" y="147853"/>
                  </a:lnTo>
                  <a:lnTo>
                    <a:pt x="257733" y="150393"/>
                  </a:lnTo>
                  <a:lnTo>
                    <a:pt x="257733" y="148932"/>
                  </a:lnTo>
                  <a:lnTo>
                    <a:pt x="256209" y="147853"/>
                  </a:lnTo>
                  <a:lnTo>
                    <a:pt x="254419" y="146583"/>
                  </a:lnTo>
                  <a:lnTo>
                    <a:pt x="253949" y="145313"/>
                  </a:lnTo>
                  <a:lnTo>
                    <a:pt x="253809" y="144970"/>
                  </a:lnTo>
                  <a:lnTo>
                    <a:pt x="253720" y="144729"/>
                  </a:lnTo>
                  <a:lnTo>
                    <a:pt x="253479" y="144043"/>
                  </a:lnTo>
                  <a:lnTo>
                    <a:pt x="253326" y="144043"/>
                  </a:lnTo>
                  <a:lnTo>
                    <a:pt x="253212" y="143814"/>
                  </a:lnTo>
                  <a:lnTo>
                    <a:pt x="252844" y="143814"/>
                  </a:lnTo>
                  <a:lnTo>
                    <a:pt x="252666" y="143459"/>
                  </a:lnTo>
                  <a:lnTo>
                    <a:pt x="252666" y="144043"/>
                  </a:lnTo>
                  <a:lnTo>
                    <a:pt x="251447" y="144043"/>
                  </a:lnTo>
                  <a:lnTo>
                    <a:pt x="249948" y="138379"/>
                  </a:lnTo>
                  <a:lnTo>
                    <a:pt x="249948" y="142100"/>
                  </a:lnTo>
                  <a:lnTo>
                    <a:pt x="246278" y="137160"/>
                  </a:lnTo>
                  <a:lnTo>
                    <a:pt x="243878" y="133565"/>
                  </a:lnTo>
                  <a:lnTo>
                    <a:pt x="245376" y="130073"/>
                  </a:lnTo>
                  <a:lnTo>
                    <a:pt x="245668" y="130073"/>
                  </a:lnTo>
                  <a:lnTo>
                    <a:pt x="247459" y="133883"/>
                  </a:lnTo>
                  <a:lnTo>
                    <a:pt x="249948" y="142100"/>
                  </a:lnTo>
                  <a:lnTo>
                    <a:pt x="249948" y="138379"/>
                  </a:lnTo>
                  <a:lnTo>
                    <a:pt x="249770" y="137693"/>
                  </a:lnTo>
                  <a:lnTo>
                    <a:pt x="250710" y="140233"/>
                  </a:lnTo>
                  <a:lnTo>
                    <a:pt x="251688" y="141503"/>
                  </a:lnTo>
                  <a:lnTo>
                    <a:pt x="252603" y="143814"/>
                  </a:lnTo>
                  <a:lnTo>
                    <a:pt x="252387" y="143814"/>
                  </a:lnTo>
                  <a:lnTo>
                    <a:pt x="252666" y="144043"/>
                  </a:lnTo>
                  <a:lnTo>
                    <a:pt x="252666" y="143459"/>
                  </a:lnTo>
                  <a:lnTo>
                    <a:pt x="251714" y="141503"/>
                  </a:lnTo>
                  <a:lnTo>
                    <a:pt x="249936" y="137693"/>
                  </a:lnTo>
                  <a:lnTo>
                    <a:pt x="249351" y="136423"/>
                  </a:lnTo>
                  <a:lnTo>
                    <a:pt x="247129" y="130073"/>
                  </a:lnTo>
                  <a:lnTo>
                    <a:pt x="246240" y="127533"/>
                  </a:lnTo>
                  <a:lnTo>
                    <a:pt x="244906" y="127533"/>
                  </a:lnTo>
                  <a:lnTo>
                    <a:pt x="245300" y="130073"/>
                  </a:lnTo>
                  <a:lnTo>
                    <a:pt x="243598" y="133134"/>
                  </a:lnTo>
                  <a:lnTo>
                    <a:pt x="243230" y="132588"/>
                  </a:lnTo>
                  <a:lnTo>
                    <a:pt x="243230" y="133794"/>
                  </a:lnTo>
                  <a:lnTo>
                    <a:pt x="242468" y="135153"/>
                  </a:lnTo>
                  <a:lnTo>
                    <a:pt x="239217" y="141503"/>
                  </a:lnTo>
                  <a:lnTo>
                    <a:pt x="233159" y="149123"/>
                  </a:lnTo>
                  <a:lnTo>
                    <a:pt x="231254" y="150393"/>
                  </a:lnTo>
                  <a:lnTo>
                    <a:pt x="229120" y="151663"/>
                  </a:lnTo>
                  <a:lnTo>
                    <a:pt x="230314" y="147853"/>
                  </a:lnTo>
                  <a:lnTo>
                    <a:pt x="237439" y="125107"/>
                  </a:lnTo>
                  <a:lnTo>
                    <a:pt x="243230" y="133794"/>
                  </a:lnTo>
                  <a:lnTo>
                    <a:pt x="243230" y="132588"/>
                  </a:lnTo>
                  <a:lnTo>
                    <a:pt x="237705" y="124269"/>
                  </a:lnTo>
                  <a:lnTo>
                    <a:pt x="242658" y="108483"/>
                  </a:lnTo>
                  <a:lnTo>
                    <a:pt x="248234" y="90703"/>
                  </a:lnTo>
                  <a:lnTo>
                    <a:pt x="248640" y="89433"/>
                  </a:lnTo>
                  <a:lnTo>
                    <a:pt x="265645" y="89433"/>
                  </a:lnTo>
                  <a:lnTo>
                    <a:pt x="266141" y="90703"/>
                  </a:lnTo>
                  <a:lnTo>
                    <a:pt x="265836" y="90703"/>
                  </a:lnTo>
                  <a:lnTo>
                    <a:pt x="265836" y="91973"/>
                  </a:lnTo>
                  <a:lnTo>
                    <a:pt x="266306" y="91973"/>
                  </a:lnTo>
                  <a:lnTo>
                    <a:pt x="266280" y="93243"/>
                  </a:lnTo>
                  <a:lnTo>
                    <a:pt x="265836" y="93243"/>
                  </a:lnTo>
                  <a:lnTo>
                    <a:pt x="265836" y="94513"/>
                  </a:lnTo>
                  <a:lnTo>
                    <a:pt x="266306" y="94513"/>
                  </a:lnTo>
                  <a:lnTo>
                    <a:pt x="266280" y="95783"/>
                  </a:lnTo>
                  <a:lnTo>
                    <a:pt x="265836" y="95783"/>
                  </a:lnTo>
                  <a:lnTo>
                    <a:pt x="265836" y="97053"/>
                  </a:lnTo>
                  <a:lnTo>
                    <a:pt x="266306" y="97053"/>
                  </a:lnTo>
                  <a:lnTo>
                    <a:pt x="266280" y="98323"/>
                  </a:lnTo>
                  <a:lnTo>
                    <a:pt x="265836" y="98323"/>
                  </a:lnTo>
                  <a:lnTo>
                    <a:pt x="265836" y="99593"/>
                  </a:lnTo>
                  <a:lnTo>
                    <a:pt x="266306" y="99593"/>
                  </a:lnTo>
                  <a:lnTo>
                    <a:pt x="266280" y="100863"/>
                  </a:lnTo>
                  <a:lnTo>
                    <a:pt x="265836" y="100863"/>
                  </a:lnTo>
                  <a:lnTo>
                    <a:pt x="266077" y="102133"/>
                  </a:lnTo>
                  <a:lnTo>
                    <a:pt x="266306" y="102133"/>
                  </a:lnTo>
                  <a:lnTo>
                    <a:pt x="266280" y="103403"/>
                  </a:lnTo>
                  <a:lnTo>
                    <a:pt x="265836" y="103403"/>
                  </a:lnTo>
                  <a:lnTo>
                    <a:pt x="266077" y="104673"/>
                  </a:lnTo>
                  <a:lnTo>
                    <a:pt x="266306" y="104673"/>
                  </a:lnTo>
                  <a:lnTo>
                    <a:pt x="266280" y="105943"/>
                  </a:lnTo>
                  <a:lnTo>
                    <a:pt x="265836" y="105943"/>
                  </a:lnTo>
                  <a:lnTo>
                    <a:pt x="266077" y="107213"/>
                  </a:lnTo>
                  <a:lnTo>
                    <a:pt x="266306" y="107213"/>
                  </a:lnTo>
                  <a:lnTo>
                    <a:pt x="266280" y="108483"/>
                  </a:lnTo>
                  <a:lnTo>
                    <a:pt x="265836" y="108483"/>
                  </a:lnTo>
                  <a:lnTo>
                    <a:pt x="266077" y="109753"/>
                  </a:lnTo>
                  <a:lnTo>
                    <a:pt x="266280" y="109753"/>
                  </a:lnTo>
                  <a:lnTo>
                    <a:pt x="266014" y="111023"/>
                  </a:lnTo>
                  <a:lnTo>
                    <a:pt x="266534" y="111023"/>
                  </a:lnTo>
                  <a:lnTo>
                    <a:pt x="266395" y="112293"/>
                  </a:lnTo>
                  <a:lnTo>
                    <a:pt x="266014" y="112293"/>
                  </a:lnTo>
                  <a:lnTo>
                    <a:pt x="265836" y="113563"/>
                  </a:lnTo>
                  <a:lnTo>
                    <a:pt x="266992" y="113563"/>
                  </a:lnTo>
                  <a:lnTo>
                    <a:pt x="266992" y="88163"/>
                  </a:lnTo>
                  <a:lnTo>
                    <a:pt x="265506" y="88163"/>
                  </a:lnTo>
                  <a:lnTo>
                    <a:pt x="265099" y="86944"/>
                  </a:lnTo>
                  <a:lnTo>
                    <a:pt x="265099" y="88163"/>
                  </a:lnTo>
                  <a:lnTo>
                    <a:pt x="249110" y="88163"/>
                  </a:lnTo>
                  <a:lnTo>
                    <a:pt x="250990" y="81813"/>
                  </a:lnTo>
                  <a:lnTo>
                    <a:pt x="252882" y="75463"/>
                  </a:lnTo>
                  <a:lnTo>
                    <a:pt x="254482" y="72923"/>
                  </a:lnTo>
                  <a:lnTo>
                    <a:pt x="255955" y="69113"/>
                  </a:lnTo>
                  <a:lnTo>
                    <a:pt x="257213" y="66776"/>
                  </a:lnTo>
                  <a:lnTo>
                    <a:pt x="257911" y="67094"/>
                  </a:lnTo>
                  <a:lnTo>
                    <a:pt x="262585" y="80543"/>
                  </a:lnTo>
                  <a:lnTo>
                    <a:pt x="265099" y="88163"/>
                  </a:lnTo>
                  <a:lnTo>
                    <a:pt x="265099" y="86944"/>
                  </a:lnTo>
                  <a:lnTo>
                    <a:pt x="262966" y="80543"/>
                  </a:lnTo>
                  <a:lnTo>
                    <a:pt x="260502" y="72923"/>
                  </a:lnTo>
                  <a:lnTo>
                    <a:pt x="258762" y="67475"/>
                  </a:lnTo>
                  <a:lnTo>
                    <a:pt x="267030" y="71120"/>
                  </a:lnTo>
                  <a:lnTo>
                    <a:pt x="284848" y="76200"/>
                  </a:lnTo>
                  <a:lnTo>
                    <a:pt x="294068" y="77470"/>
                  </a:lnTo>
                  <a:lnTo>
                    <a:pt x="267322" y="69850"/>
                  </a:lnTo>
                  <a:lnTo>
                    <a:pt x="258762" y="66040"/>
                  </a:lnTo>
                  <a:lnTo>
                    <a:pt x="258229" y="65811"/>
                  </a:lnTo>
                  <a:lnTo>
                    <a:pt x="258076" y="65303"/>
                  </a:lnTo>
                  <a:lnTo>
                    <a:pt x="258546" y="62763"/>
                  </a:lnTo>
                  <a:lnTo>
                    <a:pt x="258787" y="61493"/>
                  </a:lnTo>
                  <a:lnTo>
                    <a:pt x="258597" y="61493"/>
                  </a:lnTo>
                  <a:lnTo>
                    <a:pt x="257149" y="60629"/>
                  </a:lnTo>
                  <a:lnTo>
                    <a:pt x="257149" y="62763"/>
                  </a:lnTo>
                  <a:lnTo>
                    <a:pt x="256603" y="65062"/>
                  </a:lnTo>
                  <a:lnTo>
                    <a:pt x="256451" y="64998"/>
                  </a:lnTo>
                  <a:lnTo>
                    <a:pt x="256451" y="66433"/>
                  </a:lnTo>
                  <a:lnTo>
                    <a:pt x="255879" y="67843"/>
                  </a:lnTo>
                  <a:lnTo>
                    <a:pt x="254800" y="70383"/>
                  </a:lnTo>
                  <a:lnTo>
                    <a:pt x="253644" y="72923"/>
                  </a:lnTo>
                  <a:lnTo>
                    <a:pt x="255790" y="66128"/>
                  </a:lnTo>
                  <a:lnTo>
                    <a:pt x="256451" y="66433"/>
                  </a:lnTo>
                  <a:lnTo>
                    <a:pt x="256451" y="64998"/>
                  </a:lnTo>
                  <a:lnTo>
                    <a:pt x="256197" y="64884"/>
                  </a:lnTo>
                  <a:lnTo>
                    <a:pt x="256870" y="62763"/>
                  </a:lnTo>
                  <a:lnTo>
                    <a:pt x="257149" y="62763"/>
                  </a:lnTo>
                  <a:lnTo>
                    <a:pt x="257149" y="60629"/>
                  </a:lnTo>
                  <a:lnTo>
                    <a:pt x="256489" y="60223"/>
                  </a:lnTo>
                  <a:lnTo>
                    <a:pt x="256273" y="60223"/>
                  </a:lnTo>
                  <a:lnTo>
                    <a:pt x="255905" y="61493"/>
                  </a:lnTo>
                  <a:lnTo>
                    <a:pt x="255765" y="61493"/>
                  </a:lnTo>
                  <a:lnTo>
                    <a:pt x="254901" y="64287"/>
                  </a:lnTo>
                  <a:lnTo>
                    <a:pt x="254520" y="64122"/>
                  </a:lnTo>
                  <a:lnTo>
                    <a:pt x="254520" y="65557"/>
                  </a:lnTo>
                  <a:lnTo>
                    <a:pt x="249936" y="80543"/>
                  </a:lnTo>
                  <a:lnTo>
                    <a:pt x="249389" y="81457"/>
                  </a:lnTo>
                  <a:lnTo>
                    <a:pt x="249389" y="81813"/>
                  </a:lnTo>
                  <a:lnTo>
                    <a:pt x="247561" y="88163"/>
                  </a:lnTo>
                  <a:lnTo>
                    <a:pt x="246659" y="88163"/>
                  </a:lnTo>
                  <a:lnTo>
                    <a:pt x="246659" y="90703"/>
                  </a:lnTo>
                  <a:lnTo>
                    <a:pt x="241122" y="108483"/>
                  </a:lnTo>
                  <a:lnTo>
                    <a:pt x="240588" y="107835"/>
                  </a:lnTo>
                  <a:lnTo>
                    <a:pt x="240588" y="109753"/>
                  </a:lnTo>
                  <a:lnTo>
                    <a:pt x="236689" y="122720"/>
                  </a:lnTo>
                  <a:lnTo>
                    <a:pt x="236423" y="122326"/>
                  </a:lnTo>
                  <a:lnTo>
                    <a:pt x="236423" y="123583"/>
                  </a:lnTo>
                  <a:lnTo>
                    <a:pt x="229895" y="145313"/>
                  </a:lnTo>
                  <a:lnTo>
                    <a:pt x="229082" y="145923"/>
                  </a:lnTo>
                  <a:lnTo>
                    <a:pt x="229082" y="147853"/>
                  </a:lnTo>
                  <a:lnTo>
                    <a:pt x="227177" y="154203"/>
                  </a:lnTo>
                  <a:lnTo>
                    <a:pt x="226999" y="154305"/>
                  </a:lnTo>
                  <a:lnTo>
                    <a:pt x="224180" y="163093"/>
                  </a:lnTo>
                  <a:lnTo>
                    <a:pt x="223062" y="161366"/>
                  </a:lnTo>
                  <a:lnTo>
                    <a:pt x="223062" y="164363"/>
                  </a:lnTo>
                  <a:lnTo>
                    <a:pt x="222491" y="164363"/>
                  </a:lnTo>
                  <a:lnTo>
                    <a:pt x="222491" y="165633"/>
                  </a:lnTo>
                  <a:lnTo>
                    <a:pt x="218795" y="169443"/>
                  </a:lnTo>
                  <a:lnTo>
                    <a:pt x="218478" y="168554"/>
                  </a:lnTo>
                  <a:lnTo>
                    <a:pt x="218478" y="169443"/>
                  </a:lnTo>
                  <a:lnTo>
                    <a:pt x="214083" y="173253"/>
                  </a:lnTo>
                  <a:lnTo>
                    <a:pt x="212979" y="171869"/>
                  </a:lnTo>
                  <a:lnTo>
                    <a:pt x="212979" y="174523"/>
                  </a:lnTo>
                  <a:lnTo>
                    <a:pt x="207670" y="179603"/>
                  </a:lnTo>
                  <a:lnTo>
                    <a:pt x="207670" y="234213"/>
                  </a:lnTo>
                  <a:lnTo>
                    <a:pt x="206248" y="233146"/>
                  </a:lnTo>
                  <a:lnTo>
                    <a:pt x="206248" y="235483"/>
                  </a:lnTo>
                  <a:lnTo>
                    <a:pt x="206235" y="236753"/>
                  </a:lnTo>
                  <a:lnTo>
                    <a:pt x="199644" y="241833"/>
                  </a:lnTo>
                  <a:lnTo>
                    <a:pt x="198412" y="240880"/>
                  </a:lnTo>
                  <a:lnTo>
                    <a:pt x="198412" y="243103"/>
                  </a:lnTo>
                  <a:lnTo>
                    <a:pt x="190563" y="249453"/>
                  </a:lnTo>
                  <a:lnTo>
                    <a:pt x="191008" y="236753"/>
                  </a:lnTo>
                  <a:lnTo>
                    <a:pt x="198412" y="243103"/>
                  </a:lnTo>
                  <a:lnTo>
                    <a:pt x="198412" y="240880"/>
                  </a:lnTo>
                  <a:lnTo>
                    <a:pt x="193103" y="236753"/>
                  </a:lnTo>
                  <a:lnTo>
                    <a:pt x="206235" y="236753"/>
                  </a:lnTo>
                  <a:lnTo>
                    <a:pt x="206235" y="235483"/>
                  </a:lnTo>
                  <a:lnTo>
                    <a:pt x="193128" y="235483"/>
                  </a:lnTo>
                  <a:lnTo>
                    <a:pt x="199720" y="230403"/>
                  </a:lnTo>
                  <a:lnTo>
                    <a:pt x="206248" y="235483"/>
                  </a:lnTo>
                  <a:lnTo>
                    <a:pt x="206248" y="233146"/>
                  </a:lnTo>
                  <a:lnTo>
                    <a:pt x="202615" y="230403"/>
                  </a:lnTo>
                  <a:lnTo>
                    <a:pt x="200926" y="229133"/>
                  </a:lnTo>
                  <a:lnTo>
                    <a:pt x="202539" y="227863"/>
                  </a:lnTo>
                  <a:lnTo>
                    <a:pt x="207378" y="224053"/>
                  </a:lnTo>
                  <a:lnTo>
                    <a:pt x="207670" y="234213"/>
                  </a:lnTo>
                  <a:lnTo>
                    <a:pt x="207670" y="179603"/>
                  </a:lnTo>
                  <a:lnTo>
                    <a:pt x="207327" y="166903"/>
                  </a:lnTo>
                  <a:lnTo>
                    <a:pt x="212979" y="174523"/>
                  </a:lnTo>
                  <a:lnTo>
                    <a:pt x="212979" y="171869"/>
                  </a:lnTo>
                  <a:lnTo>
                    <a:pt x="209042" y="166903"/>
                  </a:lnTo>
                  <a:lnTo>
                    <a:pt x="208038" y="165633"/>
                  </a:lnTo>
                  <a:lnTo>
                    <a:pt x="217004" y="165633"/>
                  </a:lnTo>
                  <a:lnTo>
                    <a:pt x="218478" y="169443"/>
                  </a:lnTo>
                  <a:lnTo>
                    <a:pt x="218478" y="168554"/>
                  </a:lnTo>
                  <a:lnTo>
                    <a:pt x="217449" y="165633"/>
                  </a:lnTo>
                  <a:lnTo>
                    <a:pt x="222491" y="165633"/>
                  </a:lnTo>
                  <a:lnTo>
                    <a:pt x="222491" y="164363"/>
                  </a:lnTo>
                  <a:lnTo>
                    <a:pt x="216865" y="164363"/>
                  </a:lnTo>
                  <a:lnTo>
                    <a:pt x="216420" y="163512"/>
                  </a:lnTo>
                  <a:lnTo>
                    <a:pt x="216420" y="164363"/>
                  </a:lnTo>
                  <a:lnTo>
                    <a:pt x="208622" y="164363"/>
                  </a:lnTo>
                  <a:lnTo>
                    <a:pt x="214579" y="159283"/>
                  </a:lnTo>
                  <a:lnTo>
                    <a:pt x="215201" y="160553"/>
                  </a:lnTo>
                  <a:lnTo>
                    <a:pt x="215798" y="163093"/>
                  </a:lnTo>
                  <a:lnTo>
                    <a:pt x="216420" y="164363"/>
                  </a:lnTo>
                  <a:lnTo>
                    <a:pt x="216420" y="163512"/>
                  </a:lnTo>
                  <a:lnTo>
                    <a:pt x="216204" y="163093"/>
                  </a:lnTo>
                  <a:lnTo>
                    <a:pt x="215582" y="160553"/>
                  </a:lnTo>
                  <a:lnTo>
                    <a:pt x="214934" y="159283"/>
                  </a:lnTo>
                  <a:lnTo>
                    <a:pt x="217576" y="156743"/>
                  </a:lnTo>
                  <a:lnTo>
                    <a:pt x="218465" y="156743"/>
                  </a:lnTo>
                  <a:lnTo>
                    <a:pt x="223062" y="164363"/>
                  </a:lnTo>
                  <a:lnTo>
                    <a:pt x="223062" y="161366"/>
                  </a:lnTo>
                  <a:lnTo>
                    <a:pt x="220078" y="156743"/>
                  </a:lnTo>
                  <a:lnTo>
                    <a:pt x="222542" y="156743"/>
                  </a:lnTo>
                  <a:lnTo>
                    <a:pt x="224904" y="155473"/>
                  </a:lnTo>
                  <a:lnTo>
                    <a:pt x="222465" y="155473"/>
                  </a:lnTo>
                  <a:lnTo>
                    <a:pt x="219900" y="156743"/>
                  </a:lnTo>
                  <a:lnTo>
                    <a:pt x="219354" y="155473"/>
                  </a:lnTo>
                  <a:lnTo>
                    <a:pt x="229082" y="147853"/>
                  </a:lnTo>
                  <a:lnTo>
                    <a:pt x="229082" y="145923"/>
                  </a:lnTo>
                  <a:lnTo>
                    <a:pt x="217957" y="154203"/>
                  </a:lnTo>
                  <a:lnTo>
                    <a:pt x="217385" y="155473"/>
                  </a:lnTo>
                  <a:lnTo>
                    <a:pt x="215646" y="156743"/>
                  </a:lnTo>
                  <a:lnTo>
                    <a:pt x="214680" y="156743"/>
                  </a:lnTo>
                  <a:lnTo>
                    <a:pt x="215265" y="156273"/>
                  </a:lnTo>
                  <a:lnTo>
                    <a:pt x="214858" y="156235"/>
                  </a:lnTo>
                  <a:lnTo>
                    <a:pt x="214045" y="156108"/>
                  </a:lnTo>
                  <a:lnTo>
                    <a:pt x="214160" y="156400"/>
                  </a:lnTo>
                  <a:lnTo>
                    <a:pt x="214274" y="156705"/>
                  </a:lnTo>
                  <a:lnTo>
                    <a:pt x="214033" y="156743"/>
                  </a:lnTo>
                  <a:lnTo>
                    <a:pt x="214033" y="158013"/>
                  </a:lnTo>
                  <a:lnTo>
                    <a:pt x="207289" y="163525"/>
                  </a:lnTo>
                  <a:lnTo>
                    <a:pt x="207289" y="221513"/>
                  </a:lnTo>
                  <a:lnTo>
                    <a:pt x="206946" y="221513"/>
                  </a:lnTo>
                  <a:lnTo>
                    <a:pt x="206743" y="221335"/>
                  </a:lnTo>
                  <a:lnTo>
                    <a:pt x="206743" y="222783"/>
                  </a:lnTo>
                  <a:lnTo>
                    <a:pt x="204381" y="224053"/>
                  </a:lnTo>
                  <a:lnTo>
                    <a:pt x="206146" y="224053"/>
                  </a:lnTo>
                  <a:lnTo>
                    <a:pt x="199707" y="227863"/>
                  </a:lnTo>
                  <a:lnTo>
                    <a:pt x="198475" y="227037"/>
                  </a:lnTo>
                  <a:lnTo>
                    <a:pt x="198475" y="229133"/>
                  </a:lnTo>
                  <a:lnTo>
                    <a:pt x="191096" y="235483"/>
                  </a:lnTo>
                  <a:lnTo>
                    <a:pt x="191503" y="224053"/>
                  </a:lnTo>
                  <a:lnTo>
                    <a:pt x="193484" y="225323"/>
                  </a:lnTo>
                  <a:lnTo>
                    <a:pt x="198475" y="229133"/>
                  </a:lnTo>
                  <a:lnTo>
                    <a:pt x="198475" y="227037"/>
                  </a:lnTo>
                  <a:lnTo>
                    <a:pt x="194094" y="224053"/>
                  </a:lnTo>
                  <a:lnTo>
                    <a:pt x="192227" y="222783"/>
                  </a:lnTo>
                  <a:lnTo>
                    <a:pt x="193573" y="221513"/>
                  </a:lnTo>
                  <a:lnTo>
                    <a:pt x="195453" y="222821"/>
                  </a:lnTo>
                  <a:lnTo>
                    <a:pt x="197319" y="224053"/>
                  </a:lnTo>
                  <a:lnTo>
                    <a:pt x="201866" y="224053"/>
                  </a:lnTo>
                  <a:lnTo>
                    <a:pt x="199402" y="222783"/>
                  </a:lnTo>
                  <a:lnTo>
                    <a:pt x="195745" y="222783"/>
                  </a:lnTo>
                  <a:lnTo>
                    <a:pt x="194106" y="221564"/>
                  </a:lnTo>
                  <a:lnTo>
                    <a:pt x="196926" y="218973"/>
                  </a:lnTo>
                  <a:lnTo>
                    <a:pt x="197954" y="220243"/>
                  </a:lnTo>
                  <a:lnTo>
                    <a:pt x="198983" y="220243"/>
                  </a:lnTo>
                  <a:lnTo>
                    <a:pt x="201752" y="221513"/>
                  </a:lnTo>
                  <a:lnTo>
                    <a:pt x="205244" y="221513"/>
                  </a:lnTo>
                  <a:lnTo>
                    <a:pt x="206743" y="222783"/>
                  </a:lnTo>
                  <a:lnTo>
                    <a:pt x="206743" y="221335"/>
                  </a:lnTo>
                  <a:lnTo>
                    <a:pt x="204419" y="219240"/>
                  </a:lnTo>
                  <a:lnTo>
                    <a:pt x="204419" y="220243"/>
                  </a:lnTo>
                  <a:lnTo>
                    <a:pt x="199301" y="220243"/>
                  </a:lnTo>
                  <a:lnTo>
                    <a:pt x="198412" y="218973"/>
                  </a:lnTo>
                  <a:lnTo>
                    <a:pt x="197510" y="218973"/>
                  </a:lnTo>
                  <a:lnTo>
                    <a:pt x="200126" y="217703"/>
                  </a:lnTo>
                  <a:lnTo>
                    <a:pt x="204419" y="220243"/>
                  </a:lnTo>
                  <a:lnTo>
                    <a:pt x="204419" y="219240"/>
                  </a:lnTo>
                  <a:lnTo>
                    <a:pt x="202730" y="217703"/>
                  </a:lnTo>
                  <a:lnTo>
                    <a:pt x="201333" y="216433"/>
                  </a:lnTo>
                  <a:lnTo>
                    <a:pt x="202755" y="215163"/>
                  </a:lnTo>
                  <a:lnTo>
                    <a:pt x="207162" y="216700"/>
                  </a:lnTo>
                  <a:lnTo>
                    <a:pt x="207289" y="221513"/>
                  </a:lnTo>
                  <a:lnTo>
                    <a:pt x="207289" y="163525"/>
                  </a:lnTo>
                  <a:lnTo>
                    <a:pt x="207149" y="163639"/>
                  </a:lnTo>
                  <a:lnTo>
                    <a:pt x="207149" y="216344"/>
                  </a:lnTo>
                  <a:lnTo>
                    <a:pt x="203517" y="214490"/>
                  </a:lnTo>
                  <a:lnTo>
                    <a:pt x="207035" y="211353"/>
                  </a:lnTo>
                  <a:lnTo>
                    <a:pt x="207149" y="216344"/>
                  </a:lnTo>
                  <a:lnTo>
                    <a:pt x="207149" y="163639"/>
                  </a:lnTo>
                  <a:lnTo>
                    <a:pt x="206959" y="163791"/>
                  </a:lnTo>
                  <a:lnTo>
                    <a:pt x="206959" y="208813"/>
                  </a:lnTo>
                  <a:lnTo>
                    <a:pt x="206959" y="210083"/>
                  </a:lnTo>
                  <a:lnTo>
                    <a:pt x="202057" y="213741"/>
                  </a:lnTo>
                  <a:lnTo>
                    <a:pt x="201155" y="213283"/>
                  </a:lnTo>
                  <a:lnTo>
                    <a:pt x="201155" y="214414"/>
                  </a:lnTo>
                  <a:lnTo>
                    <a:pt x="200139" y="215163"/>
                  </a:lnTo>
                  <a:lnTo>
                    <a:pt x="198907" y="214388"/>
                  </a:lnTo>
                  <a:lnTo>
                    <a:pt x="198907" y="216433"/>
                  </a:lnTo>
                  <a:lnTo>
                    <a:pt x="197154" y="217703"/>
                  </a:lnTo>
                  <a:lnTo>
                    <a:pt x="195897" y="218973"/>
                  </a:lnTo>
                  <a:lnTo>
                    <a:pt x="194487" y="217703"/>
                  </a:lnTo>
                  <a:lnTo>
                    <a:pt x="194106" y="217703"/>
                  </a:lnTo>
                  <a:lnTo>
                    <a:pt x="195326" y="218973"/>
                  </a:lnTo>
                  <a:lnTo>
                    <a:pt x="192582" y="221513"/>
                  </a:lnTo>
                  <a:lnTo>
                    <a:pt x="192112" y="220599"/>
                  </a:lnTo>
                  <a:lnTo>
                    <a:pt x="191947" y="220243"/>
                  </a:lnTo>
                  <a:lnTo>
                    <a:pt x="191655" y="220243"/>
                  </a:lnTo>
                  <a:lnTo>
                    <a:pt x="191731" y="217703"/>
                  </a:lnTo>
                  <a:lnTo>
                    <a:pt x="191795" y="216471"/>
                  </a:lnTo>
                  <a:lnTo>
                    <a:pt x="192925" y="217703"/>
                  </a:lnTo>
                  <a:lnTo>
                    <a:pt x="193128" y="217703"/>
                  </a:lnTo>
                  <a:lnTo>
                    <a:pt x="191808" y="216433"/>
                  </a:lnTo>
                  <a:lnTo>
                    <a:pt x="191998" y="211353"/>
                  </a:lnTo>
                  <a:lnTo>
                    <a:pt x="198907" y="216433"/>
                  </a:lnTo>
                  <a:lnTo>
                    <a:pt x="198907" y="214388"/>
                  </a:lnTo>
                  <a:lnTo>
                    <a:pt x="194081" y="211353"/>
                  </a:lnTo>
                  <a:lnTo>
                    <a:pt x="192062" y="210083"/>
                  </a:lnTo>
                  <a:lnTo>
                    <a:pt x="198412" y="213360"/>
                  </a:lnTo>
                  <a:lnTo>
                    <a:pt x="201155" y="214414"/>
                  </a:lnTo>
                  <a:lnTo>
                    <a:pt x="201155" y="213283"/>
                  </a:lnTo>
                  <a:lnTo>
                    <a:pt x="198869" y="212090"/>
                  </a:lnTo>
                  <a:lnTo>
                    <a:pt x="192303" y="208622"/>
                  </a:lnTo>
                  <a:lnTo>
                    <a:pt x="194957" y="206273"/>
                  </a:lnTo>
                  <a:lnTo>
                    <a:pt x="199250" y="202463"/>
                  </a:lnTo>
                  <a:lnTo>
                    <a:pt x="206959" y="208813"/>
                  </a:lnTo>
                  <a:lnTo>
                    <a:pt x="206959" y="163791"/>
                  </a:lnTo>
                  <a:lnTo>
                    <a:pt x="206908" y="207543"/>
                  </a:lnTo>
                  <a:lnTo>
                    <a:pt x="201726" y="202463"/>
                  </a:lnTo>
                  <a:lnTo>
                    <a:pt x="200431" y="201193"/>
                  </a:lnTo>
                  <a:lnTo>
                    <a:pt x="201980" y="199923"/>
                  </a:lnTo>
                  <a:lnTo>
                    <a:pt x="206629" y="196113"/>
                  </a:lnTo>
                  <a:lnTo>
                    <a:pt x="206908" y="207543"/>
                  </a:lnTo>
                  <a:lnTo>
                    <a:pt x="206908" y="163830"/>
                  </a:lnTo>
                  <a:lnTo>
                    <a:pt x="206540" y="164134"/>
                  </a:lnTo>
                  <a:lnTo>
                    <a:pt x="206540" y="193573"/>
                  </a:lnTo>
                  <a:lnTo>
                    <a:pt x="206159" y="193255"/>
                  </a:lnTo>
                  <a:lnTo>
                    <a:pt x="206159" y="194843"/>
                  </a:lnTo>
                  <a:lnTo>
                    <a:pt x="199263" y="199923"/>
                  </a:lnTo>
                  <a:lnTo>
                    <a:pt x="198081" y="199034"/>
                  </a:lnTo>
                  <a:lnTo>
                    <a:pt x="198081" y="201193"/>
                  </a:lnTo>
                  <a:lnTo>
                    <a:pt x="192176" y="206273"/>
                  </a:lnTo>
                  <a:lnTo>
                    <a:pt x="192544" y="197383"/>
                  </a:lnTo>
                  <a:lnTo>
                    <a:pt x="198081" y="201193"/>
                  </a:lnTo>
                  <a:lnTo>
                    <a:pt x="198081" y="199034"/>
                  </a:lnTo>
                  <a:lnTo>
                    <a:pt x="195935" y="197383"/>
                  </a:lnTo>
                  <a:lnTo>
                    <a:pt x="192620" y="194843"/>
                  </a:lnTo>
                  <a:lnTo>
                    <a:pt x="195287" y="192303"/>
                  </a:lnTo>
                  <a:lnTo>
                    <a:pt x="199301" y="188493"/>
                  </a:lnTo>
                  <a:lnTo>
                    <a:pt x="206159" y="194843"/>
                  </a:lnTo>
                  <a:lnTo>
                    <a:pt x="206159" y="193255"/>
                  </a:lnTo>
                  <a:lnTo>
                    <a:pt x="200469" y="188493"/>
                  </a:lnTo>
                  <a:lnTo>
                    <a:pt x="201917" y="187223"/>
                  </a:lnTo>
                  <a:lnTo>
                    <a:pt x="206260" y="183413"/>
                  </a:lnTo>
                  <a:lnTo>
                    <a:pt x="206540" y="193573"/>
                  </a:lnTo>
                  <a:lnTo>
                    <a:pt x="206540" y="164134"/>
                  </a:lnTo>
                  <a:lnTo>
                    <a:pt x="206248" y="164363"/>
                  </a:lnTo>
                  <a:lnTo>
                    <a:pt x="206184" y="179603"/>
                  </a:lnTo>
                  <a:lnTo>
                    <a:pt x="205371" y="178689"/>
                  </a:lnTo>
                  <a:lnTo>
                    <a:pt x="205371" y="180873"/>
                  </a:lnTo>
                  <a:lnTo>
                    <a:pt x="204444" y="180873"/>
                  </a:lnTo>
                  <a:lnTo>
                    <a:pt x="204444" y="182143"/>
                  </a:lnTo>
                  <a:lnTo>
                    <a:pt x="199326" y="187223"/>
                  </a:lnTo>
                  <a:lnTo>
                    <a:pt x="198158" y="186029"/>
                  </a:lnTo>
                  <a:lnTo>
                    <a:pt x="198158" y="188493"/>
                  </a:lnTo>
                  <a:lnTo>
                    <a:pt x="192709" y="192303"/>
                  </a:lnTo>
                  <a:lnTo>
                    <a:pt x="193078" y="183413"/>
                  </a:lnTo>
                  <a:lnTo>
                    <a:pt x="198158" y="188493"/>
                  </a:lnTo>
                  <a:lnTo>
                    <a:pt x="198158" y="186029"/>
                  </a:lnTo>
                  <a:lnTo>
                    <a:pt x="195618" y="183413"/>
                  </a:lnTo>
                  <a:lnTo>
                    <a:pt x="194386" y="182143"/>
                  </a:lnTo>
                  <a:lnTo>
                    <a:pt x="204444" y="182143"/>
                  </a:lnTo>
                  <a:lnTo>
                    <a:pt x="204444" y="180873"/>
                  </a:lnTo>
                  <a:lnTo>
                    <a:pt x="193954" y="180873"/>
                  </a:lnTo>
                  <a:lnTo>
                    <a:pt x="195084" y="179603"/>
                  </a:lnTo>
                  <a:lnTo>
                    <a:pt x="199605" y="174523"/>
                  </a:lnTo>
                  <a:lnTo>
                    <a:pt x="205371" y="180873"/>
                  </a:lnTo>
                  <a:lnTo>
                    <a:pt x="205371" y="178689"/>
                  </a:lnTo>
                  <a:lnTo>
                    <a:pt x="201701" y="174523"/>
                  </a:lnTo>
                  <a:lnTo>
                    <a:pt x="200583" y="173253"/>
                  </a:lnTo>
                  <a:lnTo>
                    <a:pt x="201625" y="171983"/>
                  </a:lnTo>
                  <a:lnTo>
                    <a:pt x="205828" y="166903"/>
                  </a:lnTo>
                  <a:lnTo>
                    <a:pt x="206184" y="179603"/>
                  </a:lnTo>
                  <a:lnTo>
                    <a:pt x="206184" y="164363"/>
                  </a:lnTo>
                  <a:lnTo>
                    <a:pt x="204546" y="164363"/>
                  </a:lnTo>
                  <a:lnTo>
                    <a:pt x="204546" y="165633"/>
                  </a:lnTo>
                  <a:lnTo>
                    <a:pt x="199605" y="171983"/>
                  </a:lnTo>
                  <a:lnTo>
                    <a:pt x="198640" y="170776"/>
                  </a:lnTo>
                  <a:lnTo>
                    <a:pt x="198640" y="173253"/>
                  </a:lnTo>
                  <a:lnTo>
                    <a:pt x="193192" y="179603"/>
                  </a:lnTo>
                  <a:lnTo>
                    <a:pt x="193624" y="166903"/>
                  </a:lnTo>
                  <a:lnTo>
                    <a:pt x="198640" y="173253"/>
                  </a:lnTo>
                  <a:lnTo>
                    <a:pt x="198640" y="170776"/>
                  </a:lnTo>
                  <a:lnTo>
                    <a:pt x="195580" y="166903"/>
                  </a:lnTo>
                  <a:lnTo>
                    <a:pt x="194576" y="165633"/>
                  </a:lnTo>
                  <a:lnTo>
                    <a:pt x="204546" y="165633"/>
                  </a:lnTo>
                  <a:lnTo>
                    <a:pt x="204546" y="164363"/>
                  </a:lnTo>
                  <a:lnTo>
                    <a:pt x="193205" y="164363"/>
                  </a:lnTo>
                  <a:lnTo>
                    <a:pt x="192151" y="163525"/>
                  </a:lnTo>
                  <a:lnTo>
                    <a:pt x="192151" y="166903"/>
                  </a:lnTo>
                  <a:lnTo>
                    <a:pt x="191681" y="180873"/>
                  </a:lnTo>
                  <a:lnTo>
                    <a:pt x="191617" y="182143"/>
                  </a:lnTo>
                  <a:lnTo>
                    <a:pt x="190639" y="207746"/>
                  </a:lnTo>
                  <a:lnTo>
                    <a:pt x="190576" y="209245"/>
                  </a:lnTo>
                  <a:lnTo>
                    <a:pt x="190360" y="215163"/>
                  </a:lnTo>
                  <a:lnTo>
                    <a:pt x="190334" y="216433"/>
                  </a:lnTo>
                  <a:lnTo>
                    <a:pt x="190207" y="218973"/>
                  </a:lnTo>
                  <a:lnTo>
                    <a:pt x="189382" y="218973"/>
                  </a:lnTo>
                  <a:lnTo>
                    <a:pt x="187807" y="217703"/>
                  </a:lnTo>
                  <a:lnTo>
                    <a:pt x="184378" y="215163"/>
                  </a:lnTo>
                  <a:lnTo>
                    <a:pt x="181330" y="211353"/>
                  </a:lnTo>
                  <a:lnTo>
                    <a:pt x="175831" y="205003"/>
                  </a:lnTo>
                  <a:lnTo>
                    <a:pt x="173342" y="202463"/>
                  </a:lnTo>
                  <a:lnTo>
                    <a:pt x="170992" y="198653"/>
                  </a:lnTo>
                  <a:lnTo>
                    <a:pt x="175641" y="203733"/>
                  </a:lnTo>
                  <a:lnTo>
                    <a:pt x="180708" y="208813"/>
                  </a:lnTo>
                  <a:lnTo>
                    <a:pt x="186524" y="213893"/>
                  </a:lnTo>
                  <a:lnTo>
                    <a:pt x="187756" y="215163"/>
                  </a:lnTo>
                  <a:lnTo>
                    <a:pt x="189026" y="215163"/>
                  </a:lnTo>
                  <a:lnTo>
                    <a:pt x="190334" y="216433"/>
                  </a:lnTo>
                  <a:lnTo>
                    <a:pt x="190334" y="215163"/>
                  </a:lnTo>
                  <a:lnTo>
                    <a:pt x="189179" y="215163"/>
                  </a:lnTo>
                  <a:lnTo>
                    <a:pt x="188023" y="213893"/>
                  </a:lnTo>
                  <a:lnTo>
                    <a:pt x="186905" y="212623"/>
                  </a:lnTo>
                  <a:lnTo>
                    <a:pt x="181457" y="208813"/>
                  </a:lnTo>
                  <a:lnTo>
                    <a:pt x="176415" y="203733"/>
                  </a:lnTo>
                  <a:lnTo>
                    <a:pt x="171716" y="198653"/>
                  </a:lnTo>
                  <a:lnTo>
                    <a:pt x="170535" y="196977"/>
                  </a:lnTo>
                  <a:lnTo>
                    <a:pt x="179412" y="203200"/>
                  </a:lnTo>
                  <a:lnTo>
                    <a:pt x="188874" y="208343"/>
                  </a:lnTo>
                  <a:lnTo>
                    <a:pt x="190576" y="209245"/>
                  </a:lnTo>
                  <a:lnTo>
                    <a:pt x="190576" y="207721"/>
                  </a:lnTo>
                  <a:lnTo>
                    <a:pt x="189268" y="207010"/>
                  </a:lnTo>
                  <a:lnTo>
                    <a:pt x="179997" y="201930"/>
                  </a:lnTo>
                  <a:lnTo>
                    <a:pt x="171018" y="195580"/>
                  </a:lnTo>
                  <a:lnTo>
                    <a:pt x="168071" y="193433"/>
                  </a:lnTo>
                  <a:lnTo>
                    <a:pt x="167284" y="192303"/>
                  </a:lnTo>
                  <a:lnTo>
                    <a:pt x="167068" y="192303"/>
                  </a:lnTo>
                  <a:lnTo>
                    <a:pt x="169799" y="188493"/>
                  </a:lnTo>
                  <a:lnTo>
                    <a:pt x="172339" y="184683"/>
                  </a:lnTo>
                  <a:lnTo>
                    <a:pt x="176276" y="177063"/>
                  </a:lnTo>
                  <a:lnTo>
                    <a:pt x="177749" y="174523"/>
                  </a:lnTo>
                  <a:lnTo>
                    <a:pt x="179184" y="170713"/>
                  </a:lnTo>
                  <a:lnTo>
                    <a:pt x="191617" y="182143"/>
                  </a:lnTo>
                  <a:lnTo>
                    <a:pt x="191617" y="180822"/>
                  </a:lnTo>
                  <a:lnTo>
                    <a:pt x="185013" y="174523"/>
                  </a:lnTo>
                  <a:lnTo>
                    <a:pt x="186194" y="173253"/>
                  </a:lnTo>
                  <a:lnTo>
                    <a:pt x="192151" y="166903"/>
                  </a:lnTo>
                  <a:lnTo>
                    <a:pt x="192151" y="163525"/>
                  </a:lnTo>
                  <a:lnTo>
                    <a:pt x="191173" y="162750"/>
                  </a:lnTo>
                  <a:lnTo>
                    <a:pt x="191173" y="165633"/>
                  </a:lnTo>
                  <a:lnTo>
                    <a:pt x="183883" y="173253"/>
                  </a:lnTo>
                  <a:lnTo>
                    <a:pt x="181178" y="170713"/>
                  </a:lnTo>
                  <a:lnTo>
                    <a:pt x="179832" y="169443"/>
                  </a:lnTo>
                  <a:lnTo>
                    <a:pt x="181737" y="165633"/>
                  </a:lnTo>
                  <a:lnTo>
                    <a:pt x="191173" y="165633"/>
                  </a:lnTo>
                  <a:lnTo>
                    <a:pt x="191173" y="162750"/>
                  </a:lnTo>
                  <a:lnTo>
                    <a:pt x="190754" y="162420"/>
                  </a:lnTo>
                  <a:lnTo>
                    <a:pt x="190754" y="164363"/>
                  </a:lnTo>
                  <a:lnTo>
                    <a:pt x="182460" y="164363"/>
                  </a:lnTo>
                  <a:lnTo>
                    <a:pt x="183197" y="163093"/>
                  </a:lnTo>
                  <a:lnTo>
                    <a:pt x="184581" y="159283"/>
                  </a:lnTo>
                  <a:lnTo>
                    <a:pt x="190754" y="164363"/>
                  </a:lnTo>
                  <a:lnTo>
                    <a:pt x="190754" y="162420"/>
                  </a:lnTo>
                  <a:lnTo>
                    <a:pt x="186817" y="159283"/>
                  </a:lnTo>
                  <a:lnTo>
                    <a:pt x="185216" y="158013"/>
                  </a:lnTo>
                  <a:lnTo>
                    <a:pt x="186537" y="155473"/>
                  </a:lnTo>
                  <a:lnTo>
                    <a:pt x="187820" y="151663"/>
                  </a:lnTo>
                  <a:lnTo>
                    <a:pt x="189801" y="146583"/>
                  </a:lnTo>
                  <a:lnTo>
                    <a:pt x="191249" y="142773"/>
                  </a:lnTo>
                  <a:lnTo>
                    <a:pt x="193649" y="145313"/>
                  </a:lnTo>
                  <a:lnTo>
                    <a:pt x="196164" y="147853"/>
                  </a:lnTo>
                  <a:lnTo>
                    <a:pt x="201612" y="151663"/>
                  </a:lnTo>
                  <a:lnTo>
                    <a:pt x="204533" y="154203"/>
                  </a:lnTo>
                  <a:lnTo>
                    <a:pt x="209588" y="155473"/>
                  </a:lnTo>
                  <a:lnTo>
                    <a:pt x="211556" y="156743"/>
                  </a:lnTo>
                  <a:lnTo>
                    <a:pt x="213436" y="156743"/>
                  </a:lnTo>
                  <a:lnTo>
                    <a:pt x="211531" y="155473"/>
                  </a:lnTo>
                  <a:lnTo>
                    <a:pt x="209638" y="155473"/>
                  </a:lnTo>
                  <a:lnTo>
                    <a:pt x="204698" y="152933"/>
                  </a:lnTo>
                  <a:lnTo>
                    <a:pt x="201790" y="151663"/>
                  </a:lnTo>
                  <a:lnTo>
                    <a:pt x="199085" y="149123"/>
                  </a:lnTo>
                  <a:lnTo>
                    <a:pt x="196354" y="147853"/>
                  </a:lnTo>
                  <a:lnTo>
                    <a:pt x="193802" y="145313"/>
                  </a:lnTo>
                  <a:lnTo>
                    <a:pt x="191389" y="142773"/>
                  </a:lnTo>
                  <a:lnTo>
                    <a:pt x="193725" y="136423"/>
                  </a:lnTo>
                  <a:lnTo>
                    <a:pt x="195973" y="130073"/>
                  </a:lnTo>
                  <a:lnTo>
                    <a:pt x="198120" y="123723"/>
                  </a:lnTo>
                  <a:lnTo>
                    <a:pt x="200202" y="117373"/>
                  </a:lnTo>
                  <a:lnTo>
                    <a:pt x="203377" y="127533"/>
                  </a:lnTo>
                  <a:lnTo>
                    <a:pt x="206629" y="136423"/>
                  </a:lnTo>
                  <a:lnTo>
                    <a:pt x="209981" y="146583"/>
                  </a:lnTo>
                  <a:lnTo>
                    <a:pt x="213436" y="156743"/>
                  </a:lnTo>
                  <a:lnTo>
                    <a:pt x="213575" y="156743"/>
                  </a:lnTo>
                  <a:lnTo>
                    <a:pt x="214033" y="158013"/>
                  </a:lnTo>
                  <a:lnTo>
                    <a:pt x="214033" y="156743"/>
                  </a:lnTo>
                  <a:lnTo>
                    <a:pt x="210426" y="146583"/>
                  </a:lnTo>
                  <a:lnTo>
                    <a:pt x="207048" y="136423"/>
                  </a:lnTo>
                  <a:lnTo>
                    <a:pt x="203771" y="127533"/>
                  </a:lnTo>
                  <a:lnTo>
                    <a:pt x="200583" y="117373"/>
                  </a:lnTo>
                  <a:lnTo>
                    <a:pt x="200748" y="117373"/>
                  </a:lnTo>
                  <a:lnTo>
                    <a:pt x="200748" y="114833"/>
                  </a:lnTo>
                  <a:lnTo>
                    <a:pt x="201904" y="114833"/>
                  </a:lnTo>
                  <a:lnTo>
                    <a:pt x="201726" y="113563"/>
                  </a:lnTo>
                  <a:lnTo>
                    <a:pt x="201345" y="113563"/>
                  </a:lnTo>
                  <a:lnTo>
                    <a:pt x="201206" y="112293"/>
                  </a:lnTo>
                  <a:lnTo>
                    <a:pt x="201904" y="112293"/>
                  </a:lnTo>
                  <a:lnTo>
                    <a:pt x="201726" y="111023"/>
                  </a:lnTo>
                  <a:lnTo>
                    <a:pt x="201345" y="111023"/>
                  </a:lnTo>
                  <a:lnTo>
                    <a:pt x="201206" y="109753"/>
                  </a:lnTo>
                  <a:lnTo>
                    <a:pt x="201904" y="109753"/>
                  </a:lnTo>
                  <a:lnTo>
                    <a:pt x="201726" y="108483"/>
                  </a:lnTo>
                  <a:lnTo>
                    <a:pt x="201345" y="108483"/>
                  </a:lnTo>
                  <a:lnTo>
                    <a:pt x="201206" y="107213"/>
                  </a:lnTo>
                  <a:lnTo>
                    <a:pt x="201904" y="107213"/>
                  </a:lnTo>
                  <a:lnTo>
                    <a:pt x="201726" y="105943"/>
                  </a:lnTo>
                  <a:lnTo>
                    <a:pt x="201904" y="104673"/>
                  </a:lnTo>
                  <a:lnTo>
                    <a:pt x="201726" y="104673"/>
                  </a:lnTo>
                  <a:lnTo>
                    <a:pt x="201460" y="103403"/>
                  </a:lnTo>
                  <a:lnTo>
                    <a:pt x="201663" y="103403"/>
                  </a:lnTo>
                  <a:lnTo>
                    <a:pt x="201904" y="102158"/>
                  </a:lnTo>
                  <a:lnTo>
                    <a:pt x="204736" y="103403"/>
                  </a:lnTo>
                  <a:lnTo>
                    <a:pt x="207721" y="104673"/>
                  </a:lnTo>
                  <a:lnTo>
                    <a:pt x="215214" y="105943"/>
                  </a:lnTo>
                  <a:lnTo>
                    <a:pt x="219811" y="105943"/>
                  </a:lnTo>
                  <a:lnTo>
                    <a:pt x="224142" y="104673"/>
                  </a:lnTo>
                  <a:lnTo>
                    <a:pt x="234480" y="120650"/>
                  </a:lnTo>
                  <a:lnTo>
                    <a:pt x="236423" y="123583"/>
                  </a:lnTo>
                  <a:lnTo>
                    <a:pt x="236423" y="122326"/>
                  </a:lnTo>
                  <a:lnTo>
                    <a:pt x="235318" y="120650"/>
                  </a:lnTo>
                  <a:lnTo>
                    <a:pt x="224929" y="104355"/>
                  </a:lnTo>
                  <a:lnTo>
                    <a:pt x="227330" y="103403"/>
                  </a:lnTo>
                  <a:lnTo>
                    <a:pt x="230339" y="102133"/>
                  </a:lnTo>
                  <a:lnTo>
                    <a:pt x="233070" y="100863"/>
                  </a:lnTo>
                  <a:lnTo>
                    <a:pt x="240588" y="109753"/>
                  </a:lnTo>
                  <a:lnTo>
                    <a:pt x="240588" y="107835"/>
                  </a:lnTo>
                  <a:lnTo>
                    <a:pt x="234962" y="100863"/>
                  </a:lnTo>
                  <a:lnTo>
                    <a:pt x="236423" y="99593"/>
                  </a:lnTo>
                  <a:lnTo>
                    <a:pt x="243738" y="93243"/>
                  </a:lnTo>
                  <a:lnTo>
                    <a:pt x="246659" y="90703"/>
                  </a:lnTo>
                  <a:lnTo>
                    <a:pt x="246659" y="88163"/>
                  </a:lnTo>
                  <a:lnTo>
                    <a:pt x="245973" y="88163"/>
                  </a:lnTo>
                  <a:lnTo>
                    <a:pt x="245973" y="89433"/>
                  </a:lnTo>
                  <a:lnTo>
                    <a:pt x="240893" y="93243"/>
                  </a:lnTo>
                  <a:lnTo>
                    <a:pt x="242125" y="91973"/>
                  </a:lnTo>
                  <a:lnTo>
                    <a:pt x="243281" y="90703"/>
                  </a:lnTo>
                  <a:lnTo>
                    <a:pt x="244398" y="89433"/>
                  </a:lnTo>
                  <a:lnTo>
                    <a:pt x="245973" y="89433"/>
                  </a:lnTo>
                  <a:lnTo>
                    <a:pt x="245973" y="88163"/>
                  </a:lnTo>
                  <a:lnTo>
                    <a:pt x="245529" y="88163"/>
                  </a:lnTo>
                  <a:lnTo>
                    <a:pt x="246888" y="85623"/>
                  </a:lnTo>
                  <a:lnTo>
                    <a:pt x="248183" y="84353"/>
                  </a:lnTo>
                  <a:lnTo>
                    <a:pt x="249389" y="81813"/>
                  </a:lnTo>
                  <a:lnTo>
                    <a:pt x="249389" y="81457"/>
                  </a:lnTo>
                  <a:lnTo>
                    <a:pt x="248412" y="83083"/>
                  </a:lnTo>
                  <a:lnTo>
                    <a:pt x="246761" y="85623"/>
                  </a:lnTo>
                  <a:lnTo>
                    <a:pt x="244983" y="88163"/>
                  </a:lnTo>
                  <a:lnTo>
                    <a:pt x="243827" y="88163"/>
                  </a:lnTo>
                  <a:lnTo>
                    <a:pt x="243827" y="89433"/>
                  </a:lnTo>
                  <a:lnTo>
                    <a:pt x="241427" y="91973"/>
                  </a:lnTo>
                  <a:lnTo>
                    <a:pt x="238772" y="95783"/>
                  </a:lnTo>
                  <a:lnTo>
                    <a:pt x="235000" y="98323"/>
                  </a:lnTo>
                  <a:lnTo>
                    <a:pt x="234010" y="99593"/>
                  </a:lnTo>
                  <a:lnTo>
                    <a:pt x="232791" y="97929"/>
                  </a:lnTo>
                  <a:lnTo>
                    <a:pt x="232791" y="99593"/>
                  </a:lnTo>
                  <a:lnTo>
                    <a:pt x="230085" y="102133"/>
                  </a:lnTo>
                  <a:lnTo>
                    <a:pt x="227152" y="103403"/>
                  </a:lnTo>
                  <a:lnTo>
                    <a:pt x="224624" y="103847"/>
                  </a:lnTo>
                  <a:lnTo>
                    <a:pt x="223812" y="102425"/>
                  </a:lnTo>
                  <a:lnTo>
                    <a:pt x="223812" y="103987"/>
                  </a:lnTo>
                  <a:lnTo>
                    <a:pt x="219760" y="104673"/>
                  </a:lnTo>
                  <a:lnTo>
                    <a:pt x="215226" y="104673"/>
                  </a:lnTo>
                  <a:lnTo>
                    <a:pt x="207619" y="103403"/>
                  </a:lnTo>
                  <a:lnTo>
                    <a:pt x="204470" y="102133"/>
                  </a:lnTo>
                  <a:lnTo>
                    <a:pt x="201434" y="100863"/>
                  </a:lnTo>
                  <a:lnTo>
                    <a:pt x="201663" y="100863"/>
                  </a:lnTo>
                  <a:lnTo>
                    <a:pt x="201904" y="99593"/>
                  </a:lnTo>
                  <a:lnTo>
                    <a:pt x="201460" y="99593"/>
                  </a:lnTo>
                  <a:lnTo>
                    <a:pt x="201434" y="98323"/>
                  </a:lnTo>
                  <a:lnTo>
                    <a:pt x="201663" y="98323"/>
                  </a:lnTo>
                  <a:lnTo>
                    <a:pt x="201904" y="97053"/>
                  </a:lnTo>
                  <a:lnTo>
                    <a:pt x="201460" y="97053"/>
                  </a:lnTo>
                  <a:lnTo>
                    <a:pt x="201434" y="95783"/>
                  </a:lnTo>
                  <a:lnTo>
                    <a:pt x="201663" y="95783"/>
                  </a:lnTo>
                  <a:lnTo>
                    <a:pt x="201904" y="94513"/>
                  </a:lnTo>
                  <a:lnTo>
                    <a:pt x="201460" y="94513"/>
                  </a:lnTo>
                  <a:lnTo>
                    <a:pt x="201434" y="93243"/>
                  </a:lnTo>
                  <a:lnTo>
                    <a:pt x="201904" y="93243"/>
                  </a:lnTo>
                  <a:lnTo>
                    <a:pt x="201904" y="91973"/>
                  </a:lnTo>
                  <a:lnTo>
                    <a:pt x="201460" y="91973"/>
                  </a:lnTo>
                  <a:lnTo>
                    <a:pt x="201409" y="90703"/>
                  </a:lnTo>
                  <a:lnTo>
                    <a:pt x="201180" y="90703"/>
                  </a:lnTo>
                  <a:lnTo>
                    <a:pt x="200748" y="89433"/>
                  </a:lnTo>
                  <a:lnTo>
                    <a:pt x="214833" y="89433"/>
                  </a:lnTo>
                  <a:lnTo>
                    <a:pt x="223812" y="103987"/>
                  </a:lnTo>
                  <a:lnTo>
                    <a:pt x="223812" y="102425"/>
                  </a:lnTo>
                  <a:lnTo>
                    <a:pt x="216395" y="89433"/>
                  </a:lnTo>
                  <a:lnTo>
                    <a:pt x="224713" y="89433"/>
                  </a:lnTo>
                  <a:lnTo>
                    <a:pt x="232791" y="99593"/>
                  </a:lnTo>
                  <a:lnTo>
                    <a:pt x="232791" y="97929"/>
                  </a:lnTo>
                  <a:lnTo>
                    <a:pt x="226580" y="89433"/>
                  </a:lnTo>
                  <a:lnTo>
                    <a:pt x="243827" y="89433"/>
                  </a:lnTo>
                  <a:lnTo>
                    <a:pt x="243827" y="88163"/>
                  </a:lnTo>
                  <a:lnTo>
                    <a:pt x="215671" y="88163"/>
                  </a:lnTo>
                  <a:lnTo>
                    <a:pt x="214642" y="86360"/>
                  </a:lnTo>
                  <a:lnTo>
                    <a:pt x="204787" y="69850"/>
                  </a:lnTo>
                  <a:lnTo>
                    <a:pt x="195872" y="53340"/>
                  </a:lnTo>
                  <a:lnTo>
                    <a:pt x="187159" y="36830"/>
                  </a:lnTo>
                  <a:lnTo>
                    <a:pt x="183578" y="30480"/>
                  </a:lnTo>
                  <a:lnTo>
                    <a:pt x="209715" y="38100"/>
                  </a:lnTo>
                  <a:lnTo>
                    <a:pt x="210680" y="38100"/>
                  </a:lnTo>
                  <a:lnTo>
                    <a:pt x="218211" y="44450"/>
                  </a:lnTo>
                  <a:lnTo>
                    <a:pt x="225894" y="49530"/>
                  </a:lnTo>
                  <a:lnTo>
                    <a:pt x="233756" y="54610"/>
                  </a:lnTo>
                  <a:lnTo>
                    <a:pt x="241782" y="58420"/>
                  </a:lnTo>
                  <a:lnTo>
                    <a:pt x="249999" y="63500"/>
                  </a:lnTo>
                  <a:lnTo>
                    <a:pt x="254520" y="65557"/>
                  </a:lnTo>
                  <a:lnTo>
                    <a:pt x="254520" y="64122"/>
                  </a:lnTo>
                  <a:lnTo>
                    <a:pt x="250393" y="62230"/>
                  </a:lnTo>
                  <a:lnTo>
                    <a:pt x="242214" y="58420"/>
                  </a:lnTo>
                  <a:lnTo>
                    <a:pt x="234213" y="53340"/>
                  </a:lnTo>
                  <a:lnTo>
                    <a:pt x="226402" y="48260"/>
                  </a:lnTo>
                  <a:lnTo>
                    <a:pt x="218744" y="43180"/>
                  </a:lnTo>
                  <a:lnTo>
                    <a:pt x="212801" y="38519"/>
                  </a:lnTo>
                  <a:lnTo>
                    <a:pt x="184797" y="30480"/>
                  </a:lnTo>
                  <a:lnTo>
                    <a:pt x="182295" y="29756"/>
                  </a:lnTo>
                  <a:lnTo>
                    <a:pt x="185394" y="36830"/>
                  </a:lnTo>
                  <a:lnTo>
                    <a:pt x="194500" y="53340"/>
                  </a:lnTo>
                  <a:lnTo>
                    <a:pt x="203835" y="69850"/>
                  </a:lnTo>
                  <a:lnTo>
                    <a:pt x="213728" y="87630"/>
                  </a:lnTo>
                  <a:lnTo>
                    <a:pt x="214045" y="88163"/>
                  </a:lnTo>
                  <a:lnTo>
                    <a:pt x="199821" y="88163"/>
                  </a:lnTo>
                  <a:lnTo>
                    <a:pt x="199821" y="89433"/>
                  </a:lnTo>
                  <a:lnTo>
                    <a:pt x="199821" y="114833"/>
                  </a:lnTo>
                  <a:lnTo>
                    <a:pt x="199821" y="117373"/>
                  </a:lnTo>
                  <a:lnTo>
                    <a:pt x="197739" y="123723"/>
                  </a:lnTo>
                  <a:lnTo>
                    <a:pt x="195580" y="130073"/>
                  </a:lnTo>
                  <a:lnTo>
                    <a:pt x="193332" y="136423"/>
                  </a:lnTo>
                  <a:lnTo>
                    <a:pt x="190995" y="142773"/>
                  </a:lnTo>
                  <a:lnTo>
                    <a:pt x="190855" y="142621"/>
                  </a:lnTo>
                  <a:lnTo>
                    <a:pt x="190855" y="142773"/>
                  </a:lnTo>
                  <a:lnTo>
                    <a:pt x="187337" y="151663"/>
                  </a:lnTo>
                  <a:lnTo>
                    <a:pt x="186080" y="154203"/>
                  </a:lnTo>
                  <a:lnTo>
                    <a:pt x="184785" y="158013"/>
                  </a:lnTo>
                  <a:lnTo>
                    <a:pt x="184150" y="157505"/>
                  </a:lnTo>
                  <a:lnTo>
                    <a:pt x="184150" y="159283"/>
                  </a:lnTo>
                  <a:lnTo>
                    <a:pt x="182651" y="163093"/>
                  </a:lnTo>
                  <a:lnTo>
                    <a:pt x="181864" y="164363"/>
                  </a:lnTo>
                  <a:lnTo>
                    <a:pt x="181127" y="164363"/>
                  </a:lnTo>
                  <a:lnTo>
                    <a:pt x="181127" y="165633"/>
                  </a:lnTo>
                  <a:lnTo>
                    <a:pt x="179400" y="169443"/>
                  </a:lnTo>
                  <a:lnTo>
                    <a:pt x="178752" y="168846"/>
                  </a:lnTo>
                  <a:lnTo>
                    <a:pt x="178752" y="170713"/>
                  </a:lnTo>
                  <a:lnTo>
                    <a:pt x="177292" y="173253"/>
                  </a:lnTo>
                  <a:lnTo>
                    <a:pt x="175793" y="177063"/>
                  </a:lnTo>
                  <a:lnTo>
                    <a:pt x="171894" y="183413"/>
                  </a:lnTo>
                  <a:lnTo>
                    <a:pt x="169392" y="188493"/>
                  </a:lnTo>
                  <a:lnTo>
                    <a:pt x="166725" y="192303"/>
                  </a:lnTo>
                  <a:lnTo>
                    <a:pt x="165557" y="190131"/>
                  </a:lnTo>
                  <a:lnTo>
                    <a:pt x="165557" y="193370"/>
                  </a:lnTo>
                  <a:lnTo>
                    <a:pt x="137579" y="221513"/>
                  </a:lnTo>
                  <a:lnTo>
                    <a:pt x="124752" y="225844"/>
                  </a:lnTo>
                  <a:lnTo>
                    <a:pt x="124333" y="210820"/>
                  </a:lnTo>
                  <a:lnTo>
                    <a:pt x="124294" y="209550"/>
                  </a:lnTo>
                  <a:lnTo>
                    <a:pt x="124180" y="205740"/>
                  </a:lnTo>
                  <a:lnTo>
                    <a:pt x="124142" y="204470"/>
                  </a:lnTo>
                  <a:lnTo>
                    <a:pt x="123418" y="179070"/>
                  </a:lnTo>
                  <a:lnTo>
                    <a:pt x="123380" y="176530"/>
                  </a:lnTo>
                  <a:lnTo>
                    <a:pt x="123253" y="172720"/>
                  </a:lnTo>
                  <a:lnTo>
                    <a:pt x="123253" y="298450"/>
                  </a:lnTo>
                  <a:lnTo>
                    <a:pt x="121234" y="297307"/>
                  </a:lnTo>
                  <a:lnTo>
                    <a:pt x="121234" y="300990"/>
                  </a:lnTo>
                  <a:lnTo>
                    <a:pt x="96735" y="312420"/>
                  </a:lnTo>
                  <a:lnTo>
                    <a:pt x="76962" y="303530"/>
                  </a:lnTo>
                  <a:lnTo>
                    <a:pt x="72809" y="300990"/>
                  </a:lnTo>
                  <a:lnTo>
                    <a:pt x="76174" y="299720"/>
                  </a:lnTo>
                  <a:lnTo>
                    <a:pt x="78663" y="298450"/>
                  </a:lnTo>
                  <a:lnTo>
                    <a:pt x="81153" y="297180"/>
                  </a:lnTo>
                  <a:lnTo>
                    <a:pt x="97256" y="288290"/>
                  </a:lnTo>
                  <a:lnTo>
                    <a:pt x="121234" y="300990"/>
                  </a:lnTo>
                  <a:lnTo>
                    <a:pt x="121234" y="297307"/>
                  </a:lnTo>
                  <a:lnTo>
                    <a:pt x="105435" y="288290"/>
                  </a:lnTo>
                  <a:lnTo>
                    <a:pt x="100977" y="285750"/>
                  </a:lnTo>
                  <a:lnTo>
                    <a:pt x="105346" y="283210"/>
                  </a:lnTo>
                  <a:lnTo>
                    <a:pt x="114084" y="278130"/>
                  </a:lnTo>
                  <a:lnTo>
                    <a:pt x="122555" y="273050"/>
                  </a:lnTo>
                  <a:lnTo>
                    <a:pt x="123253" y="298450"/>
                  </a:lnTo>
                  <a:lnTo>
                    <a:pt x="123253" y="172720"/>
                  </a:lnTo>
                  <a:lnTo>
                    <a:pt x="122732" y="154940"/>
                  </a:lnTo>
                  <a:lnTo>
                    <a:pt x="128130" y="160020"/>
                  </a:lnTo>
                  <a:lnTo>
                    <a:pt x="133616" y="166370"/>
                  </a:lnTo>
                  <a:lnTo>
                    <a:pt x="139217" y="171450"/>
                  </a:lnTo>
                  <a:lnTo>
                    <a:pt x="144919" y="176530"/>
                  </a:lnTo>
                  <a:lnTo>
                    <a:pt x="153162" y="182880"/>
                  </a:lnTo>
                  <a:lnTo>
                    <a:pt x="161632" y="190500"/>
                  </a:lnTo>
                  <a:lnTo>
                    <a:pt x="165557" y="193370"/>
                  </a:lnTo>
                  <a:lnTo>
                    <a:pt x="165557" y="190131"/>
                  </a:lnTo>
                  <a:lnTo>
                    <a:pt x="164909" y="188925"/>
                  </a:lnTo>
                  <a:lnTo>
                    <a:pt x="164909" y="191135"/>
                  </a:lnTo>
                  <a:lnTo>
                    <a:pt x="162318" y="189230"/>
                  </a:lnTo>
                  <a:lnTo>
                    <a:pt x="153885" y="182880"/>
                  </a:lnTo>
                  <a:lnTo>
                    <a:pt x="145694" y="175260"/>
                  </a:lnTo>
                  <a:lnTo>
                    <a:pt x="139776" y="170180"/>
                  </a:lnTo>
                  <a:lnTo>
                    <a:pt x="133972" y="165100"/>
                  </a:lnTo>
                  <a:lnTo>
                    <a:pt x="128282" y="158750"/>
                  </a:lnTo>
                  <a:lnTo>
                    <a:pt x="124079" y="154940"/>
                  </a:lnTo>
                  <a:lnTo>
                    <a:pt x="122682" y="153670"/>
                  </a:lnTo>
                  <a:lnTo>
                    <a:pt x="122567" y="149860"/>
                  </a:lnTo>
                  <a:lnTo>
                    <a:pt x="122466" y="146050"/>
                  </a:lnTo>
                  <a:lnTo>
                    <a:pt x="122389" y="143510"/>
                  </a:lnTo>
                  <a:lnTo>
                    <a:pt x="122377" y="143090"/>
                  </a:lnTo>
                  <a:lnTo>
                    <a:pt x="122377" y="267970"/>
                  </a:lnTo>
                  <a:lnTo>
                    <a:pt x="120688" y="266979"/>
                  </a:lnTo>
                  <a:lnTo>
                    <a:pt x="120688" y="270510"/>
                  </a:lnTo>
                  <a:lnTo>
                    <a:pt x="103174" y="280670"/>
                  </a:lnTo>
                  <a:lnTo>
                    <a:pt x="97218" y="283210"/>
                  </a:lnTo>
                  <a:lnTo>
                    <a:pt x="93497" y="281216"/>
                  </a:lnTo>
                  <a:lnTo>
                    <a:pt x="93497" y="285750"/>
                  </a:lnTo>
                  <a:lnTo>
                    <a:pt x="85750" y="289560"/>
                  </a:lnTo>
                  <a:lnTo>
                    <a:pt x="78968" y="293370"/>
                  </a:lnTo>
                  <a:lnTo>
                    <a:pt x="73545" y="297180"/>
                  </a:lnTo>
                  <a:lnTo>
                    <a:pt x="69900" y="298450"/>
                  </a:lnTo>
                  <a:lnTo>
                    <a:pt x="70904" y="273050"/>
                  </a:lnTo>
                  <a:lnTo>
                    <a:pt x="93497" y="285750"/>
                  </a:lnTo>
                  <a:lnTo>
                    <a:pt x="93497" y="281216"/>
                  </a:lnTo>
                  <a:lnTo>
                    <a:pt x="78295" y="273050"/>
                  </a:lnTo>
                  <a:lnTo>
                    <a:pt x="73558" y="270510"/>
                  </a:lnTo>
                  <a:lnTo>
                    <a:pt x="78295" y="267970"/>
                  </a:lnTo>
                  <a:lnTo>
                    <a:pt x="97269" y="257810"/>
                  </a:lnTo>
                  <a:lnTo>
                    <a:pt x="120688" y="270510"/>
                  </a:lnTo>
                  <a:lnTo>
                    <a:pt x="120688" y="266979"/>
                  </a:lnTo>
                  <a:lnTo>
                    <a:pt x="105168" y="257810"/>
                  </a:lnTo>
                  <a:lnTo>
                    <a:pt x="100863" y="255270"/>
                  </a:lnTo>
                  <a:lnTo>
                    <a:pt x="105029" y="252730"/>
                  </a:lnTo>
                  <a:lnTo>
                    <a:pt x="121678" y="242570"/>
                  </a:lnTo>
                  <a:lnTo>
                    <a:pt x="122377" y="267970"/>
                  </a:lnTo>
                  <a:lnTo>
                    <a:pt x="122377" y="143090"/>
                  </a:lnTo>
                  <a:lnTo>
                    <a:pt x="122275" y="139700"/>
                  </a:lnTo>
                  <a:lnTo>
                    <a:pt x="122250" y="138430"/>
                  </a:lnTo>
                  <a:lnTo>
                    <a:pt x="122123" y="134289"/>
                  </a:lnTo>
                  <a:lnTo>
                    <a:pt x="124091" y="130073"/>
                  </a:lnTo>
                  <a:lnTo>
                    <a:pt x="126923" y="123723"/>
                  </a:lnTo>
                  <a:lnTo>
                    <a:pt x="129374" y="128803"/>
                  </a:lnTo>
                  <a:lnTo>
                    <a:pt x="131876" y="133883"/>
                  </a:lnTo>
                  <a:lnTo>
                    <a:pt x="134454" y="138963"/>
                  </a:lnTo>
                  <a:lnTo>
                    <a:pt x="137909" y="146583"/>
                  </a:lnTo>
                  <a:lnTo>
                    <a:pt x="141452" y="152933"/>
                  </a:lnTo>
                  <a:lnTo>
                    <a:pt x="145110" y="159283"/>
                  </a:lnTo>
                  <a:lnTo>
                    <a:pt x="148882" y="166903"/>
                  </a:lnTo>
                  <a:lnTo>
                    <a:pt x="152781" y="173253"/>
                  </a:lnTo>
                  <a:lnTo>
                    <a:pt x="156845" y="179603"/>
                  </a:lnTo>
                  <a:lnTo>
                    <a:pt x="161124" y="186004"/>
                  </a:lnTo>
                  <a:lnTo>
                    <a:pt x="164909" y="191135"/>
                  </a:lnTo>
                  <a:lnTo>
                    <a:pt x="164909" y="188925"/>
                  </a:lnTo>
                  <a:lnTo>
                    <a:pt x="164680" y="188493"/>
                  </a:lnTo>
                  <a:lnTo>
                    <a:pt x="163690" y="187223"/>
                  </a:lnTo>
                  <a:lnTo>
                    <a:pt x="163550" y="186956"/>
                  </a:lnTo>
                  <a:lnTo>
                    <a:pt x="163550" y="187223"/>
                  </a:lnTo>
                  <a:lnTo>
                    <a:pt x="159842" y="182143"/>
                  </a:lnTo>
                  <a:lnTo>
                    <a:pt x="156260" y="177063"/>
                  </a:lnTo>
                  <a:lnTo>
                    <a:pt x="152819" y="171983"/>
                  </a:lnTo>
                  <a:lnTo>
                    <a:pt x="149491" y="165633"/>
                  </a:lnTo>
                  <a:lnTo>
                    <a:pt x="145732" y="159283"/>
                  </a:lnTo>
                  <a:lnTo>
                    <a:pt x="142087" y="152933"/>
                  </a:lnTo>
                  <a:lnTo>
                    <a:pt x="138557" y="146583"/>
                  </a:lnTo>
                  <a:lnTo>
                    <a:pt x="135115" y="138963"/>
                  </a:lnTo>
                  <a:lnTo>
                    <a:pt x="132448" y="133883"/>
                  </a:lnTo>
                  <a:lnTo>
                    <a:pt x="127317" y="123723"/>
                  </a:lnTo>
                  <a:lnTo>
                    <a:pt x="127774" y="122453"/>
                  </a:lnTo>
                  <a:lnTo>
                    <a:pt x="130035" y="116103"/>
                  </a:lnTo>
                  <a:lnTo>
                    <a:pt x="134937" y="128803"/>
                  </a:lnTo>
                  <a:lnTo>
                    <a:pt x="140017" y="140233"/>
                  </a:lnTo>
                  <a:lnTo>
                    <a:pt x="145300" y="152933"/>
                  </a:lnTo>
                  <a:lnTo>
                    <a:pt x="150850" y="164363"/>
                  </a:lnTo>
                  <a:lnTo>
                    <a:pt x="153771" y="169443"/>
                  </a:lnTo>
                  <a:lnTo>
                    <a:pt x="156806" y="175793"/>
                  </a:lnTo>
                  <a:lnTo>
                    <a:pt x="159943" y="182143"/>
                  </a:lnTo>
                  <a:lnTo>
                    <a:pt x="163550" y="187223"/>
                  </a:lnTo>
                  <a:lnTo>
                    <a:pt x="163550" y="186956"/>
                  </a:lnTo>
                  <a:lnTo>
                    <a:pt x="160439" y="180873"/>
                  </a:lnTo>
                  <a:lnTo>
                    <a:pt x="157314" y="175793"/>
                  </a:lnTo>
                  <a:lnTo>
                    <a:pt x="154292" y="169443"/>
                  </a:lnTo>
                  <a:lnTo>
                    <a:pt x="151371" y="164363"/>
                  </a:lnTo>
                  <a:lnTo>
                    <a:pt x="145834" y="151663"/>
                  </a:lnTo>
                  <a:lnTo>
                    <a:pt x="140563" y="140233"/>
                  </a:lnTo>
                  <a:lnTo>
                    <a:pt x="135483" y="128803"/>
                  </a:lnTo>
                  <a:lnTo>
                    <a:pt x="130568" y="116103"/>
                  </a:lnTo>
                  <a:lnTo>
                    <a:pt x="130568" y="114833"/>
                  </a:lnTo>
                  <a:lnTo>
                    <a:pt x="131724" y="114833"/>
                  </a:lnTo>
                  <a:lnTo>
                    <a:pt x="131724" y="113563"/>
                  </a:lnTo>
                  <a:lnTo>
                    <a:pt x="131254" y="113563"/>
                  </a:lnTo>
                  <a:lnTo>
                    <a:pt x="131165" y="112293"/>
                  </a:lnTo>
                  <a:lnTo>
                    <a:pt x="131724" y="112293"/>
                  </a:lnTo>
                  <a:lnTo>
                    <a:pt x="131724" y="111023"/>
                  </a:lnTo>
                  <a:lnTo>
                    <a:pt x="131254" y="111023"/>
                  </a:lnTo>
                  <a:lnTo>
                    <a:pt x="131165" y="109753"/>
                  </a:lnTo>
                  <a:lnTo>
                    <a:pt x="131724" y="109753"/>
                  </a:lnTo>
                  <a:lnTo>
                    <a:pt x="131724" y="108483"/>
                  </a:lnTo>
                  <a:lnTo>
                    <a:pt x="131254" y="108483"/>
                  </a:lnTo>
                  <a:lnTo>
                    <a:pt x="131165" y="107213"/>
                  </a:lnTo>
                  <a:lnTo>
                    <a:pt x="131724" y="107213"/>
                  </a:lnTo>
                  <a:lnTo>
                    <a:pt x="131724" y="105943"/>
                  </a:lnTo>
                  <a:lnTo>
                    <a:pt x="131254" y="105943"/>
                  </a:lnTo>
                  <a:lnTo>
                    <a:pt x="131165" y="104673"/>
                  </a:lnTo>
                  <a:lnTo>
                    <a:pt x="131724" y="104673"/>
                  </a:lnTo>
                  <a:lnTo>
                    <a:pt x="131724" y="103403"/>
                  </a:lnTo>
                  <a:lnTo>
                    <a:pt x="131254" y="103403"/>
                  </a:lnTo>
                  <a:lnTo>
                    <a:pt x="131165" y="102133"/>
                  </a:lnTo>
                  <a:lnTo>
                    <a:pt x="131724" y="102133"/>
                  </a:lnTo>
                  <a:lnTo>
                    <a:pt x="131724" y="100863"/>
                  </a:lnTo>
                  <a:lnTo>
                    <a:pt x="131254" y="100863"/>
                  </a:lnTo>
                  <a:lnTo>
                    <a:pt x="131165" y="99593"/>
                  </a:lnTo>
                  <a:lnTo>
                    <a:pt x="131724" y="99593"/>
                  </a:lnTo>
                  <a:lnTo>
                    <a:pt x="131724" y="98323"/>
                  </a:lnTo>
                  <a:lnTo>
                    <a:pt x="131254" y="98323"/>
                  </a:lnTo>
                  <a:lnTo>
                    <a:pt x="131165" y="97053"/>
                  </a:lnTo>
                  <a:lnTo>
                    <a:pt x="131724" y="97053"/>
                  </a:lnTo>
                  <a:lnTo>
                    <a:pt x="131724" y="95783"/>
                  </a:lnTo>
                  <a:lnTo>
                    <a:pt x="131165" y="95783"/>
                  </a:lnTo>
                  <a:lnTo>
                    <a:pt x="131025" y="94513"/>
                  </a:lnTo>
                  <a:lnTo>
                    <a:pt x="131724" y="94513"/>
                  </a:lnTo>
                  <a:lnTo>
                    <a:pt x="131724" y="93243"/>
                  </a:lnTo>
                  <a:lnTo>
                    <a:pt x="131165" y="93243"/>
                  </a:lnTo>
                  <a:lnTo>
                    <a:pt x="131025" y="91973"/>
                  </a:lnTo>
                  <a:lnTo>
                    <a:pt x="131724" y="91973"/>
                  </a:lnTo>
                  <a:lnTo>
                    <a:pt x="131546" y="90703"/>
                  </a:lnTo>
                  <a:lnTo>
                    <a:pt x="131229" y="90703"/>
                  </a:lnTo>
                  <a:lnTo>
                    <a:pt x="131000" y="89433"/>
                  </a:lnTo>
                  <a:lnTo>
                    <a:pt x="148717" y="89433"/>
                  </a:lnTo>
                  <a:lnTo>
                    <a:pt x="172643" y="165633"/>
                  </a:lnTo>
                  <a:lnTo>
                    <a:pt x="178752" y="170713"/>
                  </a:lnTo>
                  <a:lnTo>
                    <a:pt x="178752" y="168846"/>
                  </a:lnTo>
                  <a:lnTo>
                    <a:pt x="175336" y="165633"/>
                  </a:lnTo>
                  <a:lnTo>
                    <a:pt x="181127" y="165633"/>
                  </a:lnTo>
                  <a:lnTo>
                    <a:pt x="181127" y="164363"/>
                  </a:lnTo>
                  <a:lnTo>
                    <a:pt x="174752" y="164363"/>
                  </a:lnTo>
                  <a:lnTo>
                    <a:pt x="175666" y="163093"/>
                  </a:lnTo>
                  <a:lnTo>
                    <a:pt x="180263" y="156743"/>
                  </a:lnTo>
                  <a:lnTo>
                    <a:pt x="184150" y="159283"/>
                  </a:lnTo>
                  <a:lnTo>
                    <a:pt x="184150" y="157505"/>
                  </a:lnTo>
                  <a:lnTo>
                    <a:pt x="183222" y="156743"/>
                  </a:lnTo>
                  <a:lnTo>
                    <a:pt x="179095" y="153390"/>
                  </a:lnTo>
                  <a:lnTo>
                    <a:pt x="179095" y="155473"/>
                  </a:lnTo>
                  <a:lnTo>
                    <a:pt x="173583" y="163093"/>
                  </a:lnTo>
                  <a:lnTo>
                    <a:pt x="168402" y="146583"/>
                  </a:lnTo>
                  <a:lnTo>
                    <a:pt x="179095" y="155473"/>
                  </a:lnTo>
                  <a:lnTo>
                    <a:pt x="179095" y="153390"/>
                  </a:lnTo>
                  <a:lnTo>
                    <a:pt x="170738" y="146583"/>
                  </a:lnTo>
                  <a:lnTo>
                    <a:pt x="167614" y="144043"/>
                  </a:lnTo>
                  <a:lnTo>
                    <a:pt x="156870" y="109753"/>
                  </a:lnTo>
                  <a:lnTo>
                    <a:pt x="157873" y="108483"/>
                  </a:lnTo>
                  <a:lnTo>
                    <a:pt x="161899" y="103403"/>
                  </a:lnTo>
                  <a:lnTo>
                    <a:pt x="167068" y="112293"/>
                  </a:lnTo>
                  <a:lnTo>
                    <a:pt x="172453" y="119913"/>
                  </a:lnTo>
                  <a:lnTo>
                    <a:pt x="190855" y="142773"/>
                  </a:lnTo>
                  <a:lnTo>
                    <a:pt x="190855" y="142621"/>
                  </a:lnTo>
                  <a:lnTo>
                    <a:pt x="188734" y="140233"/>
                  </a:lnTo>
                  <a:lnTo>
                    <a:pt x="186575" y="137693"/>
                  </a:lnTo>
                  <a:lnTo>
                    <a:pt x="162204" y="103403"/>
                  </a:lnTo>
                  <a:lnTo>
                    <a:pt x="163245" y="102133"/>
                  </a:lnTo>
                  <a:lnTo>
                    <a:pt x="165328" y="99593"/>
                  </a:lnTo>
                  <a:lnTo>
                    <a:pt x="173685" y="89433"/>
                  </a:lnTo>
                  <a:lnTo>
                    <a:pt x="182892" y="89433"/>
                  </a:lnTo>
                  <a:lnTo>
                    <a:pt x="187629" y="93243"/>
                  </a:lnTo>
                  <a:lnTo>
                    <a:pt x="192697" y="97053"/>
                  </a:lnTo>
                  <a:lnTo>
                    <a:pt x="198577" y="100863"/>
                  </a:lnTo>
                  <a:lnTo>
                    <a:pt x="199123" y="100863"/>
                  </a:lnTo>
                  <a:lnTo>
                    <a:pt x="199097" y="102133"/>
                  </a:lnTo>
                  <a:lnTo>
                    <a:pt x="198666" y="102133"/>
                  </a:lnTo>
                  <a:lnTo>
                    <a:pt x="198894" y="103403"/>
                  </a:lnTo>
                  <a:lnTo>
                    <a:pt x="199097" y="103403"/>
                  </a:lnTo>
                  <a:lnTo>
                    <a:pt x="198843" y="104673"/>
                  </a:lnTo>
                  <a:lnTo>
                    <a:pt x="198666" y="104673"/>
                  </a:lnTo>
                  <a:lnTo>
                    <a:pt x="198894" y="105943"/>
                  </a:lnTo>
                  <a:lnTo>
                    <a:pt x="198666" y="107213"/>
                  </a:lnTo>
                  <a:lnTo>
                    <a:pt x="199377" y="107213"/>
                  </a:lnTo>
                  <a:lnTo>
                    <a:pt x="199212" y="108483"/>
                  </a:lnTo>
                  <a:lnTo>
                    <a:pt x="198843" y="108483"/>
                  </a:lnTo>
                  <a:lnTo>
                    <a:pt x="198666" y="109753"/>
                  </a:lnTo>
                  <a:lnTo>
                    <a:pt x="199377" y="109753"/>
                  </a:lnTo>
                  <a:lnTo>
                    <a:pt x="199212" y="111023"/>
                  </a:lnTo>
                  <a:lnTo>
                    <a:pt x="198843" y="111023"/>
                  </a:lnTo>
                  <a:lnTo>
                    <a:pt x="198666" y="112293"/>
                  </a:lnTo>
                  <a:lnTo>
                    <a:pt x="199377" y="112293"/>
                  </a:lnTo>
                  <a:lnTo>
                    <a:pt x="199212" y="113563"/>
                  </a:lnTo>
                  <a:lnTo>
                    <a:pt x="198843" y="113563"/>
                  </a:lnTo>
                  <a:lnTo>
                    <a:pt x="198666" y="114833"/>
                  </a:lnTo>
                  <a:lnTo>
                    <a:pt x="199821" y="114833"/>
                  </a:lnTo>
                  <a:lnTo>
                    <a:pt x="199821" y="89433"/>
                  </a:lnTo>
                  <a:lnTo>
                    <a:pt x="199377" y="90703"/>
                  </a:lnTo>
                  <a:lnTo>
                    <a:pt x="199161" y="90703"/>
                  </a:lnTo>
                  <a:lnTo>
                    <a:pt x="199097" y="91973"/>
                  </a:lnTo>
                  <a:lnTo>
                    <a:pt x="198666" y="91973"/>
                  </a:lnTo>
                  <a:lnTo>
                    <a:pt x="198666" y="93243"/>
                  </a:lnTo>
                  <a:lnTo>
                    <a:pt x="199136" y="93243"/>
                  </a:lnTo>
                  <a:lnTo>
                    <a:pt x="199097" y="94513"/>
                  </a:lnTo>
                  <a:lnTo>
                    <a:pt x="198666" y="94513"/>
                  </a:lnTo>
                  <a:lnTo>
                    <a:pt x="198894" y="95783"/>
                  </a:lnTo>
                  <a:lnTo>
                    <a:pt x="199136" y="95783"/>
                  </a:lnTo>
                  <a:lnTo>
                    <a:pt x="199097" y="97053"/>
                  </a:lnTo>
                  <a:lnTo>
                    <a:pt x="198666" y="97053"/>
                  </a:lnTo>
                  <a:lnTo>
                    <a:pt x="198894" y="98323"/>
                  </a:lnTo>
                  <a:lnTo>
                    <a:pt x="199136" y="98323"/>
                  </a:lnTo>
                  <a:lnTo>
                    <a:pt x="199097" y="99593"/>
                  </a:lnTo>
                  <a:lnTo>
                    <a:pt x="198691" y="99593"/>
                  </a:lnTo>
                  <a:lnTo>
                    <a:pt x="193179" y="97053"/>
                  </a:lnTo>
                  <a:lnTo>
                    <a:pt x="188290" y="93243"/>
                  </a:lnTo>
                  <a:lnTo>
                    <a:pt x="183718" y="89433"/>
                  </a:lnTo>
                  <a:lnTo>
                    <a:pt x="199821" y="89433"/>
                  </a:lnTo>
                  <a:lnTo>
                    <a:pt x="199821" y="88163"/>
                  </a:lnTo>
                  <a:lnTo>
                    <a:pt x="182003" y="88163"/>
                  </a:lnTo>
                  <a:lnTo>
                    <a:pt x="180505" y="86893"/>
                  </a:lnTo>
                  <a:lnTo>
                    <a:pt x="179031" y="84353"/>
                  </a:lnTo>
                  <a:lnTo>
                    <a:pt x="177596" y="83083"/>
                  </a:lnTo>
                  <a:lnTo>
                    <a:pt x="155994" y="57683"/>
                  </a:lnTo>
                  <a:lnTo>
                    <a:pt x="152044" y="52603"/>
                  </a:lnTo>
                  <a:lnTo>
                    <a:pt x="148196" y="47523"/>
                  </a:lnTo>
                  <a:lnTo>
                    <a:pt x="144437" y="42443"/>
                  </a:lnTo>
                  <a:lnTo>
                    <a:pt x="137134" y="31013"/>
                  </a:lnTo>
                  <a:lnTo>
                    <a:pt x="126936" y="14503"/>
                  </a:lnTo>
                  <a:lnTo>
                    <a:pt x="126619" y="14414"/>
                  </a:lnTo>
                  <a:lnTo>
                    <a:pt x="147688" y="47523"/>
                  </a:lnTo>
                  <a:lnTo>
                    <a:pt x="151549" y="52603"/>
                  </a:lnTo>
                  <a:lnTo>
                    <a:pt x="155511" y="58953"/>
                  </a:lnTo>
                  <a:lnTo>
                    <a:pt x="181190" y="88163"/>
                  </a:lnTo>
                  <a:lnTo>
                    <a:pt x="171780" y="88163"/>
                  </a:lnTo>
                  <a:lnTo>
                    <a:pt x="171780" y="89433"/>
                  </a:lnTo>
                  <a:lnTo>
                    <a:pt x="163855" y="99593"/>
                  </a:lnTo>
                  <a:lnTo>
                    <a:pt x="162915" y="98869"/>
                  </a:lnTo>
                  <a:lnTo>
                    <a:pt x="162915" y="100863"/>
                  </a:lnTo>
                  <a:lnTo>
                    <a:pt x="161378" y="102133"/>
                  </a:lnTo>
                  <a:lnTo>
                    <a:pt x="161074" y="101561"/>
                  </a:lnTo>
                  <a:lnTo>
                    <a:pt x="161074" y="102133"/>
                  </a:lnTo>
                  <a:lnTo>
                    <a:pt x="156337" y="108483"/>
                  </a:lnTo>
                  <a:lnTo>
                    <a:pt x="150685" y="90703"/>
                  </a:lnTo>
                  <a:lnTo>
                    <a:pt x="156819" y="95783"/>
                  </a:lnTo>
                  <a:lnTo>
                    <a:pt x="159423" y="99593"/>
                  </a:lnTo>
                  <a:lnTo>
                    <a:pt x="161074" y="102133"/>
                  </a:lnTo>
                  <a:lnTo>
                    <a:pt x="161074" y="101561"/>
                  </a:lnTo>
                  <a:lnTo>
                    <a:pt x="160032" y="99593"/>
                  </a:lnTo>
                  <a:lnTo>
                    <a:pt x="157848" y="95783"/>
                  </a:lnTo>
                  <a:lnTo>
                    <a:pt x="162915" y="100863"/>
                  </a:lnTo>
                  <a:lnTo>
                    <a:pt x="162915" y="98869"/>
                  </a:lnTo>
                  <a:lnTo>
                    <a:pt x="158965" y="95783"/>
                  </a:lnTo>
                  <a:lnTo>
                    <a:pt x="155714" y="93243"/>
                  </a:lnTo>
                  <a:lnTo>
                    <a:pt x="155067" y="91973"/>
                  </a:lnTo>
                  <a:lnTo>
                    <a:pt x="154724" y="91313"/>
                  </a:lnTo>
                  <a:lnTo>
                    <a:pt x="154724" y="91973"/>
                  </a:lnTo>
                  <a:lnTo>
                    <a:pt x="153073" y="90703"/>
                  </a:lnTo>
                  <a:lnTo>
                    <a:pt x="151422" y="89433"/>
                  </a:lnTo>
                  <a:lnTo>
                    <a:pt x="153225" y="89433"/>
                  </a:lnTo>
                  <a:lnTo>
                    <a:pt x="154724" y="91973"/>
                  </a:lnTo>
                  <a:lnTo>
                    <a:pt x="154724" y="91313"/>
                  </a:lnTo>
                  <a:lnTo>
                    <a:pt x="153771" y="89433"/>
                  </a:lnTo>
                  <a:lnTo>
                    <a:pt x="171780" y="89433"/>
                  </a:lnTo>
                  <a:lnTo>
                    <a:pt x="171780" y="88163"/>
                  </a:lnTo>
                  <a:lnTo>
                    <a:pt x="152920" y="88163"/>
                  </a:lnTo>
                  <a:lnTo>
                    <a:pt x="152349" y="86995"/>
                  </a:lnTo>
                  <a:lnTo>
                    <a:pt x="152349" y="88163"/>
                  </a:lnTo>
                  <a:lnTo>
                    <a:pt x="149783" y="88163"/>
                  </a:lnTo>
                  <a:lnTo>
                    <a:pt x="148234" y="82829"/>
                  </a:lnTo>
                  <a:lnTo>
                    <a:pt x="148234" y="88163"/>
                  </a:lnTo>
                  <a:lnTo>
                    <a:pt x="128625" y="88163"/>
                  </a:lnTo>
                  <a:lnTo>
                    <a:pt x="128295" y="89433"/>
                  </a:lnTo>
                  <a:lnTo>
                    <a:pt x="129197" y="89433"/>
                  </a:lnTo>
                  <a:lnTo>
                    <a:pt x="128968" y="90703"/>
                  </a:lnTo>
                  <a:lnTo>
                    <a:pt x="128663" y="90703"/>
                  </a:lnTo>
                  <a:lnTo>
                    <a:pt x="128473" y="91973"/>
                  </a:lnTo>
                  <a:lnTo>
                    <a:pt x="129184" y="91973"/>
                  </a:lnTo>
                  <a:lnTo>
                    <a:pt x="129032" y="93243"/>
                  </a:lnTo>
                  <a:lnTo>
                    <a:pt x="128473" y="93243"/>
                  </a:lnTo>
                  <a:lnTo>
                    <a:pt x="128473" y="94513"/>
                  </a:lnTo>
                  <a:lnTo>
                    <a:pt x="129184" y="94513"/>
                  </a:lnTo>
                  <a:lnTo>
                    <a:pt x="129032" y="95783"/>
                  </a:lnTo>
                  <a:lnTo>
                    <a:pt x="128473" y="95783"/>
                  </a:lnTo>
                  <a:lnTo>
                    <a:pt x="128473" y="97053"/>
                  </a:lnTo>
                  <a:lnTo>
                    <a:pt x="129032" y="97053"/>
                  </a:lnTo>
                  <a:lnTo>
                    <a:pt x="128955" y="98323"/>
                  </a:lnTo>
                  <a:lnTo>
                    <a:pt x="128473" y="98323"/>
                  </a:lnTo>
                  <a:lnTo>
                    <a:pt x="128473" y="99593"/>
                  </a:lnTo>
                  <a:lnTo>
                    <a:pt x="129032" y="99593"/>
                  </a:lnTo>
                  <a:lnTo>
                    <a:pt x="128955" y="100863"/>
                  </a:lnTo>
                  <a:lnTo>
                    <a:pt x="128473" y="100863"/>
                  </a:lnTo>
                  <a:lnTo>
                    <a:pt x="128473" y="102133"/>
                  </a:lnTo>
                  <a:lnTo>
                    <a:pt x="129032" y="102133"/>
                  </a:lnTo>
                  <a:lnTo>
                    <a:pt x="128955" y="103403"/>
                  </a:lnTo>
                  <a:lnTo>
                    <a:pt x="128473" y="103403"/>
                  </a:lnTo>
                  <a:lnTo>
                    <a:pt x="128473" y="104673"/>
                  </a:lnTo>
                  <a:lnTo>
                    <a:pt x="129032" y="104673"/>
                  </a:lnTo>
                  <a:lnTo>
                    <a:pt x="128955" y="105943"/>
                  </a:lnTo>
                  <a:lnTo>
                    <a:pt x="128473" y="105943"/>
                  </a:lnTo>
                  <a:lnTo>
                    <a:pt x="128473" y="107213"/>
                  </a:lnTo>
                  <a:lnTo>
                    <a:pt x="129032" y="107213"/>
                  </a:lnTo>
                  <a:lnTo>
                    <a:pt x="128955" y="108483"/>
                  </a:lnTo>
                  <a:lnTo>
                    <a:pt x="128473" y="108483"/>
                  </a:lnTo>
                  <a:lnTo>
                    <a:pt x="128473" y="109753"/>
                  </a:lnTo>
                  <a:lnTo>
                    <a:pt x="129032" y="109753"/>
                  </a:lnTo>
                  <a:lnTo>
                    <a:pt x="128955" y="111023"/>
                  </a:lnTo>
                  <a:lnTo>
                    <a:pt x="128473" y="111023"/>
                  </a:lnTo>
                  <a:lnTo>
                    <a:pt x="128473" y="112293"/>
                  </a:lnTo>
                  <a:lnTo>
                    <a:pt x="129032" y="112293"/>
                  </a:lnTo>
                  <a:lnTo>
                    <a:pt x="128955" y="113563"/>
                  </a:lnTo>
                  <a:lnTo>
                    <a:pt x="128473" y="113563"/>
                  </a:lnTo>
                  <a:lnTo>
                    <a:pt x="128473" y="114833"/>
                  </a:lnTo>
                  <a:lnTo>
                    <a:pt x="129628" y="114833"/>
                  </a:lnTo>
                  <a:lnTo>
                    <a:pt x="129628" y="116103"/>
                  </a:lnTo>
                  <a:lnTo>
                    <a:pt x="128752" y="118643"/>
                  </a:lnTo>
                  <a:lnTo>
                    <a:pt x="126949" y="122453"/>
                  </a:lnTo>
                  <a:lnTo>
                    <a:pt x="126555" y="121627"/>
                  </a:lnTo>
                  <a:lnTo>
                    <a:pt x="126555" y="123723"/>
                  </a:lnTo>
                  <a:lnTo>
                    <a:pt x="123647" y="130073"/>
                  </a:lnTo>
                  <a:lnTo>
                    <a:pt x="122097" y="133337"/>
                  </a:lnTo>
                  <a:lnTo>
                    <a:pt x="121513" y="113030"/>
                  </a:lnTo>
                  <a:lnTo>
                    <a:pt x="121488" y="112331"/>
                  </a:lnTo>
                  <a:lnTo>
                    <a:pt x="121488" y="236220"/>
                  </a:lnTo>
                  <a:lnTo>
                    <a:pt x="120002" y="235305"/>
                  </a:lnTo>
                  <a:lnTo>
                    <a:pt x="120002" y="240030"/>
                  </a:lnTo>
                  <a:lnTo>
                    <a:pt x="97243" y="252730"/>
                  </a:lnTo>
                  <a:lnTo>
                    <a:pt x="93649" y="250698"/>
                  </a:lnTo>
                  <a:lnTo>
                    <a:pt x="93649" y="255270"/>
                  </a:lnTo>
                  <a:lnTo>
                    <a:pt x="71120" y="267970"/>
                  </a:lnTo>
                  <a:lnTo>
                    <a:pt x="72136" y="242570"/>
                  </a:lnTo>
                  <a:lnTo>
                    <a:pt x="93649" y="255270"/>
                  </a:lnTo>
                  <a:lnTo>
                    <a:pt x="93649" y="250698"/>
                  </a:lnTo>
                  <a:lnTo>
                    <a:pt x="79286" y="242570"/>
                  </a:lnTo>
                  <a:lnTo>
                    <a:pt x="74790" y="240030"/>
                  </a:lnTo>
                  <a:lnTo>
                    <a:pt x="78955" y="237490"/>
                  </a:lnTo>
                  <a:lnTo>
                    <a:pt x="97675" y="226060"/>
                  </a:lnTo>
                  <a:lnTo>
                    <a:pt x="120002" y="240030"/>
                  </a:lnTo>
                  <a:lnTo>
                    <a:pt x="120002" y="235305"/>
                  </a:lnTo>
                  <a:lnTo>
                    <a:pt x="106273" y="226796"/>
                  </a:lnTo>
                  <a:lnTo>
                    <a:pt x="115836" y="227863"/>
                  </a:lnTo>
                  <a:lnTo>
                    <a:pt x="103390" y="225005"/>
                  </a:lnTo>
                  <a:lnTo>
                    <a:pt x="101003" y="223520"/>
                  </a:lnTo>
                  <a:lnTo>
                    <a:pt x="104952" y="220980"/>
                  </a:lnTo>
                  <a:lnTo>
                    <a:pt x="120738" y="210820"/>
                  </a:lnTo>
                  <a:lnTo>
                    <a:pt x="121196" y="226682"/>
                  </a:lnTo>
                  <a:lnTo>
                    <a:pt x="120891" y="226745"/>
                  </a:lnTo>
                  <a:lnTo>
                    <a:pt x="115849" y="227863"/>
                  </a:lnTo>
                  <a:lnTo>
                    <a:pt x="121234" y="227863"/>
                  </a:lnTo>
                  <a:lnTo>
                    <a:pt x="121488" y="236220"/>
                  </a:lnTo>
                  <a:lnTo>
                    <a:pt x="121488" y="112331"/>
                  </a:lnTo>
                  <a:lnTo>
                    <a:pt x="121475" y="111975"/>
                  </a:lnTo>
                  <a:lnTo>
                    <a:pt x="122847" y="114833"/>
                  </a:lnTo>
                  <a:lnTo>
                    <a:pt x="126555" y="123723"/>
                  </a:lnTo>
                  <a:lnTo>
                    <a:pt x="126555" y="121627"/>
                  </a:lnTo>
                  <a:lnTo>
                    <a:pt x="123329" y="114833"/>
                  </a:lnTo>
                  <a:lnTo>
                    <a:pt x="121424" y="110070"/>
                  </a:lnTo>
                  <a:lnTo>
                    <a:pt x="121335" y="106680"/>
                  </a:lnTo>
                  <a:lnTo>
                    <a:pt x="120713" y="85572"/>
                  </a:lnTo>
                  <a:lnTo>
                    <a:pt x="123812" y="83083"/>
                  </a:lnTo>
                  <a:lnTo>
                    <a:pt x="129717" y="78003"/>
                  </a:lnTo>
                  <a:lnTo>
                    <a:pt x="135267" y="72923"/>
                  </a:lnTo>
                  <a:lnTo>
                    <a:pt x="140462" y="67843"/>
                  </a:lnTo>
                  <a:lnTo>
                    <a:pt x="141224" y="67843"/>
                  </a:lnTo>
                  <a:lnTo>
                    <a:pt x="142760" y="70383"/>
                  </a:lnTo>
                  <a:lnTo>
                    <a:pt x="148234" y="88163"/>
                  </a:lnTo>
                  <a:lnTo>
                    <a:pt x="148234" y="82829"/>
                  </a:lnTo>
                  <a:lnTo>
                    <a:pt x="146469" y="76733"/>
                  </a:lnTo>
                  <a:lnTo>
                    <a:pt x="149161" y="82016"/>
                  </a:lnTo>
                  <a:lnTo>
                    <a:pt x="152349" y="88163"/>
                  </a:lnTo>
                  <a:lnTo>
                    <a:pt x="152349" y="86995"/>
                  </a:lnTo>
                  <a:lnTo>
                    <a:pt x="150456" y="83083"/>
                  </a:lnTo>
                  <a:lnTo>
                    <a:pt x="148056" y="79273"/>
                  </a:lnTo>
                  <a:lnTo>
                    <a:pt x="146875" y="76733"/>
                  </a:lnTo>
                  <a:lnTo>
                    <a:pt x="145694" y="74193"/>
                  </a:lnTo>
                  <a:lnTo>
                    <a:pt x="143611" y="67843"/>
                  </a:lnTo>
                  <a:lnTo>
                    <a:pt x="141947" y="62763"/>
                  </a:lnTo>
                  <a:lnTo>
                    <a:pt x="139750" y="62763"/>
                  </a:lnTo>
                  <a:lnTo>
                    <a:pt x="120700" y="84797"/>
                  </a:lnTo>
                  <a:lnTo>
                    <a:pt x="120675" y="83820"/>
                  </a:lnTo>
                  <a:lnTo>
                    <a:pt x="120548" y="79248"/>
                  </a:lnTo>
                  <a:lnTo>
                    <a:pt x="120548" y="204470"/>
                  </a:lnTo>
                  <a:lnTo>
                    <a:pt x="116433" y="201790"/>
                  </a:lnTo>
                  <a:lnTo>
                    <a:pt x="116433" y="205740"/>
                  </a:lnTo>
                  <a:lnTo>
                    <a:pt x="116319" y="209550"/>
                  </a:lnTo>
                  <a:lnTo>
                    <a:pt x="97675" y="220980"/>
                  </a:lnTo>
                  <a:lnTo>
                    <a:pt x="94348" y="218948"/>
                  </a:lnTo>
                  <a:lnTo>
                    <a:pt x="94348" y="223520"/>
                  </a:lnTo>
                  <a:lnTo>
                    <a:pt x="72364" y="237490"/>
                  </a:lnTo>
                  <a:lnTo>
                    <a:pt x="73456" y="209550"/>
                  </a:lnTo>
                  <a:lnTo>
                    <a:pt x="94348" y="223520"/>
                  </a:lnTo>
                  <a:lnTo>
                    <a:pt x="94348" y="218948"/>
                  </a:lnTo>
                  <a:lnTo>
                    <a:pt x="78994" y="209550"/>
                  </a:lnTo>
                  <a:lnTo>
                    <a:pt x="116319" y="209550"/>
                  </a:lnTo>
                  <a:lnTo>
                    <a:pt x="116319" y="205740"/>
                  </a:lnTo>
                  <a:lnTo>
                    <a:pt x="78955" y="205740"/>
                  </a:lnTo>
                  <a:lnTo>
                    <a:pt x="80835" y="204470"/>
                  </a:lnTo>
                  <a:lnTo>
                    <a:pt x="97802" y="193040"/>
                  </a:lnTo>
                  <a:lnTo>
                    <a:pt x="116433" y="205740"/>
                  </a:lnTo>
                  <a:lnTo>
                    <a:pt x="116433" y="201790"/>
                  </a:lnTo>
                  <a:lnTo>
                    <a:pt x="103035" y="193040"/>
                  </a:lnTo>
                  <a:lnTo>
                    <a:pt x="101092" y="191770"/>
                  </a:lnTo>
                  <a:lnTo>
                    <a:pt x="104838" y="189230"/>
                  </a:lnTo>
                  <a:lnTo>
                    <a:pt x="119837" y="179070"/>
                  </a:lnTo>
                  <a:lnTo>
                    <a:pt x="120548" y="204470"/>
                  </a:lnTo>
                  <a:lnTo>
                    <a:pt x="120548" y="79248"/>
                  </a:lnTo>
                  <a:lnTo>
                    <a:pt x="120357" y="72390"/>
                  </a:lnTo>
                  <a:lnTo>
                    <a:pt x="119634" y="47434"/>
                  </a:lnTo>
                  <a:lnTo>
                    <a:pt x="119634" y="172720"/>
                  </a:lnTo>
                  <a:lnTo>
                    <a:pt x="118427" y="171818"/>
                  </a:lnTo>
                  <a:lnTo>
                    <a:pt x="118427" y="175260"/>
                  </a:lnTo>
                  <a:lnTo>
                    <a:pt x="97802" y="189230"/>
                  </a:lnTo>
                  <a:lnTo>
                    <a:pt x="94513" y="186982"/>
                  </a:lnTo>
                  <a:lnTo>
                    <a:pt x="94513" y="191770"/>
                  </a:lnTo>
                  <a:lnTo>
                    <a:pt x="76885" y="202514"/>
                  </a:lnTo>
                  <a:lnTo>
                    <a:pt x="78244" y="201193"/>
                  </a:lnTo>
                  <a:lnTo>
                    <a:pt x="84353" y="194843"/>
                  </a:lnTo>
                  <a:lnTo>
                    <a:pt x="89979" y="188582"/>
                  </a:lnTo>
                  <a:lnTo>
                    <a:pt x="94513" y="191770"/>
                  </a:lnTo>
                  <a:lnTo>
                    <a:pt x="94513" y="186982"/>
                  </a:lnTo>
                  <a:lnTo>
                    <a:pt x="92494" y="185585"/>
                  </a:lnTo>
                  <a:lnTo>
                    <a:pt x="95402" y="182143"/>
                  </a:lnTo>
                  <a:lnTo>
                    <a:pt x="100736" y="173253"/>
                  </a:lnTo>
                  <a:lnTo>
                    <a:pt x="105333" y="166255"/>
                  </a:lnTo>
                  <a:lnTo>
                    <a:pt x="118427" y="175260"/>
                  </a:lnTo>
                  <a:lnTo>
                    <a:pt x="118427" y="171818"/>
                  </a:lnTo>
                  <a:lnTo>
                    <a:pt x="107175" y="163309"/>
                  </a:lnTo>
                  <a:lnTo>
                    <a:pt x="110439" y="158013"/>
                  </a:lnTo>
                  <a:lnTo>
                    <a:pt x="114858" y="150393"/>
                  </a:lnTo>
                  <a:lnTo>
                    <a:pt x="116179" y="147777"/>
                  </a:lnTo>
                  <a:lnTo>
                    <a:pt x="119024" y="151130"/>
                  </a:lnTo>
                  <a:lnTo>
                    <a:pt x="119634" y="172720"/>
                  </a:lnTo>
                  <a:lnTo>
                    <a:pt x="119634" y="47434"/>
                  </a:lnTo>
                  <a:lnTo>
                    <a:pt x="119621" y="46990"/>
                  </a:lnTo>
                  <a:lnTo>
                    <a:pt x="119405" y="39370"/>
                  </a:lnTo>
                  <a:lnTo>
                    <a:pt x="118973" y="24180"/>
                  </a:lnTo>
                  <a:lnTo>
                    <a:pt x="118973" y="149860"/>
                  </a:lnTo>
                  <a:lnTo>
                    <a:pt x="116776" y="147320"/>
                  </a:lnTo>
                  <a:lnTo>
                    <a:pt x="118859" y="146050"/>
                  </a:lnTo>
                  <a:lnTo>
                    <a:pt x="118973" y="149860"/>
                  </a:lnTo>
                  <a:lnTo>
                    <a:pt x="118973" y="24180"/>
                  </a:lnTo>
                  <a:lnTo>
                    <a:pt x="118719" y="15240"/>
                  </a:lnTo>
                  <a:lnTo>
                    <a:pt x="118681" y="13970"/>
                  </a:lnTo>
                  <a:lnTo>
                    <a:pt x="118656" y="13233"/>
                  </a:lnTo>
                  <a:lnTo>
                    <a:pt x="118656" y="138430"/>
                  </a:lnTo>
                  <a:lnTo>
                    <a:pt x="115074" y="135801"/>
                  </a:lnTo>
                  <a:lnTo>
                    <a:pt x="115074" y="139700"/>
                  </a:lnTo>
                  <a:lnTo>
                    <a:pt x="114731" y="139700"/>
                  </a:lnTo>
                  <a:lnTo>
                    <a:pt x="114731" y="148158"/>
                  </a:lnTo>
                  <a:lnTo>
                    <a:pt x="114236" y="149123"/>
                  </a:lnTo>
                  <a:lnTo>
                    <a:pt x="109804" y="158013"/>
                  </a:lnTo>
                  <a:lnTo>
                    <a:pt x="106743" y="162979"/>
                  </a:lnTo>
                  <a:lnTo>
                    <a:pt x="104902" y="161582"/>
                  </a:lnTo>
                  <a:lnTo>
                    <a:pt x="104902" y="165963"/>
                  </a:lnTo>
                  <a:lnTo>
                    <a:pt x="100114" y="173253"/>
                  </a:lnTo>
                  <a:lnTo>
                    <a:pt x="91808" y="185115"/>
                  </a:lnTo>
                  <a:lnTo>
                    <a:pt x="89585" y="183591"/>
                  </a:lnTo>
                  <a:lnTo>
                    <a:pt x="89585" y="188302"/>
                  </a:lnTo>
                  <a:lnTo>
                    <a:pt x="89446" y="188493"/>
                  </a:lnTo>
                  <a:lnTo>
                    <a:pt x="83731" y="194843"/>
                  </a:lnTo>
                  <a:lnTo>
                    <a:pt x="77609" y="201193"/>
                  </a:lnTo>
                  <a:lnTo>
                    <a:pt x="73672" y="204254"/>
                  </a:lnTo>
                  <a:lnTo>
                    <a:pt x="74739" y="177800"/>
                  </a:lnTo>
                  <a:lnTo>
                    <a:pt x="89585" y="188302"/>
                  </a:lnTo>
                  <a:lnTo>
                    <a:pt x="89585" y="183591"/>
                  </a:lnTo>
                  <a:lnTo>
                    <a:pt x="81203" y="177800"/>
                  </a:lnTo>
                  <a:lnTo>
                    <a:pt x="77520" y="175260"/>
                  </a:lnTo>
                  <a:lnTo>
                    <a:pt x="81267" y="172720"/>
                  </a:lnTo>
                  <a:lnTo>
                    <a:pt x="98132" y="161290"/>
                  </a:lnTo>
                  <a:lnTo>
                    <a:pt x="104902" y="165963"/>
                  </a:lnTo>
                  <a:lnTo>
                    <a:pt x="104902" y="161582"/>
                  </a:lnTo>
                  <a:lnTo>
                    <a:pt x="104521" y="161290"/>
                  </a:lnTo>
                  <a:lnTo>
                    <a:pt x="101168" y="158750"/>
                  </a:lnTo>
                  <a:lnTo>
                    <a:pt x="104419" y="156210"/>
                  </a:lnTo>
                  <a:lnTo>
                    <a:pt x="114731" y="148158"/>
                  </a:lnTo>
                  <a:lnTo>
                    <a:pt x="114731" y="139700"/>
                  </a:lnTo>
                  <a:lnTo>
                    <a:pt x="113334" y="139700"/>
                  </a:lnTo>
                  <a:lnTo>
                    <a:pt x="113334" y="144780"/>
                  </a:lnTo>
                  <a:lnTo>
                    <a:pt x="98145" y="156210"/>
                  </a:lnTo>
                  <a:lnTo>
                    <a:pt x="95110" y="153911"/>
                  </a:lnTo>
                  <a:lnTo>
                    <a:pt x="95110" y="158750"/>
                  </a:lnTo>
                  <a:lnTo>
                    <a:pt x="74942" y="172720"/>
                  </a:lnTo>
                  <a:lnTo>
                    <a:pt x="76111" y="144780"/>
                  </a:lnTo>
                  <a:lnTo>
                    <a:pt x="95110" y="158750"/>
                  </a:lnTo>
                  <a:lnTo>
                    <a:pt x="95110" y="153911"/>
                  </a:lnTo>
                  <a:lnTo>
                    <a:pt x="83083" y="144780"/>
                  </a:lnTo>
                  <a:lnTo>
                    <a:pt x="81407" y="143510"/>
                  </a:lnTo>
                  <a:lnTo>
                    <a:pt x="112179" y="143510"/>
                  </a:lnTo>
                  <a:lnTo>
                    <a:pt x="112560" y="144780"/>
                  </a:lnTo>
                  <a:lnTo>
                    <a:pt x="113334" y="144780"/>
                  </a:lnTo>
                  <a:lnTo>
                    <a:pt x="113334" y="139700"/>
                  </a:lnTo>
                  <a:lnTo>
                    <a:pt x="110566" y="139700"/>
                  </a:lnTo>
                  <a:lnTo>
                    <a:pt x="108915" y="138214"/>
                  </a:lnTo>
                  <a:lnTo>
                    <a:pt x="108915" y="139700"/>
                  </a:lnTo>
                  <a:lnTo>
                    <a:pt x="81470" y="139700"/>
                  </a:lnTo>
                  <a:lnTo>
                    <a:pt x="98196" y="128270"/>
                  </a:lnTo>
                  <a:lnTo>
                    <a:pt x="101714" y="132080"/>
                  </a:lnTo>
                  <a:lnTo>
                    <a:pt x="105283" y="135890"/>
                  </a:lnTo>
                  <a:lnTo>
                    <a:pt x="108915" y="139700"/>
                  </a:lnTo>
                  <a:lnTo>
                    <a:pt x="108915" y="138214"/>
                  </a:lnTo>
                  <a:lnTo>
                    <a:pt x="104952" y="134620"/>
                  </a:lnTo>
                  <a:lnTo>
                    <a:pt x="102196" y="130810"/>
                  </a:lnTo>
                  <a:lnTo>
                    <a:pt x="115074" y="139700"/>
                  </a:lnTo>
                  <a:lnTo>
                    <a:pt x="115074" y="135801"/>
                  </a:lnTo>
                  <a:lnTo>
                    <a:pt x="108280" y="130810"/>
                  </a:lnTo>
                  <a:lnTo>
                    <a:pt x="104825" y="128270"/>
                  </a:lnTo>
                  <a:lnTo>
                    <a:pt x="101371" y="125730"/>
                  </a:lnTo>
                  <a:lnTo>
                    <a:pt x="104686" y="123190"/>
                  </a:lnTo>
                  <a:lnTo>
                    <a:pt x="117944" y="113030"/>
                  </a:lnTo>
                  <a:lnTo>
                    <a:pt x="118656" y="138430"/>
                  </a:lnTo>
                  <a:lnTo>
                    <a:pt x="118656" y="13233"/>
                  </a:lnTo>
                  <a:lnTo>
                    <a:pt x="118618" y="12103"/>
                  </a:lnTo>
                  <a:lnTo>
                    <a:pt x="126619" y="14414"/>
                  </a:lnTo>
                  <a:lnTo>
                    <a:pt x="126187" y="13652"/>
                  </a:lnTo>
                  <a:lnTo>
                    <a:pt x="182295" y="29756"/>
                  </a:lnTo>
                  <a:lnTo>
                    <a:pt x="182054" y="29210"/>
                  </a:lnTo>
                  <a:lnTo>
                    <a:pt x="126098" y="13487"/>
                  </a:lnTo>
                  <a:lnTo>
                    <a:pt x="125971" y="13233"/>
                  </a:lnTo>
                  <a:lnTo>
                    <a:pt x="117741" y="11036"/>
                  </a:lnTo>
                  <a:lnTo>
                    <a:pt x="117741" y="106680"/>
                  </a:lnTo>
                  <a:lnTo>
                    <a:pt x="116662" y="105791"/>
                  </a:lnTo>
                  <a:lnTo>
                    <a:pt x="116662" y="110490"/>
                  </a:lnTo>
                  <a:lnTo>
                    <a:pt x="98336" y="123190"/>
                  </a:lnTo>
                  <a:lnTo>
                    <a:pt x="95288" y="121297"/>
                  </a:lnTo>
                  <a:lnTo>
                    <a:pt x="95288" y="125730"/>
                  </a:lnTo>
                  <a:lnTo>
                    <a:pt x="76314" y="139700"/>
                  </a:lnTo>
                  <a:lnTo>
                    <a:pt x="77393" y="113030"/>
                  </a:lnTo>
                  <a:lnTo>
                    <a:pt x="95288" y="125730"/>
                  </a:lnTo>
                  <a:lnTo>
                    <a:pt x="95288" y="121297"/>
                  </a:lnTo>
                  <a:lnTo>
                    <a:pt x="92227" y="119380"/>
                  </a:lnTo>
                  <a:lnTo>
                    <a:pt x="89331" y="115570"/>
                  </a:lnTo>
                  <a:lnTo>
                    <a:pt x="88099" y="113931"/>
                  </a:lnTo>
                  <a:lnTo>
                    <a:pt x="88099" y="115570"/>
                  </a:lnTo>
                  <a:lnTo>
                    <a:pt x="84429" y="113030"/>
                  </a:lnTo>
                  <a:lnTo>
                    <a:pt x="80759" y="110490"/>
                  </a:lnTo>
                  <a:lnTo>
                    <a:pt x="82613" y="109220"/>
                  </a:lnTo>
                  <a:lnTo>
                    <a:pt x="86271" y="114300"/>
                  </a:lnTo>
                  <a:lnTo>
                    <a:pt x="88099" y="115570"/>
                  </a:lnTo>
                  <a:lnTo>
                    <a:pt x="88099" y="113931"/>
                  </a:lnTo>
                  <a:lnTo>
                    <a:pt x="84582" y="109220"/>
                  </a:lnTo>
                  <a:lnTo>
                    <a:pt x="83629" y="107950"/>
                  </a:lnTo>
                  <a:lnTo>
                    <a:pt x="87134" y="105410"/>
                  </a:lnTo>
                  <a:lnTo>
                    <a:pt x="99415" y="96520"/>
                  </a:lnTo>
                  <a:lnTo>
                    <a:pt x="116662" y="110490"/>
                  </a:lnTo>
                  <a:lnTo>
                    <a:pt x="116662" y="105791"/>
                  </a:lnTo>
                  <a:lnTo>
                    <a:pt x="105460" y="96520"/>
                  </a:lnTo>
                  <a:lnTo>
                    <a:pt x="103720" y="95097"/>
                  </a:lnTo>
                  <a:lnTo>
                    <a:pt x="106438" y="94513"/>
                  </a:lnTo>
                  <a:lnTo>
                    <a:pt x="112204" y="90703"/>
                  </a:lnTo>
                  <a:lnTo>
                    <a:pt x="115684" y="99593"/>
                  </a:lnTo>
                  <a:lnTo>
                    <a:pt x="117652" y="103860"/>
                  </a:lnTo>
                  <a:lnTo>
                    <a:pt x="117741" y="106680"/>
                  </a:lnTo>
                  <a:lnTo>
                    <a:pt x="117741" y="11036"/>
                  </a:lnTo>
                  <a:lnTo>
                    <a:pt x="117576" y="10985"/>
                  </a:lnTo>
                  <a:lnTo>
                    <a:pt x="117576" y="101092"/>
                  </a:lnTo>
                  <a:lnTo>
                    <a:pt x="116319" y="98323"/>
                  </a:lnTo>
                  <a:lnTo>
                    <a:pt x="112915" y="90703"/>
                  </a:lnTo>
                  <a:lnTo>
                    <a:pt x="114465" y="89433"/>
                  </a:lnTo>
                  <a:lnTo>
                    <a:pt x="116014" y="89433"/>
                  </a:lnTo>
                  <a:lnTo>
                    <a:pt x="117195" y="88430"/>
                  </a:lnTo>
                  <a:lnTo>
                    <a:pt x="117576" y="101092"/>
                  </a:lnTo>
                  <a:lnTo>
                    <a:pt x="117576" y="10985"/>
                  </a:lnTo>
                  <a:lnTo>
                    <a:pt x="117157" y="10883"/>
                  </a:lnTo>
                  <a:lnTo>
                    <a:pt x="117157" y="86931"/>
                  </a:lnTo>
                  <a:lnTo>
                    <a:pt x="115722" y="88163"/>
                  </a:lnTo>
                  <a:lnTo>
                    <a:pt x="112674" y="90703"/>
                  </a:lnTo>
                  <a:lnTo>
                    <a:pt x="111963" y="88988"/>
                  </a:lnTo>
                  <a:lnTo>
                    <a:pt x="111963" y="90703"/>
                  </a:lnTo>
                  <a:lnTo>
                    <a:pt x="106235" y="93243"/>
                  </a:lnTo>
                  <a:lnTo>
                    <a:pt x="103111" y="94589"/>
                  </a:lnTo>
                  <a:lnTo>
                    <a:pt x="102387" y="93980"/>
                  </a:lnTo>
                  <a:lnTo>
                    <a:pt x="106057" y="91440"/>
                  </a:lnTo>
                  <a:lnTo>
                    <a:pt x="110782" y="88176"/>
                  </a:lnTo>
                  <a:lnTo>
                    <a:pt x="111963" y="90703"/>
                  </a:lnTo>
                  <a:lnTo>
                    <a:pt x="111963" y="88988"/>
                  </a:lnTo>
                  <a:lnTo>
                    <a:pt x="111442" y="87718"/>
                  </a:lnTo>
                  <a:lnTo>
                    <a:pt x="117068" y="83820"/>
                  </a:lnTo>
                  <a:lnTo>
                    <a:pt x="117157" y="86931"/>
                  </a:lnTo>
                  <a:lnTo>
                    <a:pt x="117157" y="10883"/>
                  </a:lnTo>
                  <a:lnTo>
                    <a:pt x="116852" y="10795"/>
                  </a:lnTo>
                  <a:lnTo>
                    <a:pt x="116852" y="76200"/>
                  </a:lnTo>
                  <a:lnTo>
                    <a:pt x="116852" y="78740"/>
                  </a:lnTo>
                  <a:lnTo>
                    <a:pt x="109855" y="83845"/>
                  </a:lnTo>
                  <a:lnTo>
                    <a:pt x="109169" y="82181"/>
                  </a:lnTo>
                  <a:lnTo>
                    <a:pt x="109169" y="84353"/>
                  </a:lnTo>
                  <a:lnTo>
                    <a:pt x="99453" y="91440"/>
                  </a:lnTo>
                  <a:lnTo>
                    <a:pt x="96481" y="89217"/>
                  </a:lnTo>
                  <a:lnTo>
                    <a:pt x="96481" y="93980"/>
                  </a:lnTo>
                  <a:lnTo>
                    <a:pt x="91808" y="97523"/>
                  </a:lnTo>
                  <a:lnTo>
                    <a:pt x="89458" y="98005"/>
                  </a:lnTo>
                  <a:lnTo>
                    <a:pt x="89458" y="99301"/>
                  </a:lnTo>
                  <a:lnTo>
                    <a:pt x="81394" y="105410"/>
                  </a:lnTo>
                  <a:lnTo>
                    <a:pt x="80365" y="104305"/>
                  </a:lnTo>
                  <a:lnTo>
                    <a:pt x="80365" y="106680"/>
                  </a:lnTo>
                  <a:lnTo>
                    <a:pt x="77571" y="107950"/>
                  </a:lnTo>
                  <a:lnTo>
                    <a:pt x="77787" y="102870"/>
                  </a:lnTo>
                  <a:lnTo>
                    <a:pt x="80365" y="106680"/>
                  </a:lnTo>
                  <a:lnTo>
                    <a:pt x="80365" y="104305"/>
                  </a:lnTo>
                  <a:lnTo>
                    <a:pt x="79032" y="102870"/>
                  </a:lnTo>
                  <a:lnTo>
                    <a:pt x="77851" y="101600"/>
                  </a:lnTo>
                  <a:lnTo>
                    <a:pt x="77876" y="100863"/>
                  </a:lnTo>
                  <a:lnTo>
                    <a:pt x="80022" y="100863"/>
                  </a:lnTo>
                  <a:lnTo>
                    <a:pt x="87985" y="99593"/>
                  </a:lnTo>
                  <a:lnTo>
                    <a:pt x="89458" y="99301"/>
                  </a:lnTo>
                  <a:lnTo>
                    <a:pt x="89458" y="98005"/>
                  </a:lnTo>
                  <a:lnTo>
                    <a:pt x="87884" y="98323"/>
                  </a:lnTo>
                  <a:lnTo>
                    <a:pt x="79997" y="99593"/>
                  </a:lnTo>
                  <a:lnTo>
                    <a:pt x="77927" y="99593"/>
                  </a:lnTo>
                  <a:lnTo>
                    <a:pt x="78054" y="96520"/>
                  </a:lnTo>
                  <a:lnTo>
                    <a:pt x="78701" y="80010"/>
                  </a:lnTo>
                  <a:lnTo>
                    <a:pt x="96481" y="93980"/>
                  </a:lnTo>
                  <a:lnTo>
                    <a:pt x="96481" y="89217"/>
                  </a:lnTo>
                  <a:lnTo>
                    <a:pt x="84213" y="80010"/>
                  </a:lnTo>
                  <a:lnTo>
                    <a:pt x="80822" y="77470"/>
                  </a:lnTo>
                  <a:lnTo>
                    <a:pt x="81013" y="73660"/>
                  </a:lnTo>
                  <a:lnTo>
                    <a:pt x="85852" y="69850"/>
                  </a:lnTo>
                  <a:lnTo>
                    <a:pt x="97155" y="60960"/>
                  </a:lnTo>
                  <a:lnTo>
                    <a:pt x="100965" y="63919"/>
                  </a:lnTo>
                  <a:lnTo>
                    <a:pt x="109169" y="84353"/>
                  </a:lnTo>
                  <a:lnTo>
                    <a:pt x="109169" y="82181"/>
                  </a:lnTo>
                  <a:lnTo>
                    <a:pt x="104343" y="70383"/>
                  </a:lnTo>
                  <a:lnTo>
                    <a:pt x="102095" y="64795"/>
                  </a:lnTo>
                  <a:lnTo>
                    <a:pt x="116852" y="76200"/>
                  </a:lnTo>
                  <a:lnTo>
                    <a:pt x="116852" y="10795"/>
                  </a:lnTo>
                  <a:lnTo>
                    <a:pt x="116751" y="72390"/>
                  </a:lnTo>
                  <a:lnTo>
                    <a:pt x="103124" y="60960"/>
                  </a:lnTo>
                  <a:lnTo>
                    <a:pt x="100101" y="58420"/>
                  </a:lnTo>
                  <a:lnTo>
                    <a:pt x="101866" y="57150"/>
                  </a:lnTo>
                  <a:lnTo>
                    <a:pt x="116027" y="46990"/>
                  </a:lnTo>
                  <a:lnTo>
                    <a:pt x="116751" y="72390"/>
                  </a:lnTo>
                  <a:lnTo>
                    <a:pt x="116751" y="10769"/>
                  </a:lnTo>
                  <a:lnTo>
                    <a:pt x="115798" y="10515"/>
                  </a:lnTo>
                  <a:lnTo>
                    <a:pt x="115798" y="39370"/>
                  </a:lnTo>
                  <a:lnTo>
                    <a:pt x="114820" y="38582"/>
                  </a:lnTo>
                  <a:lnTo>
                    <a:pt x="114820" y="43180"/>
                  </a:lnTo>
                  <a:lnTo>
                    <a:pt x="98602" y="56032"/>
                  </a:lnTo>
                  <a:lnTo>
                    <a:pt x="97993" y="54330"/>
                  </a:lnTo>
                  <a:lnTo>
                    <a:pt x="97993" y="56515"/>
                  </a:lnTo>
                  <a:lnTo>
                    <a:pt x="97193" y="57150"/>
                  </a:lnTo>
                  <a:lnTo>
                    <a:pt x="94234" y="54635"/>
                  </a:lnTo>
                  <a:lnTo>
                    <a:pt x="94234" y="58420"/>
                  </a:lnTo>
                  <a:lnTo>
                    <a:pt x="79095" y="69850"/>
                  </a:lnTo>
                  <a:lnTo>
                    <a:pt x="80010" y="48260"/>
                  </a:lnTo>
                  <a:lnTo>
                    <a:pt x="94234" y="58420"/>
                  </a:lnTo>
                  <a:lnTo>
                    <a:pt x="94234" y="54635"/>
                  </a:lnTo>
                  <a:lnTo>
                    <a:pt x="86753" y="48260"/>
                  </a:lnTo>
                  <a:lnTo>
                    <a:pt x="82270" y="44450"/>
                  </a:lnTo>
                  <a:lnTo>
                    <a:pt x="82486" y="40640"/>
                  </a:lnTo>
                  <a:lnTo>
                    <a:pt x="85775" y="38100"/>
                  </a:lnTo>
                  <a:lnTo>
                    <a:pt x="89839" y="34963"/>
                  </a:lnTo>
                  <a:lnTo>
                    <a:pt x="92481" y="42443"/>
                  </a:lnTo>
                  <a:lnTo>
                    <a:pt x="97955" y="56413"/>
                  </a:lnTo>
                  <a:lnTo>
                    <a:pt x="97993" y="54330"/>
                  </a:lnTo>
                  <a:lnTo>
                    <a:pt x="93281" y="41173"/>
                  </a:lnTo>
                  <a:lnTo>
                    <a:pt x="90665" y="34328"/>
                  </a:lnTo>
                  <a:lnTo>
                    <a:pt x="97282" y="29210"/>
                  </a:lnTo>
                  <a:lnTo>
                    <a:pt x="114820" y="43180"/>
                  </a:lnTo>
                  <a:lnTo>
                    <a:pt x="114820" y="38582"/>
                  </a:lnTo>
                  <a:lnTo>
                    <a:pt x="103301" y="29210"/>
                  </a:lnTo>
                  <a:lnTo>
                    <a:pt x="100177" y="26670"/>
                  </a:lnTo>
                  <a:lnTo>
                    <a:pt x="103492" y="24130"/>
                  </a:lnTo>
                  <a:lnTo>
                    <a:pt x="115100" y="15240"/>
                  </a:lnTo>
                  <a:lnTo>
                    <a:pt x="115798" y="39370"/>
                  </a:lnTo>
                  <a:lnTo>
                    <a:pt x="115798" y="10515"/>
                  </a:lnTo>
                  <a:lnTo>
                    <a:pt x="111912" y="9474"/>
                  </a:lnTo>
                  <a:lnTo>
                    <a:pt x="111912" y="10160"/>
                  </a:lnTo>
                  <a:lnTo>
                    <a:pt x="110477" y="10160"/>
                  </a:lnTo>
                  <a:lnTo>
                    <a:pt x="110477" y="13970"/>
                  </a:lnTo>
                  <a:lnTo>
                    <a:pt x="97332" y="24130"/>
                  </a:lnTo>
                  <a:lnTo>
                    <a:pt x="94437" y="21805"/>
                  </a:lnTo>
                  <a:lnTo>
                    <a:pt x="94437" y="26670"/>
                  </a:lnTo>
                  <a:lnTo>
                    <a:pt x="89331" y="30835"/>
                  </a:lnTo>
                  <a:lnTo>
                    <a:pt x="88595" y="28905"/>
                  </a:lnTo>
                  <a:lnTo>
                    <a:pt x="88595" y="31432"/>
                  </a:lnTo>
                  <a:lnTo>
                    <a:pt x="80416" y="38100"/>
                  </a:lnTo>
                  <a:lnTo>
                    <a:pt x="81292" y="15240"/>
                  </a:lnTo>
                  <a:lnTo>
                    <a:pt x="83286" y="16979"/>
                  </a:lnTo>
                  <a:lnTo>
                    <a:pt x="87122" y="27203"/>
                  </a:lnTo>
                  <a:lnTo>
                    <a:pt x="88595" y="31432"/>
                  </a:lnTo>
                  <a:lnTo>
                    <a:pt x="88595" y="28905"/>
                  </a:lnTo>
                  <a:lnTo>
                    <a:pt x="87947" y="27203"/>
                  </a:lnTo>
                  <a:lnTo>
                    <a:pt x="84658" y="18186"/>
                  </a:lnTo>
                  <a:lnTo>
                    <a:pt x="94437" y="26670"/>
                  </a:lnTo>
                  <a:lnTo>
                    <a:pt x="94437" y="21805"/>
                  </a:lnTo>
                  <a:lnTo>
                    <a:pt x="86258" y="15240"/>
                  </a:lnTo>
                  <a:lnTo>
                    <a:pt x="84670" y="13970"/>
                  </a:lnTo>
                  <a:lnTo>
                    <a:pt x="110477" y="13970"/>
                  </a:lnTo>
                  <a:lnTo>
                    <a:pt x="110477" y="10160"/>
                  </a:lnTo>
                  <a:lnTo>
                    <a:pt x="83604" y="10160"/>
                  </a:lnTo>
                  <a:lnTo>
                    <a:pt x="86017" y="7620"/>
                  </a:lnTo>
                  <a:lnTo>
                    <a:pt x="88417" y="5080"/>
                  </a:lnTo>
                  <a:lnTo>
                    <a:pt x="89623" y="3810"/>
                  </a:lnTo>
                  <a:lnTo>
                    <a:pt x="98577" y="6311"/>
                  </a:lnTo>
                  <a:lnTo>
                    <a:pt x="111912" y="10160"/>
                  </a:lnTo>
                  <a:lnTo>
                    <a:pt x="111912" y="9474"/>
                  </a:lnTo>
                  <a:lnTo>
                    <a:pt x="107061" y="8166"/>
                  </a:lnTo>
                  <a:lnTo>
                    <a:pt x="85547" y="1993"/>
                  </a:lnTo>
                  <a:lnTo>
                    <a:pt x="85547" y="2540"/>
                  </a:lnTo>
                  <a:lnTo>
                    <a:pt x="83654" y="3175"/>
                  </a:lnTo>
                  <a:lnTo>
                    <a:pt x="83654" y="5080"/>
                  </a:lnTo>
                  <a:lnTo>
                    <a:pt x="81622" y="7620"/>
                  </a:lnTo>
                  <a:lnTo>
                    <a:pt x="81686" y="5080"/>
                  </a:lnTo>
                  <a:lnTo>
                    <a:pt x="83654" y="5080"/>
                  </a:lnTo>
                  <a:lnTo>
                    <a:pt x="83654" y="3175"/>
                  </a:lnTo>
                  <a:lnTo>
                    <a:pt x="81749" y="3810"/>
                  </a:lnTo>
                  <a:lnTo>
                    <a:pt x="81838" y="1460"/>
                  </a:lnTo>
                  <a:lnTo>
                    <a:pt x="85547" y="2540"/>
                  </a:lnTo>
                  <a:lnTo>
                    <a:pt x="85547" y="1993"/>
                  </a:lnTo>
                  <a:lnTo>
                    <a:pt x="84150" y="1587"/>
                  </a:lnTo>
                  <a:lnTo>
                    <a:pt x="84150" y="2019"/>
                  </a:lnTo>
                  <a:lnTo>
                    <a:pt x="81838" y="1397"/>
                  </a:lnTo>
                  <a:lnTo>
                    <a:pt x="81851" y="1270"/>
                  </a:lnTo>
                  <a:lnTo>
                    <a:pt x="84150" y="2019"/>
                  </a:lnTo>
                  <a:lnTo>
                    <a:pt x="84150" y="1587"/>
                  </a:lnTo>
                  <a:lnTo>
                    <a:pt x="83070" y="1270"/>
                  </a:lnTo>
                  <a:lnTo>
                    <a:pt x="78638" y="0"/>
                  </a:lnTo>
                  <a:lnTo>
                    <a:pt x="78181" y="609"/>
                  </a:lnTo>
                  <a:lnTo>
                    <a:pt x="78181" y="3352"/>
                  </a:lnTo>
                  <a:lnTo>
                    <a:pt x="78117" y="5080"/>
                  </a:lnTo>
                  <a:lnTo>
                    <a:pt x="78054" y="6350"/>
                  </a:lnTo>
                  <a:lnTo>
                    <a:pt x="77978" y="8890"/>
                  </a:lnTo>
                  <a:lnTo>
                    <a:pt x="77812" y="8775"/>
                  </a:lnTo>
                  <a:lnTo>
                    <a:pt x="77812" y="12700"/>
                  </a:lnTo>
                  <a:lnTo>
                    <a:pt x="74434" y="96520"/>
                  </a:lnTo>
                  <a:lnTo>
                    <a:pt x="69684" y="90170"/>
                  </a:lnTo>
                  <a:lnTo>
                    <a:pt x="64084" y="82550"/>
                  </a:lnTo>
                  <a:lnTo>
                    <a:pt x="60401" y="77470"/>
                  </a:lnTo>
                  <a:lnTo>
                    <a:pt x="49999" y="63500"/>
                  </a:lnTo>
                  <a:lnTo>
                    <a:pt x="40894" y="50800"/>
                  </a:lnTo>
                  <a:lnTo>
                    <a:pt x="72428" y="8890"/>
                  </a:lnTo>
                  <a:lnTo>
                    <a:pt x="77812" y="12700"/>
                  </a:lnTo>
                  <a:lnTo>
                    <a:pt x="77812" y="8775"/>
                  </a:lnTo>
                  <a:lnTo>
                    <a:pt x="76263" y="7620"/>
                  </a:lnTo>
                  <a:lnTo>
                    <a:pt x="78054" y="6350"/>
                  </a:lnTo>
                  <a:lnTo>
                    <a:pt x="78054" y="5105"/>
                  </a:lnTo>
                  <a:lnTo>
                    <a:pt x="74866" y="6350"/>
                  </a:lnTo>
                  <a:lnTo>
                    <a:pt x="74726" y="5727"/>
                  </a:lnTo>
                  <a:lnTo>
                    <a:pt x="77457" y="2108"/>
                  </a:lnTo>
                  <a:lnTo>
                    <a:pt x="77647" y="1917"/>
                  </a:lnTo>
                  <a:lnTo>
                    <a:pt x="78181" y="3352"/>
                  </a:lnTo>
                  <a:lnTo>
                    <a:pt x="78181" y="609"/>
                  </a:lnTo>
                  <a:lnTo>
                    <a:pt x="75463" y="4178"/>
                  </a:lnTo>
                  <a:lnTo>
                    <a:pt x="77076" y="2501"/>
                  </a:lnTo>
                  <a:lnTo>
                    <a:pt x="74714" y="5638"/>
                  </a:lnTo>
                  <a:lnTo>
                    <a:pt x="74637" y="5257"/>
                  </a:lnTo>
                  <a:lnTo>
                    <a:pt x="40017" y="50800"/>
                  </a:lnTo>
                  <a:lnTo>
                    <a:pt x="40297" y="51219"/>
                  </a:lnTo>
                  <a:lnTo>
                    <a:pt x="17183" y="81813"/>
                  </a:lnTo>
                  <a:lnTo>
                    <a:pt x="40335" y="51269"/>
                  </a:lnTo>
                  <a:lnTo>
                    <a:pt x="59334" y="78740"/>
                  </a:lnTo>
                  <a:lnTo>
                    <a:pt x="64249" y="85090"/>
                  </a:lnTo>
                  <a:lnTo>
                    <a:pt x="69265" y="91440"/>
                  </a:lnTo>
                  <a:lnTo>
                    <a:pt x="74371" y="99060"/>
                  </a:lnTo>
                  <a:lnTo>
                    <a:pt x="74345" y="99593"/>
                  </a:lnTo>
                  <a:lnTo>
                    <a:pt x="64160" y="99593"/>
                  </a:lnTo>
                  <a:lnTo>
                    <a:pt x="72034" y="100863"/>
                  </a:lnTo>
                  <a:lnTo>
                    <a:pt x="74295" y="100863"/>
                  </a:lnTo>
                  <a:lnTo>
                    <a:pt x="70053" y="205447"/>
                  </a:lnTo>
                  <a:lnTo>
                    <a:pt x="69977" y="207124"/>
                  </a:lnTo>
                  <a:lnTo>
                    <a:pt x="69964" y="207543"/>
                  </a:lnTo>
                  <a:lnTo>
                    <a:pt x="69392" y="207543"/>
                  </a:lnTo>
                  <a:lnTo>
                    <a:pt x="61823" y="213893"/>
                  </a:lnTo>
                  <a:lnTo>
                    <a:pt x="53746" y="217703"/>
                  </a:lnTo>
                  <a:lnTo>
                    <a:pt x="45212" y="221513"/>
                  </a:lnTo>
                  <a:lnTo>
                    <a:pt x="36296" y="224053"/>
                  </a:lnTo>
                  <a:lnTo>
                    <a:pt x="32512" y="224053"/>
                  </a:lnTo>
                  <a:lnTo>
                    <a:pt x="5715" y="124993"/>
                  </a:lnTo>
                  <a:lnTo>
                    <a:pt x="12979" y="136423"/>
                  </a:lnTo>
                  <a:lnTo>
                    <a:pt x="22415" y="150393"/>
                  </a:lnTo>
                  <a:lnTo>
                    <a:pt x="27305" y="158013"/>
                  </a:lnTo>
                  <a:lnTo>
                    <a:pt x="32308" y="164363"/>
                  </a:lnTo>
                  <a:lnTo>
                    <a:pt x="37452" y="171983"/>
                  </a:lnTo>
                  <a:lnTo>
                    <a:pt x="65938" y="202463"/>
                  </a:lnTo>
                  <a:lnTo>
                    <a:pt x="67424" y="205003"/>
                  </a:lnTo>
                  <a:lnTo>
                    <a:pt x="69977" y="207124"/>
                  </a:lnTo>
                  <a:lnTo>
                    <a:pt x="69977" y="205397"/>
                  </a:lnTo>
                  <a:lnTo>
                    <a:pt x="67957" y="203733"/>
                  </a:lnTo>
                  <a:lnTo>
                    <a:pt x="66446" y="202463"/>
                  </a:lnTo>
                  <a:lnTo>
                    <a:pt x="60325" y="196113"/>
                  </a:lnTo>
                  <a:lnTo>
                    <a:pt x="54457" y="191033"/>
                  </a:lnTo>
                  <a:lnTo>
                    <a:pt x="48818" y="184683"/>
                  </a:lnTo>
                  <a:lnTo>
                    <a:pt x="43370" y="177063"/>
                  </a:lnTo>
                  <a:lnTo>
                    <a:pt x="38087" y="170713"/>
                  </a:lnTo>
                  <a:lnTo>
                    <a:pt x="32969" y="164363"/>
                  </a:lnTo>
                  <a:lnTo>
                    <a:pt x="27978" y="158013"/>
                  </a:lnTo>
                  <a:lnTo>
                    <a:pt x="23114" y="150393"/>
                  </a:lnTo>
                  <a:lnTo>
                    <a:pt x="13703" y="136423"/>
                  </a:lnTo>
                  <a:lnTo>
                    <a:pt x="6527" y="124993"/>
                  </a:lnTo>
                  <a:lnTo>
                    <a:pt x="4927" y="122453"/>
                  </a:lnTo>
                  <a:lnTo>
                    <a:pt x="0" y="104673"/>
                  </a:lnTo>
                  <a:lnTo>
                    <a:pt x="32385" y="224053"/>
                  </a:lnTo>
                  <a:lnTo>
                    <a:pt x="32727" y="225323"/>
                  </a:lnTo>
                  <a:lnTo>
                    <a:pt x="36512" y="224053"/>
                  </a:lnTo>
                  <a:lnTo>
                    <a:pt x="45478" y="222783"/>
                  </a:lnTo>
                  <a:lnTo>
                    <a:pt x="54114" y="218973"/>
                  </a:lnTo>
                  <a:lnTo>
                    <a:pt x="60223" y="215163"/>
                  </a:lnTo>
                  <a:lnTo>
                    <a:pt x="69900" y="209067"/>
                  </a:lnTo>
                  <a:lnTo>
                    <a:pt x="65455" y="318770"/>
                  </a:lnTo>
                  <a:lnTo>
                    <a:pt x="69049" y="318770"/>
                  </a:lnTo>
                  <a:lnTo>
                    <a:pt x="69697" y="303530"/>
                  </a:lnTo>
                  <a:lnTo>
                    <a:pt x="72682" y="304800"/>
                  </a:lnTo>
                  <a:lnTo>
                    <a:pt x="77266" y="307340"/>
                  </a:lnTo>
                  <a:lnTo>
                    <a:pt x="83794" y="309880"/>
                  </a:lnTo>
                  <a:lnTo>
                    <a:pt x="92570" y="314960"/>
                  </a:lnTo>
                  <a:lnTo>
                    <a:pt x="82537" y="318770"/>
                  </a:lnTo>
                  <a:lnTo>
                    <a:pt x="90843" y="318770"/>
                  </a:lnTo>
                  <a:lnTo>
                    <a:pt x="96761" y="316230"/>
                  </a:lnTo>
                  <a:lnTo>
                    <a:pt x="102781" y="318770"/>
                  </a:lnTo>
                  <a:lnTo>
                    <a:pt x="111239" y="318770"/>
                  </a:lnTo>
                  <a:lnTo>
                    <a:pt x="104330" y="316230"/>
                  </a:lnTo>
                  <a:lnTo>
                    <a:pt x="100939" y="314960"/>
                  </a:lnTo>
                  <a:lnTo>
                    <a:pt x="105930" y="312420"/>
                  </a:lnTo>
                  <a:lnTo>
                    <a:pt x="123418" y="303530"/>
                  </a:lnTo>
                  <a:lnTo>
                    <a:pt x="123875" y="318770"/>
                  </a:lnTo>
                  <a:lnTo>
                    <a:pt x="127469" y="318770"/>
                  </a:lnTo>
                  <a:lnTo>
                    <a:pt x="127025" y="303530"/>
                  </a:lnTo>
                  <a:lnTo>
                    <a:pt x="126923" y="300990"/>
                  </a:lnTo>
                  <a:lnTo>
                    <a:pt x="126847" y="298450"/>
                  </a:lnTo>
                  <a:lnTo>
                    <a:pt x="126149" y="273050"/>
                  </a:lnTo>
                  <a:lnTo>
                    <a:pt x="125971" y="267970"/>
                  </a:lnTo>
                  <a:lnTo>
                    <a:pt x="125272" y="242570"/>
                  </a:lnTo>
                  <a:lnTo>
                    <a:pt x="125171" y="240030"/>
                  </a:lnTo>
                  <a:lnTo>
                    <a:pt x="125056" y="236220"/>
                  </a:lnTo>
                  <a:lnTo>
                    <a:pt x="124790" y="227152"/>
                  </a:lnTo>
                  <a:lnTo>
                    <a:pt x="132689" y="225323"/>
                  </a:lnTo>
                  <a:lnTo>
                    <a:pt x="137883" y="222783"/>
                  </a:lnTo>
                  <a:lnTo>
                    <a:pt x="166395" y="193967"/>
                  </a:lnTo>
                  <a:lnTo>
                    <a:pt x="167589" y="194843"/>
                  </a:lnTo>
                  <a:lnTo>
                    <a:pt x="170815" y="199923"/>
                  </a:lnTo>
                  <a:lnTo>
                    <a:pt x="174256" y="203733"/>
                  </a:lnTo>
                  <a:lnTo>
                    <a:pt x="180949" y="212623"/>
                  </a:lnTo>
                  <a:lnTo>
                    <a:pt x="184035" y="215201"/>
                  </a:lnTo>
                  <a:lnTo>
                    <a:pt x="188353" y="218973"/>
                  </a:lnTo>
                  <a:lnTo>
                    <a:pt x="189255" y="218973"/>
                  </a:lnTo>
                  <a:lnTo>
                    <a:pt x="190106" y="220154"/>
                  </a:lnTo>
                  <a:lnTo>
                    <a:pt x="190144" y="221284"/>
                  </a:lnTo>
                  <a:lnTo>
                    <a:pt x="186880" y="306603"/>
                  </a:lnTo>
                  <a:lnTo>
                    <a:pt x="188366" y="306603"/>
                  </a:lnTo>
                  <a:lnTo>
                    <a:pt x="188493" y="304063"/>
                  </a:lnTo>
                  <a:lnTo>
                    <a:pt x="189420" y="304063"/>
                  </a:lnTo>
                  <a:lnTo>
                    <a:pt x="195072" y="306603"/>
                  </a:lnTo>
                  <a:lnTo>
                    <a:pt x="198437" y="306603"/>
                  </a:lnTo>
                  <a:lnTo>
                    <a:pt x="191223" y="304063"/>
                  </a:lnTo>
                  <a:lnTo>
                    <a:pt x="189725" y="302793"/>
                  </a:lnTo>
                  <a:lnTo>
                    <a:pt x="191427" y="301523"/>
                  </a:lnTo>
                  <a:lnTo>
                    <a:pt x="194640" y="300253"/>
                  </a:lnTo>
                  <a:lnTo>
                    <a:pt x="199288" y="297713"/>
                  </a:lnTo>
                  <a:lnTo>
                    <a:pt x="208686" y="302793"/>
                  </a:lnTo>
                  <a:lnTo>
                    <a:pt x="199720" y="306603"/>
                  </a:lnTo>
                  <a:lnTo>
                    <a:pt x="203047" y="306603"/>
                  </a:lnTo>
                  <a:lnTo>
                    <a:pt x="209537" y="304063"/>
                  </a:lnTo>
                  <a:lnTo>
                    <a:pt x="209626" y="306603"/>
                  </a:lnTo>
                  <a:lnTo>
                    <a:pt x="211099" y="306603"/>
                  </a:lnTo>
                  <a:lnTo>
                    <a:pt x="211023" y="304063"/>
                  </a:lnTo>
                  <a:lnTo>
                    <a:pt x="210959" y="301523"/>
                  </a:lnTo>
                  <a:lnTo>
                    <a:pt x="210680" y="291363"/>
                  </a:lnTo>
                  <a:lnTo>
                    <a:pt x="210616" y="288823"/>
                  </a:lnTo>
                  <a:lnTo>
                    <a:pt x="210337" y="278663"/>
                  </a:lnTo>
                  <a:lnTo>
                    <a:pt x="210248" y="276123"/>
                  </a:lnTo>
                  <a:lnTo>
                    <a:pt x="209943" y="264693"/>
                  </a:lnTo>
                  <a:lnTo>
                    <a:pt x="209905" y="263423"/>
                  </a:lnTo>
                  <a:lnTo>
                    <a:pt x="209867" y="262153"/>
                  </a:lnTo>
                  <a:lnTo>
                    <a:pt x="209600" y="251993"/>
                  </a:lnTo>
                  <a:lnTo>
                    <a:pt x="209486" y="248183"/>
                  </a:lnTo>
                  <a:lnTo>
                    <a:pt x="209473" y="247700"/>
                  </a:lnTo>
                  <a:lnTo>
                    <a:pt x="209473" y="301523"/>
                  </a:lnTo>
                  <a:lnTo>
                    <a:pt x="202946" y="297713"/>
                  </a:lnTo>
                  <a:lnTo>
                    <a:pt x="200774" y="296443"/>
                  </a:lnTo>
                  <a:lnTo>
                    <a:pt x="202882" y="295173"/>
                  </a:lnTo>
                  <a:lnTo>
                    <a:pt x="209194" y="291363"/>
                  </a:lnTo>
                  <a:lnTo>
                    <a:pt x="209473" y="301523"/>
                  </a:lnTo>
                  <a:lnTo>
                    <a:pt x="209473" y="247700"/>
                  </a:lnTo>
                  <a:lnTo>
                    <a:pt x="209219" y="238023"/>
                  </a:lnTo>
                  <a:lnTo>
                    <a:pt x="209181" y="236753"/>
                  </a:lnTo>
                  <a:lnTo>
                    <a:pt x="209156" y="235483"/>
                  </a:lnTo>
                  <a:lnTo>
                    <a:pt x="209118" y="234213"/>
                  </a:lnTo>
                  <a:lnTo>
                    <a:pt x="209105" y="233756"/>
                  </a:lnTo>
                  <a:lnTo>
                    <a:pt x="209105" y="288823"/>
                  </a:lnTo>
                  <a:lnTo>
                    <a:pt x="208470" y="288442"/>
                  </a:lnTo>
                  <a:lnTo>
                    <a:pt x="208470" y="290093"/>
                  </a:lnTo>
                  <a:lnTo>
                    <a:pt x="199275" y="295173"/>
                  </a:lnTo>
                  <a:lnTo>
                    <a:pt x="197777" y="294360"/>
                  </a:lnTo>
                  <a:lnTo>
                    <a:pt x="197777" y="296443"/>
                  </a:lnTo>
                  <a:lnTo>
                    <a:pt x="191744" y="300253"/>
                  </a:lnTo>
                  <a:lnTo>
                    <a:pt x="189445" y="301523"/>
                  </a:lnTo>
                  <a:lnTo>
                    <a:pt x="188582" y="301523"/>
                  </a:lnTo>
                  <a:lnTo>
                    <a:pt x="188976" y="291363"/>
                  </a:lnTo>
                  <a:lnTo>
                    <a:pt x="197777" y="296443"/>
                  </a:lnTo>
                  <a:lnTo>
                    <a:pt x="197777" y="294360"/>
                  </a:lnTo>
                  <a:lnTo>
                    <a:pt x="192316" y="291363"/>
                  </a:lnTo>
                  <a:lnTo>
                    <a:pt x="190004" y="290093"/>
                  </a:lnTo>
                  <a:lnTo>
                    <a:pt x="192328" y="288823"/>
                  </a:lnTo>
                  <a:lnTo>
                    <a:pt x="199288" y="285013"/>
                  </a:lnTo>
                  <a:lnTo>
                    <a:pt x="208470" y="290093"/>
                  </a:lnTo>
                  <a:lnTo>
                    <a:pt x="208470" y="288442"/>
                  </a:lnTo>
                  <a:lnTo>
                    <a:pt x="202831" y="285013"/>
                  </a:lnTo>
                  <a:lnTo>
                    <a:pt x="200736" y="283743"/>
                  </a:lnTo>
                  <a:lnTo>
                    <a:pt x="202768" y="282473"/>
                  </a:lnTo>
                  <a:lnTo>
                    <a:pt x="208851" y="278663"/>
                  </a:lnTo>
                  <a:lnTo>
                    <a:pt x="209105" y="288823"/>
                  </a:lnTo>
                  <a:lnTo>
                    <a:pt x="209105" y="233756"/>
                  </a:lnTo>
                  <a:lnTo>
                    <a:pt x="208876" y="225323"/>
                  </a:lnTo>
                  <a:lnTo>
                    <a:pt x="208915" y="222618"/>
                  </a:lnTo>
                  <a:lnTo>
                    <a:pt x="209600" y="221513"/>
                  </a:lnTo>
                  <a:lnTo>
                    <a:pt x="212471" y="221513"/>
                  </a:lnTo>
                  <a:lnTo>
                    <a:pt x="213842" y="220243"/>
                  </a:lnTo>
                  <a:lnTo>
                    <a:pt x="212293" y="220243"/>
                  </a:lnTo>
                  <a:lnTo>
                    <a:pt x="213766" y="219163"/>
                  </a:lnTo>
                  <a:lnTo>
                    <a:pt x="215277" y="219710"/>
                  </a:lnTo>
                  <a:lnTo>
                    <a:pt x="214299" y="220154"/>
                  </a:lnTo>
                  <a:lnTo>
                    <a:pt x="215696" y="219875"/>
                  </a:lnTo>
                  <a:lnTo>
                    <a:pt x="218732" y="220980"/>
                  </a:lnTo>
                  <a:lnTo>
                    <a:pt x="229336" y="223520"/>
                  </a:lnTo>
                  <a:lnTo>
                    <a:pt x="240157" y="224790"/>
                  </a:lnTo>
                  <a:lnTo>
                    <a:pt x="250812" y="224790"/>
                  </a:lnTo>
                  <a:lnTo>
                    <a:pt x="251536" y="225323"/>
                  </a:lnTo>
                  <a:lnTo>
                    <a:pt x="253466" y="226593"/>
                  </a:lnTo>
                  <a:lnTo>
                    <a:pt x="255574" y="227863"/>
                  </a:lnTo>
                  <a:lnTo>
                    <a:pt x="257517" y="227863"/>
                  </a:lnTo>
                  <a:lnTo>
                    <a:pt x="255625" y="226593"/>
                  </a:lnTo>
                  <a:lnTo>
                    <a:pt x="253593" y="226593"/>
                  </a:lnTo>
                  <a:lnTo>
                    <a:pt x="251701" y="225323"/>
                  </a:lnTo>
                  <a:lnTo>
                    <a:pt x="250990" y="224790"/>
                  </a:lnTo>
                  <a:lnTo>
                    <a:pt x="259575" y="223799"/>
                  </a:lnTo>
                  <a:lnTo>
                    <a:pt x="260540" y="225323"/>
                  </a:lnTo>
                  <a:lnTo>
                    <a:pt x="261213" y="226593"/>
                  </a:lnTo>
                  <a:lnTo>
                    <a:pt x="259499" y="226593"/>
                  </a:lnTo>
                  <a:lnTo>
                    <a:pt x="257517" y="227863"/>
                  </a:lnTo>
                  <a:lnTo>
                    <a:pt x="259613" y="227863"/>
                  </a:lnTo>
                  <a:lnTo>
                    <a:pt x="261391" y="226593"/>
                  </a:lnTo>
                  <a:lnTo>
                    <a:pt x="262750" y="228053"/>
                  </a:lnTo>
                  <a:lnTo>
                    <a:pt x="263855" y="229133"/>
                  </a:lnTo>
                  <a:lnTo>
                    <a:pt x="266534" y="231673"/>
                  </a:lnTo>
                  <a:lnTo>
                    <a:pt x="267766" y="232943"/>
                  </a:lnTo>
                  <a:lnTo>
                    <a:pt x="267893" y="232943"/>
                  </a:lnTo>
                  <a:lnTo>
                    <a:pt x="266700" y="231673"/>
                  </a:lnTo>
                  <a:lnTo>
                    <a:pt x="262674" y="227711"/>
                  </a:lnTo>
                  <a:lnTo>
                    <a:pt x="261670" y="226593"/>
                  </a:lnTo>
                  <a:lnTo>
                    <a:pt x="263652" y="225323"/>
                  </a:lnTo>
                  <a:lnTo>
                    <a:pt x="265226" y="224028"/>
                  </a:lnTo>
                  <a:lnTo>
                    <a:pt x="267131" y="221602"/>
                  </a:lnTo>
                  <a:lnTo>
                    <a:pt x="272351" y="219710"/>
                  </a:lnTo>
                  <a:lnTo>
                    <a:pt x="278803" y="217258"/>
                  </a:lnTo>
                  <a:lnTo>
                    <a:pt x="278447" y="226593"/>
                  </a:lnTo>
                  <a:lnTo>
                    <a:pt x="277025" y="229133"/>
                  </a:lnTo>
                  <a:lnTo>
                    <a:pt x="275348" y="231673"/>
                  </a:lnTo>
                  <a:lnTo>
                    <a:pt x="273151" y="231673"/>
                  </a:lnTo>
                  <a:lnTo>
                    <a:pt x="271932" y="232943"/>
                  </a:lnTo>
                  <a:lnTo>
                    <a:pt x="273265" y="232943"/>
                  </a:lnTo>
                  <a:lnTo>
                    <a:pt x="275412" y="231673"/>
                  </a:lnTo>
                  <a:lnTo>
                    <a:pt x="277050" y="229133"/>
                  </a:lnTo>
                  <a:lnTo>
                    <a:pt x="278422" y="227863"/>
                  </a:lnTo>
                  <a:lnTo>
                    <a:pt x="275526" y="304063"/>
                  </a:lnTo>
                  <a:lnTo>
                    <a:pt x="276377" y="304063"/>
                  </a:lnTo>
                  <a:lnTo>
                    <a:pt x="276580" y="298983"/>
                  </a:lnTo>
                  <a:lnTo>
                    <a:pt x="276758" y="293903"/>
                  </a:lnTo>
                  <a:lnTo>
                    <a:pt x="283070" y="297713"/>
                  </a:lnTo>
                  <a:lnTo>
                    <a:pt x="276758" y="301371"/>
                  </a:lnTo>
                  <a:lnTo>
                    <a:pt x="283997" y="297713"/>
                  </a:lnTo>
                  <a:lnTo>
                    <a:pt x="291414" y="301472"/>
                  </a:lnTo>
                  <a:lnTo>
                    <a:pt x="284937" y="297713"/>
                  </a:lnTo>
                  <a:lnTo>
                    <a:pt x="287058" y="296443"/>
                  </a:lnTo>
                  <a:lnTo>
                    <a:pt x="291312" y="293903"/>
                  </a:lnTo>
                  <a:lnTo>
                    <a:pt x="291579" y="304063"/>
                  </a:lnTo>
                  <a:lnTo>
                    <a:pt x="292430" y="304063"/>
                  </a:lnTo>
                  <a:lnTo>
                    <a:pt x="292138" y="293903"/>
                  </a:lnTo>
                  <a:lnTo>
                    <a:pt x="292138" y="292633"/>
                  </a:lnTo>
                  <a:lnTo>
                    <a:pt x="291934" y="286283"/>
                  </a:lnTo>
                  <a:lnTo>
                    <a:pt x="291896" y="285013"/>
                  </a:lnTo>
                  <a:lnTo>
                    <a:pt x="291731" y="278663"/>
                  </a:lnTo>
                  <a:lnTo>
                    <a:pt x="291668" y="276123"/>
                  </a:lnTo>
                  <a:lnTo>
                    <a:pt x="291503" y="269773"/>
                  </a:lnTo>
                  <a:lnTo>
                    <a:pt x="291477" y="268503"/>
                  </a:lnTo>
                  <a:lnTo>
                    <a:pt x="291274" y="261340"/>
                  </a:lnTo>
                  <a:lnTo>
                    <a:pt x="291274" y="292633"/>
                  </a:lnTo>
                  <a:lnTo>
                    <a:pt x="290804" y="292442"/>
                  </a:lnTo>
                  <a:lnTo>
                    <a:pt x="290804" y="293903"/>
                  </a:lnTo>
                  <a:lnTo>
                    <a:pt x="283997" y="296443"/>
                  </a:lnTo>
                  <a:lnTo>
                    <a:pt x="277380" y="293903"/>
                  </a:lnTo>
                  <a:lnTo>
                    <a:pt x="279628" y="292633"/>
                  </a:lnTo>
                  <a:lnTo>
                    <a:pt x="284137" y="290093"/>
                  </a:lnTo>
                  <a:lnTo>
                    <a:pt x="286816" y="291363"/>
                  </a:lnTo>
                  <a:lnTo>
                    <a:pt x="290804" y="293903"/>
                  </a:lnTo>
                  <a:lnTo>
                    <a:pt x="290804" y="292442"/>
                  </a:lnTo>
                  <a:lnTo>
                    <a:pt x="285102" y="290093"/>
                  </a:lnTo>
                  <a:lnTo>
                    <a:pt x="287096" y="288823"/>
                  </a:lnTo>
                  <a:lnTo>
                    <a:pt x="291109" y="286283"/>
                  </a:lnTo>
                  <a:lnTo>
                    <a:pt x="291274" y="292633"/>
                  </a:lnTo>
                  <a:lnTo>
                    <a:pt x="291274" y="261340"/>
                  </a:lnTo>
                  <a:lnTo>
                    <a:pt x="291261" y="260883"/>
                  </a:lnTo>
                  <a:lnTo>
                    <a:pt x="291236" y="259613"/>
                  </a:lnTo>
                  <a:lnTo>
                    <a:pt x="291058" y="253339"/>
                  </a:lnTo>
                  <a:lnTo>
                    <a:pt x="291058" y="285013"/>
                  </a:lnTo>
                  <a:lnTo>
                    <a:pt x="290601" y="284721"/>
                  </a:lnTo>
                  <a:lnTo>
                    <a:pt x="290601" y="286283"/>
                  </a:lnTo>
                  <a:lnTo>
                    <a:pt x="284124" y="288823"/>
                  </a:lnTo>
                  <a:lnTo>
                    <a:pt x="283159" y="288442"/>
                  </a:lnTo>
                  <a:lnTo>
                    <a:pt x="283159" y="290093"/>
                  </a:lnTo>
                  <a:lnTo>
                    <a:pt x="276821" y="292633"/>
                  </a:lnTo>
                  <a:lnTo>
                    <a:pt x="277050" y="286283"/>
                  </a:lnTo>
                  <a:lnTo>
                    <a:pt x="277736" y="286283"/>
                  </a:lnTo>
                  <a:lnTo>
                    <a:pt x="283159" y="290093"/>
                  </a:lnTo>
                  <a:lnTo>
                    <a:pt x="283159" y="288442"/>
                  </a:lnTo>
                  <a:lnTo>
                    <a:pt x="281038" y="287553"/>
                  </a:lnTo>
                  <a:lnTo>
                    <a:pt x="278815" y="286283"/>
                  </a:lnTo>
                  <a:lnTo>
                    <a:pt x="277787" y="286283"/>
                  </a:lnTo>
                  <a:lnTo>
                    <a:pt x="278892" y="285013"/>
                  </a:lnTo>
                  <a:lnTo>
                    <a:pt x="281063" y="283743"/>
                  </a:lnTo>
                  <a:lnTo>
                    <a:pt x="284251" y="282473"/>
                  </a:lnTo>
                  <a:lnTo>
                    <a:pt x="290601" y="286283"/>
                  </a:lnTo>
                  <a:lnTo>
                    <a:pt x="290601" y="284721"/>
                  </a:lnTo>
                  <a:lnTo>
                    <a:pt x="287096" y="282473"/>
                  </a:lnTo>
                  <a:lnTo>
                    <a:pt x="285115" y="281203"/>
                  </a:lnTo>
                  <a:lnTo>
                    <a:pt x="290880" y="278663"/>
                  </a:lnTo>
                  <a:lnTo>
                    <a:pt x="291058" y="285013"/>
                  </a:lnTo>
                  <a:lnTo>
                    <a:pt x="291058" y="253339"/>
                  </a:lnTo>
                  <a:lnTo>
                    <a:pt x="291020" y="251993"/>
                  </a:lnTo>
                  <a:lnTo>
                    <a:pt x="290995" y="250723"/>
                  </a:lnTo>
                  <a:lnTo>
                    <a:pt x="290830" y="244906"/>
                  </a:lnTo>
                  <a:lnTo>
                    <a:pt x="290830" y="276123"/>
                  </a:lnTo>
                  <a:lnTo>
                    <a:pt x="290449" y="275958"/>
                  </a:lnTo>
                  <a:lnTo>
                    <a:pt x="290449" y="277393"/>
                  </a:lnTo>
                  <a:lnTo>
                    <a:pt x="284251" y="281203"/>
                  </a:lnTo>
                  <a:lnTo>
                    <a:pt x="283387" y="280682"/>
                  </a:lnTo>
                  <a:lnTo>
                    <a:pt x="283387" y="281203"/>
                  </a:lnTo>
                  <a:lnTo>
                    <a:pt x="279133" y="283743"/>
                  </a:lnTo>
                  <a:lnTo>
                    <a:pt x="277101" y="285013"/>
                  </a:lnTo>
                  <a:lnTo>
                    <a:pt x="277368" y="278663"/>
                  </a:lnTo>
                  <a:lnTo>
                    <a:pt x="283387" y="281203"/>
                  </a:lnTo>
                  <a:lnTo>
                    <a:pt x="283387" y="280682"/>
                  </a:lnTo>
                  <a:lnTo>
                    <a:pt x="280073" y="278663"/>
                  </a:lnTo>
                  <a:lnTo>
                    <a:pt x="277990" y="277393"/>
                  </a:lnTo>
                  <a:lnTo>
                    <a:pt x="284251" y="273583"/>
                  </a:lnTo>
                  <a:lnTo>
                    <a:pt x="290449" y="277393"/>
                  </a:lnTo>
                  <a:lnTo>
                    <a:pt x="290449" y="275958"/>
                  </a:lnTo>
                  <a:lnTo>
                    <a:pt x="285102" y="273583"/>
                  </a:lnTo>
                  <a:lnTo>
                    <a:pt x="286943" y="272313"/>
                  </a:lnTo>
                  <a:lnTo>
                    <a:pt x="290652" y="269773"/>
                  </a:lnTo>
                  <a:lnTo>
                    <a:pt x="290830" y="276123"/>
                  </a:lnTo>
                  <a:lnTo>
                    <a:pt x="290830" y="244906"/>
                  </a:lnTo>
                  <a:lnTo>
                    <a:pt x="290779" y="243103"/>
                  </a:lnTo>
                  <a:lnTo>
                    <a:pt x="290715" y="240563"/>
                  </a:lnTo>
                  <a:lnTo>
                    <a:pt x="290601" y="236486"/>
                  </a:lnTo>
                  <a:lnTo>
                    <a:pt x="290601" y="268503"/>
                  </a:lnTo>
                  <a:lnTo>
                    <a:pt x="290271" y="268274"/>
                  </a:lnTo>
                  <a:lnTo>
                    <a:pt x="290271" y="268503"/>
                  </a:lnTo>
                  <a:lnTo>
                    <a:pt x="284251" y="272313"/>
                  </a:lnTo>
                  <a:lnTo>
                    <a:pt x="283425" y="271792"/>
                  </a:lnTo>
                  <a:lnTo>
                    <a:pt x="283425" y="273583"/>
                  </a:lnTo>
                  <a:lnTo>
                    <a:pt x="277418" y="277393"/>
                  </a:lnTo>
                  <a:lnTo>
                    <a:pt x="277685" y="269773"/>
                  </a:lnTo>
                  <a:lnTo>
                    <a:pt x="283425" y="273583"/>
                  </a:lnTo>
                  <a:lnTo>
                    <a:pt x="283425" y="271792"/>
                  </a:lnTo>
                  <a:lnTo>
                    <a:pt x="280289" y="269773"/>
                  </a:lnTo>
                  <a:lnTo>
                    <a:pt x="278320" y="268503"/>
                  </a:lnTo>
                  <a:lnTo>
                    <a:pt x="284365" y="264693"/>
                  </a:lnTo>
                  <a:lnTo>
                    <a:pt x="290271" y="268503"/>
                  </a:lnTo>
                  <a:lnTo>
                    <a:pt x="290271" y="268274"/>
                  </a:lnTo>
                  <a:lnTo>
                    <a:pt x="285140" y="264693"/>
                  </a:lnTo>
                  <a:lnTo>
                    <a:pt x="286893" y="263423"/>
                  </a:lnTo>
                  <a:lnTo>
                    <a:pt x="290410" y="260883"/>
                  </a:lnTo>
                  <a:lnTo>
                    <a:pt x="290601" y="268503"/>
                  </a:lnTo>
                  <a:lnTo>
                    <a:pt x="290601" y="236486"/>
                  </a:lnTo>
                  <a:lnTo>
                    <a:pt x="290537" y="234213"/>
                  </a:lnTo>
                  <a:lnTo>
                    <a:pt x="290461" y="231673"/>
                  </a:lnTo>
                  <a:lnTo>
                    <a:pt x="290360" y="227774"/>
                  </a:lnTo>
                  <a:lnTo>
                    <a:pt x="290360" y="259613"/>
                  </a:lnTo>
                  <a:lnTo>
                    <a:pt x="289407" y="258914"/>
                  </a:lnTo>
                  <a:lnTo>
                    <a:pt x="289407" y="259613"/>
                  </a:lnTo>
                  <a:lnTo>
                    <a:pt x="289394" y="260883"/>
                  </a:lnTo>
                  <a:lnTo>
                    <a:pt x="284365" y="263423"/>
                  </a:lnTo>
                  <a:lnTo>
                    <a:pt x="283591" y="263042"/>
                  </a:lnTo>
                  <a:lnTo>
                    <a:pt x="283591" y="264693"/>
                  </a:lnTo>
                  <a:lnTo>
                    <a:pt x="277736" y="268503"/>
                  </a:lnTo>
                  <a:lnTo>
                    <a:pt x="278028" y="260883"/>
                  </a:lnTo>
                  <a:lnTo>
                    <a:pt x="283591" y="264693"/>
                  </a:lnTo>
                  <a:lnTo>
                    <a:pt x="283591" y="263042"/>
                  </a:lnTo>
                  <a:lnTo>
                    <a:pt x="279336" y="260883"/>
                  </a:lnTo>
                  <a:lnTo>
                    <a:pt x="289394" y="260883"/>
                  </a:lnTo>
                  <a:lnTo>
                    <a:pt x="289394" y="259613"/>
                  </a:lnTo>
                  <a:lnTo>
                    <a:pt x="279336" y="259613"/>
                  </a:lnTo>
                  <a:lnTo>
                    <a:pt x="284403" y="255803"/>
                  </a:lnTo>
                  <a:lnTo>
                    <a:pt x="289407" y="259613"/>
                  </a:lnTo>
                  <a:lnTo>
                    <a:pt x="289407" y="258914"/>
                  </a:lnTo>
                  <a:lnTo>
                    <a:pt x="285165" y="255803"/>
                  </a:lnTo>
                  <a:lnTo>
                    <a:pt x="286829" y="254533"/>
                  </a:lnTo>
                  <a:lnTo>
                    <a:pt x="290169" y="251993"/>
                  </a:lnTo>
                  <a:lnTo>
                    <a:pt x="290360" y="259613"/>
                  </a:lnTo>
                  <a:lnTo>
                    <a:pt x="290360" y="227774"/>
                  </a:lnTo>
                  <a:lnTo>
                    <a:pt x="290296" y="225323"/>
                  </a:lnTo>
                  <a:lnTo>
                    <a:pt x="290220" y="222783"/>
                  </a:lnTo>
                  <a:lnTo>
                    <a:pt x="290118" y="218973"/>
                  </a:lnTo>
                  <a:lnTo>
                    <a:pt x="290118" y="250723"/>
                  </a:lnTo>
                  <a:lnTo>
                    <a:pt x="289852" y="250520"/>
                  </a:lnTo>
                  <a:lnTo>
                    <a:pt x="289852" y="250723"/>
                  </a:lnTo>
                  <a:lnTo>
                    <a:pt x="284403" y="254533"/>
                  </a:lnTo>
                  <a:lnTo>
                    <a:pt x="283629" y="253987"/>
                  </a:lnTo>
                  <a:lnTo>
                    <a:pt x="283629" y="255803"/>
                  </a:lnTo>
                  <a:lnTo>
                    <a:pt x="278079" y="259613"/>
                  </a:lnTo>
                  <a:lnTo>
                    <a:pt x="278358" y="251993"/>
                  </a:lnTo>
                  <a:lnTo>
                    <a:pt x="283629" y="255803"/>
                  </a:lnTo>
                  <a:lnTo>
                    <a:pt x="283629" y="253987"/>
                  </a:lnTo>
                  <a:lnTo>
                    <a:pt x="280822" y="251993"/>
                  </a:lnTo>
                  <a:lnTo>
                    <a:pt x="279044" y="250723"/>
                  </a:lnTo>
                  <a:lnTo>
                    <a:pt x="284480" y="246913"/>
                  </a:lnTo>
                  <a:lnTo>
                    <a:pt x="289852" y="250723"/>
                  </a:lnTo>
                  <a:lnTo>
                    <a:pt x="289852" y="250520"/>
                  </a:lnTo>
                  <a:lnTo>
                    <a:pt x="285191" y="246913"/>
                  </a:lnTo>
                  <a:lnTo>
                    <a:pt x="286766" y="245643"/>
                  </a:lnTo>
                  <a:lnTo>
                    <a:pt x="289915" y="243103"/>
                  </a:lnTo>
                  <a:lnTo>
                    <a:pt x="290118" y="250723"/>
                  </a:lnTo>
                  <a:lnTo>
                    <a:pt x="290118" y="218973"/>
                  </a:lnTo>
                  <a:lnTo>
                    <a:pt x="290017" y="215163"/>
                  </a:lnTo>
                  <a:lnTo>
                    <a:pt x="289979" y="213893"/>
                  </a:lnTo>
                  <a:lnTo>
                    <a:pt x="289915" y="211886"/>
                  </a:lnTo>
                  <a:lnTo>
                    <a:pt x="291896" y="210820"/>
                  </a:lnTo>
                  <a:lnTo>
                    <a:pt x="297395" y="206883"/>
                  </a:lnTo>
                  <a:lnTo>
                    <a:pt x="297726" y="207911"/>
                  </a:lnTo>
                  <a:lnTo>
                    <a:pt x="300469" y="217944"/>
                  </a:lnTo>
                  <a:lnTo>
                    <a:pt x="301764" y="222821"/>
                  </a:lnTo>
                  <a:lnTo>
                    <a:pt x="305333" y="230454"/>
                  </a:lnTo>
                  <a:lnTo>
                    <a:pt x="306082" y="231673"/>
                  </a:lnTo>
                  <a:lnTo>
                    <a:pt x="307873" y="235483"/>
                  </a:lnTo>
                  <a:lnTo>
                    <a:pt x="310832" y="239293"/>
                  </a:lnTo>
                  <a:lnTo>
                    <a:pt x="311670" y="239293"/>
                  </a:lnTo>
                  <a:lnTo>
                    <a:pt x="310921" y="238023"/>
                  </a:lnTo>
                  <a:lnTo>
                    <a:pt x="308978" y="236740"/>
                  </a:lnTo>
                  <a:lnTo>
                    <a:pt x="308013" y="235483"/>
                  </a:lnTo>
                  <a:lnTo>
                    <a:pt x="306222" y="231673"/>
                  </a:lnTo>
                  <a:lnTo>
                    <a:pt x="305447" y="230403"/>
                  </a:lnTo>
                  <a:lnTo>
                    <a:pt x="301929" y="222821"/>
                  </a:lnTo>
                  <a:lnTo>
                    <a:pt x="299910" y="215163"/>
                  </a:lnTo>
                  <a:lnTo>
                    <a:pt x="297675" y="207543"/>
                  </a:lnTo>
                  <a:lnTo>
                    <a:pt x="298538" y="208813"/>
                  </a:lnTo>
                  <a:lnTo>
                    <a:pt x="299427" y="211353"/>
                  </a:lnTo>
                  <a:lnTo>
                    <a:pt x="301332" y="213893"/>
                  </a:lnTo>
                  <a:lnTo>
                    <a:pt x="302323" y="216433"/>
                  </a:lnTo>
                  <a:lnTo>
                    <a:pt x="304609" y="218973"/>
                  </a:lnTo>
                  <a:lnTo>
                    <a:pt x="305892" y="220243"/>
                  </a:lnTo>
                  <a:lnTo>
                    <a:pt x="307530" y="221513"/>
                  </a:lnTo>
                  <a:lnTo>
                    <a:pt x="308102" y="222783"/>
                  </a:lnTo>
                  <a:lnTo>
                    <a:pt x="308889" y="222783"/>
                  </a:lnTo>
                  <a:lnTo>
                    <a:pt x="309168" y="222783"/>
                  </a:lnTo>
                  <a:lnTo>
                    <a:pt x="308698" y="222211"/>
                  </a:lnTo>
                  <a:lnTo>
                    <a:pt x="308483" y="221513"/>
                  </a:lnTo>
                  <a:lnTo>
                    <a:pt x="308140" y="221513"/>
                  </a:lnTo>
                  <a:lnTo>
                    <a:pt x="307721" y="221005"/>
                  </a:lnTo>
                  <a:lnTo>
                    <a:pt x="307721" y="221284"/>
                  </a:lnTo>
                  <a:lnTo>
                    <a:pt x="306108" y="220243"/>
                  </a:lnTo>
                  <a:lnTo>
                    <a:pt x="304850" y="218973"/>
                  </a:lnTo>
                  <a:lnTo>
                    <a:pt x="302590" y="216433"/>
                  </a:lnTo>
                  <a:lnTo>
                    <a:pt x="301612" y="213893"/>
                  </a:lnTo>
                  <a:lnTo>
                    <a:pt x="299402" y="210083"/>
                  </a:lnTo>
                  <a:lnTo>
                    <a:pt x="298259" y="207543"/>
                  </a:lnTo>
                  <a:lnTo>
                    <a:pt x="297840" y="206565"/>
                  </a:lnTo>
                  <a:lnTo>
                    <a:pt x="298043" y="206425"/>
                  </a:lnTo>
                  <a:lnTo>
                    <a:pt x="298627" y="207543"/>
                  </a:lnTo>
                  <a:lnTo>
                    <a:pt x="300824" y="211353"/>
                  </a:lnTo>
                  <a:lnTo>
                    <a:pt x="305130" y="217703"/>
                  </a:lnTo>
                  <a:lnTo>
                    <a:pt x="306908" y="220243"/>
                  </a:lnTo>
                  <a:lnTo>
                    <a:pt x="307721" y="221284"/>
                  </a:lnTo>
                  <a:lnTo>
                    <a:pt x="307721" y="221005"/>
                  </a:lnTo>
                  <a:lnTo>
                    <a:pt x="307035" y="220154"/>
                  </a:lnTo>
                  <a:lnTo>
                    <a:pt x="305282" y="217703"/>
                  </a:lnTo>
                  <a:lnTo>
                    <a:pt x="300951" y="211353"/>
                  </a:lnTo>
                  <a:lnTo>
                    <a:pt x="298767" y="207543"/>
                  </a:lnTo>
                  <a:lnTo>
                    <a:pt x="298196" y="206311"/>
                  </a:lnTo>
                  <a:lnTo>
                    <a:pt x="300774" y="204470"/>
                  </a:lnTo>
                  <a:lnTo>
                    <a:pt x="302209" y="203200"/>
                  </a:lnTo>
                  <a:lnTo>
                    <a:pt x="308483" y="208343"/>
                  </a:lnTo>
                  <a:lnTo>
                    <a:pt x="314858" y="213360"/>
                  </a:lnTo>
                  <a:lnTo>
                    <a:pt x="317842" y="215049"/>
                  </a:lnTo>
                  <a:lnTo>
                    <a:pt x="317995" y="215163"/>
                  </a:lnTo>
                  <a:lnTo>
                    <a:pt x="317627" y="216433"/>
                  </a:lnTo>
                  <a:lnTo>
                    <a:pt x="317220" y="216433"/>
                  </a:lnTo>
                  <a:lnTo>
                    <a:pt x="316788" y="217703"/>
                  </a:lnTo>
                  <a:lnTo>
                    <a:pt x="315785" y="218973"/>
                  </a:lnTo>
                  <a:lnTo>
                    <a:pt x="314604" y="220243"/>
                  </a:lnTo>
                  <a:lnTo>
                    <a:pt x="312991" y="221513"/>
                  </a:lnTo>
                  <a:lnTo>
                    <a:pt x="312178" y="222783"/>
                  </a:lnTo>
                  <a:lnTo>
                    <a:pt x="313143" y="221513"/>
                  </a:lnTo>
                  <a:lnTo>
                    <a:pt x="314833" y="221513"/>
                  </a:lnTo>
                  <a:lnTo>
                    <a:pt x="316026" y="218973"/>
                  </a:lnTo>
                  <a:lnTo>
                    <a:pt x="317042" y="217703"/>
                  </a:lnTo>
                  <a:lnTo>
                    <a:pt x="317855" y="216433"/>
                  </a:lnTo>
                  <a:lnTo>
                    <a:pt x="318185" y="215239"/>
                  </a:lnTo>
                  <a:lnTo>
                    <a:pt x="318439" y="215392"/>
                  </a:lnTo>
                  <a:lnTo>
                    <a:pt x="322300" y="218973"/>
                  </a:lnTo>
                  <a:lnTo>
                    <a:pt x="319354" y="215912"/>
                  </a:lnTo>
                  <a:lnTo>
                    <a:pt x="321614" y="217170"/>
                  </a:lnTo>
                  <a:lnTo>
                    <a:pt x="322351" y="217576"/>
                  </a:lnTo>
                  <a:lnTo>
                    <a:pt x="322313" y="218973"/>
                  </a:lnTo>
                  <a:lnTo>
                    <a:pt x="321945" y="229133"/>
                  </a:lnTo>
                  <a:lnTo>
                    <a:pt x="319595" y="290093"/>
                  </a:lnTo>
                  <a:lnTo>
                    <a:pt x="319938" y="290093"/>
                  </a:lnTo>
                  <a:lnTo>
                    <a:pt x="320217" y="283743"/>
                  </a:lnTo>
                  <a:lnTo>
                    <a:pt x="325234" y="286283"/>
                  </a:lnTo>
                  <a:lnTo>
                    <a:pt x="320179" y="288747"/>
                  </a:lnTo>
                  <a:lnTo>
                    <a:pt x="325615" y="286296"/>
                  </a:lnTo>
                  <a:lnTo>
                    <a:pt x="331228" y="288823"/>
                  </a:lnTo>
                  <a:lnTo>
                    <a:pt x="325996" y="286283"/>
                  </a:lnTo>
                  <a:lnTo>
                    <a:pt x="331063" y="283743"/>
                  </a:lnTo>
                  <a:lnTo>
                    <a:pt x="331228" y="288823"/>
                  </a:lnTo>
                  <a:lnTo>
                    <a:pt x="331279" y="290093"/>
                  </a:lnTo>
                  <a:lnTo>
                    <a:pt x="331609" y="290093"/>
                  </a:lnTo>
                  <a:lnTo>
                    <a:pt x="331431" y="283743"/>
                  </a:lnTo>
                  <a:lnTo>
                    <a:pt x="331393" y="282473"/>
                  </a:lnTo>
                  <a:lnTo>
                    <a:pt x="331254" y="277393"/>
                  </a:lnTo>
                  <a:lnTo>
                    <a:pt x="331089" y="271043"/>
                  </a:lnTo>
                  <a:lnTo>
                    <a:pt x="331050" y="269519"/>
                  </a:lnTo>
                  <a:lnTo>
                    <a:pt x="331050" y="282473"/>
                  </a:lnTo>
                  <a:lnTo>
                    <a:pt x="330873" y="282384"/>
                  </a:lnTo>
                  <a:lnTo>
                    <a:pt x="325628" y="286283"/>
                  </a:lnTo>
                  <a:lnTo>
                    <a:pt x="322199" y="283743"/>
                  </a:lnTo>
                  <a:lnTo>
                    <a:pt x="320497" y="282473"/>
                  </a:lnTo>
                  <a:lnTo>
                    <a:pt x="325704" y="279933"/>
                  </a:lnTo>
                  <a:lnTo>
                    <a:pt x="321487" y="277393"/>
                  </a:lnTo>
                  <a:lnTo>
                    <a:pt x="321627" y="277393"/>
                  </a:lnTo>
                  <a:lnTo>
                    <a:pt x="323888" y="275996"/>
                  </a:lnTo>
                  <a:lnTo>
                    <a:pt x="325793" y="274853"/>
                  </a:lnTo>
                  <a:lnTo>
                    <a:pt x="330708" y="277393"/>
                  </a:lnTo>
                  <a:lnTo>
                    <a:pt x="325704" y="279933"/>
                  </a:lnTo>
                  <a:lnTo>
                    <a:pt x="327914" y="281203"/>
                  </a:lnTo>
                  <a:lnTo>
                    <a:pt x="330873" y="282473"/>
                  </a:lnTo>
                  <a:lnTo>
                    <a:pt x="326097" y="279933"/>
                  </a:lnTo>
                  <a:lnTo>
                    <a:pt x="330923" y="277393"/>
                  </a:lnTo>
                  <a:lnTo>
                    <a:pt x="331050" y="282473"/>
                  </a:lnTo>
                  <a:lnTo>
                    <a:pt x="331050" y="269519"/>
                  </a:lnTo>
                  <a:lnTo>
                    <a:pt x="330962" y="265963"/>
                  </a:lnTo>
                  <a:lnTo>
                    <a:pt x="330923" y="264693"/>
                  </a:lnTo>
                  <a:lnTo>
                    <a:pt x="330885" y="263334"/>
                  </a:lnTo>
                  <a:lnTo>
                    <a:pt x="330885" y="277380"/>
                  </a:lnTo>
                  <a:lnTo>
                    <a:pt x="326148" y="274853"/>
                  </a:lnTo>
                  <a:lnTo>
                    <a:pt x="327685" y="273583"/>
                  </a:lnTo>
                  <a:lnTo>
                    <a:pt x="330758" y="271043"/>
                  </a:lnTo>
                  <a:lnTo>
                    <a:pt x="330885" y="277380"/>
                  </a:lnTo>
                  <a:lnTo>
                    <a:pt x="330885" y="263334"/>
                  </a:lnTo>
                  <a:lnTo>
                    <a:pt x="330720" y="257441"/>
                  </a:lnTo>
                  <a:lnTo>
                    <a:pt x="330720" y="271030"/>
                  </a:lnTo>
                  <a:lnTo>
                    <a:pt x="330581" y="270954"/>
                  </a:lnTo>
                  <a:lnTo>
                    <a:pt x="327393" y="273583"/>
                  </a:lnTo>
                  <a:lnTo>
                    <a:pt x="325793" y="273583"/>
                  </a:lnTo>
                  <a:lnTo>
                    <a:pt x="325450" y="273405"/>
                  </a:lnTo>
                  <a:lnTo>
                    <a:pt x="325450" y="274853"/>
                  </a:lnTo>
                  <a:lnTo>
                    <a:pt x="322872" y="276123"/>
                  </a:lnTo>
                  <a:lnTo>
                    <a:pt x="320675" y="277393"/>
                  </a:lnTo>
                  <a:lnTo>
                    <a:pt x="320802" y="277393"/>
                  </a:lnTo>
                  <a:lnTo>
                    <a:pt x="321932" y="278663"/>
                  </a:lnTo>
                  <a:lnTo>
                    <a:pt x="325310" y="279933"/>
                  </a:lnTo>
                  <a:lnTo>
                    <a:pt x="320243" y="282473"/>
                  </a:lnTo>
                  <a:lnTo>
                    <a:pt x="320446" y="277393"/>
                  </a:lnTo>
                  <a:lnTo>
                    <a:pt x="320560" y="273583"/>
                  </a:lnTo>
                  <a:lnTo>
                    <a:pt x="320662" y="271068"/>
                  </a:lnTo>
                  <a:lnTo>
                    <a:pt x="325450" y="274853"/>
                  </a:lnTo>
                  <a:lnTo>
                    <a:pt x="325450" y="273405"/>
                  </a:lnTo>
                  <a:lnTo>
                    <a:pt x="320979" y="271043"/>
                  </a:lnTo>
                  <a:lnTo>
                    <a:pt x="325805" y="268503"/>
                  </a:lnTo>
                  <a:lnTo>
                    <a:pt x="325462" y="268224"/>
                  </a:lnTo>
                  <a:lnTo>
                    <a:pt x="325462" y="268503"/>
                  </a:lnTo>
                  <a:lnTo>
                    <a:pt x="320675" y="271043"/>
                  </a:lnTo>
                  <a:lnTo>
                    <a:pt x="320890" y="265963"/>
                  </a:lnTo>
                  <a:lnTo>
                    <a:pt x="325462" y="268503"/>
                  </a:lnTo>
                  <a:lnTo>
                    <a:pt x="325462" y="268224"/>
                  </a:lnTo>
                  <a:lnTo>
                    <a:pt x="322745" y="265963"/>
                  </a:lnTo>
                  <a:lnTo>
                    <a:pt x="321221" y="264693"/>
                  </a:lnTo>
                  <a:lnTo>
                    <a:pt x="325882" y="262153"/>
                  </a:lnTo>
                  <a:lnTo>
                    <a:pt x="330428" y="264693"/>
                  </a:lnTo>
                  <a:lnTo>
                    <a:pt x="325805" y="268503"/>
                  </a:lnTo>
                  <a:lnTo>
                    <a:pt x="330581" y="271043"/>
                  </a:lnTo>
                  <a:lnTo>
                    <a:pt x="326148" y="268503"/>
                  </a:lnTo>
                  <a:lnTo>
                    <a:pt x="330593" y="265963"/>
                  </a:lnTo>
                  <a:lnTo>
                    <a:pt x="330720" y="271030"/>
                  </a:lnTo>
                  <a:lnTo>
                    <a:pt x="330720" y="257441"/>
                  </a:lnTo>
                  <a:lnTo>
                    <a:pt x="330568" y="251993"/>
                  </a:lnTo>
                  <a:lnTo>
                    <a:pt x="330568" y="264693"/>
                  </a:lnTo>
                  <a:lnTo>
                    <a:pt x="326199" y="262153"/>
                  </a:lnTo>
                  <a:lnTo>
                    <a:pt x="327596" y="260883"/>
                  </a:lnTo>
                  <a:lnTo>
                    <a:pt x="330390" y="258368"/>
                  </a:lnTo>
                  <a:lnTo>
                    <a:pt x="330441" y="259613"/>
                  </a:lnTo>
                  <a:lnTo>
                    <a:pt x="330568" y="264693"/>
                  </a:lnTo>
                  <a:lnTo>
                    <a:pt x="330568" y="251993"/>
                  </a:lnTo>
                  <a:lnTo>
                    <a:pt x="330390" y="245643"/>
                  </a:lnTo>
                  <a:lnTo>
                    <a:pt x="330390" y="258343"/>
                  </a:lnTo>
                  <a:lnTo>
                    <a:pt x="329996" y="258114"/>
                  </a:lnTo>
                  <a:lnTo>
                    <a:pt x="329996" y="258343"/>
                  </a:lnTo>
                  <a:lnTo>
                    <a:pt x="325882" y="260883"/>
                  </a:lnTo>
                  <a:lnTo>
                    <a:pt x="325564" y="260692"/>
                  </a:lnTo>
                  <a:lnTo>
                    <a:pt x="325564" y="262153"/>
                  </a:lnTo>
                  <a:lnTo>
                    <a:pt x="320916" y="264693"/>
                  </a:lnTo>
                  <a:lnTo>
                    <a:pt x="321132" y="258635"/>
                  </a:lnTo>
                  <a:lnTo>
                    <a:pt x="321157" y="258368"/>
                  </a:lnTo>
                  <a:lnTo>
                    <a:pt x="325564" y="262153"/>
                  </a:lnTo>
                  <a:lnTo>
                    <a:pt x="325564" y="260692"/>
                  </a:lnTo>
                  <a:lnTo>
                    <a:pt x="321767" y="258343"/>
                  </a:lnTo>
                  <a:lnTo>
                    <a:pt x="325907" y="255803"/>
                  </a:lnTo>
                  <a:lnTo>
                    <a:pt x="329996" y="258343"/>
                  </a:lnTo>
                  <a:lnTo>
                    <a:pt x="329996" y="258114"/>
                  </a:lnTo>
                  <a:lnTo>
                    <a:pt x="326224" y="255803"/>
                  </a:lnTo>
                  <a:lnTo>
                    <a:pt x="327558" y="254533"/>
                  </a:lnTo>
                  <a:lnTo>
                    <a:pt x="330212" y="252018"/>
                  </a:lnTo>
                  <a:lnTo>
                    <a:pt x="330263" y="253161"/>
                  </a:lnTo>
                  <a:lnTo>
                    <a:pt x="330390" y="258343"/>
                  </a:lnTo>
                  <a:lnTo>
                    <a:pt x="330390" y="245643"/>
                  </a:lnTo>
                  <a:lnTo>
                    <a:pt x="330365" y="244373"/>
                  </a:lnTo>
                  <a:lnTo>
                    <a:pt x="330225" y="239293"/>
                  </a:lnTo>
                  <a:lnTo>
                    <a:pt x="330212" y="238874"/>
                  </a:lnTo>
                  <a:lnTo>
                    <a:pt x="330212" y="251993"/>
                  </a:lnTo>
                  <a:lnTo>
                    <a:pt x="325907" y="254533"/>
                  </a:lnTo>
                  <a:lnTo>
                    <a:pt x="321843" y="252031"/>
                  </a:lnTo>
                  <a:lnTo>
                    <a:pt x="325970" y="249453"/>
                  </a:lnTo>
                  <a:lnTo>
                    <a:pt x="330111" y="251993"/>
                  </a:lnTo>
                  <a:lnTo>
                    <a:pt x="327571" y="249453"/>
                  </a:lnTo>
                  <a:lnTo>
                    <a:pt x="326250" y="248183"/>
                  </a:lnTo>
                  <a:lnTo>
                    <a:pt x="330060" y="245643"/>
                  </a:lnTo>
                  <a:lnTo>
                    <a:pt x="330212" y="251993"/>
                  </a:lnTo>
                  <a:lnTo>
                    <a:pt x="330212" y="238874"/>
                  </a:lnTo>
                  <a:lnTo>
                    <a:pt x="330187" y="238023"/>
                  </a:lnTo>
                  <a:lnTo>
                    <a:pt x="330047" y="232943"/>
                  </a:lnTo>
                  <a:lnTo>
                    <a:pt x="330034" y="232524"/>
                  </a:lnTo>
                  <a:lnTo>
                    <a:pt x="330034" y="244373"/>
                  </a:lnTo>
                  <a:lnTo>
                    <a:pt x="326301" y="241833"/>
                  </a:lnTo>
                  <a:lnTo>
                    <a:pt x="329882" y="239293"/>
                  </a:lnTo>
                  <a:lnTo>
                    <a:pt x="330034" y="244373"/>
                  </a:lnTo>
                  <a:lnTo>
                    <a:pt x="330034" y="232524"/>
                  </a:lnTo>
                  <a:lnTo>
                    <a:pt x="329933" y="229133"/>
                  </a:lnTo>
                  <a:lnTo>
                    <a:pt x="329844" y="225767"/>
                  </a:lnTo>
                  <a:lnTo>
                    <a:pt x="329844" y="238023"/>
                  </a:lnTo>
                  <a:lnTo>
                    <a:pt x="329755" y="239293"/>
                  </a:lnTo>
                  <a:lnTo>
                    <a:pt x="326009" y="241833"/>
                  </a:lnTo>
                  <a:lnTo>
                    <a:pt x="329692" y="245643"/>
                  </a:lnTo>
                  <a:lnTo>
                    <a:pt x="325970" y="248183"/>
                  </a:lnTo>
                  <a:lnTo>
                    <a:pt x="322300" y="245643"/>
                  </a:lnTo>
                  <a:lnTo>
                    <a:pt x="326009" y="241833"/>
                  </a:lnTo>
                  <a:lnTo>
                    <a:pt x="322402" y="239293"/>
                  </a:lnTo>
                  <a:lnTo>
                    <a:pt x="326212" y="235483"/>
                  </a:lnTo>
                  <a:lnTo>
                    <a:pt x="322529" y="232943"/>
                  </a:lnTo>
                  <a:lnTo>
                    <a:pt x="322567" y="231673"/>
                  </a:lnTo>
                  <a:lnTo>
                    <a:pt x="325208" y="229133"/>
                  </a:lnTo>
                  <a:lnTo>
                    <a:pt x="324650" y="229133"/>
                  </a:lnTo>
                  <a:lnTo>
                    <a:pt x="322249" y="231673"/>
                  </a:lnTo>
                  <a:lnTo>
                    <a:pt x="322186" y="232943"/>
                  </a:lnTo>
                  <a:lnTo>
                    <a:pt x="325945" y="235483"/>
                  </a:lnTo>
                  <a:lnTo>
                    <a:pt x="321970" y="239293"/>
                  </a:lnTo>
                  <a:lnTo>
                    <a:pt x="325729" y="241833"/>
                  </a:lnTo>
                  <a:lnTo>
                    <a:pt x="321665" y="245643"/>
                  </a:lnTo>
                  <a:lnTo>
                    <a:pt x="325678" y="248183"/>
                  </a:lnTo>
                  <a:lnTo>
                    <a:pt x="321424" y="251968"/>
                  </a:lnTo>
                  <a:lnTo>
                    <a:pt x="325602" y="255803"/>
                  </a:lnTo>
                  <a:lnTo>
                    <a:pt x="321170" y="258343"/>
                  </a:lnTo>
                  <a:lnTo>
                    <a:pt x="322630" y="218973"/>
                  </a:lnTo>
                  <a:lnTo>
                    <a:pt x="324294" y="221513"/>
                  </a:lnTo>
                  <a:lnTo>
                    <a:pt x="325551" y="221513"/>
                  </a:lnTo>
                  <a:lnTo>
                    <a:pt x="323773" y="223888"/>
                  </a:lnTo>
                  <a:lnTo>
                    <a:pt x="325805" y="222783"/>
                  </a:lnTo>
                  <a:lnTo>
                    <a:pt x="327736" y="223888"/>
                  </a:lnTo>
                  <a:lnTo>
                    <a:pt x="326961" y="222783"/>
                  </a:lnTo>
                  <a:lnTo>
                    <a:pt x="326085" y="221513"/>
                  </a:lnTo>
                  <a:lnTo>
                    <a:pt x="327152" y="221513"/>
                  </a:lnTo>
                  <a:lnTo>
                    <a:pt x="327799" y="223888"/>
                  </a:lnTo>
                  <a:lnTo>
                    <a:pt x="327977" y="224028"/>
                  </a:lnTo>
                  <a:lnTo>
                    <a:pt x="327469" y="221513"/>
                  </a:lnTo>
                  <a:lnTo>
                    <a:pt x="327228" y="221513"/>
                  </a:lnTo>
                  <a:lnTo>
                    <a:pt x="327977" y="220611"/>
                  </a:lnTo>
                  <a:lnTo>
                    <a:pt x="328688" y="220980"/>
                  </a:lnTo>
                  <a:lnTo>
                    <a:pt x="329387" y="221284"/>
                  </a:lnTo>
                  <a:lnTo>
                    <a:pt x="329488" y="225323"/>
                  </a:lnTo>
                  <a:lnTo>
                    <a:pt x="328955" y="224866"/>
                  </a:lnTo>
                  <a:lnTo>
                    <a:pt x="329399" y="225323"/>
                  </a:lnTo>
                  <a:lnTo>
                    <a:pt x="328650" y="226593"/>
                  </a:lnTo>
                  <a:lnTo>
                    <a:pt x="328193" y="224231"/>
                  </a:lnTo>
                  <a:lnTo>
                    <a:pt x="328028" y="224091"/>
                  </a:lnTo>
                  <a:lnTo>
                    <a:pt x="328574" y="226593"/>
                  </a:lnTo>
                  <a:lnTo>
                    <a:pt x="325793" y="227863"/>
                  </a:lnTo>
                  <a:lnTo>
                    <a:pt x="322986" y="226593"/>
                  </a:lnTo>
                  <a:lnTo>
                    <a:pt x="323037" y="225323"/>
                  </a:lnTo>
                  <a:lnTo>
                    <a:pt x="323481" y="224053"/>
                  </a:lnTo>
                  <a:lnTo>
                    <a:pt x="323215" y="224053"/>
                  </a:lnTo>
                  <a:lnTo>
                    <a:pt x="323316" y="223761"/>
                  </a:lnTo>
                  <a:lnTo>
                    <a:pt x="322948" y="224053"/>
                  </a:lnTo>
                  <a:lnTo>
                    <a:pt x="322516" y="224053"/>
                  </a:lnTo>
                  <a:lnTo>
                    <a:pt x="322478" y="226593"/>
                  </a:lnTo>
                  <a:lnTo>
                    <a:pt x="322770" y="226593"/>
                  </a:lnTo>
                  <a:lnTo>
                    <a:pt x="322376" y="227711"/>
                  </a:lnTo>
                  <a:lnTo>
                    <a:pt x="322859" y="226593"/>
                  </a:lnTo>
                  <a:lnTo>
                    <a:pt x="325513" y="229133"/>
                  </a:lnTo>
                  <a:lnTo>
                    <a:pt x="326072" y="229133"/>
                  </a:lnTo>
                  <a:lnTo>
                    <a:pt x="327367" y="227863"/>
                  </a:lnTo>
                  <a:lnTo>
                    <a:pt x="328676" y="226593"/>
                  </a:lnTo>
                  <a:lnTo>
                    <a:pt x="329488" y="225361"/>
                  </a:lnTo>
                  <a:lnTo>
                    <a:pt x="329552" y="228155"/>
                  </a:lnTo>
                  <a:lnTo>
                    <a:pt x="329641" y="231648"/>
                  </a:lnTo>
                  <a:lnTo>
                    <a:pt x="329679" y="232943"/>
                  </a:lnTo>
                  <a:lnTo>
                    <a:pt x="326224" y="235483"/>
                  </a:lnTo>
                  <a:lnTo>
                    <a:pt x="329755" y="239293"/>
                  </a:lnTo>
                  <a:lnTo>
                    <a:pt x="329755" y="237959"/>
                  </a:lnTo>
                  <a:lnTo>
                    <a:pt x="326491" y="235483"/>
                  </a:lnTo>
                  <a:lnTo>
                    <a:pt x="329717" y="232943"/>
                  </a:lnTo>
                  <a:lnTo>
                    <a:pt x="329844" y="238023"/>
                  </a:lnTo>
                  <a:lnTo>
                    <a:pt x="329844" y="225767"/>
                  </a:lnTo>
                  <a:lnTo>
                    <a:pt x="329730" y="221424"/>
                  </a:lnTo>
                  <a:lnTo>
                    <a:pt x="334721" y="223520"/>
                  </a:lnTo>
                  <a:lnTo>
                    <a:pt x="337515" y="224066"/>
                  </a:lnTo>
                  <a:lnTo>
                    <a:pt x="338620" y="224282"/>
                  </a:lnTo>
                  <a:lnTo>
                    <a:pt x="338963" y="225323"/>
                  </a:lnTo>
                  <a:lnTo>
                    <a:pt x="340080" y="228053"/>
                  </a:lnTo>
                  <a:lnTo>
                    <a:pt x="341909" y="234213"/>
                  </a:lnTo>
                  <a:lnTo>
                    <a:pt x="346303" y="238023"/>
                  </a:lnTo>
                  <a:lnTo>
                    <a:pt x="347078" y="236753"/>
                  </a:lnTo>
                  <a:lnTo>
                    <a:pt x="347865" y="235483"/>
                  </a:lnTo>
                  <a:lnTo>
                    <a:pt x="348005" y="235483"/>
                  </a:lnTo>
                  <a:lnTo>
                    <a:pt x="348005" y="236753"/>
                  </a:lnTo>
                  <a:lnTo>
                    <a:pt x="347853" y="236753"/>
                  </a:lnTo>
                  <a:lnTo>
                    <a:pt x="347751" y="238023"/>
                  </a:lnTo>
                  <a:lnTo>
                    <a:pt x="346316" y="238023"/>
                  </a:lnTo>
                  <a:lnTo>
                    <a:pt x="347789" y="239293"/>
                  </a:lnTo>
                  <a:lnTo>
                    <a:pt x="347751" y="240563"/>
                  </a:lnTo>
                  <a:lnTo>
                    <a:pt x="348005" y="240563"/>
                  </a:lnTo>
                  <a:lnTo>
                    <a:pt x="347853" y="241833"/>
                  </a:lnTo>
                  <a:lnTo>
                    <a:pt x="347751" y="243103"/>
                  </a:lnTo>
                  <a:lnTo>
                    <a:pt x="347751" y="244373"/>
                  </a:lnTo>
                  <a:lnTo>
                    <a:pt x="348005" y="244373"/>
                  </a:lnTo>
                  <a:lnTo>
                    <a:pt x="348005" y="245643"/>
                  </a:lnTo>
                  <a:lnTo>
                    <a:pt x="348881" y="249453"/>
                  </a:lnTo>
                  <a:lnTo>
                    <a:pt x="347052" y="296443"/>
                  </a:lnTo>
                  <a:lnTo>
                    <a:pt x="347319" y="296443"/>
                  </a:lnTo>
                  <a:lnTo>
                    <a:pt x="347370" y="295173"/>
                  </a:lnTo>
                  <a:lnTo>
                    <a:pt x="349618" y="293903"/>
                  </a:lnTo>
                  <a:lnTo>
                    <a:pt x="351878" y="292633"/>
                  </a:lnTo>
                  <a:lnTo>
                    <a:pt x="351574" y="292455"/>
                  </a:lnTo>
                  <a:lnTo>
                    <a:pt x="351574" y="292633"/>
                  </a:lnTo>
                  <a:lnTo>
                    <a:pt x="347383" y="293903"/>
                  </a:lnTo>
                  <a:lnTo>
                    <a:pt x="347484" y="291363"/>
                  </a:lnTo>
                  <a:lnTo>
                    <a:pt x="347560" y="290118"/>
                  </a:lnTo>
                  <a:lnTo>
                    <a:pt x="351574" y="292633"/>
                  </a:lnTo>
                  <a:lnTo>
                    <a:pt x="351574" y="292455"/>
                  </a:lnTo>
                  <a:lnTo>
                    <a:pt x="347776" y="290093"/>
                  </a:lnTo>
                  <a:lnTo>
                    <a:pt x="351955" y="287553"/>
                  </a:lnTo>
                  <a:lnTo>
                    <a:pt x="350139" y="286283"/>
                  </a:lnTo>
                  <a:lnTo>
                    <a:pt x="348018" y="286283"/>
                  </a:lnTo>
                  <a:lnTo>
                    <a:pt x="351624" y="287553"/>
                  </a:lnTo>
                  <a:lnTo>
                    <a:pt x="347573" y="290093"/>
                  </a:lnTo>
                  <a:lnTo>
                    <a:pt x="347726" y="286283"/>
                  </a:lnTo>
                  <a:lnTo>
                    <a:pt x="348018" y="286283"/>
                  </a:lnTo>
                  <a:lnTo>
                    <a:pt x="348665" y="285013"/>
                  </a:lnTo>
                  <a:lnTo>
                    <a:pt x="347738" y="285013"/>
                  </a:lnTo>
                  <a:lnTo>
                    <a:pt x="347903" y="281216"/>
                  </a:lnTo>
                  <a:lnTo>
                    <a:pt x="351739" y="283743"/>
                  </a:lnTo>
                  <a:lnTo>
                    <a:pt x="351282" y="284035"/>
                  </a:lnTo>
                  <a:lnTo>
                    <a:pt x="352031" y="283743"/>
                  </a:lnTo>
                  <a:lnTo>
                    <a:pt x="355968" y="285013"/>
                  </a:lnTo>
                  <a:lnTo>
                    <a:pt x="351955" y="287553"/>
                  </a:lnTo>
                  <a:lnTo>
                    <a:pt x="355460" y="290093"/>
                  </a:lnTo>
                  <a:lnTo>
                    <a:pt x="356082" y="290093"/>
                  </a:lnTo>
                  <a:lnTo>
                    <a:pt x="351878" y="292633"/>
                  </a:lnTo>
                  <a:lnTo>
                    <a:pt x="356374" y="295173"/>
                  </a:lnTo>
                  <a:lnTo>
                    <a:pt x="356412" y="296443"/>
                  </a:lnTo>
                  <a:lnTo>
                    <a:pt x="356679" y="296443"/>
                  </a:lnTo>
                  <a:lnTo>
                    <a:pt x="356616" y="293903"/>
                  </a:lnTo>
                  <a:lnTo>
                    <a:pt x="356400" y="286283"/>
                  </a:lnTo>
                  <a:lnTo>
                    <a:pt x="356374" y="285445"/>
                  </a:lnTo>
                  <a:lnTo>
                    <a:pt x="356374" y="293903"/>
                  </a:lnTo>
                  <a:lnTo>
                    <a:pt x="352183" y="292633"/>
                  </a:lnTo>
                  <a:lnTo>
                    <a:pt x="356260" y="290093"/>
                  </a:lnTo>
                  <a:lnTo>
                    <a:pt x="356374" y="293903"/>
                  </a:lnTo>
                  <a:lnTo>
                    <a:pt x="356374" y="285445"/>
                  </a:lnTo>
                  <a:lnTo>
                    <a:pt x="356362" y="285013"/>
                  </a:lnTo>
                  <a:lnTo>
                    <a:pt x="356260" y="281203"/>
                  </a:lnTo>
                  <a:lnTo>
                    <a:pt x="356235" y="280276"/>
                  </a:lnTo>
                  <a:lnTo>
                    <a:pt x="356235" y="290093"/>
                  </a:lnTo>
                  <a:lnTo>
                    <a:pt x="352259" y="287553"/>
                  </a:lnTo>
                  <a:lnTo>
                    <a:pt x="356133" y="286283"/>
                  </a:lnTo>
                  <a:lnTo>
                    <a:pt x="356235" y="290093"/>
                  </a:lnTo>
                  <a:lnTo>
                    <a:pt x="356235" y="280276"/>
                  </a:lnTo>
                  <a:lnTo>
                    <a:pt x="356120" y="276085"/>
                  </a:lnTo>
                  <a:lnTo>
                    <a:pt x="356120" y="285013"/>
                  </a:lnTo>
                  <a:lnTo>
                    <a:pt x="352310" y="283743"/>
                  </a:lnTo>
                  <a:lnTo>
                    <a:pt x="354152" y="282473"/>
                  </a:lnTo>
                  <a:lnTo>
                    <a:pt x="355993" y="281203"/>
                  </a:lnTo>
                  <a:lnTo>
                    <a:pt x="356120" y="285013"/>
                  </a:lnTo>
                  <a:lnTo>
                    <a:pt x="356120" y="276085"/>
                  </a:lnTo>
                  <a:lnTo>
                    <a:pt x="355981" y="270967"/>
                  </a:lnTo>
                  <a:lnTo>
                    <a:pt x="355981" y="281203"/>
                  </a:lnTo>
                  <a:lnTo>
                    <a:pt x="355854" y="281127"/>
                  </a:lnTo>
                  <a:lnTo>
                    <a:pt x="352031" y="282473"/>
                  </a:lnTo>
                  <a:lnTo>
                    <a:pt x="348145" y="281203"/>
                  </a:lnTo>
                  <a:lnTo>
                    <a:pt x="352031" y="278663"/>
                  </a:lnTo>
                  <a:lnTo>
                    <a:pt x="351751" y="278472"/>
                  </a:lnTo>
                  <a:lnTo>
                    <a:pt x="351751" y="278663"/>
                  </a:lnTo>
                  <a:lnTo>
                    <a:pt x="347916" y="281203"/>
                  </a:lnTo>
                  <a:lnTo>
                    <a:pt x="348043" y="277393"/>
                  </a:lnTo>
                  <a:lnTo>
                    <a:pt x="348094" y="276136"/>
                  </a:lnTo>
                  <a:lnTo>
                    <a:pt x="351751" y="278663"/>
                  </a:lnTo>
                  <a:lnTo>
                    <a:pt x="351751" y="278472"/>
                  </a:lnTo>
                  <a:lnTo>
                    <a:pt x="348361" y="276123"/>
                  </a:lnTo>
                  <a:lnTo>
                    <a:pt x="352082" y="273583"/>
                  </a:lnTo>
                  <a:lnTo>
                    <a:pt x="351840" y="273405"/>
                  </a:lnTo>
                  <a:lnTo>
                    <a:pt x="351840" y="273583"/>
                  </a:lnTo>
                  <a:lnTo>
                    <a:pt x="348107" y="276123"/>
                  </a:lnTo>
                  <a:lnTo>
                    <a:pt x="348297" y="271056"/>
                  </a:lnTo>
                  <a:lnTo>
                    <a:pt x="351840" y="273583"/>
                  </a:lnTo>
                  <a:lnTo>
                    <a:pt x="351840" y="273405"/>
                  </a:lnTo>
                  <a:lnTo>
                    <a:pt x="348792" y="271043"/>
                  </a:lnTo>
                  <a:lnTo>
                    <a:pt x="352107" y="268503"/>
                  </a:lnTo>
                  <a:lnTo>
                    <a:pt x="351853" y="268312"/>
                  </a:lnTo>
                  <a:lnTo>
                    <a:pt x="351853" y="268503"/>
                  </a:lnTo>
                  <a:lnTo>
                    <a:pt x="348310" y="271043"/>
                  </a:lnTo>
                  <a:lnTo>
                    <a:pt x="348500" y="265976"/>
                  </a:lnTo>
                  <a:lnTo>
                    <a:pt x="351853" y="268503"/>
                  </a:lnTo>
                  <a:lnTo>
                    <a:pt x="351853" y="268312"/>
                  </a:lnTo>
                  <a:lnTo>
                    <a:pt x="348792" y="265963"/>
                  </a:lnTo>
                  <a:lnTo>
                    <a:pt x="352158" y="263423"/>
                  </a:lnTo>
                  <a:lnTo>
                    <a:pt x="349211" y="260883"/>
                  </a:lnTo>
                  <a:lnTo>
                    <a:pt x="351637" y="258343"/>
                  </a:lnTo>
                  <a:lnTo>
                    <a:pt x="351701" y="258635"/>
                  </a:lnTo>
                  <a:lnTo>
                    <a:pt x="351663" y="258343"/>
                  </a:lnTo>
                  <a:lnTo>
                    <a:pt x="352196" y="258343"/>
                  </a:lnTo>
                  <a:lnTo>
                    <a:pt x="351650" y="257708"/>
                  </a:lnTo>
                  <a:lnTo>
                    <a:pt x="351955" y="257479"/>
                  </a:lnTo>
                  <a:lnTo>
                    <a:pt x="351282" y="256959"/>
                  </a:lnTo>
                  <a:lnTo>
                    <a:pt x="351358" y="257238"/>
                  </a:lnTo>
                  <a:lnTo>
                    <a:pt x="351447" y="257454"/>
                  </a:lnTo>
                  <a:lnTo>
                    <a:pt x="351282" y="257251"/>
                  </a:lnTo>
                  <a:lnTo>
                    <a:pt x="351548" y="258343"/>
                  </a:lnTo>
                  <a:lnTo>
                    <a:pt x="348716" y="260883"/>
                  </a:lnTo>
                  <a:lnTo>
                    <a:pt x="351929" y="263423"/>
                  </a:lnTo>
                  <a:lnTo>
                    <a:pt x="348500" y="265963"/>
                  </a:lnTo>
                  <a:lnTo>
                    <a:pt x="349173" y="248183"/>
                  </a:lnTo>
                  <a:lnTo>
                    <a:pt x="349478" y="240563"/>
                  </a:lnTo>
                  <a:lnTo>
                    <a:pt x="351815" y="243103"/>
                  </a:lnTo>
                  <a:lnTo>
                    <a:pt x="349389" y="244373"/>
                  </a:lnTo>
                  <a:lnTo>
                    <a:pt x="349338" y="245643"/>
                  </a:lnTo>
                  <a:lnTo>
                    <a:pt x="351802" y="248183"/>
                  </a:lnTo>
                  <a:lnTo>
                    <a:pt x="349224" y="249453"/>
                  </a:lnTo>
                  <a:lnTo>
                    <a:pt x="349110" y="250723"/>
                  </a:lnTo>
                  <a:lnTo>
                    <a:pt x="349389" y="250723"/>
                  </a:lnTo>
                  <a:lnTo>
                    <a:pt x="349694" y="252031"/>
                  </a:lnTo>
                  <a:lnTo>
                    <a:pt x="350354" y="254533"/>
                  </a:lnTo>
                  <a:lnTo>
                    <a:pt x="348945" y="255803"/>
                  </a:lnTo>
                  <a:lnTo>
                    <a:pt x="350520" y="256667"/>
                  </a:lnTo>
                  <a:lnTo>
                    <a:pt x="349288" y="255803"/>
                  </a:lnTo>
                  <a:lnTo>
                    <a:pt x="350431" y="254533"/>
                  </a:lnTo>
                  <a:lnTo>
                    <a:pt x="350659" y="255803"/>
                  </a:lnTo>
                  <a:lnTo>
                    <a:pt x="350862" y="255803"/>
                  </a:lnTo>
                  <a:lnTo>
                    <a:pt x="351028" y="256667"/>
                  </a:lnTo>
                  <a:lnTo>
                    <a:pt x="351129" y="257009"/>
                  </a:lnTo>
                  <a:lnTo>
                    <a:pt x="350901" y="255803"/>
                  </a:lnTo>
                  <a:lnTo>
                    <a:pt x="350469" y="254533"/>
                  </a:lnTo>
                  <a:lnTo>
                    <a:pt x="352361" y="253263"/>
                  </a:lnTo>
                  <a:lnTo>
                    <a:pt x="349846" y="251104"/>
                  </a:lnTo>
                  <a:lnTo>
                    <a:pt x="352145" y="253263"/>
                  </a:lnTo>
                  <a:lnTo>
                    <a:pt x="350380" y="254533"/>
                  </a:lnTo>
                  <a:lnTo>
                    <a:pt x="349453" y="250774"/>
                  </a:lnTo>
                  <a:lnTo>
                    <a:pt x="349846" y="251104"/>
                  </a:lnTo>
                  <a:lnTo>
                    <a:pt x="349440" y="250736"/>
                  </a:lnTo>
                  <a:lnTo>
                    <a:pt x="349427" y="249453"/>
                  </a:lnTo>
                  <a:lnTo>
                    <a:pt x="352018" y="248183"/>
                  </a:lnTo>
                  <a:lnTo>
                    <a:pt x="355142" y="250723"/>
                  </a:lnTo>
                  <a:lnTo>
                    <a:pt x="352361" y="253263"/>
                  </a:lnTo>
                  <a:lnTo>
                    <a:pt x="355193" y="255803"/>
                  </a:lnTo>
                  <a:lnTo>
                    <a:pt x="352196" y="258343"/>
                  </a:lnTo>
                  <a:lnTo>
                    <a:pt x="355142" y="260883"/>
                  </a:lnTo>
                  <a:lnTo>
                    <a:pt x="353098" y="262102"/>
                  </a:lnTo>
                  <a:lnTo>
                    <a:pt x="352386" y="262623"/>
                  </a:lnTo>
                  <a:lnTo>
                    <a:pt x="352577" y="262775"/>
                  </a:lnTo>
                  <a:lnTo>
                    <a:pt x="352158" y="263423"/>
                  </a:lnTo>
                  <a:lnTo>
                    <a:pt x="353771" y="264528"/>
                  </a:lnTo>
                  <a:lnTo>
                    <a:pt x="353529" y="263499"/>
                  </a:lnTo>
                  <a:lnTo>
                    <a:pt x="353771" y="263677"/>
                  </a:lnTo>
                  <a:lnTo>
                    <a:pt x="353618" y="263372"/>
                  </a:lnTo>
                  <a:lnTo>
                    <a:pt x="353428" y="262902"/>
                  </a:lnTo>
                  <a:lnTo>
                    <a:pt x="353428" y="263423"/>
                  </a:lnTo>
                  <a:lnTo>
                    <a:pt x="353212" y="263423"/>
                  </a:lnTo>
                  <a:lnTo>
                    <a:pt x="353187" y="263245"/>
                  </a:lnTo>
                  <a:lnTo>
                    <a:pt x="353428" y="263423"/>
                  </a:lnTo>
                  <a:lnTo>
                    <a:pt x="353428" y="262902"/>
                  </a:lnTo>
                  <a:lnTo>
                    <a:pt x="353364" y="262737"/>
                  </a:lnTo>
                  <a:lnTo>
                    <a:pt x="353187" y="262305"/>
                  </a:lnTo>
                  <a:lnTo>
                    <a:pt x="353123" y="262153"/>
                  </a:lnTo>
                  <a:lnTo>
                    <a:pt x="355422" y="260896"/>
                  </a:lnTo>
                  <a:lnTo>
                    <a:pt x="355561" y="265620"/>
                  </a:lnTo>
                  <a:lnTo>
                    <a:pt x="355320" y="265785"/>
                  </a:lnTo>
                  <a:lnTo>
                    <a:pt x="355117" y="265633"/>
                  </a:lnTo>
                  <a:lnTo>
                    <a:pt x="355295" y="265811"/>
                  </a:lnTo>
                  <a:lnTo>
                    <a:pt x="355066" y="265963"/>
                  </a:lnTo>
                  <a:lnTo>
                    <a:pt x="354799" y="265963"/>
                  </a:lnTo>
                  <a:lnTo>
                    <a:pt x="352107" y="268503"/>
                  </a:lnTo>
                  <a:lnTo>
                    <a:pt x="355384" y="271043"/>
                  </a:lnTo>
                  <a:lnTo>
                    <a:pt x="352082" y="273583"/>
                  </a:lnTo>
                  <a:lnTo>
                    <a:pt x="355739" y="276123"/>
                  </a:lnTo>
                  <a:lnTo>
                    <a:pt x="352031" y="278663"/>
                  </a:lnTo>
                  <a:lnTo>
                    <a:pt x="355854" y="281203"/>
                  </a:lnTo>
                  <a:lnTo>
                    <a:pt x="352310" y="278663"/>
                  </a:lnTo>
                  <a:lnTo>
                    <a:pt x="355854" y="276123"/>
                  </a:lnTo>
                  <a:lnTo>
                    <a:pt x="352348" y="273583"/>
                  </a:lnTo>
                  <a:lnTo>
                    <a:pt x="355727" y="271043"/>
                  </a:lnTo>
                  <a:lnTo>
                    <a:pt x="355854" y="276123"/>
                  </a:lnTo>
                  <a:lnTo>
                    <a:pt x="355981" y="281203"/>
                  </a:lnTo>
                  <a:lnTo>
                    <a:pt x="355981" y="270967"/>
                  </a:lnTo>
                  <a:lnTo>
                    <a:pt x="355879" y="267233"/>
                  </a:lnTo>
                  <a:lnTo>
                    <a:pt x="355701" y="260997"/>
                  </a:lnTo>
                  <a:lnTo>
                    <a:pt x="355701" y="271043"/>
                  </a:lnTo>
                  <a:lnTo>
                    <a:pt x="352361" y="268503"/>
                  </a:lnTo>
                  <a:lnTo>
                    <a:pt x="354939" y="267233"/>
                  </a:lnTo>
                  <a:lnTo>
                    <a:pt x="355625" y="268503"/>
                  </a:lnTo>
                  <a:lnTo>
                    <a:pt x="355701" y="271043"/>
                  </a:lnTo>
                  <a:lnTo>
                    <a:pt x="355701" y="260997"/>
                  </a:lnTo>
                  <a:lnTo>
                    <a:pt x="355422" y="251180"/>
                  </a:lnTo>
                  <a:lnTo>
                    <a:pt x="355422" y="260883"/>
                  </a:lnTo>
                  <a:lnTo>
                    <a:pt x="352425" y="258343"/>
                  </a:lnTo>
                  <a:lnTo>
                    <a:pt x="355295" y="255803"/>
                  </a:lnTo>
                  <a:lnTo>
                    <a:pt x="355422" y="260883"/>
                  </a:lnTo>
                  <a:lnTo>
                    <a:pt x="355422" y="251180"/>
                  </a:lnTo>
                  <a:lnTo>
                    <a:pt x="355409" y="250723"/>
                  </a:lnTo>
                  <a:lnTo>
                    <a:pt x="355384" y="249453"/>
                  </a:lnTo>
                  <a:lnTo>
                    <a:pt x="355282" y="246075"/>
                  </a:lnTo>
                  <a:lnTo>
                    <a:pt x="355282" y="255803"/>
                  </a:lnTo>
                  <a:lnTo>
                    <a:pt x="352590" y="253263"/>
                  </a:lnTo>
                  <a:lnTo>
                    <a:pt x="355168" y="250723"/>
                  </a:lnTo>
                  <a:lnTo>
                    <a:pt x="355282" y="255803"/>
                  </a:lnTo>
                  <a:lnTo>
                    <a:pt x="355282" y="246075"/>
                  </a:lnTo>
                  <a:lnTo>
                    <a:pt x="355269" y="245643"/>
                  </a:lnTo>
                  <a:lnTo>
                    <a:pt x="355231" y="244373"/>
                  </a:lnTo>
                  <a:lnTo>
                    <a:pt x="355130" y="240563"/>
                  </a:lnTo>
                  <a:lnTo>
                    <a:pt x="355130" y="249453"/>
                  </a:lnTo>
                  <a:lnTo>
                    <a:pt x="352247" y="248183"/>
                  </a:lnTo>
                  <a:lnTo>
                    <a:pt x="353618" y="246913"/>
                  </a:lnTo>
                  <a:lnTo>
                    <a:pt x="355003" y="245643"/>
                  </a:lnTo>
                  <a:lnTo>
                    <a:pt x="355130" y="249453"/>
                  </a:lnTo>
                  <a:lnTo>
                    <a:pt x="355130" y="240563"/>
                  </a:lnTo>
                  <a:lnTo>
                    <a:pt x="355307" y="240563"/>
                  </a:lnTo>
                  <a:lnTo>
                    <a:pt x="362089" y="260883"/>
                  </a:lnTo>
                  <a:lnTo>
                    <a:pt x="368490" y="265963"/>
                  </a:lnTo>
                  <a:lnTo>
                    <a:pt x="365937" y="263423"/>
                  </a:lnTo>
                  <a:lnTo>
                    <a:pt x="368681" y="260883"/>
                  </a:lnTo>
                  <a:lnTo>
                    <a:pt x="368503" y="265963"/>
                  </a:lnTo>
                  <a:lnTo>
                    <a:pt x="366903" y="306603"/>
                  </a:lnTo>
                  <a:lnTo>
                    <a:pt x="367449" y="306603"/>
                  </a:lnTo>
                  <a:lnTo>
                    <a:pt x="368020" y="305333"/>
                  </a:lnTo>
                  <a:lnTo>
                    <a:pt x="370941" y="304063"/>
                  </a:lnTo>
                  <a:lnTo>
                    <a:pt x="370700" y="303885"/>
                  </a:lnTo>
                  <a:lnTo>
                    <a:pt x="370700" y="304063"/>
                  </a:lnTo>
                  <a:lnTo>
                    <a:pt x="367347" y="305333"/>
                  </a:lnTo>
                  <a:lnTo>
                    <a:pt x="367195" y="305333"/>
                  </a:lnTo>
                  <a:lnTo>
                    <a:pt x="367347" y="301536"/>
                  </a:lnTo>
                  <a:lnTo>
                    <a:pt x="370700" y="304063"/>
                  </a:lnTo>
                  <a:lnTo>
                    <a:pt x="370700" y="303885"/>
                  </a:lnTo>
                  <a:lnTo>
                    <a:pt x="367563" y="301523"/>
                  </a:lnTo>
                  <a:lnTo>
                    <a:pt x="370941" y="300253"/>
                  </a:lnTo>
                  <a:lnTo>
                    <a:pt x="374294" y="301523"/>
                  </a:lnTo>
                  <a:lnTo>
                    <a:pt x="370941" y="304063"/>
                  </a:lnTo>
                  <a:lnTo>
                    <a:pt x="374383" y="306603"/>
                  </a:lnTo>
                  <a:lnTo>
                    <a:pt x="374789" y="306603"/>
                  </a:lnTo>
                  <a:lnTo>
                    <a:pt x="374751" y="305333"/>
                  </a:lnTo>
                  <a:lnTo>
                    <a:pt x="374510" y="296989"/>
                  </a:lnTo>
                  <a:lnTo>
                    <a:pt x="374510" y="305333"/>
                  </a:lnTo>
                  <a:lnTo>
                    <a:pt x="371182" y="304063"/>
                  </a:lnTo>
                  <a:lnTo>
                    <a:pt x="373570" y="302793"/>
                  </a:lnTo>
                  <a:lnTo>
                    <a:pt x="374396" y="301548"/>
                  </a:lnTo>
                  <a:lnTo>
                    <a:pt x="374510" y="305333"/>
                  </a:lnTo>
                  <a:lnTo>
                    <a:pt x="374510" y="296989"/>
                  </a:lnTo>
                  <a:lnTo>
                    <a:pt x="374421" y="293903"/>
                  </a:lnTo>
                  <a:lnTo>
                    <a:pt x="374396" y="293065"/>
                  </a:lnTo>
                  <a:lnTo>
                    <a:pt x="374396" y="301523"/>
                  </a:lnTo>
                  <a:lnTo>
                    <a:pt x="371182" y="300253"/>
                  </a:lnTo>
                  <a:lnTo>
                    <a:pt x="372732" y="298983"/>
                  </a:lnTo>
                  <a:lnTo>
                    <a:pt x="374281" y="297726"/>
                  </a:lnTo>
                  <a:lnTo>
                    <a:pt x="374396" y="301523"/>
                  </a:lnTo>
                  <a:lnTo>
                    <a:pt x="374396" y="293065"/>
                  </a:lnTo>
                  <a:lnTo>
                    <a:pt x="374383" y="292633"/>
                  </a:lnTo>
                  <a:lnTo>
                    <a:pt x="374281" y="288823"/>
                  </a:lnTo>
                  <a:lnTo>
                    <a:pt x="374281" y="297713"/>
                  </a:lnTo>
                  <a:lnTo>
                    <a:pt x="370941" y="298983"/>
                  </a:lnTo>
                  <a:lnTo>
                    <a:pt x="370713" y="298894"/>
                  </a:lnTo>
                  <a:lnTo>
                    <a:pt x="370713" y="300253"/>
                  </a:lnTo>
                  <a:lnTo>
                    <a:pt x="367360" y="301523"/>
                  </a:lnTo>
                  <a:lnTo>
                    <a:pt x="367512" y="297726"/>
                  </a:lnTo>
                  <a:lnTo>
                    <a:pt x="370713" y="300253"/>
                  </a:lnTo>
                  <a:lnTo>
                    <a:pt x="370713" y="298894"/>
                  </a:lnTo>
                  <a:lnTo>
                    <a:pt x="367741" y="297713"/>
                  </a:lnTo>
                  <a:lnTo>
                    <a:pt x="371005" y="295173"/>
                  </a:lnTo>
                  <a:lnTo>
                    <a:pt x="370776" y="295084"/>
                  </a:lnTo>
                  <a:lnTo>
                    <a:pt x="367525" y="297713"/>
                  </a:lnTo>
                  <a:lnTo>
                    <a:pt x="367690" y="293903"/>
                  </a:lnTo>
                  <a:lnTo>
                    <a:pt x="370776" y="295173"/>
                  </a:lnTo>
                  <a:lnTo>
                    <a:pt x="368122" y="293903"/>
                  </a:lnTo>
                  <a:lnTo>
                    <a:pt x="373875" y="293903"/>
                  </a:lnTo>
                  <a:lnTo>
                    <a:pt x="371005" y="295173"/>
                  </a:lnTo>
                  <a:lnTo>
                    <a:pt x="374192" y="297713"/>
                  </a:lnTo>
                  <a:lnTo>
                    <a:pt x="371221" y="295173"/>
                  </a:lnTo>
                  <a:lnTo>
                    <a:pt x="374167" y="293903"/>
                  </a:lnTo>
                  <a:lnTo>
                    <a:pt x="374281" y="297713"/>
                  </a:lnTo>
                  <a:lnTo>
                    <a:pt x="374281" y="288823"/>
                  </a:lnTo>
                  <a:lnTo>
                    <a:pt x="374180" y="285013"/>
                  </a:lnTo>
                  <a:lnTo>
                    <a:pt x="374154" y="283743"/>
                  </a:lnTo>
                  <a:lnTo>
                    <a:pt x="374154" y="292633"/>
                  </a:lnTo>
                  <a:lnTo>
                    <a:pt x="371233" y="291363"/>
                  </a:lnTo>
                  <a:lnTo>
                    <a:pt x="374053" y="288823"/>
                  </a:lnTo>
                  <a:lnTo>
                    <a:pt x="374154" y="292633"/>
                  </a:lnTo>
                  <a:lnTo>
                    <a:pt x="374154" y="283743"/>
                  </a:lnTo>
                  <a:lnTo>
                    <a:pt x="374027" y="279273"/>
                  </a:lnTo>
                  <a:lnTo>
                    <a:pt x="374027" y="288823"/>
                  </a:lnTo>
                  <a:lnTo>
                    <a:pt x="371017" y="291363"/>
                  </a:lnTo>
                  <a:lnTo>
                    <a:pt x="373888" y="292633"/>
                  </a:lnTo>
                  <a:lnTo>
                    <a:pt x="368122" y="292633"/>
                  </a:lnTo>
                  <a:lnTo>
                    <a:pt x="371017" y="291363"/>
                  </a:lnTo>
                  <a:lnTo>
                    <a:pt x="368122" y="288823"/>
                  </a:lnTo>
                  <a:lnTo>
                    <a:pt x="371055" y="286283"/>
                  </a:lnTo>
                  <a:lnTo>
                    <a:pt x="370865" y="286105"/>
                  </a:lnTo>
                  <a:lnTo>
                    <a:pt x="370865" y="286283"/>
                  </a:lnTo>
                  <a:lnTo>
                    <a:pt x="367855" y="288823"/>
                  </a:lnTo>
                  <a:lnTo>
                    <a:pt x="370801" y="291363"/>
                  </a:lnTo>
                  <a:lnTo>
                    <a:pt x="367690" y="292633"/>
                  </a:lnTo>
                  <a:lnTo>
                    <a:pt x="368046" y="283768"/>
                  </a:lnTo>
                  <a:lnTo>
                    <a:pt x="370865" y="286283"/>
                  </a:lnTo>
                  <a:lnTo>
                    <a:pt x="370865" y="286105"/>
                  </a:lnTo>
                  <a:lnTo>
                    <a:pt x="368490" y="283743"/>
                  </a:lnTo>
                  <a:lnTo>
                    <a:pt x="371094" y="282473"/>
                  </a:lnTo>
                  <a:lnTo>
                    <a:pt x="368554" y="279933"/>
                  </a:lnTo>
                  <a:lnTo>
                    <a:pt x="371233" y="277393"/>
                  </a:lnTo>
                  <a:lnTo>
                    <a:pt x="371043" y="277215"/>
                  </a:lnTo>
                  <a:lnTo>
                    <a:pt x="371043" y="277393"/>
                  </a:lnTo>
                  <a:lnTo>
                    <a:pt x="368261" y="279933"/>
                  </a:lnTo>
                  <a:lnTo>
                    <a:pt x="370890" y="282473"/>
                  </a:lnTo>
                  <a:lnTo>
                    <a:pt x="368046" y="283743"/>
                  </a:lnTo>
                  <a:lnTo>
                    <a:pt x="368719" y="267233"/>
                  </a:lnTo>
                  <a:lnTo>
                    <a:pt x="370763" y="268503"/>
                  </a:lnTo>
                  <a:lnTo>
                    <a:pt x="368642" y="269773"/>
                  </a:lnTo>
                  <a:lnTo>
                    <a:pt x="368604" y="271043"/>
                  </a:lnTo>
                  <a:lnTo>
                    <a:pt x="370738" y="272313"/>
                  </a:lnTo>
                  <a:lnTo>
                    <a:pt x="368465" y="274853"/>
                  </a:lnTo>
                  <a:lnTo>
                    <a:pt x="368401" y="276123"/>
                  </a:lnTo>
                  <a:lnTo>
                    <a:pt x="371043" y="277393"/>
                  </a:lnTo>
                  <a:lnTo>
                    <a:pt x="371043" y="277215"/>
                  </a:lnTo>
                  <a:lnTo>
                    <a:pt x="368655" y="274853"/>
                  </a:lnTo>
                  <a:lnTo>
                    <a:pt x="370941" y="273583"/>
                  </a:lnTo>
                  <a:lnTo>
                    <a:pt x="373621" y="274840"/>
                  </a:lnTo>
                  <a:lnTo>
                    <a:pt x="373659" y="276123"/>
                  </a:lnTo>
                  <a:lnTo>
                    <a:pt x="371233" y="277393"/>
                  </a:lnTo>
                  <a:lnTo>
                    <a:pt x="373710" y="279933"/>
                  </a:lnTo>
                  <a:lnTo>
                    <a:pt x="371094" y="282473"/>
                  </a:lnTo>
                  <a:lnTo>
                    <a:pt x="373672" y="283743"/>
                  </a:lnTo>
                  <a:lnTo>
                    <a:pt x="371055" y="286283"/>
                  </a:lnTo>
                  <a:lnTo>
                    <a:pt x="373964" y="288823"/>
                  </a:lnTo>
                  <a:lnTo>
                    <a:pt x="371259" y="286283"/>
                  </a:lnTo>
                  <a:lnTo>
                    <a:pt x="373913" y="285013"/>
                  </a:lnTo>
                  <a:lnTo>
                    <a:pt x="374027" y="288823"/>
                  </a:lnTo>
                  <a:lnTo>
                    <a:pt x="374027" y="279273"/>
                  </a:lnTo>
                  <a:lnTo>
                    <a:pt x="373938" y="276123"/>
                  </a:lnTo>
                  <a:lnTo>
                    <a:pt x="373913" y="275209"/>
                  </a:lnTo>
                  <a:lnTo>
                    <a:pt x="373913" y="283743"/>
                  </a:lnTo>
                  <a:lnTo>
                    <a:pt x="371284" y="282473"/>
                  </a:lnTo>
                  <a:lnTo>
                    <a:pt x="373799" y="279933"/>
                  </a:lnTo>
                  <a:lnTo>
                    <a:pt x="373913" y="283743"/>
                  </a:lnTo>
                  <a:lnTo>
                    <a:pt x="373913" y="275209"/>
                  </a:lnTo>
                  <a:lnTo>
                    <a:pt x="373786" y="270586"/>
                  </a:lnTo>
                  <a:lnTo>
                    <a:pt x="373786" y="279933"/>
                  </a:lnTo>
                  <a:lnTo>
                    <a:pt x="371424" y="277393"/>
                  </a:lnTo>
                  <a:lnTo>
                    <a:pt x="373684" y="276123"/>
                  </a:lnTo>
                  <a:lnTo>
                    <a:pt x="373786" y="279933"/>
                  </a:lnTo>
                  <a:lnTo>
                    <a:pt x="373786" y="270586"/>
                  </a:lnTo>
                  <a:lnTo>
                    <a:pt x="373659" y="265963"/>
                  </a:lnTo>
                  <a:lnTo>
                    <a:pt x="373621" y="264947"/>
                  </a:lnTo>
                  <a:lnTo>
                    <a:pt x="373621" y="274828"/>
                  </a:lnTo>
                  <a:lnTo>
                    <a:pt x="372389" y="273583"/>
                  </a:lnTo>
                  <a:lnTo>
                    <a:pt x="371119" y="272313"/>
                  </a:lnTo>
                  <a:lnTo>
                    <a:pt x="373532" y="271056"/>
                  </a:lnTo>
                  <a:lnTo>
                    <a:pt x="373621" y="274828"/>
                  </a:lnTo>
                  <a:lnTo>
                    <a:pt x="373621" y="264947"/>
                  </a:lnTo>
                  <a:lnTo>
                    <a:pt x="373532" y="261391"/>
                  </a:lnTo>
                  <a:lnTo>
                    <a:pt x="373532" y="271043"/>
                  </a:lnTo>
                  <a:lnTo>
                    <a:pt x="371144" y="268503"/>
                  </a:lnTo>
                  <a:lnTo>
                    <a:pt x="373418" y="265963"/>
                  </a:lnTo>
                  <a:lnTo>
                    <a:pt x="373532" y="271043"/>
                  </a:lnTo>
                  <a:lnTo>
                    <a:pt x="373532" y="261391"/>
                  </a:lnTo>
                  <a:lnTo>
                    <a:pt x="373519" y="260883"/>
                  </a:lnTo>
                  <a:lnTo>
                    <a:pt x="375526" y="264337"/>
                  </a:lnTo>
                  <a:lnTo>
                    <a:pt x="376580" y="263423"/>
                  </a:lnTo>
                  <a:lnTo>
                    <a:pt x="379501" y="260883"/>
                  </a:lnTo>
                  <a:lnTo>
                    <a:pt x="380326" y="258343"/>
                  </a:lnTo>
                  <a:lnTo>
                    <a:pt x="380720" y="258343"/>
                  </a:lnTo>
                  <a:lnTo>
                    <a:pt x="380720" y="257073"/>
                  </a:lnTo>
                  <a:lnTo>
                    <a:pt x="380593" y="257073"/>
                  </a:lnTo>
                  <a:lnTo>
                    <a:pt x="380987" y="255803"/>
                  </a:lnTo>
                  <a:lnTo>
                    <a:pt x="381393" y="254533"/>
                  </a:lnTo>
                  <a:lnTo>
                    <a:pt x="383006" y="249453"/>
                  </a:lnTo>
                  <a:lnTo>
                    <a:pt x="384365" y="245643"/>
                  </a:lnTo>
                  <a:lnTo>
                    <a:pt x="385622" y="249453"/>
                  </a:lnTo>
                  <a:lnTo>
                    <a:pt x="386080" y="250799"/>
                  </a:lnTo>
                  <a:lnTo>
                    <a:pt x="390017" y="253238"/>
                  </a:lnTo>
                  <a:lnTo>
                    <a:pt x="386092" y="249453"/>
                  </a:lnTo>
                  <a:lnTo>
                    <a:pt x="385851" y="249453"/>
                  </a:lnTo>
                  <a:lnTo>
                    <a:pt x="384467" y="245643"/>
                  </a:lnTo>
                  <a:lnTo>
                    <a:pt x="384822" y="244373"/>
                  </a:lnTo>
                  <a:lnTo>
                    <a:pt x="385178" y="243103"/>
                  </a:lnTo>
                  <a:lnTo>
                    <a:pt x="385533" y="241833"/>
                  </a:lnTo>
                  <a:lnTo>
                    <a:pt x="387502" y="235483"/>
                  </a:lnTo>
                  <a:lnTo>
                    <a:pt x="389839" y="229133"/>
                  </a:lnTo>
                  <a:lnTo>
                    <a:pt x="390055" y="227863"/>
                  </a:lnTo>
                  <a:lnTo>
                    <a:pt x="390283" y="226593"/>
                  </a:lnTo>
                  <a:lnTo>
                    <a:pt x="390105" y="226593"/>
                  </a:lnTo>
                  <a:lnTo>
                    <a:pt x="389509" y="229133"/>
                  </a:lnTo>
                  <a:lnTo>
                    <a:pt x="387324" y="235483"/>
                  </a:lnTo>
                  <a:lnTo>
                    <a:pt x="387172" y="235483"/>
                  </a:lnTo>
                  <a:lnTo>
                    <a:pt x="385406" y="241833"/>
                  </a:lnTo>
                  <a:lnTo>
                    <a:pt x="385114" y="243103"/>
                  </a:lnTo>
                  <a:lnTo>
                    <a:pt x="382803" y="239293"/>
                  </a:lnTo>
                  <a:lnTo>
                    <a:pt x="384289" y="238023"/>
                  </a:lnTo>
                  <a:lnTo>
                    <a:pt x="384632" y="239331"/>
                  </a:lnTo>
                  <a:lnTo>
                    <a:pt x="384810" y="239928"/>
                  </a:lnTo>
                  <a:lnTo>
                    <a:pt x="384302" y="238023"/>
                  </a:lnTo>
                  <a:lnTo>
                    <a:pt x="387172" y="235483"/>
                  </a:lnTo>
                  <a:lnTo>
                    <a:pt x="384225" y="238023"/>
                  </a:lnTo>
                  <a:lnTo>
                    <a:pt x="383578" y="235483"/>
                  </a:lnTo>
                  <a:lnTo>
                    <a:pt x="383971" y="238023"/>
                  </a:lnTo>
                  <a:lnTo>
                    <a:pt x="384200" y="238023"/>
                  </a:lnTo>
                  <a:lnTo>
                    <a:pt x="382651" y="239293"/>
                  </a:lnTo>
                  <a:lnTo>
                    <a:pt x="379895" y="235483"/>
                  </a:lnTo>
                  <a:lnTo>
                    <a:pt x="379577" y="235483"/>
                  </a:lnTo>
                  <a:lnTo>
                    <a:pt x="385013" y="243103"/>
                  </a:lnTo>
                  <a:lnTo>
                    <a:pt x="384340" y="244373"/>
                  </a:lnTo>
                  <a:lnTo>
                    <a:pt x="383463" y="241833"/>
                  </a:lnTo>
                  <a:lnTo>
                    <a:pt x="383298" y="241833"/>
                  </a:lnTo>
                  <a:lnTo>
                    <a:pt x="384238" y="245643"/>
                  </a:lnTo>
                  <a:lnTo>
                    <a:pt x="382828" y="249453"/>
                  </a:lnTo>
                  <a:lnTo>
                    <a:pt x="381381" y="254533"/>
                  </a:lnTo>
                  <a:lnTo>
                    <a:pt x="381101" y="254533"/>
                  </a:lnTo>
                  <a:lnTo>
                    <a:pt x="381241" y="254101"/>
                  </a:lnTo>
                  <a:lnTo>
                    <a:pt x="380707" y="254533"/>
                  </a:lnTo>
                  <a:lnTo>
                    <a:pt x="380504" y="251993"/>
                  </a:lnTo>
                  <a:lnTo>
                    <a:pt x="380504" y="250723"/>
                  </a:lnTo>
                  <a:lnTo>
                    <a:pt x="380377" y="250723"/>
                  </a:lnTo>
                  <a:lnTo>
                    <a:pt x="380377" y="249453"/>
                  </a:lnTo>
                  <a:lnTo>
                    <a:pt x="380326" y="250723"/>
                  </a:lnTo>
                  <a:lnTo>
                    <a:pt x="380263" y="258343"/>
                  </a:lnTo>
                  <a:lnTo>
                    <a:pt x="379387" y="260883"/>
                  </a:lnTo>
                  <a:lnTo>
                    <a:pt x="379196" y="260629"/>
                  </a:lnTo>
                  <a:lnTo>
                    <a:pt x="379196" y="260883"/>
                  </a:lnTo>
                  <a:lnTo>
                    <a:pt x="375920" y="263423"/>
                  </a:lnTo>
                  <a:lnTo>
                    <a:pt x="373634" y="260883"/>
                  </a:lnTo>
                  <a:lnTo>
                    <a:pt x="377355" y="258343"/>
                  </a:lnTo>
                  <a:lnTo>
                    <a:pt x="379196" y="260883"/>
                  </a:lnTo>
                  <a:lnTo>
                    <a:pt x="379196" y="260629"/>
                  </a:lnTo>
                  <a:lnTo>
                    <a:pt x="377545" y="258343"/>
                  </a:lnTo>
                  <a:lnTo>
                    <a:pt x="380199" y="255803"/>
                  </a:lnTo>
                  <a:lnTo>
                    <a:pt x="380111" y="257073"/>
                  </a:lnTo>
                  <a:lnTo>
                    <a:pt x="379984" y="257073"/>
                  </a:lnTo>
                  <a:lnTo>
                    <a:pt x="379984" y="258343"/>
                  </a:lnTo>
                  <a:lnTo>
                    <a:pt x="380263" y="258343"/>
                  </a:lnTo>
                  <a:lnTo>
                    <a:pt x="380263" y="250723"/>
                  </a:lnTo>
                  <a:lnTo>
                    <a:pt x="380111" y="251993"/>
                  </a:lnTo>
                  <a:lnTo>
                    <a:pt x="380111" y="254533"/>
                  </a:lnTo>
                  <a:lnTo>
                    <a:pt x="380136" y="255803"/>
                  </a:lnTo>
                  <a:lnTo>
                    <a:pt x="377228" y="257073"/>
                  </a:lnTo>
                  <a:lnTo>
                    <a:pt x="373316" y="260883"/>
                  </a:lnTo>
                  <a:lnTo>
                    <a:pt x="373405" y="265963"/>
                  </a:lnTo>
                  <a:lnTo>
                    <a:pt x="371208" y="263423"/>
                  </a:lnTo>
                  <a:lnTo>
                    <a:pt x="373278" y="260883"/>
                  </a:lnTo>
                  <a:lnTo>
                    <a:pt x="372999" y="260883"/>
                  </a:lnTo>
                  <a:lnTo>
                    <a:pt x="371055" y="263423"/>
                  </a:lnTo>
                  <a:lnTo>
                    <a:pt x="373278" y="265963"/>
                  </a:lnTo>
                  <a:lnTo>
                    <a:pt x="373037" y="265963"/>
                  </a:lnTo>
                  <a:lnTo>
                    <a:pt x="370954" y="268503"/>
                  </a:lnTo>
                  <a:lnTo>
                    <a:pt x="373456" y="271043"/>
                  </a:lnTo>
                  <a:lnTo>
                    <a:pt x="370941" y="272313"/>
                  </a:lnTo>
                  <a:lnTo>
                    <a:pt x="368833" y="271043"/>
                  </a:lnTo>
                  <a:lnTo>
                    <a:pt x="368871" y="269773"/>
                  </a:lnTo>
                  <a:lnTo>
                    <a:pt x="370941" y="268503"/>
                  </a:lnTo>
                  <a:lnTo>
                    <a:pt x="369951" y="267233"/>
                  </a:lnTo>
                  <a:lnTo>
                    <a:pt x="368947" y="265963"/>
                  </a:lnTo>
                  <a:lnTo>
                    <a:pt x="371055" y="263423"/>
                  </a:lnTo>
                  <a:lnTo>
                    <a:pt x="369074" y="260883"/>
                  </a:lnTo>
                  <a:lnTo>
                    <a:pt x="368922" y="260883"/>
                  </a:lnTo>
                  <a:lnTo>
                    <a:pt x="370890" y="263423"/>
                  </a:lnTo>
                  <a:lnTo>
                    <a:pt x="368744" y="265963"/>
                  </a:lnTo>
                  <a:lnTo>
                    <a:pt x="368922" y="260883"/>
                  </a:lnTo>
                  <a:lnTo>
                    <a:pt x="368515" y="260654"/>
                  </a:lnTo>
                  <a:lnTo>
                    <a:pt x="368515" y="260883"/>
                  </a:lnTo>
                  <a:lnTo>
                    <a:pt x="365772" y="263410"/>
                  </a:lnTo>
                  <a:lnTo>
                    <a:pt x="362521" y="260883"/>
                  </a:lnTo>
                  <a:lnTo>
                    <a:pt x="364502" y="258343"/>
                  </a:lnTo>
                  <a:lnTo>
                    <a:pt x="368439" y="260883"/>
                  </a:lnTo>
                  <a:lnTo>
                    <a:pt x="368515" y="260654"/>
                  </a:lnTo>
                  <a:lnTo>
                    <a:pt x="365366" y="258343"/>
                  </a:lnTo>
                  <a:lnTo>
                    <a:pt x="364109" y="257429"/>
                  </a:lnTo>
                  <a:lnTo>
                    <a:pt x="362229" y="260883"/>
                  </a:lnTo>
                  <a:lnTo>
                    <a:pt x="360324" y="254673"/>
                  </a:lnTo>
                  <a:lnTo>
                    <a:pt x="360146" y="254533"/>
                  </a:lnTo>
                  <a:lnTo>
                    <a:pt x="356489" y="243103"/>
                  </a:lnTo>
                  <a:lnTo>
                    <a:pt x="358089" y="240563"/>
                  </a:lnTo>
                  <a:lnTo>
                    <a:pt x="358825" y="243103"/>
                  </a:lnTo>
                  <a:lnTo>
                    <a:pt x="359625" y="244373"/>
                  </a:lnTo>
                  <a:lnTo>
                    <a:pt x="358851" y="243103"/>
                  </a:lnTo>
                  <a:lnTo>
                    <a:pt x="358114" y="240563"/>
                  </a:lnTo>
                  <a:lnTo>
                    <a:pt x="359143" y="239293"/>
                  </a:lnTo>
                  <a:lnTo>
                    <a:pt x="362254" y="235483"/>
                  </a:lnTo>
                  <a:lnTo>
                    <a:pt x="361937" y="235483"/>
                  </a:lnTo>
                  <a:lnTo>
                    <a:pt x="359016" y="239293"/>
                  </a:lnTo>
                  <a:lnTo>
                    <a:pt x="358863" y="239179"/>
                  </a:lnTo>
                  <a:lnTo>
                    <a:pt x="358013" y="240563"/>
                  </a:lnTo>
                  <a:lnTo>
                    <a:pt x="356412" y="243103"/>
                  </a:lnTo>
                  <a:lnTo>
                    <a:pt x="355511" y="239293"/>
                  </a:lnTo>
                  <a:lnTo>
                    <a:pt x="357124" y="238023"/>
                  </a:lnTo>
                  <a:lnTo>
                    <a:pt x="357911" y="240563"/>
                  </a:lnTo>
                  <a:lnTo>
                    <a:pt x="357162" y="238023"/>
                  </a:lnTo>
                  <a:lnTo>
                    <a:pt x="358863" y="239293"/>
                  </a:lnTo>
                  <a:lnTo>
                    <a:pt x="357339" y="238023"/>
                  </a:lnTo>
                  <a:lnTo>
                    <a:pt x="357593" y="237756"/>
                  </a:lnTo>
                  <a:lnTo>
                    <a:pt x="357301" y="237172"/>
                  </a:lnTo>
                  <a:lnTo>
                    <a:pt x="357517" y="236969"/>
                  </a:lnTo>
                  <a:lnTo>
                    <a:pt x="356946" y="236258"/>
                  </a:lnTo>
                  <a:lnTo>
                    <a:pt x="356946" y="238023"/>
                  </a:lnTo>
                  <a:lnTo>
                    <a:pt x="355409" y="239293"/>
                  </a:lnTo>
                  <a:lnTo>
                    <a:pt x="355079" y="238023"/>
                  </a:lnTo>
                  <a:lnTo>
                    <a:pt x="354990" y="235064"/>
                  </a:lnTo>
                  <a:lnTo>
                    <a:pt x="354990" y="244373"/>
                  </a:lnTo>
                  <a:lnTo>
                    <a:pt x="354914" y="245643"/>
                  </a:lnTo>
                  <a:lnTo>
                    <a:pt x="352018" y="246913"/>
                  </a:lnTo>
                  <a:lnTo>
                    <a:pt x="349618" y="245643"/>
                  </a:lnTo>
                  <a:lnTo>
                    <a:pt x="349656" y="244373"/>
                  </a:lnTo>
                  <a:lnTo>
                    <a:pt x="352031" y="243103"/>
                  </a:lnTo>
                  <a:lnTo>
                    <a:pt x="354914" y="245643"/>
                  </a:lnTo>
                  <a:lnTo>
                    <a:pt x="354914" y="244348"/>
                  </a:lnTo>
                  <a:lnTo>
                    <a:pt x="352259" y="243103"/>
                  </a:lnTo>
                  <a:lnTo>
                    <a:pt x="353555" y="241833"/>
                  </a:lnTo>
                  <a:lnTo>
                    <a:pt x="354863" y="240563"/>
                  </a:lnTo>
                  <a:lnTo>
                    <a:pt x="354990" y="244373"/>
                  </a:lnTo>
                  <a:lnTo>
                    <a:pt x="354990" y="235064"/>
                  </a:lnTo>
                  <a:lnTo>
                    <a:pt x="354965" y="234213"/>
                  </a:lnTo>
                  <a:lnTo>
                    <a:pt x="355981" y="235483"/>
                  </a:lnTo>
                  <a:lnTo>
                    <a:pt x="356171" y="235483"/>
                  </a:lnTo>
                  <a:lnTo>
                    <a:pt x="356400" y="236804"/>
                  </a:lnTo>
                  <a:lnTo>
                    <a:pt x="356946" y="238023"/>
                  </a:lnTo>
                  <a:lnTo>
                    <a:pt x="356946" y="236258"/>
                  </a:lnTo>
                  <a:lnTo>
                    <a:pt x="356793" y="236067"/>
                  </a:lnTo>
                  <a:lnTo>
                    <a:pt x="356527" y="235483"/>
                  </a:lnTo>
                  <a:lnTo>
                    <a:pt x="356196" y="235483"/>
                  </a:lnTo>
                  <a:lnTo>
                    <a:pt x="355790" y="234353"/>
                  </a:lnTo>
                  <a:lnTo>
                    <a:pt x="356133" y="234772"/>
                  </a:lnTo>
                  <a:lnTo>
                    <a:pt x="355993" y="234340"/>
                  </a:lnTo>
                  <a:lnTo>
                    <a:pt x="355854" y="233895"/>
                  </a:lnTo>
                  <a:lnTo>
                    <a:pt x="355714" y="233464"/>
                  </a:lnTo>
                  <a:lnTo>
                    <a:pt x="355587" y="233184"/>
                  </a:lnTo>
                  <a:lnTo>
                    <a:pt x="355587" y="233032"/>
                  </a:lnTo>
                  <a:lnTo>
                    <a:pt x="359333" y="230416"/>
                  </a:lnTo>
                  <a:lnTo>
                    <a:pt x="361467" y="234213"/>
                  </a:lnTo>
                  <a:lnTo>
                    <a:pt x="359664" y="235483"/>
                  </a:lnTo>
                  <a:lnTo>
                    <a:pt x="359397" y="235483"/>
                  </a:lnTo>
                  <a:lnTo>
                    <a:pt x="358533" y="236804"/>
                  </a:lnTo>
                  <a:lnTo>
                    <a:pt x="359803" y="235483"/>
                  </a:lnTo>
                  <a:lnTo>
                    <a:pt x="360083" y="235483"/>
                  </a:lnTo>
                  <a:lnTo>
                    <a:pt x="361835" y="234213"/>
                  </a:lnTo>
                  <a:lnTo>
                    <a:pt x="364261" y="226390"/>
                  </a:lnTo>
                  <a:lnTo>
                    <a:pt x="365353" y="226060"/>
                  </a:lnTo>
                  <a:lnTo>
                    <a:pt x="373926" y="223520"/>
                  </a:lnTo>
                  <a:lnTo>
                    <a:pt x="379996" y="219710"/>
                  </a:lnTo>
                  <a:lnTo>
                    <a:pt x="380631" y="219341"/>
                  </a:lnTo>
                  <a:lnTo>
                    <a:pt x="380860" y="221284"/>
                  </a:lnTo>
                  <a:lnTo>
                    <a:pt x="381063" y="222821"/>
                  </a:lnTo>
                  <a:lnTo>
                    <a:pt x="380657" y="219329"/>
                  </a:lnTo>
                  <a:lnTo>
                    <a:pt x="390931" y="213360"/>
                  </a:lnTo>
                  <a:lnTo>
                    <a:pt x="395859" y="208280"/>
                  </a:lnTo>
                  <a:lnTo>
                    <a:pt x="405193" y="198120"/>
                  </a:lnTo>
                  <a:lnTo>
                    <a:pt x="409524" y="193040"/>
                  </a:lnTo>
                  <a:lnTo>
                    <a:pt x="413499" y="186690"/>
                  </a:lnTo>
                  <a:lnTo>
                    <a:pt x="414591" y="187960"/>
                  </a:lnTo>
                  <a:lnTo>
                    <a:pt x="437769" y="215900"/>
                  </a:lnTo>
                  <a:lnTo>
                    <a:pt x="438785" y="215900"/>
                  </a:lnTo>
                  <a:lnTo>
                    <a:pt x="439902" y="217258"/>
                  </a:lnTo>
                  <a:lnTo>
                    <a:pt x="440918" y="218440"/>
                  </a:lnTo>
                  <a:lnTo>
                    <a:pt x="439280" y="260896"/>
                  </a:lnTo>
                  <a:lnTo>
                    <a:pt x="439280" y="261023"/>
                  </a:lnTo>
                  <a:lnTo>
                    <a:pt x="439242" y="261950"/>
                  </a:lnTo>
                  <a:lnTo>
                    <a:pt x="439229" y="262204"/>
                  </a:lnTo>
                  <a:lnTo>
                    <a:pt x="438708" y="275805"/>
                  </a:lnTo>
                  <a:lnTo>
                    <a:pt x="438696" y="276110"/>
                  </a:lnTo>
                  <a:lnTo>
                    <a:pt x="438607" y="278523"/>
                  </a:lnTo>
                  <a:lnTo>
                    <a:pt x="438213" y="279819"/>
                  </a:lnTo>
                  <a:lnTo>
                    <a:pt x="438073" y="279603"/>
                  </a:lnTo>
                  <a:lnTo>
                    <a:pt x="438073" y="279946"/>
                  </a:lnTo>
                  <a:lnTo>
                    <a:pt x="437997" y="280073"/>
                  </a:lnTo>
                  <a:lnTo>
                    <a:pt x="435648" y="282359"/>
                  </a:lnTo>
                  <a:lnTo>
                    <a:pt x="435521" y="282194"/>
                  </a:lnTo>
                  <a:lnTo>
                    <a:pt x="435521" y="282486"/>
                  </a:lnTo>
                  <a:lnTo>
                    <a:pt x="433984" y="283883"/>
                  </a:lnTo>
                  <a:lnTo>
                    <a:pt x="433895" y="281127"/>
                  </a:lnTo>
                  <a:lnTo>
                    <a:pt x="433895" y="287185"/>
                  </a:lnTo>
                  <a:lnTo>
                    <a:pt x="433844" y="287439"/>
                  </a:lnTo>
                  <a:lnTo>
                    <a:pt x="431977" y="288963"/>
                  </a:lnTo>
                  <a:lnTo>
                    <a:pt x="430441" y="287693"/>
                  </a:lnTo>
                  <a:lnTo>
                    <a:pt x="430453" y="287058"/>
                  </a:lnTo>
                  <a:lnTo>
                    <a:pt x="431990" y="285788"/>
                  </a:lnTo>
                  <a:lnTo>
                    <a:pt x="433844" y="287439"/>
                  </a:lnTo>
                  <a:lnTo>
                    <a:pt x="433844" y="287147"/>
                  </a:lnTo>
                  <a:lnTo>
                    <a:pt x="432282" y="285788"/>
                  </a:lnTo>
                  <a:lnTo>
                    <a:pt x="432130" y="285661"/>
                  </a:lnTo>
                  <a:lnTo>
                    <a:pt x="432282" y="285534"/>
                  </a:lnTo>
                  <a:lnTo>
                    <a:pt x="433806" y="284264"/>
                  </a:lnTo>
                  <a:lnTo>
                    <a:pt x="433895" y="287185"/>
                  </a:lnTo>
                  <a:lnTo>
                    <a:pt x="433895" y="281127"/>
                  </a:lnTo>
                  <a:lnTo>
                    <a:pt x="433870" y="280327"/>
                  </a:lnTo>
                  <a:lnTo>
                    <a:pt x="435521" y="282486"/>
                  </a:lnTo>
                  <a:lnTo>
                    <a:pt x="435521" y="282194"/>
                  </a:lnTo>
                  <a:lnTo>
                    <a:pt x="434162" y="280327"/>
                  </a:lnTo>
                  <a:lnTo>
                    <a:pt x="434073" y="280200"/>
                  </a:lnTo>
                  <a:lnTo>
                    <a:pt x="433971" y="280073"/>
                  </a:lnTo>
                  <a:lnTo>
                    <a:pt x="437997" y="280073"/>
                  </a:lnTo>
                  <a:lnTo>
                    <a:pt x="437997" y="279946"/>
                  </a:lnTo>
                  <a:lnTo>
                    <a:pt x="434035" y="279946"/>
                  </a:lnTo>
                  <a:lnTo>
                    <a:pt x="436714" y="277787"/>
                  </a:lnTo>
                  <a:lnTo>
                    <a:pt x="438073" y="279946"/>
                  </a:lnTo>
                  <a:lnTo>
                    <a:pt x="438073" y="279603"/>
                  </a:lnTo>
                  <a:lnTo>
                    <a:pt x="436930" y="277787"/>
                  </a:lnTo>
                  <a:lnTo>
                    <a:pt x="436841" y="277660"/>
                  </a:lnTo>
                  <a:lnTo>
                    <a:pt x="438696" y="276110"/>
                  </a:lnTo>
                  <a:lnTo>
                    <a:pt x="438696" y="275818"/>
                  </a:lnTo>
                  <a:lnTo>
                    <a:pt x="433806" y="279895"/>
                  </a:lnTo>
                  <a:lnTo>
                    <a:pt x="433806" y="284010"/>
                  </a:lnTo>
                  <a:lnTo>
                    <a:pt x="433692" y="283870"/>
                  </a:lnTo>
                  <a:lnTo>
                    <a:pt x="433692" y="284137"/>
                  </a:lnTo>
                  <a:lnTo>
                    <a:pt x="433527" y="284137"/>
                  </a:lnTo>
                  <a:lnTo>
                    <a:pt x="433527" y="284264"/>
                  </a:lnTo>
                  <a:lnTo>
                    <a:pt x="431990" y="285534"/>
                  </a:lnTo>
                  <a:lnTo>
                    <a:pt x="430657" y="284391"/>
                  </a:lnTo>
                  <a:lnTo>
                    <a:pt x="430504" y="284264"/>
                  </a:lnTo>
                  <a:lnTo>
                    <a:pt x="433527" y="284264"/>
                  </a:lnTo>
                  <a:lnTo>
                    <a:pt x="433527" y="284137"/>
                  </a:lnTo>
                  <a:lnTo>
                    <a:pt x="430453" y="284137"/>
                  </a:lnTo>
                  <a:lnTo>
                    <a:pt x="430555" y="284010"/>
                  </a:lnTo>
                  <a:lnTo>
                    <a:pt x="430657" y="283883"/>
                  </a:lnTo>
                  <a:lnTo>
                    <a:pt x="432066" y="282105"/>
                  </a:lnTo>
                  <a:lnTo>
                    <a:pt x="433692" y="284137"/>
                  </a:lnTo>
                  <a:lnTo>
                    <a:pt x="433692" y="283870"/>
                  </a:lnTo>
                  <a:lnTo>
                    <a:pt x="432282" y="282105"/>
                  </a:lnTo>
                  <a:lnTo>
                    <a:pt x="432295" y="281851"/>
                  </a:lnTo>
                  <a:lnTo>
                    <a:pt x="433692" y="280200"/>
                  </a:lnTo>
                  <a:lnTo>
                    <a:pt x="433806" y="284010"/>
                  </a:lnTo>
                  <a:lnTo>
                    <a:pt x="433806" y="279895"/>
                  </a:lnTo>
                  <a:lnTo>
                    <a:pt x="433489" y="279946"/>
                  </a:lnTo>
                  <a:lnTo>
                    <a:pt x="433489" y="280073"/>
                  </a:lnTo>
                  <a:lnTo>
                    <a:pt x="432066" y="281851"/>
                  </a:lnTo>
                  <a:lnTo>
                    <a:pt x="431838" y="281571"/>
                  </a:lnTo>
                  <a:lnTo>
                    <a:pt x="431838" y="281851"/>
                  </a:lnTo>
                  <a:lnTo>
                    <a:pt x="431838" y="282105"/>
                  </a:lnTo>
                  <a:lnTo>
                    <a:pt x="430364" y="283883"/>
                  </a:lnTo>
                  <a:lnTo>
                    <a:pt x="430491" y="280200"/>
                  </a:lnTo>
                  <a:lnTo>
                    <a:pt x="431838" y="281851"/>
                  </a:lnTo>
                  <a:lnTo>
                    <a:pt x="431838" y="281571"/>
                  </a:lnTo>
                  <a:lnTo>
                    <a:pt x="430720" y="280200"/>
                  </a:lnTo>
                  <a:lnTo>
                    <a:pt x="430606" y="280073"/>
                  </a:lnTo>
                  <a:lnTo>
                    <a:pt x="433489" y="280073"/>
                  </a:lnTo>
                  <a:lnTo>
                    <a:pt x="433489" y="279946"/>
                  </a:lnTo>
                  <a:lnTo>
                    <a:pt x="430441" y="279946"/>
                  </a:lnTo>
                  <a:lnTo>
                    <a:pt x="430314" y="279857"/>
                  </a:lnTo>
                  <a:lnTo>
                    <a:pt x="430314" y="280200"/>
                  </a:lnTo>
                  <a:lnTo>
                    <a:pt x="430187" y="284010"/>
                  </a:lnTo>
                  <a:lnTo>
                    <a:pt x="428294" y="282359"/>
                  </a:lnTo>
                  <a:lnTo>
                    <a:pt x="428421" y="282232"/>
                  </a:lnTo>
                  <a:lnTo>
                    <a:pt x="430314" y="280200"/>
                  </a:lnTo>
                  <a:lnTo>
                    <a:pt x="430314" y="279857"/>
                  </a:lnTo>
                  <a:lnTo>
                    <a:pt x="430199" y="280073"/>
                  </a:lnTo>
                  <a:lnTo>
                    <a:pt x="428282" y="282105"/>
                  </a:lnTo>
                  <a:lnTo>
                    <a:pt x="428193" y="282232"/>
                  </a:lnTo>
                  <a:lnTo>
                    <a:pt x="428053" y="282105"/>
                  </a:lnTo>
                  <a:lnTo>
                    <a:pt x="425780" y="280073"/>
                  </a:lnTo>
                  <a:lnTo>
                    <a:pt x="430199" y="280073"/>
                  </a:lnTo>
                  <a:lnTo>
                    <a:pt x="430199" y="279768"/>
                  </a:lnTo>
                  <a:lnTo>
                    <a:pt x="430149" y="279946"/>
                  </a:lnTo>
                  <a:lnTo>
                    <a:pt x="425704" y="279946"/>
                  </a:lnTo>
                  <a:lnTo>
                    <a:pt x="425792" y="279819"/>
                  </a:lnTo>
                  <a:lnTo>
                    <a:pt x="427240" y="277660"/>
                  </a:lnTo>
                  <a:lnTo>
                    <a:pt x="430149" y="279946"/>
                  </a:lnTo>
                  <a:lnTo>
                    <a:pt x="430149" y="279730"/>
                  </a:lnTo>
                  <a:lnTo>
                    <a:pt x="427482" y="277660"/>
                  </a:lnTo>
                  <a:lnTo>
                    <a:pt x="427088" y="277368"/>
                  </a:lnTo>
                  <a:lnTo>
                    <a:pt x="427088" y="277533"/>
                  </a:lnTo>
                  <a:lnTo>
                    <a:pt x="425564" y="279819"/>
                  </a:lnTo>
                  <a:lnTo>
                    <a:pt x="424116" y="275247"/>
                  </a:lnTo>
                  <a:lnTo>
                    <a:pt x="427088" y="277533"/>
                  </a:lnTo>
                  <a:lnTo>
                    <a:pt x="427088" y="277368"/>
                  </a:lnTo>
                  <a:lnTo>
                    <a:pt x="424357" y="275247"/>
                  </a:lnTo>
                  <a:lnTo>
                    <a:pt x="424027" y="274993"/>
                  </a:lnTo>
                  <a:lnTo>
                    <a:pt x="421424" y="266611"/>
                  </a:lnTo>
                  <a:lnTo>
                    <a:pt x="421449" y="266230"/>
                  </a:lnTo>
                  <a:lnTo>
                    <a:pt x="423405" y="263817"/>
                  </a:lnTo>
                  <a:lnTo>
                    <a:pt x="425577" y="261150"/>
                  </a:lnTo>
                  <a:lnTo>
                    <a:pt x="432206" y="261150"/>
                  </a:lnTo>
                  <a:lnTo>
                    <a:pt x="432206" y="261404"/>
                  </a:lnTo>
                  <a:lnTo>
                    <a:pt x="432041" y="261912"/>
                  </a:lnTo>
                  <a:lnTo>
                    <a:pt x="431939" y="262039"/>
                  </a:lnTo>
                  <a:lnTo>
                    <a:pt x="432104" y="262039"/>
                  </a:lnTo>
                  <a:lnTo>
                    <a:pt x="432041" y="262420"/>
                  </a:lnTo>
                  <a:lnTo>
                    <a:pt x="431939" y="262674"/>
                  </a:lnTo>
                  <a:lnTo>
                    <a:pt x="432104" y="262674"/>
                  </a:lnTo>
                  <a:lnTo>
                    <a:pt x="432041" y="263055"/>
                  </a:lnTo>
                  <a:lnTo>
                    <a:pt x="431927" y="263182"/>
                  </a:lnTo>
                  <a:lnTo>
                    <a:pt x="432206" y="263182"/>
                  </a:lnTo>
                  <a:lnTo>
                    <a:pt x="432104" y="263309"/>
                  </a:lnTo>
                  <a:lnTo>
                    <a:pt x="432041" y="263690"/>
                  </a:lnTo>
                  <a:lnTo>
                    <a:pt x="431939" y="263817"/>
                  </a:lnTo>
                  <a:lnTo>
                    <a:pt x="432206" y="263817"/>
                  </a:lnTo>
                  <a:lnTo>
                    <a:pt x="432104" y="263944"/>
                  </a:lnTo>
                  <a:lnTo>
                    <a:pt x="432041" y="264325"/>
                  </a:lnTo>
                  <a:lnTo>
                    <a:pt x="431939" y="264452"/>
                  </a:lnTo>
                  <a:lnTo>
                    <a:pt x="432104" y="264452"/>
                  </a:lnTo>
                  <a:lnTo>
                    <a:pt x="432041" y="264960"/>
                  </a:lnTo>
                  <a:lnTo>
                    <a:pt x="431939" y="265087"/>
                  </a:lnTo>
                  <a:lnTo>
                    <a:pt x="432104" y="265087"/>
                  </a:lnTo>
                  <a:lnTo>
                    <a:pt x="432041" y="265595"/>
                  </a:lnTo>
                  <a:lnTo>
                    <a:pt x="431939" y="265722"/>
                  </a:lnTo>
                  <a:lnTo>
                    <a:pt x="432104" y="265722"/>
                  </a:lnTo>
                  <a:lnTo>
                    <a:pt x="432041" y="266230"/>
                  </a:lnTo>
                  <a:lnTo>
                    <a:pt x="431939" y="266357"/>
                  </a:lnTo>
                  <a:lnTo>
                    <a:pt x="432104" y="266357"/>
                  </a:lnTo>
                  <a:lnTo>
                    <a:pt x="432041" y="266865"/>
                  </a:lnTo>
                  <a:lnTo>
                    <a:pt x="431939" y="266992"/>
                  </a:lnTo>
                  <a:lnTo>
                    <a:pt x="432104" y="266992"/>
                  </a:lnTo>
                  <a:lnTo>
                    <a:pt x="432041" y="267373"/>
                  </a:lnTo>
                  <a:lnTo>
                    <a:pt x="431927" y="267500"/>
                  </a:lnTo>
                  <a:lnTo>
                    <a:pt x="432206" y="267500"/>
                  </a:lnTo>
                  <a:lnTo>
                    <a:pt x="432206" y="268008"/>
                  </a:lnTo>
                  <a:lnTo>
                    <a:pt x="432257" y="267500"/>
                  </a:lnTo>
                  <a:lnTo>
                    <a:pt x="432549" y="267500"/>
                  </a:lnTo>
                  <a:lnTo>
                    <a:pt x="432523" y="267373"/>
                  </a:lnTo>
                  <a:lnTo>
                    <a:pt x="432358" y="266992"/>
                  </a:lnTo>
                  <a:lnTo>
                    <a:pt x="432523" y="266992"/>
                  </a:lnTo>
                  <a:lnTo>
                    <a:pt x="432549" y="266865"/>
                  </a:lnTo>
                  <a:lnTo>
                    <a:pt x="432358" y="266357"/>
                  </a:lnTo>
                  <a:lnTo>
                    <a:pt x="432523" y="266357"/>
                  </a:lnTo>
                  <a:lnTo>
                    <a:pt x="432549" y="266230"/>
                  </a:lnTo>
                  <a:lnTo>
                    <a:pt x="432358" y="265722"/>
                  </a:lnTo>
                  <a:lnTo>
                    <a:pt x="432549" y="265722"/>
                  </a:lnTo>
                  <a:lnTo>
                    <a:pt x="432549" y="265595"/>
                  </a:lnTo>
                  <a:lnTo>
                    <a:pt x="432358" y="265087"/>
                  </a:lnTo>
                  <a:lnTo>
                    <a:pt x="432549" y="265087"/>
                  </a:lnTo>
                  <a:lnTo>
                    <a:pt x="432549" y="264960"/>
                  </a:lnTo>
                  <a:lnTo>
                    <a:pt x="432358" y="264452"/>
                  </a:lnTo>
                  <a:lnTo>
                    <a:pt x="432549" y="264452"/>
                  </a:lnTo>
                  <a:lnTo>
                    <a:pt x="432549" y="264325"/>
                  </a:lnTo>
                  <a:lnTo>
                    <a:pt x="432346" y="263944"/>
                  </a:lnTo>
                  <a:lnTo>
                    <a:pt x="432257" y="263817"/>
                  </a:lnTo>
                  <a:lnTo>
                    <a:pt x="432549" y="263817"/>
                  </a:lnTo>
                  <a:lnTo>
                    <a:pt x="432549" y="263690"/>
                  </a:lnTo>
                  <a:lnTo>
                    <a:pt x="432346" y="263309"/>
                  </a:lnTo>
                  <a:lnTo>
                    <a:pt x="432257" y="263182"/>
                  </a:lnTo>
                  <a:lnTo>
                    <a:pt x="432549" y="263182"/>
                  </a:lnTo>
                  <a:lnTo>
                    <a:pt x="432523" y="263055"/>
                  </a:lnTo>
                  <a:lnTo>
                    <a:pt x="432358" y="262674"/>
                  </a:lnTo>
                  <a:lnTo>
                    <a:pt x="432523" y="262674"/>
                  </a:lnTo>
                  <a:lnTo>
                    <a:pt x="432523" y="262420"/>
                  </a:lnTo>
                  <a:lnTo>
                    <a:pt x="432358" y="262039"/>
                  </a:lnTo>
                  <a:lnTo>
                    <a:pt x="432523" y="262039"/>
                  </a:lnTo>
                  <a:lnTo>
                    <a:pt x="432549" y="261912"/>
                  </a:lnTo>
                  <a:lnTo>
                    <a:pt x="432358" y="261404"/>
                  </a:lnTo>
                  <a:lnTo>
                    <a:pt x="432257" y="261150"/>
                  </a:lnTo>
                  <a:lnTo>
                    <a:pt x="438353" y="261023"/>
                  </a:lnTo>
                  <a:lnTo>
                    <a:pt x="439229" y="262204"/>
                  </a:lnTo>
                  <a:lnTo>
                    <a:pt x="439229" y="261937"/>
                  </a:lnTo>
                  <a:lnTo>
                    <a:pt x="438581" y="261023"/>
                  </a:lnTo>
                  <a:lnTo>
                    <a:pt x="439280" y="261023"/>
                  </a:lnTo>
                  <a:lnTo>
                    <a:pt x="439280" y="260896"/>
                  </a:lnTo>
                  <a:lnTo>
                    <a:pt x="425348" y="260896"/>
                  </a:lnTo>
                  <a:lnTo>
                    <a:pt x="425348" y="261150"/>
                  </a:lnTo>
                  <a:lnTo>
                    <a:pt x="423189" y="263817"/>
                  </a:lnTo>
                  <a:lnTo>
                    <a:pt x="422973" y="263652"/>
                  </a:lnTo>
                  <a:lnTo>
                    <a:pt x="422973" y="264071"/>
                  </a:lnTo>
                  <a:lnTo>
                    <a:pt x="421259" y="266230"/>
                  </a:lnTo>
                  <a:lnTo>
                    <a:pt x="419709" y="261277"/>
                  </a:lnTo>
                  <a:lnTo>
                    <a:pt x="422922" y="263817"/>
                  </a:lnTo>
                  <a:lnTo>
                    <a:pt x="422973" y="264071"/>
                  </a:lnTo>
                  <a:lnTo>
                    <a:pt x="422973" y="263652"/>
                  </a:lnTo>
                  <a:lnTo>
                    <a:pt x="419976" y="261277"/>
                  </a:lnTo>
                  <a:lnTo>
                    <a:pt x="419811" y="261150"/>
                  </a:lnTo>
                  <a:lnTo>
                    <a:pt x="425348" y="261150"/>
                  </a:lnTo>
                  <a:lnTo>
                    <a:pt x="425348" y="260896"/>
                  </a:lnTo>
                  <a:lnTo>
                    <a:pt x="419608" y="260896"/>
                  </a:lnTo>
                  <a:lnTo>
                    <a:pt x="417690" y="254800"/>
                  </a:lnTo>
                  <a:lnTo>
                    <a:pt x="417639" y="254673"/>
                  </a:lnTo>
                  <a:lnTo>
                    <a:pt x="417283" y="254673"/>
                  </a:lnTo>
                  <a:lnTo>
                    <a:pt x="417449" y="255689"/>
                  </a:lnTo>
                  <a:lnTo>
                    <a:pt x="417626" y="255689"/>
                  </a:lnTo>
                  <a:lnTo>
                    <a:pt x="417474" y="254800"/>
                  </a:lnTo>
                  <a:lnTo>
                    <a:pt x="419417" y="260896"/>
                  </a:lnTo>
                  <a:lnTo>
                    <a:pt x="414489" y="260896"/>
                  </a:lnTo>
                  <a:lnTo>
                    <a:pt x="414477" y="261023"/>
                  </a:lnTo>
                  <a:lnTo>
                    <a:pt x="415061" y="261023"/>
                  </a:lnTo>
                  <a:lnTo>
                    <a:pt x="415061" y="261404"/>
                  </a:lnTo>
                  <a:lnTo>
                    <a:pt x="414883" y="261912"/>
                  </a:lnTo>
                  <a:lnTo>
                    <a:pt x="414794" y="262039"/>
                  </a:lnTo>
                  <a:lnTo>
                    <a:pt x="414959" y="262039"/>
                  </a:lnTo>
                  <a:lnTo>
                    <a:pt x="414883" y="262420"/>
                  </a:lnTo>
                  <a:lnTo>
                    <a:pt x="414794" y="262674"/>
                  </a:lnTo>
                  <a:lnTo>
                    <a:pt x="414959" y="262674"/>
                  </a:lnTo>
                  <a:lnTo>
                    <a:pt x="414883" y="263055"/>
                  </a:lnTo>
                  <a:lnTo>
                    <a:pt x="414782" y="263182"/>
                  </a:lnTo>
                  <a:lnTo>
                    <a:pt x="415061" y="263182"/>
                  </a:lnTo>
                  <a:lnTo>
                    <a:pt x="414972" y="263309"/>
                  </a:lnTo>
                  <a:lnTo>
                    <a:pt x="414883" y="263690"/>
                  </a:lnTo>
                  <a:lnTo>
                    <a:pt x="414794" y="263817"/>
                  </a:lnTo>
                  <a:lnTo>
                    <a:pt x="415061" y="263817"/>
                  </a:lnTo>
                  <a:lnTo>
                    <a:pt x="414972" y="263944"/>
                  </a:lnTo>
                  <a:lnTo>
                    <a:pt x="414883" y="264325"/>
                  </a:lnTo>
                  <a:lnTo>
                    <a:pt x="414794" y="264452"/>
                  </a:lnTo>
                  <a:lnTo>
                    <a:pt x="414959" y="264452"/>
                  </a:lnTo>
                  <a:lnTo>
                    <a:pt x="414883" y="264960"/>
                  </a:lnTo>
                  <a:lnTo>
                    <a:pt x="414794" y="265087"/>
                  </a:lnTo>
                  <a:lnTo>
                    <a:pt x="414959" y="265087"/>
                  </a:lnTo>
                  <a:lnTo>
                    <a:pt x="414883" y="265595"/>
                  </a:lnTo>
                  <a:lnTo>
                    <a:pt x="414794" y="265722"/>
                  </a:lnTo>
                  <a:lnTo>
                    <a:pt x="414959" y="265722"/>
                  </a:lnTo>
                  <a:lnTo>
                    <a:pt x="414883" y="266230"/>
                  </a:lnTo>
                  <a:lnTo>
                    <a:pt x="414794" y="266357"/>
                  </a:lnTo>
                  <a:lnTo>
                    <a:pt x="414959" y="266357"/>
                  </a:lnTo>
                  <a:lnTo>
                    <a:pt x="414883" y="266865"/>
                  </a:lnTo>
                  <a:lnTo>
                    <a:pt x="414794" y="266992"/>
                  </a:lnTo>
                  <a:lnTo>
                    <a:pt x="414959" y="266992"/>
                  </a:lnTo>
                  <a:lnTo>
                    <a:pt x="414883" y="267373"/>
                  </a:lnTo>
                  <a:lnTo>
                    <a:pt x="414782" y="267500"/>
                  </a:lnTo>
                  <a:lnTo>
                    <a:pt x="415061" y="267500"/>
                  </a:lnTo>
                  <a:lnTo>
                    <a:pt x="415061" y="268008"/>
                  </a:lnTo>
                  <a:lnTo>
                    <a:pt x="415112" y="267500"/>
                  </a:lnTo>
                  <a:lnTo>
                    <a:pt x="415378" y="267500"/>
                  </a:lnTo>
                  <a:lnTo>
                    <a:pt x="415378" y="267373"/>
                  </a:lnTo>
                  <a:lnTo>
                    <a:pt x="415213" y="266992"/>
                  </a:lnTo>
                  <a:lnTo>
                    <a:pt x="415378" y="266992"/>
                  </a:lnTo>
                  <a:lnTo>
                    <a:pt x="415378" y="266865"/>
                  </a:lnTo>
                  <a:lnTo>
                    <a:pt x="415213" y="266357"/>
                  </a:lnTo>
                  <a:lnTo>
                    <a:pt x="415378" y="266357"/>
                  </a:lnTo>
                  <a:lnTo>
                    <a:pt x="415378" y="266230"/>
                  </a:lnTo>
                  <a:lnTo>
                    <a:pt x="415213" y="265722"/>
                  </a:lnTo>
                  <a:lnTo>
                    <a:pt x="415378" y="265722"/>
                  </a:lnTo>
                  <a:lnTo>
                    <a:pt x="415378" y="265595"/>
                  </a:lnTo>
                  <a:lnTo>
                    <a:pt x="415213" y="265087"/>
                  </a:lnTo>
                  <a:lnTo>
                    <a:pt x="415378" y="265087"/>
                  </a:lnTo>
                  <a:lnTo>
                    <a:pt x="415378" y="264960"/>
                  </a:lnTo>
                  <a:lnTo>
                    <a:pt x="415213" y="264452"/>
                  </a:lnTo>
                  <a:lnTo>
                    <a:pt x="415378" y="264452"/>
                  </a:lnTo>
                  <a:lnTo>
                    <a:pt x="415378" y="264325"/>
                  </a:lnTo>
                  <a:lnTo>
                    <a:pt x="415201" y="263944"/>
                  </a:lnTo>
                  <a:lnTo>
                    <a:pt x="415112" y="263817"/>
                  </a:lnTo>
                  <a:lnTo>
                    <a:pt x="415378" y="263817"/>
                  </a:lnTo>
                  <a:lnTo>
                    <a:pt x="415378" y="263690"/>
                  </a:lnTo>
                  <a:lnTo>
                    <a:pt x="415201" y="263309"/>
                  </a:lnTo>
                  <a:lnTo>
                    <a:pt x="415112" y="263182"/>
                  </a:lnTo>
                  <a:lnTo>
                    <a:pt x="415378" y="263182"/>
                  </a:lnTo>
                  <a:lnTo>
                    <a:pt x="415378" y="263055"/>
                  </a:lnTo>
                  <a:lnTo>
                    <a:pt x="415213" y="262674"/>
                  </a:lnTo>
                  <a:lnTo>
                    <a:pt x="415378" y="262674"/>
                  </a:lnTo>
                  <a:lnTo>
                    <a:pt x="415378" y="262420"/>
                  </a:lnTo>
                  <a:lnTo>
                    <a:pt x="415213" y="262039"/>
                  </a:lnTo>
                  <a:lnTo>
                    <a:pt x="415378" y="262039"/>
                  </a:lnTo>
                  <a:lnTo>
                    <a:pt x="415378" y="261912"/>
                  </a:lnTo>
                  <a:lnTo>
                    <a:pt x="415213" y="261404"/>
                  </a:lnTo>
                  <a:lnTo>
                    <a:pt x="415112" y="261023"/>
                  </a:lnTo>
                  <a:lnTo>
                    <a:pt x="417461" y="261150"/>
                  </a:lnTo>
                  <a:lnTo>
                    <a:pt x="419468" y="261150"/>
                  </a:lnTo>
                  <a:lnTo>
                    <a:pt x="425450" y="280073"/>
                  </a:lnTo>
                  <a:lnTo>
                    <a:pt x="430034" y="284137"/>
                  </a:lnTo>
                  <a:lnTo>
                    <a:pt x="430136" y="285534"/>
                  </a:lnTo>
                  <a:lnTo>
                    <a:pt x="429323" y="306616"/>
                  </a:lnTo>
                  <a:lnTo>
                    <a:pt x="429501" y="306616"/>
                  </a:lnTo>
                  <a:lnTo>
                    <a:pt x="429577" y="304584"/>
                  </a:lnTo>
                  <a:lnTo>
                    <a:pt x="431863" y="306108"/>
                  </a:lnTo>
                  <a:lnTo>
                    <a:pt x="431088" y="306616"/>
                  </a:lnTo>
                  <a:lnTo>
                    <a:pt x="431406" y="306616"/>
                  </a:lnTo>
                  <a:lnTo>
                    <a:pt x="432028" y="306235"/>
                  </a:lnTo>
                  <a:lnTo>
                    <a:pt x="432638" y="306616"/>
                  </a:lnTo>
                  <a:lnTo>
                    <a:pt x="432955" y="306616"/>
                  </a:lnTo>
                  <a:lnTo>
                    <a:pt x="432384" y="306235"/>
                  </a:lnTo>
                  <a:lnTo>
                    <a:pt x="432193" y="306108"/>
                  </a:lnTo>
                  <a:lnTo>
                    <a:pt x="432396" y="305981"/>
                  </a:lnTo>
                  <a:lnTo>
                    <a:pt x="434365" y="304711"/>
                  </a:lnTo>
                  <a:lnTo>
                    <a:pt x="434416" y="306616"/>
                  </a:lnTo>
                  <a:lnTo>
                    <a:pt x="434594" y="306616"/>
                  </a:lnTo>
                  <a:lnTo>
                    <a:pt x="434543" y="304711"/>
                  </a:lnTo>
                  <a:lnTo>
                    <a:pt x="434543" y="304584"/>
                  </a:lnTo>
                  <a:lnTo>
                    <a:pt x="434543" y="304457"/>
                  </a:lnTo>
                  <a:lnTo>
                    <a:pt x="434543" y="304330"/>
                  </a:lnTo>
                  <a:lnTo>
                    <a:pt x="434454" y="301409"/>
                  </a:lnTo>
                  <a:lnTo>
                    <a:pt x="434441" y="301028"/>
                  </a:lnTo>
                  <a:lnTo>
                    <a:pt x="434365" y="297853"/>
                  </a:lnTo>
                  <a:lnTo>
                    <a:pt x="434352" y="297726"/>
                  </a:lnTo>
                  <a:lnTo>
                    <a:pt x="434352" y="304330"/>
                  </a:lnTo>
                  <a:lnTo>
                    <a:pt x="434149" y="304190"/>
                  </a:lnTo>
                  <a:lnTo>
                    <a:pt x="434149" y="304457"/>
                  </a:lnTo>
                  <a:lnTo>
                    <a:pt x="434149" y="304584"/>
                  </a:lnTo>
                  <a:lnTo>
                    <a:pt x="432028" y="305981"/>
                  </a:lnTo>
                  <a:lnTo>
                    <a:pt x="429907" y="304584"/>
                  </a:lnTo>
                  <a:lnTo>
                    <a:pt x="434149" y="304584"/>
                  </a:lnTo>
                  <a:lnTo>
                    <a:pt x="434149" y="304457"/>
                  </a:lnTo>
                  <a:lnTo>
                    <a:pt x="429907" y="304457"/>
                  </a:lnTo>
                  <a:lnTo>
                    <a:pt x="432041" y="302933"/>
                  </a:lnTo>
                  <a:lnTo>
                    <a:pt x="434149" y="304457"/>
                  </a:lnTo>
                  <a:lnTo>
                    <a:pt x="434149" y="304190"/>
                  </a:lnTo>
                  <a:lnTo>
                    <a:pt x="432384" y="302933"/>
                  </a:lnTo>
                  <a:lnTo>
                    <a:pt x="432206" y="302806"/>
                  </a:lnTo>
                  <a:lnTo>
                    <a:pt x="432396" y="302679"/>
                  </a:lnTo>
                  <a:lnTo>
                    <a:pt x="434263" y="301409"/>
                  </a:lnTo>
                  <a:lnTo>
                    <a:pt x="434352" y="304330"/>
                  </a:lnTo>
                  <a:lnTo>
                    <a:pt x="434352" y="297726"/>
                  </a:lnTo>
                  <a:lnTo>
                    <a:pt x="434352" y="297599"/>
                  </a:lnTo>
                  <a:lnTo>
                    <a:pt x="434352" y="297472"/>
                  </a:lnTo>
                  <a:lnTo>
                    <a:pt x="434276" y="294551"/>
                  </a:lnTo>
                  <a:lnTo>
                    <a:pt x="434263" y="294170"/>
                  </a:lnTo>
                  <a:lnTo>
                    <a:pt x="434263" y="301028"/>
                  </a:lnTo>
                  <a:lnTo>
                    <a:pt x="434213" y="301155"/>
                  </a:lnTo>
                  <a:lnTo>
                    <a:pt x="432041" y="302679"/>
                  </a:lnTo>
                  <a:lnTo>
                    <a:pt x="431876" y="302577"/>
                  </a:lnTo>
                  <a:lnTo>
                    <a:pt x="431876" y="302806"/>
                  </a:lnTo>
                  <a:lnTo>
                    <a:pt x="429577" y="304457"/>
                  </a:lnTo>
                  <a:lnTo>
                    <a:pt x="429704" y="301282"/>
                  </a:lnTo>
                  <a:lnTo>
                    <a:pt x="431876" y="302806"/>
                  </a:lnTo>
                  <a:lnTo>
                    <a:pt x="431876" y="302577"/>
                  </a:lnTo>
                  <a:lnTo>
                    <a:pt x="429907" y="301282"/>
                  </a:lnTo>
                  <a:lnTo>
                    <a:pt x="430072" y="301155"/>
                  </a:lnTo>
                  <a:lnTo>
                    <a:pt x="432066" y="299504"/>
                  </a:lnTo>
                  <a:lnTo>
                    <a:pt x="434213" y="301155"/>
                  </a:lnTo>
                  <a:lnTo>
                    <a:pt x="434213" y="300990"/>
                  </a:lnTo>
                  <a:lnTo>
                    <a:pt x="432384" y="299504"/>
                  </a:lnTo>
                  <a:lnTo>
                    <a:pt x="432219" y="299377"/>
                  </a:lnTo>
                  <a:lnTo>
                    <a:pt x="432384" y="299250"/>
                  </a:lnTo>
                  <a:lnTo>
                    <a:pt x="434174" y="297853"/>
                  </a:lnTo>
                  <a:lnTo>
                    <a:pt x="434263" y="301028"/>
                  </a:lnTo>
                  <a:lnTo>
                    <a:pt x="434263" y="294170"/>
                  </a:lnTo>
                  <a:lnTo>
                    <a:pt x="434187" y="291376"/>
                  </a:lnTo>
                  <a:lnTo>
                    <a:pt x="434162" y="290614"/>
                  </a:lnTo>
                  <a:lnTo>
                    <a:pt x="434162" y="297472"/>
                  </a:lnTo>
                  <a:lnTo>
                    <a:pt x="433984" y="297332"/>
                  </a:lnTo>
                  <a:lnTo>
                    <a:pt x="433984" y="297599"/>
                  </a:lnTo>
                  <a:lnTo>
                    <a:pt x="433984" y="297853"/>
                  </a:lnTo>
                  <a:lnTo>
                    <a:pt x="432066" y="299250"/>
                  </a:lnTo>
                  <a:lnTo>
                    <a:pt x="431927" y="299148"/>
                  </a:lnTo>
                  <a:lnTo>
                    <a:pt x="431927" y="299377"/>
                  </a:lnTo>
                  <a:lnTo>
                    <a:pt x="429704" y="301155"/>
                  </a:lnTo>
                  <a:lnTo>
                    <a:pt x="429844" y="297726"/>
                  </a:lnTo>
                  <a:lnTo>
                    <a:pt x="431927" y="299377"/>
                  </a:lnTo>
                  <a:lnTo>
                    <a:pt x="431927" y="299148"/>
                  </a:lnTo>
                  <a:lnTo>
                    <a:pt x="430174" y="297853"/>
                  </a:lnTo>
                  <a:lnTo>
                    <a:pt x="433984" y="297853"/>
                  </a:lnTo>
                  <a:lnTo>
                    <a:pt x="433984" y="297599"/>
                  </a:lnTo>
                  <a:lnTo>
                    <a:pt x="430174" y="297599"/>
                  </a:lnTo>
                  <a:lnTo>
                    <a:pt x="432092" y="296075"/>
                  </a:lnTo>
                  <a:lnTo>
                    <a:pt x="433984" y="297599"/>
                  </a:lnTo>
                  <a:lnTo>
                    <a:pt x="433984" y="297332"/>
                  </a:lnTo>
                  <a:lnTo>
                    <a:pt x="432409" y="296075"/>
                  </a:lnTo>
                  <a:lnTo>
                    <a:pt x="432244" y="295948"/>
                  </a:lnTo>
                  <a:lnTo>
                    <a:pt x="432422" y="295821"/>
                  </a:lnTo>
                  <a:lnTo>
                    <a:pt x="434098" y="294551"/>
                  </a:lnTo>
                  <a:lnTo>
                    <a:pt x="434162" y="297472"/>
                  </a:lnTo>
                  <a:lnTo>
                    <a:pt x="434162" y="290614"/>
                  </a:lnTo>
                  <a:lnTo>
                    <a:pt x="434086" y="287566"/>
                  </a:lnTo>
                  <a:lnTo>
                    <a:pt x="434086" y="294170"/>
                  </a:lnTo>
                  <a:lnTo>
                    <a:pt x="434035" y="294424"/>
                  </a:lnTo>
                  <a:lnTo>
                    <a:pt x="432092" y="295821"/>
                  </a:lnTo>
                  <a:lnTo>
                    <a:pt x="430225" y="294424"/>
                  </a:lnTo>
                  <a:lnTo>
                    <a:pt x="432206" y="292900"/>
                  </a:lnTo>
                  <a:lnTo>
                    <a:pt x="434035" y="294424"/>
                  </a:lnTo>
                  <a:lnTo>
                    <a:pt x="434035" y="294132"/>
                  </a:lnTo>
                  <a:lnTo>
                    <a:pt x="432511" y="292900"/>
                  </a:lnTo>
                  <a:lnTo>
                    <a:pt x="432346" y="292773"/>
                  </a:lnTo>
                  <a:lnTo>
                    <a:pt x="432498" y="292646"/>
                  </a:lnTo>
                  <a:lnTo>
                    <a:pt x="433997" y="291376"/>
                  </a:lnTo>
                  <a:lnTo>
                    <a:pt x="434086" y="294170"/>
                  </a:lnTo>
                  <a:lnTo>
                    <a:pt x="434086" y="287566"/>
                  </a:lnTo>
                  <a:lnTo>
                    <a:pt x="434073" y="287185"/>
                  </a:lnTo>
                  <a:lnTo>
                    <a:pt x="433997" y="284264"/>
                  </a:lnTo>
                  <a:lnTo>
                    <a:pt x="433984" y="284137"/>
                  </a:lnTo>
                  <a:lnTo>
                    <a:pt x="433984" y="290614"/>
                  </a:lnTo>
                  <a:lnTo>
                    <a:pt x="433984" y="290868"/>
                  </a:lnTo>
                  <a:lnTo>
                    <a:pt x="433984" y="291122"/>
                  </a:lnTo>
                  <a:lnTo>
                    <a:pt x="432206" y="292646"/>
                  </a:lnTo>
                  <a:lnTo>
                    <a:pt x="432054" y="292519"/>
                  </a:lnTo>
                  <a:lnTo>
                    <a:pt x="432054" y="292773"/>
                  </a:lnTo>
                  <a:lnTo>
                    <a:pt x="429983" y="294424"/>
                  </a:lnTo>
                  <a:lnTo>
                    <a:pt x="431939" y="295948"/>
                  </a:lnTo>
                  <a:lnTo>
                    <a:pt x="429856" y="297599"/>
                  </a:lnTo>
                  <a:lnTo>
                    <a:pt x="430339" y="284391"/>
                  </a:lnTo>
                  <a:lnTo>
                    <a:pt x="431850" y="285661"/>
                  </a:lnTo>
                  <a:lnTo>
                    <a:pt x="430276" y="287058"/>
                  </a:lnTo>
                  <a:lnTo>
                    <a:pt x="430288" y="287820"/>
                  </a:lnTo>
                  <a:lnTo>
                    <a:pt x="431838" y="289090"/>
                  </a:lnTo>
                  <a:lnTo>
                    <a:pt x="430149" y="290360"/>
                  </a:lnTo>
                  <a:lnTo>
                    <a:pt x="430123" y="291122"/>
                  </a:lnTo>
                  <a:lnTo>
                    <a:pt x="432054" y="292773"/>
                  </a:lnTo>
                  <a:lnTo>
                    <a:pt x="432054" y="292519"/>
                  </a:lnTo>
                  <a:lnTo>
                    <a:pt x="430288" y="290995"/>
                  </a:lnTo>
                  <a:lnTo>
                    <a:pt x="430314" y="290487"/>
                  </a:lnTo>
                  <a:lnTo>
                    <a:pt x="431977" y="289217"/>
                  </a:lnTo>
                  <a:lnTo>
                    <a:pt x="433984" y="290868"/>
                  </a:lnTo>
                  <a:lnTo>
                    <a:pt x="433984" y="290614"/>
                  </a:lnTo>
                  <a:lnTo>
                    <a:pt x="432282" y="289217"/>
                  </a:lnTo>
                  <a:lnTo>
                    <a:pt x="432117" y="289090"/>
                  </a:lnTo>
                  <a:lnTo>
                    <a:pt x="432269" y="288963"/>
                  </a:lnTo>
                  <a:lnTo>
                    <a:pt x="433908" y="287566"/>
                  </a:lnTo>
                  <a:lnTo>
                    <a:pt x="433984" y="290614"/>
                  </a:lnTo>
                  <a:lnTo>
                    <a:pt x="433984" y="284137"/>
                  </a:lnTo>
                  <a:lnTo>
                    <a:pt x="434124" y="284010"/>
                  </a:lnTo>
                  <a:lnTo>
                    <a:pt x="434263" y="283883"/>
                  </a:lnTo>
                  <a:lnTo>
                    <a:pt x="435876" y="282359"/>
                  </a:lnTo>
                  <a:lnTo>
                    <a:pt x="438302" y="280073"/>
                  </a:lnTo>
                  <a:lnTo>
                    <a:pt x="438340" y="279946"/>
                  </a:lnTo>
                  <a:lnTo>
                    <a:pt x="438391" y="279819"/>
                  </a:lnTo>
                  <a:lnTo>
                    <a:pt x="438581" y="279184"/>
                  </a:lnTo>
                  <a:lnTo>
                    <a:pt x="437070" y="318770"/>
                  </a:lnTo>
                  <a:lnTo>
                    <a:pt x="438785" y="318770"/>
                  </a:lnTo>
                  <a:lnTo>
                    <a:pt x="438937" y="314960"/>
                  </a:lnTo>
                  <a:lnTo>
                    <a:pt x="440016" y="316230"/>
                  </a:lnTo>
                  <a:lnTo>
                    <a:pt x="442188" y="317500"/>
                  </a:lnTo>
                  <a:lnTo>
                    <a:pt x="446608" y="318770"/>
                  </a:lnTo>
                  <a:lnTo>
                    <a:pt x="450532" y="318770"/>
                  </a:lnTo>
                  <a:lnTo>
                    <a:pt x="445604" y="317500"/>
                  </a:lnTo>
                  <a:lnTo>
                    <a:pt x="442112" y="314960"/>
                  </a:lnTo>
                  <a:lnTo>
                    <a:pt x="440372" y="313690"/>
                  </a:lnTo>
                  <a:lnTo>
                    <a:pt x="442353" y="313690"/>
                  </a:lnTo>
                  <a:lnTo>
                    <a:pt x="444220" y="312420"/>
                  </a:lnTo>
                  <a:lnTo>
                    <a:pt x="446087" y="311150"/>
                  </a:lnTo>
                  <a:lnTo>
                    <a:pt x="451510" y="307340"/>
                  </a:lnTo>
                  <a:lnTo>
                    <a:pt x="462457" y="313690"/>
                  </a:lnTo>
                  <a:lnTo>
                    <a:pt x="452018" y="318770"/>
                  </a:lnTo>
                  <a:lnTo>
                    <a:pt x="455904" y="318770"/>
                  </a:lnTo>
                  <a:lnTo>
                    <a:pt x="463448" y="314960"/>
                  </a:lnTo>
                  <a:lnTo>
                    <a:pt x="463562" y="318770"/>
                  </a:lnTo>
                  <a:lnTo>
                    <a:pt x="465277" y="318770"/>
                  </a:lnTo>
                  <a:lnTo>
                    <a:pt x="465175" y="314960"/>
                  </a:lnTo>
                  <a:lnTo>
                    <a:pt x="465099" y="312420"/>
                  </a:lnTo>
                  <a:lnTo>
                    <a:pt x="464781" y="300990"/>
                  </a:lnTo>
                  <a:lnTo>
                    <a:pt x="464667" y="297180"/>
                  </a:lnTo>
                  <a:lnTo>
                    <a:pt x="464375" y="285750"/>
                  </a:lnTo>
                  <a:lnTo>
                    <a:pt x="464286" y="283210"/>
                  </a:lnTo>
                  <a:lnTo>
                    <a:pt x="463956" y="270510"/>
                  </a:lnTo>
                  <a:lnTo>
                    <a:pt x="463931" y="269240"/>
                  </a:lnTo>
                  <a:lnTo>
                    <a:pt x="463892" y="267970"/>
                  </a:lnTo>
                  <a:lnTo>
                    <a:pt x="463867" y="266700"/>
                  </a:lnTo>
                  <a:lnTo>
                    <a:pt x="463562" y="255270"/>
                  </a:lnTo>
                  <a:lnTo>
                    <a:pt x="463448" y="251460"/>
                  </a:lnTo>
                  <a:lnTo>
                    <a:pt x="463372" y="248742"/>
                  </a:lnTo>
                  <a:lnTo>
                    <a:pt x="463372" y="312420"/>
                  </a:lnTo>
                  <a:lnTo>
                    <a:pt x="453250" y="307340"/>
                  </a:lnTo>
                  <a:lnTo>
                    <a:pt x="455206" y="306070"/>
                  </a:lnTo>
                  <a:lnTo>
                    <a:pt x="463054" y="300990"/>
                  </a:lnTo>
                  <a:lnTo>
                    <a:pt x="463372" y="312420"/>
                  </a:lnTo>
                  <a:lnTo>
                    <a:pt x="463372" y="248742"/>
                  </a:lnTo>
                  <a:lnTo>
                    <a:pt x="463092" y="238760"/>
                  </a:lnTo>
                  <a:lnTo>
                    <a:pt x="463054" y="237490"/>
                  </a:lnTo>
                  <a:lnTo>
                    <a:pt x="463029" y="236220"/>
                  </a:lnTo>
                  <a:lnTo>
                    <a:pt x="462991" y="234950"/>
                  </a:lnTo>
                  <a:lnTo>
                    <a:pt x="462978" y="234505"/>
                  </a:lnTo>
                  <a:lnTo>
                    <a:pt x="462978" y="297180"/>
                  </a:lnTo>
                  <a:lnTo>
                    <a:pt x="462191" y="296773"/>
                  </a:lnTo>
                  <a:lnTo>
                    <a:pt x="462191" y="299720"/>
                  </a:lnTo>
                  <a:lnTo>
                    <a:pt x="458876" y="300990"/>
                  </a:lnTo>
                  <a:lnTo>
                    <a:pt x="451497" y="306070"/>
                  </a:lnTo>
                  <a:lnTo>
                    <a:pt x="449757" y="305054"/>
                  </a:lnTo>
                  <a:lnTo>
                    <a:pt x="449757" y="307340"/>
                  </a:lnTo>
                  <a:lnTo>
                    <a:pt x="442734" y="311150"/>
                  </a:lnTo>
                  <a:lnTo>
                    <a:pt x="440055" y="312420"/>
                  </a:lnTo>
                  <a:lnTo>
                    <a:pt x="439039" y="312420"/>
                  </a:lnTo>
                  <a:lnTo>
                    <a:pt x="439496" y="300990"/>
                  </a:lnTo>
                  <a:lnTo>
                    <a:pt x="449757" y="307340"/>
                  </a:lnTo>
                  <a:lnTo>
                    <a:pt x="449757" y="305054"/>
                  </a:lnTo>
                  <a:lnTo>
                    <a:pt x="442861" y="300990"/>
                  </a:lnTo>
                  <a:lnTo>
                    <a:pt x="440702" y="299720"/>
                  </a:lnTo>
                  <a:lnTo>
                    <a:pt x="442861" y="298450"/>
                  </a:lnTo>
                  <a:lnTo>
                    <a:pt x="451510" y="293370"/>
                  </a:lnTo>
                  <a:lnTo>
                    <a:pt x="462191" y="299720"/>
                  </a:lnTo>
                  <a:lnTo>
                    <a:pt x="462191" y="296773"/>
                  </a:lnTo>
                  <a:lnTo>
                    <a:pt x="455650" y="293370"/>
                  </a:lnTo>
                  <a:lnTo>
                    <a:pt x="453199" y="292100"/>
                  </a:lnTo>
                  <a:lnTo>
                    <a:pt x="455091" y="290830"/>
                  </a:lnTo>
                  <a:lnTo>
                    <a:pt x="462648" y="285750"/>
                  </a:lnTo>
                  <a:lnTo>
                    <a:pt x="462978" y="297180"/>
                  </a:lnTo>
                  <a:lnTo>
                    <a:pt x="462978" y="234505"/>
                  </a:lnTo>
                  <a:lnTo>
                    <a:pt x="462597" y="220980"/>
                  </a:lnTo>
                  <a:lnTo>
                    <a:pt x="463524" y="219710"/>
                  </a:lnTo>
                  <a:lnTo>
                    <a:pt x="465264" y="219710"/>
                  </a:lnTo>
                  <a:lnTo>
                    <a:pt x="466877" y="218440"/>
                  </a:lnTo>
                  <a:lnTo>
                    <a:pt x="466674" y="218440"/>
                  </a:lnTo>
                  <a:lnTo>
                    <a:pt x="470687" y="214630"/>
                  </a:lnTo>
                  <a:lnTo>
                    <a:pt x="473887" y="210820"/>
                  </a:lnTo>
                  <a:lnTo>
                    <a:pt x="476643" y="207010"/>
                  </a:lnTo>
                  <a:lnTo>
                    <a:pt x="479475" y="203200"/>
                  </a:lnTo>
                  <a:lnTo>
                    <a:pt x="484835" y="191770"/>
                  </a:lnTo>
                  <a:lnTo>
                    <a:pt x="486422" y="187960"/>
                  </a:lnTo>
                  <a:lnTo>
                    <a:pt x="488137" y="191770"/>
                  </a:lnTo>
                  <a:lnTo>
                    <a:pt x="489940" y="195580"/>
                  </a:lnTo>
                  <a:lnTo>
                    <a:pt x="491845" y="198120"/>
                  </a:lnTo>
                  <a:lnTo>
                    <a:pt x="489546" y="201930"/>
                  </a:lnTo>
                  <a:lnTo>
                    <a:pt x="487045" y="204470"/>
                  </a:lnTo>
                  <a:lnTo>
                    <a:pt x="484276" y="208280"/>
                  </a:lnTo>
                  <a:lnTo>
                    <a:pt x="480136" y="212090"/>
                  </a:lnTo>
                  <a:lnTo>
                    <a:pt x="475310" y="215900"/>
                  </a:lnTo>
                  <a:lnTo>
                    <a:pt x="468757" y="217170"/>
                  </a:lnTo>
                  <a:lnTo>
                    <a:pt x="467728" y="218440"/>
                  </a:lnTo>
                  <a:lnTo>
                    <a:pt x="468464" y="218440"/>
                  </a:lnTo>
                  <a:lnTo>
                    <a:pt x="475665" y="215900"/>
                  </a:lnTo>
                  <a:lnTo>
                    <a:pt x="480555" y="212090"/>
                  </a:lnTo>
                  <a:lnTo>
                    <a:pt x="484759" y="208280"/>
                  </a:lnTo>
                  <a:lnTo>
                    <a:pt x="487476" y="205740"/>
                  </a:lnTo>
                  <a:lnTo>
                    <a:pt x="489915" y="201930"/>
                  </a:lnTo>
                  <a:lnTo>
                    <a:pt x="492188" y="199390"/>
                  </a:lnTo>
                  <a:lnTo>
                    <a:pt x="494830" y="204470"/>
                  </a:lnTo>
                  <a:lnTo>
                    <a:pt x="498843" y="210820"/>
                  </a:lnTo>
                  <a:lnTo>
                    <a:pt x="501662" y="214630"/>
                  </a:lnTo>
                  <a:lnTo>
                    <a:pt x="504215" y="217258"/>
                  </a:lnTo>
                  <a:lnTo>
                    <a:pt x="501967" y="214630"/>
                  </a:lnTo>
                  <a:lnTo>
                    <a:pt x="499173" y="210820"/>
                  </a:lnTo>
                  <a:lnTo>
                    <a:pt x="496595" y="205740"/>
                  </a:lnTo>
                  <a:lnTo>
                    <a:pt x="495160" y="203200"/>
                  </a:lnTo>
                  <a:lnTo>
                    <a:pt x="493788" y="201930"/>
                  </a:lnTo>
                  <a:lnTo>
                    <a:pt x="492455" y="199390"/>
                  </a:lnTo>
                  <a:lnTo>
                    <a:pt x="493014" y="198120"/>
                  </a:lnTo>
                  <a:lnTo>
                    <a:pt x="493572" y="196837"/>
                  </a:lnTo>
                  <a:lnTo>
                    <a:pt x="494652" y="195580"/>
                  </a:lnTo>
                  <a:lnTo>
                    <a:pt x="499173" y="189230"/>
                  </a:lnTo>
                  <a:lnTo>
                    <a:pt x="502208" y="182880"/>
                  </a:lnTo>
                  <a:lnTo>
                    <a:pt x="504964" y="176530"/>
                  </a:lnTo>
                  <a:lnTo>
                    <a:pt x="506971" y="184150"/>
                  </a:lnTo>
                  <a:lnTo>
                    <a:pt x="509943" y="193040"/>
                  </a:lnTo>
                  <a:lnTo>
                    <a:pt x="511975" y="199390"/>
                  </a:lnTo>
                  <a:lnTo>
                    <a:pt x="516610" y="212090"/>
                  </a:lnTo>
                  <a:lnTo>
                    <a:pt x="519214" y="217258"/>
                  </a:lnTo>
                  <a:lnTo>
                    <a:pt x="522490" y="223520"/>
                  </a:lnTo>
                  <a:lnTo>
                    <a:pt x="523392" y="224497"/>
                  </a:lnTo>
                  <a:lnTo>
                    <a:pt x="522795" y="223520"/>
                  </a:lnTo>
                  <a:lnTo>
                    <a:pt x="519480" y="217170"/>
                  </a:lnTo>
                  <a:lnTo>
                    <a:pt x="516953" y="212090"/>
                  </a:lnTo>
                  <a:lnTo>
                    <a:pt x="512343" y="199390"/>
                  </a:lnTo>
                  <a:lnTo>
                    <a:pt x="510311" y="193040"/>
                  </a:lnTo>
                  <a:lnTo>
                    <a:pt x="507314" y="184150"/>
                  </a:lnTo>
                  <a:lnTo>
                    <a:pt x="505231" y="176530"/>
                  </a:lnTo>
                  <a:lnTo>
                    <a:pt x="505764" y="175260"/>
                  </a:lnTo>
                  <a:lnTo>
                    <a:pt x="507377" y="171450"/>
                  </a:lnTo>
                  <a:lnTo>
                    <a:pt x="509333" y="167640"/>
                  </a:lnTo>
                  <a:lnTo>
                    <a:pt x="513207" y="157480"/>
                  </a:lnTo>
                  <a:lnTo>
                    <a:pt x="515086" y="152400"/>
                  </a:lnTo>
                  <a:lnTo>
                    <a:pt x="516851" y="146050"/>
                  </a:lnTo>
                  <a:lnTo>
                    <a:pt x="530034" y="187960"/>
                  </a:lnTo>
                  <a:lnTo>
                    <a:pt x="530085" y="189230"/>
                  </a:lnTo>
                  <a:lnTo>
                    <a:pt x="539216" y="196837"/>
                  </a:lnTo>
                  <a:lnTo>
                    <a:pt x="539356" y="194310"/>
                  </a:lnTo>
                  <a:lnTo>
                    <a:pt x="538619" y="194310"/>
                  </a:lnTo>
                  <a:lnTo>
                    <a:pt x="531837" y="189230"/>
                  </a:lnTo>
                  <a:lnTo>
                    <a:pt x="539648" y="189230"/>
                  </a:lnTo>
                  <a:lnTo>
                    <a:pt x="539724" y="187960"/>
                  </a:lnTo>
                  <a:lnTo>
                    <a:pt x="531444" y="187960"/>
                  </a:lnTo>
                  <a:lnTo>
                    <a:pt x="532320" y="186690"/>
                  </a:lnTo>
                  <a:lnTo>
                    <a:pt x="535800" y="181610"/>
                  </a:lnTo>
                  <a:lnTo>
                    <a:pt x="539915" y="184150"/>
                  </a:lnTo>
                  <a:lnTo>
                    <a:pt x="539750" y="187515"/>
                  </a:lnTo>
                  <a:lnTo>
                    <a:pt x="539940" y="184150"/>
                  </a:lnTo>
                  <a:lnTo>
                    <a:pt x="539991" y="182880"/>
                  </a:lnTo>
                  <a:lnTo>
                    <a:pt x="538238" y="181610"/>
                  </a:lnTo>
                  <a:lnTo>
                    <a:pt x="535012" y="179273"/>
                  </a:lnTo>
                  <a:lnTo>
                    <a:pt x="535012" y="180340"/>
                  </a:lnTo>
                  <a:lnTo>
                    <a:pt x="530656" y="186690"/>
                  </a:lnTo>
                  <a:lnTo>
                    <a:pt x="526542" y="173990"/>
                  </a:lnTo>
                  <a:lnTo>
                    <a:pt x="535012" y="180340"/>
                  </a:lnTo>
                  <a:lnTo>
                    <a:pt x="535012" y="179273"/>
                  </a:lnTo>
                  <a:lnTo>
                    <a:pt x="527761" y="173990"/>
                  </a:lnTo>
                  <a:lnTo>
                    <a:pt x="526008" y="172720"/>
                  </a:lnTo>
                  <a:lnTo>
                    <a:pt x="517702" y="146050"/>
                  </a:lnTo>
                  <a:lnTo>
                    <a:pt x="518655" y="144780"/>
                  </a:lnTo>
                  <a:lnTo>
                    <a:pt x="521525" y="140970"/>
                  </a:lnTo>
                  <a:lnTo>
                    <a:pt x="524306" y="144780"/>
                  </a:lnTo>
                  <a:lnTo>
                    <a:pt x="527278" y="149860"/>
                  </a:lnTo>
                  <a:lnTo>
                    <a:pt x="533222" y="156210"/>
                  </a:lnTo>
                  <a:lnTo>
                    <a:pt x="536079" y="158750"/>
                  </a:lnTo>
                  <a:lnTo>
                    <a:pt x="540842" y="162560"/>
                  </a:lnTo>
                  <a:lnTo>
                    <a:pt x="536219" y="158750"/>
                  </a:lnTo>
                  <a:lnTo>
                    <a:pt x="533374" y="156210"/>
                  </a:lnTo>
                  <a:lnTo>
                    <a:pt x="524484" y="144780"/>
                  </a:lnTo>
                  <a:lnTo>
                    <a:pt x="521677" y="140970"/>
                  </a:lnTo>
                  <a:lnTo>
                    <a:pt x="522681" y="139700"/>
                  </a:lnTo>
                  <a:lnTo>
                    <a:pt x="524687" y="137160"/>
                  </a:lnTo>
                  <a:lnTo>
                    <a:pt x="530707" y="129540"/>
                  </a:lnTo>
                  <a:lnTo>
                    <a:pt x="541566" y="129540"/>
                  </a:lnTo>
                  <a:lnTo>
                    <a:pt x="542823" y="133350"/>
                  </a:lnTo>
                  <a:lnTo>
                    <a:pt x="541185" y="162560"/>
                  </a:lnTo>
                  <a:lnTo>
                    <a:pt x="542874" y="133350"/>
                  </a:lnTo>
                  <a:lnTo>
                    <a:pt x="542899" y="132080"/>
                  </a:lnTo>
                  <a:lnTo>
                    <a:pt x="542074" y="129540"/>
                  </a:lnTo>
                  <a:lnTo>
                    <a:pt x="543052" y="129540"/>
                  </a:lnTo>
                  <a:lnTo>
                    <a:pt x="542899" y="132080"/>
                  </a:lnTo>
                  <a:lnTo>
                    <a:pt x="543090" y="129540"/>
                  </a:lnTo>
                  <a:lnTo>
                    <a:pt x="543166" y="128270"/>
                  </a:lnTo>
                  <a:lnTo>
                    <a:pt x="544487" y="105410"/>
                  </a:lnTo>
                  <a:close/>
                </a:path>
              </a:pathLst>
            </a:custGeom>
            <a:solidFill>
              <a:srgbClr val="00364C"/>
            </a:solidFill>
          </p:spPr>
          <p:txBody>
            <a:bodyPr wrap="square" lIns="0" tIns="0" rIns="0" bIns="0" rtlCol="0"/>
            <a:lstStyle/>
            <a:p>
              <a:endParaRPr/>
            </a:p>
          </p:txBody>
        </p:sp>
        <p:sp>
          <p:nvSpPr>
            <p:cNvPr id="11" name="object 11"/>
            <p:cNvSpPr/>
            <p:nvPr/>
          </p:nvSpPr>
          <p:spPr>
            <a:xfrm>
              <a:off x="1873364" y="4734597"/>
              <a:ext cx="362585" cy="147320"/>
            </a:xfrm>
            <a:custGeom>
              <a:avLst/>
              <a:gdLst/>
              <a:ahLst/>
              <a:cxnLst/>
              <a:rect l="l" t="t" r="r" b="b"/>
              <a:pathLst>
                <a:path w="362585" h="147320">
                  <a:moveTo>
                    <a:pt x="362127" y="62026"/>
                  </a:moveTo>
                  <a:lnTo>
                    <a:pt x="0" y="62026"/>
                  </a:lnTo>
                  <a:lnTo>
                    <a:pt x="0" y="147243"/>
                  </a:lnTo>
                  <a:lnTo>
                    <a:pt x="362127" y="147243"/>
                  </a:lnTo>
                  <a:lnTo>
                    <a:pt x="362127" y="62026"/>
                  </a:lnTo>
                  <a:close/>
                </a:path>
                <a:path w="362585" h="147320">
                  <a:moveTo>
                    <a:pt x="362127" y="0"/>
                  </a:moveTo>
                  <a:lnTo>
                    <a:pt x="0" y="0"/>
                  </a:lnTo>
                  <a:lnTo>
                    <a:pt x="0" y="1562"/>
                  </a:lnTo>
                  <a:lnTo>
                    <a:pt x="362127" y="1562"/>
                  </a:lnTo>
                  <a:lnTo>
                    <a:pt x="362127" y="0"/>
                  </a:lnTo>
                  <a:close/>
                </a:path>
              </a:pathLst>
            </a:custGeom>
            <a:solidFill>
              <a:srgbClr val="CFD1D0"/>
            </a:solidFill>
          </p:spPr>
          <p:txBody>
            <a:bodyPr wrap="square" lIns="0" tIns="0" rIns="0" bIns="0" rtlCol="0"/>
            <a:lstStyle/>
            <a:p>
              <a:endParaRPr/>
            </a:p>
          </p:txBody>
        </p:sp>
        <p:sp>
          <p:nvSpPr>
            <p:cNvPr id="12" name="object 12"/>
            <p:cNvSpPr/>
            <p:nvPr/>
          </p:nvSpPr>
          <p:spPr>
            <a:xfrm>
              <a:off x="1873370" y="4734594"/>
              <a:ext cx="362585" cy="147320"/>
            </a:xfrm>
            <a:custGeom>
              <a:avLst/>
              <a:gdLst/>
              <a:ahLst/>
              <a:cxnLst/>
              <a:rect l="l" t="t" r="r" b="b"/>
              <a:pathLst>
                <a:path w="362585" h="147320">
                  <a:moveTo>
                    <a:pt x="0" y="147243"/>
                  </a:moveTo>
                  <a:lnTo>
                    <a:pt x="362127" y="147243"/>
                  </a:lnTo>
                  <a:lnTo>
                    <a:pt x="362127" y="0"/>
                  </a:lnTo>
                  <a:lnTo>
                    <a:pt x="0" y="0"/>
                  </a:lnTo>
                  <a:lnTo>
                    <a:pt x="0" y="147243"/>
                  </a:lnTo>
                  <a:close/>
                </a:path>
              </a:pathLst>
            </a:custGeom>
            <a:ln w="9232">
              <a:solidFill>
                <a:srgbClr val="FFFFFF"/>
              </a:solidFill>
            </a:ln>
          </p:spPr>
          <p:txBody>
            <a:bodyPr wrap="square" lIns="0" tIns="0" rIns="0" bIns="0" rtlCol="0"/>
            <a:lstStyle/>
            <a:p>
              <a:endParaRPr/>
            </a:p>
          </p:txBody>
        </p:sp>
        <p:sp>
          <p:nvSpPr>
            <p:cNvPr id="13" name="object 13"/>
            <p:cNvSpPr/>
            <p:nvPr/>
          </p:nvSpPr>
          <p:spPr>
            <a:xfrm>
              <a:off x="1899450" y="4796624"/>
              <a:ext cx="313690" cy="9525"/>
            </a:xfrm>
            <a:custGeom>
              <a:avLst/>
              <a:gdLst/>
              <a:ahLst/>
              <a:cxnLst/>
              <a:rect l="l" t="t" r="r" b="b"/>
              <a:pathLst>
                <a:path w="313689" h="9525">
                  <a:moveTo>
                    <a:pt x="0" y="9232"/>
                  </a:moveTo>
                  <a:lnTo>
                    <a:pt x="313321" y="9232"/>
                  </a:lnTo>
                  <a:lnTo>
                    <a:pt x="313321" y="0"/>
                  </a:lnTo>
                  <a:lnTo>
                    <a:pt x="0" y="0"/>
                  </a:lnTo>
                  <a:lnTo>
                    <a:pt x="0" y="9232"/>
                  </a:lnTo>
                  <a:close/>
                </a:path>
              </a:pathLst>
            </a:custGeom>
            <a:solidFill>
              <a:srgbClr val="C6CACB"/>
            </a:solidFill>
          </p:spPr>
          <p:txBody>
            <a:bodyPr wrap="square" lIns="0" tIns="0" rIns="0" bIns="0" rtlCol="0"/>
            <a:lstStyle/>
            <a:p>
              <a:endParaRPr/>
            </a:p>
          </p:txBody>
        </p:sp>
        <p:sp>
          <p:nvSpPr>
            <p:cNvPr id="14" name="object 14"/>
            <p:cNvSpPr/>
            <p:nvPr/>
          </p:nvSpPr>
          <p:spPr>
            <a:xfrm>
              <a:off x="1899450" y="4796624"/>
              <a:ext cx="313690" cy="9525"/>
            </a:xfrm>
            <a:custGeom>
              <a:avLst/>
              <a:gdLst/>
              <a:ahLst/>
              <a:cxnLst/>
              <a:rect l="l" t="t" r="r" b="b"/>
              <a:pathLst>
                <a:path w="313689" h="9525">
                  <a:moveTo>
                    <a:pt x="5003" y="0"/>
                  </a:moveTo>
                  <a:lnTo>
                    <a:pt x="0" y="0"/>
                  </a:lnTo>
                  <a:lnTo>
                    <a:pt x="0" y="9245"/>
                  </a:lnTo>
                  <a:lnTo>
                    <a:pt x="5003" y="9245"/>
                  </a:lnTo>
                  <a:lnTo>
                    <a:pt x="5003" y="0"/>
                  </a:lnTo>
                  <a:close/>
                </a:path>
                <a:path w="313689" h="9525">
                  <a:moveTo>
                    <a:pt x="66675" y="0"/>
                  </a:moveTo>
                  <a:lnTo>
                    <a:pt x="61671" y="0"/>
                  </a:lnTo>
                  <a:lnTo>
                    <a:pt x="61671" y="9245"/>
                  </a:lnTo>
                  <a:lnTo>
                    <a:pt x="66675" y="9245"/>
                  </a:lnTo>
                  <a:lnTo>
                    <a:pt x="66675" y="0"/>
                  </a:lnTo>
                  <a:close/>
                </a:path>
                <a:path w="313689" h="9525">
                  <a:moveTo>
                    <a:pt x="128346" y="0"/>
                  </a:moveTo>
                  <a:lnTo>
                    <a:pt x="123329" y="0"/>
                  </a:lnTo>
                  <a:lnTo>
                    <a:pt x="123329" y="9245"/>
                  </a:lnTo>
                  <a:lnTo>
                    <a:pt x="128346" y="9245"/>
                  </a:lnTo>
                  <a:lnTo>
                    <a:pt x="128346" y="0"/>
                  </a:lnTo>
                  <a:close/>
                </a:path>
                <a:path w="313689" h="9525">
                  <a:moveTo>
                    <a:pt x="189992" y="0"/>
                  </a:moveTo>
                  <a:lnTo>
                    <a:pt x="184988" y="0"/>
                  </a:lnTo>
                  <a:lnTo>
                    <a:pt x="184988" y="9245"/>
                  </a:lnTo>
                  <a:lnTo>
                    <a:pt x="189992" y="9245"/>
                  </a:lnTo>
                  <a:lnTo>
                    <a:pt x="189992" y="0"/>
                  </a:lnTo>
                  <a:close/>
                </a:path>
                <a:path w="313689" h="9525">
                  <a:moveTo>
                    <a:pt x="251663" y="0"/>
                  </a:moveTo>
                  <a:lnTo>
                    <a:pt x="246659" y="0"/>
                  </a:lnTo>
                  <a:lnTo>
                    <a:pt x="246659" y="9245"/>
                  </a:lnTo>
                  <a:lnTo>
                    <a:pt x="251663" y="9245"/>
                  </a:lnTo>
                  <a:lnTo>
                    <a:pt x="251663" y="0"/>
                  </a:lnTo>
                  <a:close/>
                </a:path>
                <a:path w="313689" h="9525">
                  <a:moveTo>
                    <a:pt x="313334" y="0"/>
                  </a:moveTo>
                  <a:lnTo>
                    <a:pt x="308317" y="0"/>
                  </a:lnTo>
                  <a:lnTo>
                    <a:pt x="308317" y="9245"/>
                  </a:lnTo>
                  <a:lnTo>
                    <a:pt x="313334" y="9245"/>
                  </a:lnTo>
                  <a:lnTo>
                    <a:pt x="313334" y="0"/>
                  </a:lnTo>
                  <a:close/>
                </a:path>
              </a:pathLst>
            </a:custGeom>
            <a:solidFill>
              <a:srgbClr val="8F9293"/>
            </a:solidFill>
          </p:spPr>
          <p:txBody>
            <a:bodyPr wrap="square" lIns="0" tIns="0" rIns="0" bIns="0" rtlCol="0"/>
            <a:lstStyle/>
            <a:p>
              <a:endParaRPr/>
            </a:p>
          </p:txBody>
        </p:sp>
        <p:sp>
          <p:nvSpPr>
            <p:cNvPr id="15" name="object 15"/>
            <p:cNvSpPr/>
            <p:nvPr/>
          </p:nvSpPr>
          <p:spPr>
            <a:xfrm>
              <a:off x="1887816" y="4734610"/>
              <a:ext cx="347980" cy="1905"/>
            </a:xfrm>
            <a:custGeom>
              <a:avLst/>
              <a:gdLst/>
              <a:ahLst/>
              <a:cxnLst/>
              <a:rect l="l" t="t" r="r" b="b"/>
              <a:pathLst>
                <a:path w="347980" h="1904">
                  <a:moveTo>
                    <a:pt x="0" y="1549"/>
                  </a:moveTo>
                  <a:lnTo>
                    <a:pt x="347675" y="1549"/>
                  </a:lnTo>
                  <a:lnTo>
                    <a:pt x="347675" y="0"/>
                  </a:lnTo>
                  <a:lnTo>
                    <a:pt x="0" y="0"/>
                  </a:lnTo>
                  <a:lnTo>
                    <a:pt x="0" y="1549"/>
                  </a:lnTo>
                  <a:close/>
                </a:path>
              </a:pathLst>
            </a:custGeom>
            <a:solidFill>
              <a:srgbClr val="A5A592"/>
            </a:solidFill>
          </p:spPr>
          <p:txBody>
            <a:bodyPr wrap="square" lIns="0" tIns="0" rIns="0" bIns="0" rtlCol="0"/>
            <a:lstStyle/>
            <a:p>
              <a:endParaRPr/>
            </a:p>
          </p:txBody>
        </p:sp>
        <p:sp>
          <p:nvSpPr>
            <p:cNvPr id="16" name="object 16"/>
            <p:cNvSpPr/>
            <p:nvPr/>
          </p:nvSpPr>
          <p:spPr>
            <a:xfrm>
              <a:off x="774839" y="4660188"/>
              <a:ext cx="1113155" cy="222250"/>
            </a:xfrm>
            <a:custGeom>
              <a:avLst/>
              <a:gdLst/>
              <a:ahLst/>
              <a:cxnLst/>
              <a:rect l="l" t="t" r="r" b="b"/>
              <a:pathLst>
                <a:path w="1113155" h="222250">
                  <a:moveTo>
                    <a:pt x="1112977" y="0"/>
                  </a:moveTo>
                  <a:lnTo>
                    <a:pt x="0" y="0"/>
                  </a:lnTo>
                  <a:lnTo>
                    <a:pt x="0" y="221653"/>
                  </a:lnTo>
                  <a:lnTo>
                    <a:pt x="1112977" y="221653"/>
                  </a:lnTo>
                  <a:lnTo>
                    <a:pt x="1112977" y="0"/>
                  </a:lnTo>
                  <a:close/>
                </a:path>
              </a:pathLst>
            </a:custGeom>
            <a:solidFill>
              <a:srgbClr val="CFD1D0"/>
            </a:solidFill>
          </p:spPr>
          <p:txBody>
            <a:bodyPr wrap="square" lIns="0" tIns="0" rIns="0" bIns="0" rtlCol="0"/>
            <a:lstStyle/>
            <a:p>
              <a:endParaRPr/>
            </a:p>
          </p:txBody>
        </p:sp>
        <p:sp>
          <p:nvSpPr>
            <p:cNvPr id="17" name="object 17"/>
            <p:cNvSpPr/>
            <p:nvPr/>
          </p:nvSpPr>
          <p:spPr>
            <a:xfrm>
              <a:off x="774843" y="4660185"/>
              <a:ext cx="1113155" cy="222250"/>
            </a:xfrm>
            <a:custGeom>
              <a:avLst/>
              <a:gdLst/>
              <a:ahLst/>
              <a:cxnLst/>
              <a:rect l="l" t="t" r="r" b="b"/>
              <a:pathLst>
                <a:path w="1113155" h="222250">
                  <a:moveTo>
                    <a:pt x="0" y="221653"/>
                  </a:moveTo>
                  <a:lnTo>
                    <a:pt x="1112977" y="221653"/>
                  </a:lnTo>
                  <a:lnTo>
                    <a:pt x="1112977" y="0"/>
                  </a:lnTo>
                  <a:lnTo>
                    <a:pt x="0" y="0"/>
                  </a:lnTo>
                  <a:lnTo>
                    <a:pt x="0" y="221653"/>
                  </a:lnTo>
                  <a:close/>
                </a:path>
              </a:pathLst>
            </a:custGeom>
            <a:ln w="9232">
              <a:solidFill>
                <a:srgbClr val="FFFFFF"/>
              </a:solidFill>
            </a:ln>
          </p:spPr>
          <p:txBody>
            <a:bodyPr wrap="square" lIns="0" tIns="0" rIns="0" bIns="0" rtlCol="0"/>
            <a:lstStyle/>
            <a:p>
              <a:endParaRPr/>
            </a:p>
          </p:txBody>
        </p:sp>
        <p:sp>
          <p:nvSpPr>
            <p:cNvPr id="18" name="object 18"/>
            <p:cNvSpPr/>
            <p:nvPr/>
          </p:nvSpPr>
          <p:spPr>
            <a:xfrm>
              <a:off x="826300" y="4747425"/>
              <a:ext cx="561340" cy="28575"/>
            </a:xfrm>
            <a:custGeom>
              <a:avLst/>
              <a:gdLst/>
              <a:ahLst/>
              <a:cxnLst/>
              <a:rect l="l" t="t" r="r" b="b"/>
              <a:pathLst>
                <a:path w="561340" h="28575">
                  <a:moveTo>
                    <a:pt x="0" y="28003"/>
                  </a:moveTo>
                  <a:lnTo>
                    <a:pt x="561340" y="28003"/>
                  </a:lnTo>
                  <a:lnTo>
                    <a:pt x="561340" y="0"/>
                  </a:lnTo>
                  <a:lnTo>
                    <a:pt x="0" y="0"/>
                  </a:lnTo>
                  <a:lnTo>
                    <a:pt x="0" y="28003"/>
                  </a:lnTo>
                  <a:close/>
                </a:path>
              </a:pathLst>
            </a:custGeom>
            <a:solidFill>
              <a:srgbClr val="C6CACB"/>
            </a:solidFill>
          </p:spPr>
          <p:txBody>
            <a:bodyPr wrap="square" lIns="0" tIns="0" rIns="0" bIns="0" rtlCol="0"/>
            <a:lstStyle/>
            <a:p>
              <a:endParaRPr/>
            </a:p>
          </p:txBody>
        </p:sp>
        <p:pic>
          <p:nvPicPr>
            <p:cNvPr id="19" name="object 19"/>
            <p:cNvPicPr/>
            <p:nvPr/>
          </p:nvPicPr>
          <p:blipFill>
            <a:blip r:embed="rId4" cstate="print"/>
            <a:stretch>
              <a:fillRect/>
            </a:stretch>
          </p:blipFill>
          <p:spPr>
            <a:xfrm>
              <a:off x="767956" y="4645025"/>
              <a:ext cx="1131201" cy="76352"/>
            </a:xfrm>
            <a:prstGeom prst="rect">
              <a:avLst/>
            </a:prstGeom>
          </p:spPr>
        </p:pic>
        <p:sp>
          <p:nvSpPr>
            <p:cNvPr id="20" name="object 20"/>
            <p:cNvSpPr/>
            <p:nvPr/>
          </p:nvSpPr>
          <p:spPr>
            <a:xfrm>
              <a:off x="826300" y="4801463"/>
              <a:ext cx="1010285" cy="28575"/>
            </a:xfrm>
            <a:custGeom>
              <a:avLst/>
              <a:gdLst/>
              <a:ahLst/>
              <a:cxnLst/>
              <a:rect l="l" t="t" r="r" b="b"/>
              <a:pathLst>
                <a:path w="1010285" h="28575">
                  <a:moveTo>
                    <a:pt x="1010056" y="0"/>
                  </a:moveTo>
                  <a:lnTo>
                    <a:pt x="0" y="0"/>
                  </a:lnTo>
                  <a:lnTo>
                    <a:pt x="0" y="28003"/>
                  </a:lnTo>
                  <a:lnTo>
                    <a:pt x="1010056" y="28003"/>
                  </a:lnTo>
                  <a:lnTo>
                    <a:pt x="1010056" y="0"/>
                  </a:lnTo>
                  <a:close/>
                </a:path>
              </a:pathLst>
            </a:custGeom>
            <a:solidFill>
              <a:srgbClr val="C6CACB"/>
            </a:solidFill>
          </p:spPr>
          <p:txBody>
            <a:bodyPr wrap="square" lIns="0" tIns="0" rIns="0" bIns="0" rtlCol="0"/>
            <a:lstStyle/>
            <a:p>
              <a:endParaRPr/>
            </a:p>
          </p:txBody>
        </p:sp>
        <p:sp>
          <p:nvSpPr>
            <p:cNvPr id="21" name="object 21"/>
            <p:cNvSpPr/>
            <p:nvPr/>
          </p:nvSpPr>
          <p:spPr>
            <a:xfrm>
              <a:off x="314959" y="4418164"/>
              <a:ext cx="356870" cy="75565"/>
            </a:xfrm>
            <a:custGeom>
              <a:avLst/>
              <a:gdLst/>
              <a:ahLst/>
              <a:cxnLst/>
              <a:rect l="l" t="t" r="r" b="b"/>
              <a:pathLst>
                <a:path w="356870" h="75564">
                  <a:moveTo>
                    <a:pt x="0" y="75552"/>
                  </a:moveTo>
                  <a:lnTo>
                    <a:pt x="356692" y="75552"/>
                  </a:lnTo>
                  <a:lnTo>
                    <a:pt x="356692" y="0"/>
                  </a:lnTo>
                  <a:lnTo>
                    <a:pt x="0" y="0"/>
                  </a:lnTo>
                  <a:lnTo>
                    <a:pt x="0" y="75552"/>
                  </a:lnTo>
                  <a:close/>
                </a:path>
              </a:pathLst>
            </a:custGeom>
            <a:solidFill>
              <a:srgbClr val="CFD1D0"/>
            </a:solidFill>
          </p:spPr>
          <p:txBody>
            <a:bodyPr wrap="square" lIns="0" tIns="0" rIns="0" bIns="0" rtlCol="0"/>
            <a:lstStyle/>
            <a:p>
              <a:endParaRPr/>
            </a:p>
          </p:txBody>
        </p:sp>
        <p:sp>
          <p:nvSpPr>
            <p:cNvPr id="22" name="object 22"/>
            <p:cNvSpPr/>
            <p:nvPr/>
          </p:nvSpPr>
          <p:spPr>
            <a:xfrm>
              <a:off x="314962" y="4418171"/>
              <a:ext cx="356870" cy="85725"/>
            </a:xfrm>
            <a:custGeom>
              <a:avLst/>
              <a:gdLst/>
              <a:ahLst/>
              <a:cxnLst/>
              <a:rect l="l" t="t" r="r" b="b"/>
              <a:pathLst>
                <a:path w="356870" h="85725">
                  <a:moveTo>
                    <a:pt x="0" y="85293"/>
                  </a:moveTo>
                  <a:lnTo>
                    <a:pt x="356692" y="85293"/>
                  </a:lnTo>
                  <a:lnTo>
                    <a:pt x="356692" y="0"/>
                  </a:lnTo>
                  <a:lnTo>
                    <a:pt x="0" y="0"/>
                  </a:lnTo>
                  <a:lnTo>
                    <a:pt x="0" y="85293"/>
                  </a:lnTo>
                  <a:close/>
                </a:path>
              </a:pathLst>
            </a:custGeom>
            <a:ln w="9232">
              <a:solidFill>
                <a:srgbClr val="FFFFFF"/>
              </a:solidFill>
            </a:ln>
          </p:spPr>
          <p:txBody>
            <a:bodyPr wrap="square" lIns="0" tIns="0" rIns="0" bIns="0" rtlCol="0"/>
            <a:lstStyle/>
            <a:p>
              <a:endParaRPr/>
            </a:p>
          </p:txBody>
        </p:sp>
        <p:pic>
          <p:nvPicPr>
            <p:cNvPr id="23" name="object 23"/>
            <p:cNvPicPr/>
            <p:nvPr/>
          </p:nvPicPr>
          <p:blipFill>
            <a:blip r:embed="rId5" cstate="print"/>
            <a:stretch>
              <a:fillRect/>
            </a:stretch>
          </p:blipFill>
          <p:spPr>
            <a:xfrm>
              <a:off x="183680" y="4503457"/>
              <a:ext cx="607136" cy="378383"/>
            </a:xfrm>
            <a:prstGeom prst="rect">
              <a:avLst/>
            </a:prstGeom>
          </p:spPr>
        </p:pic>
        <p:sp>
          <p:nvSpPr>
            <p:cNvPr id="24" name="object 24"/>
            <p:cNvSpPr/>
            <p:nvPr/>
          </p:nvSpPr>
          <p:spPr>
            <a:xfrm>
              <a:off x="245732" y="4623129"/>
              <a:ext cx="480695" cy="234950"/>
            </a:xfrm>
            <a:custGeom>
              <a:avLst/>
              <a:gdLst/>
              <a:ahLst/>
              <a:cxnLst/>
              <a:rect l="l" t="t" r="r" b="b"/>
              <a:pathLst>
                <a:path w="480695" h="234950">
                  <a:moveTo>
                    <a:pt x="84848" y="175361"/>
                  </a:moveTo>
                  <a:lnTo>
                    <a:pt x="0" y="175361"/>
                  </a:lnTo>
                  <a:lnTo>
                    <a:pt x="0" y="234708"/>
                  </a:lnTo>
                  <a:lnTo>
                    <a:pt x="84848" y="234708"/>
                  </a:lnTo>
                  <a:lnTo>
                    <a:pt x="84848" y="175361"/>
                  </a:lnTo>
                  <a:close/>
                </a:path>
                <a:path w="480695" h="234950">
                  <a:moveTo>
                    <a:pt x="84848" y="87680"/>
                  </a:moveTo>
                  <a:lnTo>
                    <a:pt x="0" y="87680"/>
                  </a:lnTo>
                  <a:lnTo>
                    <a:pt x="0" y="147027"/>
                  </a:lnTo>
                  <a:lnTo>
                    <a:pt x="84848" y="147027"/>
                  </a:lnTo>
                  <a:lnTo>
                    <a:pt x="84848" y="87680"/>
                  </a:lnTo>
                  <a:close/>
                </a:path>
                <a:path w="480695" h="234950">
                  <a:moveTo>
                    <a:pt x="84848" y="0"/>
                  </a:moveTo>
                  <a:lnTo>
                    <a:pt x="0" y="0"/>
                  </a:lnTo>
                  <a:lnTo>
                    <a:pt x="0" y="59347"/>
                  </a:lnTo>
                  <a:lnTo>
                    <a:pt x="84848" y="59347"/>
                  </a:lnTo>
                  <a:lnTo>
                    <a:pt x="84848" y="0"/>
                  </a:lnTo>
                  <a:close/>
                </a:path>
                <a:path w="480695" h="234950">
                  <a:moveTo>
                    <a:pt x="216649" y="175361"/>
                  </a:moveTo>
                  <a:lnTo>
                    <a:pt x="131800" y="175361"/>
                  </a:lnTo>
                  <a:lnTo>
                    <a:pt x="131800" y="234708"/>
                  </a:lnTo>
                  <a:lnTo>
                    <a:pt x="216649" y="234708"/>
                  </a:lnTo>
                  <a:lnTo>
                    <a:pt x="216649" y="175361"/>
                  </a:lnTo>
                  <a:close/>
                </a:path>
                <a:path w="480695" h="234950">
                  <a:moveTo>
                    <a:pt x="216649" y="87680"/>
                  </a:moveTo>
                  <a:lnTo>
                    <a:pt x="131800" y="87680"/>
                  </a:lnTo>
                  <a:lnTo>
                    <a:pt x="131800" y="147027"/>
                  </a:lnTo>
                  <a:lnTo>
                    <a:pt x="216649" y="147027"/>
                  </a:lnTo>
                  <a:lnTo>
                    <a:pt x="216649" y="87680"/>
                  </a:lnTo>
                  <a:close/>
                </a:path>
                <a:path w="480695" h="234950">
                  <a:moveTo>
                    <a:pt x="216649" y="0"/>
                  </a:moveTo>
                  <a:lnTo>
                    <a:pt x="131800" y="0"/>
                  </a:lnTo>
                  <a:lnTo>
                    <a:pt x="131800" y="59347"/>
                  </a:lnTo>
                  <a:lnTo>
                    <a:pt x="216649" y="59347"/>
                  </a:lnTo>
                  <a:lnTo>
                    <a:pt x="216649" y="0"/>
                  </a:lnTo>
                  <a:close/>
                </a:path>
                <a:path w="480695" h="234950">
                  <a:moveTo>
                    <a:pt x="348462" y="175361"/>
                  </a:moveTo>
                  <a:lnTo>
                    <a:pt x="263613" y="175361"/>
                  </a:lnTo>
                  <a:lnTo>
                    <a:pt x="263613" y="234708"/>
                  </a:lnTo>
                  <a:lnTo>
                    <a:pt x="348462" y="234708"/>
                  </a:lnTo>
                  <a:lnTo>
                    <a:pt x="348462" y="175361"/>
                  </a:lnTo>
                  <a:close/>
                </a:path>
                <a:path w="480695" h="234950">
                  <a:moveTo>
                    <a:pt x="348462" y="87680"/>
                  </a:moveTo>
                  <a:lnTo>
                    <a:pt x="263613" y="87680"/>
                  </a:lnTo>
                  <a:lnTo>
                    <a:pt x="263613" y="147027"/>
                  </a:lnTo>
                  <a:lnTo>
                    <a:pt x="348462" y="147027"/>
                  </a:lnTo>
                  <a:lnTo>
                    <a:pt x="348462" y="87680"/>
                  </a:lnTo>
                  <a:close/>
                </a:path>
                <a:path w="480695" h="234950">
                  <a:moveTo>
                    <a:pt x="348462" y="0"/>
                  </a:moveTo>
                  <a:lnTo>
                    <a:pt x="263613" y="0"/>
                  </a:lnTo>
                  <a:lnTo>
                    <a:pt x="263613" y="59347"/>
                  </a:lnTo>
                  <a:lnTo>
                    <a:pt x="348462" y="59347"/>
                  </a:lnTo>
                  <a:lnTo>
                    <a:pt x="348462" y="0"/>
                  </a:lnTo>
                  <a:close/>
                </a:path>
                <a:path w="480695" h="234950">
                  <a:moveTo>
                    <a:pt x="480263" y="175361"/>
                  </a:moveTo>
                  <a:lnTo>
                    <a:pt x="395414" y="175361"/>
                  </a:lnTo>
                  <a:lnTo>
                    <a:pt x="395414" y="234708"/>
                  </a:lnTo>
                  <a:lnTo>
                    <a:pt x="480263" y="234708"/>
                  </a:lnTo>
                  <a:lnTo>
                    <a:pt x="480263" y="175361"/>
                  </a:lnTo>
                  <a:close/>
                </a:path>
                <a:path w="480695" h="234950">
                  <a:moveTo>
                    <a:pt x="480263" y="87680"/>
                  </a:moveTo>
                  <a:lnTo>
                    <a:pt x="395414" y="87680"/>
                  </a:lnTo>
                  <a:lnTo>
                    <a:pt x="395414" y="147027"/>
                  </a:lnTo>
                  <a:lnTo>
                    <a:pt x="480263" y="147027"/>
                  </a:lnTo>
                  <a:lnTo>
                    <a:pt x="480263" y="87680"/>
                  </a:lnTo>
                  <a:close/>
                </a:path>
                <a:path w="480695" h="234950">
                  <a:moveTo>
                    <a:pt x="480263" y="0"/>
                  </a:moveTo>
                  <a:lnTo>
                    <a:pt x="395414" y="0"/>
                  </a:lnTo>
                  <a:lnTo>
                    <a:pt x="395414" y="59347"/>
                  </a:lnTo>
                  <a:lnTo>
                    <a:pt x="480263" y="59347"/>
                  </a:lnTo>
                  <a:lnTo>
                    <a:pt x="480263" y="0"/>
                  </a:lnTo>
                  <a:close/>
                </a:path>
              </a:pathLst>
            </a:custGeom>
            <a:solidFill>
              <a:srgbClr val="C6CACB"/>
            </a:solidFill>
          </p:spPr>
          <p:txBody>
            <a:bodyPr wrap="square" lIns="0" tIns="0" rIns="0" bIns="0" rtlCol="0"/>
            <a:lstStyle/>
            <a:p>
              <a:endParaRPr/>
            </a:p>
          </p:txBody>
        </p:sp>
        <p:pic>
          <p:nvPicPr>
            <p:cNvPr id="25" name="object 25"/>
            <p:cNvPicPr/>
            <p:nvPr/>
          </p:nvPicPr>
          <p:blipFill>
            <a:blip r:embed="rId6" cstate="print"/>
            <a:stretch>
              <a:fillRect/>
            </a:stretch>
          </p:blipFill>
          <p:spPr>
            <a:xfrm>
              <a:off x="172643" y="4493717"/>
              <a:ext cx="630567" cy="19507"/>
            </a:xfrm>
            <a:prstGeom prst="rect">
              <a:avLst/>
            </a:prstGeom>
          </p:spPr>
        </p:pic>
        <p:pic>
          <p:nvPicPr>
            <p:cNvPr id="26" name="object 26"/>
            <p:cNvPicPr/>
            <p:nvPr/>
          </p:nvPicPr>
          <p:blipFill>
            <a:blip r:embed="rId7" cstate="print"/>
            <a:stretch>
              <a:fillRect/>
            </a:stretch>
          </p:blipFill>
          <p:spPr>
            <a:xfrm>
              <a:off x="302132" y="4403750"/>
              <a:ext cx="383540" cy="14427"/>
            </a:xfrm>
            <a:prstGeom prst="rect">
              <a:avLst/>
            </a:prstGeom>
          </p:spPr>
        </p:pic>
        <p:sp>
          <p:nvSpPr>
            <p:cNvPr id="27" name="object 27"/>
            <p:cNvSpPr/>
            <p:nvPr/>
          </p:nvSpPr>
          <p:spPr>
            <a:xfrm>
              <a:off x="4848143" y="3881471"/>
              <a:ext cx="792480" cy="912494"/>
            </a:xfrm>
            <a:custGeom>
              <a:avLst/>
              <a:gdLst/>
              <a:ahLst/>
              <a:cxnLst/>
              <a:rect l="l" t="t" r="r" b="b"/>
              <a:pathLst>
                <a:path w="792479" h="912495">
                  <a:moveTo>
                    <a:pt x="632815" y="0"/>
                  </a:moveTo>
                  <a:lnTo>
                    <a:pt x="159562" y="0"/>
                  </a:lnTo>
                  <a:lnTo>
                    <a:pt x="160608" y="13011"/>
                  </a:lnTo>
                  <a:lnTo>
                    <a:pt x="161607" y="33832"/>
                  </a:lnTo>
                  <a:lnTo>
                    <a:pt x="162702" y="64503"/>
                  </a:lnTo>
                  <a:lnTo>
                    <a:pt x="163402" y="104252"/>
                  </a:lnTo>
                  <a:lnTo>
                    <a:pt x="163348" y="152610"/>
                  </a:lnTo>
                  <a:lnTo>
                    <a:pt x="161293" y="234535"/>
                  </a:lnTo>
                  <a:lnTo>
                    <a:pt x="158408" y="293481"/>
                  </a:lnTo>
                  <a:lnTo>
                    <a:pt x="152666" y="374065"/>
                  </a:lnTo>
                  <a:lnTo>
                    <a:pt x="147993" y="420674"/>
                  </a:lnTo>
                  <a:lnTo>
                    <a:pt x="139663" y="480081"/>
                  </a:lnTo>
                  <a:lnTo>
                    <a:pt x="129351" y="536908"/>
                  </a:lnTo>
                  <a:lnTo>
                    <a:pt x="117441" y="590892"/>
                  </a:lnTo>
                  <a:lnTo>
                    <a:pt x="102323" y="649054"/>
                  </a:lnTo>
                  <a:lnTo>
                    <a:pt x="85520" y="704739"/>
                  </a:lnTo>
                  <a:lnTo>
                    <a:pt x="64061" y="766925"/>
                  </a:lnTo>
                  <a:lnTo>
                    <a:pt x="52438" y="797204"/>
                  </a:lnTo>
                  <a:lnTo>
                    <a:pt x="44246" y="817651"/>
                  </a:lnTo>
                  <a:lnTo>
                    <a:pt x="30552" y="849581"/>
                  </a:lnTo>
                  <a:lnTo>
                    <a:pt x="18375" y="876007"/>
                  </a:lnTo>
                  <a:lnTo>
                    <a:pt x="8215" y="896586"/>
                  </a:lnTo>
                  <a:lnTo>
                    <a:pt x="0" y="912025"/>
                  </a:lnTo>
                  <a:lnTo>
                    <a:pt x="792467" y="912025"/>
                  </a:lnTo>
                  <a:lnTo>
                    <a:pt x="763387" y="853102"/>
                  </a:lnTo>
                  <a:lnTo>
                    <a:pt x="747406" y="815852"/>
                  </a:lnTo>
                  <a:lnTo>
                    <a:pt x="732872" y="779229"/>
                  </a:lnTo>
                  <a:lnTo>
                    <a:pt x="707335" y="706384"/>
                  </a:lnTo>
                  <a:lnTo>
                    <a:pt x="685303" y="631816"/>
                  </a:lnTo>
                  <a:lnTo>
                    <a:pt x="672925" y="582507"/>
                  </a:lnTo>
                  <a:lnTo>
                    <a:pt x="658260" y="512300"/>
                  </a:lnTo>
                  <a:lnTo>
                    <a:pt x="650741" y="467664"/>
                  </a:lnTo>
                  <a:lnTo>
                    <a:pt x="644499" y="421542"/>
                  </a:lnTo>
                  <a:lnTo>
                    <a:pt x="639711" y="374065"/>
                  </a:lnTo>
                  <a:lnTo>
                    <a:pt x="635330" y="315296"/>
                  </a:lnTo>
                  <a:lnTo>
                    <a:pt x="631009" y="234535"/>
                  </a:lnTo>
                  <a:lnTo>
                    <a:pt x="628954" y="152610"/>
                  </a:lnTo>
                  <a:lnTo>
                    <a:pt x="628930" y="104252"/>
                  </a:lnTo>
                  <a:lnTo>
                    <a:pt x="629662" y="64503"/>
                  </a:lnTo>
                  <a:lnTo>
                    <a:pt x="630770" y="33832"/>
                  </a:lnTo>
                  <a:lnTo>
                    <a:pt x="632815" y="0"/>
                  </a:lnTo>
                  <a:close/>
                </a:path>
              </a:pathLst>
            </a:custGeom>
            <a:solidFill>
              <a:srgbClr val="CFD1D0"/>
            </a:solidFill>
          </p:spPr>
          <p:txBody>
            <a:bodyPr wrap="square" lIns="0" tIns="0" rIns="0" bIns="0" rtlCol="0"/>
            <a:lstStyle/>
            <a:p>
              <a:endParaRPr/>
            </a:p>
          </p:txBody>
        </p:sp>
        <p:sp>
          <p:nvSpPr>
            <p:cNvPr id="28" name="object 28"/>
            <p:cNvSpPr/>
            <p:nvPr/>
          </p:nvSpPr>
          <p:spPr>
            <a:xfrm>
              <a:off x="4848143" y="3881471"/>
              <a:ext cx="792480" cy="912494"/>
            </a:xfrm>
            <a:custGeom>
              <a:avLst/>
              <a:gdLst/>
              <a:ahLst/>
              <a:cxnLst/>
              <a:rect l="l" t="t" r="r" b="b"/>
              <a:pathLst>
                <a:path w="792479" h="912495">
                  <a:moveTo>
                    <a:pt x="0" y="912025"/>
                  </a:moveTo>
                  <a:lnTo>
                    <a:pt x="792467" y="912025"/>
                  </a:lnTo>
                  <a:lnTo>
                    <a:pt x="791641" y="910615"/>
                  </a:lnTo>
                  <a:lnTo>
                    <a:pt x="790740" y="908938"/>
                  </a:lnTo>
                  <a:lnTo>
                    <a:pt x="789749" y="907084"/>
                  </a:lnTo>
                  <a:lnTo>
                    <a:pt x="788758" y="905332"/>
                  </a:lnTo>
                  <a:lnTo>
                    <a:pt x="787692" y="903300"/>
                  </a:lnTo>
                  <a:lnTo>
                    <a:pt x="786549" y="901090"/>
                  </a:lnTo>
                  <a:lnTo>
                    <a:pt x="784821" y="897839"/>
                  </a:lnTo>
                  <a:lnTo>
                    <a:pt x="782929" y="894143"/>
                  </a:lnTo>
                  <a:lnTo>
                    <a:pt x="780884" y="890079"/>
                  </a:lnTo>
                  <a:lnTo>
                    <a:pt x="780237" y="888758"/>
                  </a:lnTo>
                  <a:lnTo>
                    <a:pt x="779576" y="887361"/>
                  </a:lnTo>
                  <a:lnTo>
                    <a:pt x="778827" y="885939"/>
                  </a:lnTo>
                  <a:lnTo>
                    <a:pt x="776287" y="880833"/>
                  </a:lnTo>
                  <a:lnTo>
                    <a:pt x="773582" y="875106"/>
                  </a:lnTo>
                  <a:lnTo>
                    <a:pt x="770623" y="868933"/>
                  </a:lnTo>
                  <a:lnTo>
                    <a:pt x="747406" y="815852"/>
                  </a:lnTo>
                  <a:lnTo>
                    <a:pt x="732872" y="779229"/>
                  </a:lnTo>
                  <a:lnTo>
                    <a:pt x="726960" y="763104"/>
                  </a:lnTo>
                  <a:lnTo>
                    <a:pt x="724166" y="755700"/>
                  </a:lnTo>
                  <a:lnTo>
                    <a:pt x="721372" y="748029"/>
                  </a:lnTo>
                  <a:lnTo>
                    <a:pt x="718743" y="740194"/>
                  </a:lnTo>
                  <a:lnTo>
                    <a:pt x="707335" y="706384"/>
                  </a:lnTo>
                  <a:lnTo>
                    <a:pt x="685303" y="631816"/>
                  </a:lnTo>
                  <a:lnTo>
                    <a:pt x="675081" y="591362"/>
                  </a:lnTo>
                  <a:lnTo>
                    <a:pt x="658260" y="512300"/>
                  </a:lnTo>
                  <a:lnTo>
                    <a:pt x="650741" y="467664"/>
                  </a:lnTo>
                  <a:lnTo>
                    <a:pt x="644499" y="421542"/>
                  </a:lnTo>
                  <a:lnTo>
                    <a:pt x="639711" y="374065"/>
                  </a:lnTo>
                  <a:lnTo>
                    <a:pt x="635330" y="315296"/>
                  </a:lnTo>
                  <a:lnTo>
                    <a:pt x="632244" y="260832"/>
                  </a:lnTo>
                  <a:lnTo>
                    <a:pt x="632155" y="259333"/>
                  </a:lnTo>
                  <a:lnTo>
                    <a:pt x="632079" y="257835"/>
                  </a:lnTo>
                  <a:lnTo>
                    <a:pt x="631990" y="256425"/>
                  </a:lnTo>
                  <a:lnTo>
                    <a:pt x="631468" y="245368"/>
                  </a:lnTo>
                  <a:lnTo>
                    <a:pt x="631009" y="234535"/>
                  </a:lnTo>
                  <a:lnTo>
                    <a:pt x="630611" y="223919"/>
                  </a:lnTo>
                  <a:lnTo>
                    <a:pt x="630275" y="213512"/>
                  </a:lnTo>
                  <a:lnTo>
                    <a:pt x="630186" y="212013"/>
                  </a:lnTo>
                  <a:lnTo>
                    <a:pt x="630186" y="210515"/>
                  </a:lnTo>
                  <a:lnTo>
                    <a:pt x="630110" y="209105"/>
                  </a:lnTo>
                  <a:lnTo>
                    <a:pt x="628954" y="152610"/>
                  </a:lnTo>
                  <a:lnTo>
                    <a:pt x="628930" y="104252"/>
                  </a:lnTo>
                  <a:lnTo>
                    <a:pt x="629662" y="64503"/>
                  </a:lnTo>
                  <a:lnTo>
                    <a:pt x="631502" y="19213"/>
                  </a:lnTo>
                  <a:lnTo>
                    <a:pt x="632815" y="0"/>
                  </a:lnTo>
                  <a:lnTo>
                    <a:pt x="542177" y="50"/>
                  </a:lnTo>
                  <a:lnTo>
                    <a:pt x="489735" y="66"/>
                  </a:lnTo>
                  <a:lnTo>
                    <a:pt x="455484" y="50"/>
                  </a:lnTo>
                  <a:lnTo>
                    <a:pt x="419417" y="0"/>
                  </a:lnTo>
                  <a:lnTo>
                    <a:pt x="159562" y="0"/>
                  </a:lnTo>
                  <a:lnTo>
                    <a:pt x="162702" y="64503"/>
                  </a:lnTo>
                  <a:lnTo>
                    <a:pt x="163402" y="104252"/>
                  </a:lnTo>
                  <a:lnTo>
                    <a:pt x="163348" y="152610"/>
                  </a:lnTo>
                  <a:lnTo>
                    <a:pt x="162179" y="209105"/>
                  </a:lnTo>
                  <a:lnTo>
                    <a:pt x="162179" y="210604"/>
                  </a:lnTo>
                  <a:lnTo>
                    <a:pt x="162102" y="212013"/>
                  </a:lnTo>
                  <a:lnTo>
                    <a:pt x="162026" y="213512"/>
                  </a:lnTo>
                  <a:lnTo>
                    <a:pt x="161684" y="223919"/>
                  </a:lnTo>
                  <a:lnTo>
                    <a:pt x="161293" y="234535"/>
                  </a:lnTo>
                  <a:lnTo>
                    <a:pt x="160858" y="245368"/>
                  </a:lnTo>
                  <a:lnTo>
                    <a:pt x="160388" y="256425"/>
                  </a:lnTo>
                  <a:lnTo>
                    <a:pt x="160299" y="257924"/>
                  </a:lnTo>
                  <a:lnTo>
                    <a:pt x="160210" y="259333"/>
                  </a:lnTo>
                  <a:lnTo>
                    <a:pt x="160134" y="260832"/>
                  </a:lnTo>
                  <a:lnTo>
                    <a:pt x="157364" y="310399"/>
                  </a:lnTo>
                  <a:lnTo>
                    <a:pt x="154551" y="350559"/>
                  </a:lnTo>
                  <a:lnTo>
                    <a:pt x="150572" y="397536"/>
                  </a:lnTo>
                  <a:lnTo>
                    <a:pt x="139663" y="480081"/>
                  </a:lnTo>
                  <a:lnTo>
                    <a:pt x="129351" y="536908"/>
                  </a:lnTo>
                  <a:lnTo>
                    <a:pt x="117441" y="590892"/>
                  </a:lnTo>
                  <a:lnTo>
                    <a:pt x="104317" y="641769"/>
                  </a:lnTo>
                  <a:lnTo>
                    <a:pt x="85520" y="704739"/>
                  </a:lnTo>
                  <a:lnTo>
                    <a:pt x="64061" y="766925"/>
                  </a:lnTo>
                  <a:lnTo>
                    <a:pt x="53517" y="794562"/>
                  </a:lnTo>
                  <a:lnTo>
                    <a:pt x="53187" y="795451"/>
                  </a:lnTo>
                  <a:lnTo>
                    <a:pt x="52946" y="796328"/>
                  </a:lnTo>
                  <a:lnTo>
                    <a:pt x="52438" y="797204"/>
                  </a:lnTo>
                  <a:lnTo>
                    <a:pt x="49657" y="804265"/>
                  </a:lnTo>
                  <a:lnTo>
                    <a:pt x="30552" y="849581"/>
                  </a:lnTo>
                  <a:lnTo>
                    <a:pt x="8215" y="896586"/>
                  </a:lnTo>
                  <a:lnTo>
                    <a:pt x="330" y="911313"/>
                  </a:lnTo>
                  <a:lnTo>
                    <a:pt x="88" y="911669"/>
                  </a:lnTo>
                  <a:lnTo>
                    <a:pt x="0" y="912025"/>
                  </a:lnTo>
                  <a:close/>
                </a:path>
              </a:pathLst>
            </a:custGeom>
            <a:ln w="6261">
              <a:solidFill>
                <a:srgbClr val="FFFFFF"/>
              </a:solidFill>
            </a:ln>
          </p:spPr>
          <p:txBody>
            <a:bodyPr wrap="square" lIns="0" tIns="0" rIns="0" bIns="0" rtlCol="0"/>
            <a:lstStyle/>
            <a:p>
              <a:endParaRPr/>
            </a:p>
          </p:txBody>
        </p:sp>
        <p:sp>
          <p:nvSpPr>
            <p:cNvPr id="29" name="object 29"/>
            <p:cNvSpPr/>
            <p:nvPr/>
          </p:nvSpPr>
          <p:spPr>
            <a:xfrm>
              <a:off x="4848103" y="4676065"/>
              <a:ext cx="793115" cy="117475"/>
            </a:xfrm>
            <a:custGeom>
              <a:avLst/>
              <a:gdLst/>
              <a:ahLst/>
              <a:cxnLst/>
              <a:rect l="l" t="t" r="r" b="b"/>
              <a:pathLst>
                <a:path w="793114" h="117475">
                  <a:moveTo>
                    <a:pt x="738860" y="0"/>
                  </a:moveTo>
                  <a:lnTo>
                    <a:pt x="53594" y="0"/>
                  </a:lnTo>
                  <a:lnTo>
                    <a:pt x="44323" y="23088"/>
                  </a:lnTo>
                  <a:lnTo>
                    <a:pt x="30632" y="55018"/>
                  </a:lnTo>
                  <a:lnTo>
                    <a:pt x="18446" y="81445"/>
                  </a:lnTo>
                  <a:lnTo>
                    <a:pt x="8261" y="102023"/>
                  </a:lnTo>
                  <a:lnTo>
                    <a:pt x="0" y="117462"/>
                  </a:lnTo>
                  <a:lnTo>
                    <a:pt x="792543" y="117462"/>
                  </a:lnTo>
                  <a:lnTo>
                    <a:pt x="770699" y="74371"/>
                  </a:lnTo>
                  <a:lnTo>
                    <a:pt x="747451" y="21289"/>
                  </a:lnTo>
                  <a:lnTo>
                    <a:pt x="738860" y="0"/>
                  </a:lnTo>
                  <a:close/>
                </a:path>
              </a:pathLst>
            </a:custGeom>
            <a:solidFill>
              <a:srgbClr val="E9E9E8"/>
            </a:solidFill>
          </p:spPr>
          <p:txBody>
            <a:bodyPr wrap="square" lIns="0" tIns="0" rIns="0" bIns="0" rtlCol="0"/>
            <a:lstStyle/>
            <a:p>
              <a:endParaRPr/>
            </a:p>
          </p:txBody>
        </p:sp>
        <p:sp>
          <p:nvSpPr>
            <p:cNvPr id="30" name="object 30"/>
            <p:cNvSpPr/>
            <p:nvPr/>
          </p:nvSpPr>
          <p:spPr>
            <a:xfrm>
              <a:off x="4848103" y="4676065"/>
              <a:ext cx="793115" cy="117475"/>
            </a:xfrm>
            <a:custGeom>
              <a:avLst/>
              <a:gdLst/>
              <a:ahLst/>
              <a:cxnLst/>
              <a:rect l="l" t="t" r="r" b="b"/>
              <a:pathLst>
                <a:path w="793114" h="117475">
                  <a:moveTo>
                    <a:pt x="0" y="117462"/>
                  </a:moveTo>
                  <a:lnTo>
                    <a:pt x="792543" y="117462"/>
                  </a:lnTo>
                  <a:lnTo>
                    <a:pt x="789828" y="112543"/>
                  </a:lnTo>
                  <a:lnTo>
                    <a:pt x="786625" y="106533"/>
                  </a:lnTo>
                  <a:lnTo>
                    <a:pt x="763458" y="58539"/>
                  </a:lnTo>
                  <a:lnTo>
                    <a:pt x="747451" y="21289"/>
                  </a:lnTo>
                  <a:lnTo>
                    <a:pt x="738860" y="0"/>
                  </a:lnTo>
                  <a:lnTo>
                    <a:pt x="53594" y="0"/>
                  </a:lnTo>
                  <a:lnTo>
                    <a:pt x="53263" y="889"/>
                  </a:lnTo>
                  <a:lnTo>
                    <a:pt x="52946" y="1765"/>
                  </a:lnTo>
                  <a:lnTo>
                    <a:pt x="52527" y="2641"/>
                  </a:lnTo>
                  <a:lnTo>
                    <a:pt x="30632" y="55018"/>
                  </a:lnTo>
                  <a:lnTo>
                    <a:pt x="8261" y="102023"/>
                  </a:lnTo>
                  <a:lnTo>
                    <a:pt x="571" y="116408"/>
                  </a:lnTo>
                  <a:lnTo>
                    <a:pt x="406" y="116751"/>
                  </a:lnTo>
                  <a:lnTo>
                    <a:pt x="165" y="117106"/>
                  </a:lnTo>
                  <a:lnTo>
                    <a:pt x="0" y="117462"/>
                  </a:lnTo>
                  <a:close/>
                </a:path>
              </a:pathLst>
            </a:custGeom>
            <a:ln w="4686">
              <a:solidFill>
                <a:srgbClr val="FFFFFF"/>
              </a:solidFill>
            </a:ln>
          </p:spPr>
          <p:txBody>
            <a:bodyPr wrap="square" lIns="0" tIns="0" rIns="0" bIns="0" rtlCol="0"/>
            <a:lstStyle/>
            <a:p>
              <a:endParaRPr/>
            </a:p>
          </p:txBody>
        </p:sp>
        <p:sp>
          <p:nvSpPr>
            <p:cNvPr id="31" name="object 31"/>
            <p:cNvSpPr/>
            <p:nvPr/>
          </p:nvSpPr>
          <p:spPr>
            <a:xfrm>
              <a:off x="5008169" y="3881513"/>
              <a:ext cx="472440" cy="34290"/>
            </a:xfrm>
            <a:custGeom>
              <a:avLst/>
              <a:gdLst/>
              <a:ahLst/>
              <a:cxnLst/>
              <a:rect l="l" t="t" r="r" b="b"/>
              <a:pathLst>
                <a:path w="472439" h="34289">
                  <a:moveTo>
                    <a:pt x="472440" y="0"/>
                  </a:moveTo>
                  <a:lnTo>
                    <a:pt x="0" y="0"/>
                  </a:lnTo>
                  <a:lnTo>
                    <a:pt x="0" y="12700"/>
                  </a:lnTo>
                  <a:lnTo>
                    <a:pt x="1041" y="12700"/>
                  </a:lnTo>
                  <a:lnTo>
                    <a:pt x="1041" y="34290"/>
                  </a:lnTo>
                  <a:lnTo>
                    <a:pt x="471398" y="34290"/>
                  </a:lnTo>
                  <a:lnTo>
                    <a:pt x="471398" y="12700"/>
                  </a:lnTo>
                  <a:lnTo>
                    <a:pt x="472440" y="12700"/>
                  </a:lnTo>
                  <a:lnTo>
                    <a:pt x="472440" y="0"/>
                  </a:lnTo>
                  <a:close/>
                </a:path>
              </a:pathLst>
            </a:custGeom>
            <a:solidFill>
              <a:srgbClr val="E9E9E8"/>
            </a:solidFill>
          </p:spPr>
          <p:txBody>
            <a:bodyPr wrap="square" lIns="0" tIns="0" rIns="0" bIns="0" rtlCol="0"/>
            <a:lstStyle/>
            <a:p>
              <a:endParaRPr/>
            </a:p>
          </p:txBody>
        </p:sp>
        <p:sp>
          <p:nvSpPr>
            <p:cNvPr id="32" name="object 32"/>
            <p:cNvSpPr/>
            <p:nvPr/>
          </p:nvSpPr>
          <p:spPr>
            <a:xfrm>
              <a:off x="5007662" y="3881502"/>
              <a:ext cx="473709" cy="34290"/>
            </a:xfrm>
            <a:custGeom>
              <a:avLst/>
              <a:gdLst/>
              <a:ahLst/>
              <a:cxnLst/>
              <a:rect l="l" t="t" r="r" b="b"/>
              <a:pathLst>
                <a:path w="473710" h="34289">
                  <a:moveTo>
                    <a:pt x="0" y="0"/>
                  </a:moveTo>
                  <a:lnTo>
                    <a:pt x="632" y="7122"/>
                  </a:lnTo>
                  <a:lnTo>
                    <a:pt x="1057" y="13022"/>
                  </a:lnTo>
                  <a:lnTo>
                    <a:pt x="1468" y="20872"/>
                  </a:lnTo>
                  <a:lnTo>
                    <a:pt x="2057" y="33845"/>
                  </a:lnTo>
                  <a:lnTo>
                    <a:pt x="471284" y="33845"/>
                  </a:lnTo>
                  <a:lnTo>
                    <a:pt x="472023" y="19223"/>
                  </a:lnTo>
                  <a:lnTo>
                    <a:pt x="472684" y="8626"/>
                  </a:lnTo>
                  <a:lnTo>
                    <a:pt x="473159" y="2177"/>
                  </a:lnTo>
                  <a:lnTo>
                    <a:pt x="473341" y="0"/>
                  </a:lnTo>
                  <a:lnTo>
                    <a:pt x="0" y="0"/>
                  </a:lnTo>
                  <a:close/>
                </a:path>
              </a:pathLst>
            </a:custGeom>
            <a:ln w="4686">
              <a:solidFill>
                <a:srgbClr val="FFFFFF"/>
              </a:solidFill>
            </a:ln>
          </p:spPr>
          <p:txBody>
            <a:bodyPr wrap="square" lIns="0" tIns="0" rIns="0" bIns="0" rtlCol="0"/>
            <a:lstStyle/>
            <a:p>
              <a:endParaRPr/>
            </a:p>
          </p:txBody>
        </p:sp>
        <p:sp>
          <p:nvSpPr>
            <p:cNvPr id="33" name="object 33"/>
            <p:cNvSpPr/>
            <p:nvPr/>
          </p:nvSpPr>
          <p:spPr>
            <a:xfrm>
              <a:off x="5267558" y="3881473"/>
              <a:ext cx="373380" cy="912494"/>
            </a:xfrm>
            <a:custGeom>
              <a:avLst/>
              <a:gdLst/>
              <a:ahLst/>
              <a:cxnLst/>
              <a:rect l="l" t="t" r="r" b="b"/>
              <a:pathLst>
                <a:path w="373379" h="912495">
                  <a:moveTo>
                    <a:pt x="213398" y="0"/>
                  </a:moveTo>
                  <a:lnTo>
                    <a:pt x="0" y="0"/>
                  </a:lnTo>
                  <a:lnTo>
                    <a:pt x="6235" y="33832"/>
                  </a:lnTo>
                  <a:lnTo>
                    <a:pt x="15049" y="79148"/>
                  </a:lnTo>
                  <a:lnTo>
                    <a:pt x="24223" y="123483"/>
                  </a:lnTo>
                  <a:lnTo>
                    <a:pt x="33719" y="166811"/>
                  </a:lnTo>
                  <a:lnTo>
                    <a:pt x="56146" y="260832"/>
                  </a:lnTo>
                  <a:lnTo>
                    <a:pt x="72509" y="323263"/>
                  </a:lnTo>
                  <a:lnTo>
                    <a:pt x="89344" y="383054"/>
                  </a:lnTo>
                  <a:lnTo>
                    <a:pt x="106551" y="440159"/>
                  </a:lnTo>
                  <a:lnTo>
                    <a:pt x="124028" y="494530"/>
                  </a:lnTo>
                  <a:lnTo>
                    <a:pt x="141673" y="546119"/>
                  </a:lnTo>
                  <a:lnTo>
                    <a:pt x="159386" y="594878"/>
                  </a:lnTo>
                  <a:lnTo>
                    <a:pt x="177066" y="640760"/>
                  </a:lnTo>
                  <a:lnTo>
                    <a:pt x="194609" y="683717"/>
                  </a:lnTo>
                  <a:lnTo>
                    <a:pt x="211916" y="723701"/>
                  </a:lnTo>
                  <a:lnTo>
                    <a:pt x="228885" y="760666"/>
                  </a:lnTo>
                  <a:lnTo>
                    <a:pt x="264276" y="830702"/>
                  </a:lnTo>
                  <a:lnTo>
                    <a:pt x="299057" y="889522"/>
                  </a:lnTo>
                  <a:lnTo>
                    <a:pt x="314604" y="912025"/>
                  </a:lnTo>
                  <a:lnTo>
                    <a:pt x="373049" y="912025"/>
                  </a:lnTo>
                  <a:lnTo>
                    <a:pt x="356870" y="880821"/>
                  </a:lnTo>
                  <a:lnTo>
                    <a:pt x="343975" y="853100"/>
                  </a:lnTo>
                  <a:lnTo>
                    <a:pt x="327988" y="815847"/>
                  </a:lnTo>
                  <a:lnTo>
                    <a:pt x="313459" y="779233"/>
                  </a:lnTo>
                  <a:lnTo>
                    <a:pt x="287917" y="706380"/>
                  </a:lnTo>
                  <a:lnTo>
                    <a:pt x="265884" y="631819"/>
                  </a:lnTo>
                  <a:lnTo>
                    <a:pt x="253508" y="582509"/>
                  </a:lnTo>
                  <a:lnTo>
                    <a:pt x="238842" y="512306"/>
                  </a:lnTo>
                  <a:lnTo>
                    <a:pt x="231324" y="467669"/>
                  </a:lnTo>
                  <a:lnTo>
                    <a:pt x="225081" y="421544"/>
                  </a:lnTo>
                  <a:lnTo>
                    <a:pt x="220294" y="374065"/>
                  </a:lnTo>
                  <a:lnTo>
                    <a:pt x="215912" y="315301"/>
                  </a:lnTo>
                  <a:lnTo>
                    <a:pt x="211591" y="234540"/>
                  </a:lnTo>
                  <a:lnTo>
                    <a:pt x="209537" y="152610"/>
                  </a:lnTo>
                  <a:lnTo>
                    <a:pt x="209513" y="104252"/>
                  </a:lnTo>
                  <a:lnTo>
                    <a:pt x="210244" y="64503"/>
                  </a:lnTo>
                  <a:lnTo>
                    <a:pt x="211353" y="33832"/>
                  </a:lnTo>
                  <a:lnTo>
                    <a:pt x="213398" y="0"/>
                  </a:lnTo>
                  <a:close/>
                </a:path>
              </a:pathLst>
            </a:custGeom>
            <a:solidFill>
              <a:srgbClr val="18171C">
                <a:alpha val="9999"/>
              </a:srgbClr>
            </a:solidFill>
          </p:spPr>
          <p:txBody>
            <a:bodyPr wrap="square" lIns="0" tIns="0" rIns="0" bIns="0" rtlCol="0"/>
            <a:lstStyle/>
            <a:p>
              <a:endParaRPr/>
            </a:p>
          </p:txBody>
        </p:sp>
        <p:sp>
          <p:nvSpPr>
            <p:cNvPr id="34" name="object 34"/>
            <p:cNvSpPr/>
            <p:nvPr/>
          </p:nvSpPr>
          <p:spPr>
            <a:xfrm>
              <a:off x="4795456" y="4793526"/>
              <a:ext cx="897255" cy="43815"/>
            </a:xfrm>
            <a:custGeom>
              <a:avLst/>
              <a:gdLst/>
              <a:ahLst/>
              <a:cxnLst/>
              <a:rect l="l" t="t" r="r" b="b"/>
              <a:pathLst>
                <a:path w="897254" h="43814">
                  <a:moveTo>
                    <a:pt x="896721" y="0"/>
                  </a:moveTo>
                  <a:lnTo>
                    <a:pt x="0" y="0"/>
                  </a:lnTo>
                  <a:lnTo>
                    <a:pt x="0" y="43687"/>
                  </a:lnTo>
                  <a:lnTo>
                    <a:pt x="896721" y="43687"/>
                  </a:lnTo>
                  <a:lnTo>
                    <a:pt x="896721" y="0"/>
                  </a:lnTo>
                  <a:close/>
                </a:path>
              </a:pathLst>
            </a:custGeom>
            <a:solidFill>
              <a:srgbClr val="1D2226"/>
            </a:solidFill>
          </p:spPr>
          <p:txBody>
            <a:bodyPr wrap="square" lIns="0" tIns="0" rIns="0" bIns="0" rtlCol="0"/>
            <a:lstStyle/>
            <a:p>
              <a:endParaRPr/>
            </a:p>
          </p:txBody>
        </p:sp>
        <p:sp>
          <p:nvSpPr>
            <p:cNvPr id="35" name="object 35"/>
            <p:cNvSpPr/>
            <p:nvPr/>
          </p:nvSpPr>
          <p:spPr>
            <a:xfrm>
              <a:off x="3370216" y="3846403"/>
              <a:ext cx="791845" cy="848994"/>
            </a:xfrm>
            <a:custGeom>
              <a:avLst/>
              <a:gdLst/>
              <a:ahLst/>
              <a:cxnLst/>
              <a:rect l="l" t="t" r="r" b="b"/>
              <a:pathLst>
                <a:path w="791845" h="848995">
                  <a:moveTo>
                    <a:pt x="632180" y="0"/>
                  </a:moveTo>
                  <a:lnTo>
                    <a:pt x="159397" y="0"/>
                  </a:lnTo>
                  <a:lnTo>
                    <a:pt x="160453" y="12118"/>
                  </a:lnTo>
                  <a:lnTo>
                    <a:pt x="161442" y="31495"/>
                  </a:lnTo>
                  <a:lnTo>
                    <a:pt x="162537" y="60031"/>
                  </a:lnTo>
                  <a:lnTo>
                    <a:pt x="163239" y="97015"/>
                  </a:lnTo>
                  <a:lnTo>
                    <a:pt x="163189" y="142009"/>
                  </a:lnTo>
                  <a:lnTo>
                    <a:pt x="161128" y="218243"/>
                  </a:lnTo>
                  <a:lnTo>
                    <a:pt x="158249" y="273086"/>
                  </a:lnTo>
                  <a:lnTo>
                    <a:pt x="153473" y="337065"/>
                  </a:lnTo>
                  <a:lnTo>
                    <a:pt x="147840" y="391452"/>
                  </a:lnTo>
                  <a:lnTo>
                    <a:pt x="139520" y="446722"/>
                  </a:lnTo>
                  <a:lnTo>
                    <a:pt x="129219" y="499595"/>
                  </a:lnTo>
                  <a:lnTo>
                    <a:pt x="117322" y="549825"/>
                  </a:lnTo>
                  <a:lnTo>
                    <a:pt x="102218" y="603950"/>
                  </a:lnTo>
                  <a:lnTo>
                    <a:pt x="85435" y="655768"/>
                  </a:lnTo>
                  <a:lnTo>
                    <a:pt x="64000" y="713633"/>
                  </a:lnTo>
                  <a:lnTo>
                    <a:pt x="52387" y="741806"/>
                  </a:lnTo>
                  <a:lnTo>
                    <a:pt x="44196" y="760844"/>
                  </a:lnTo>
                  <a:lnTo>
                    <a:pt x="30518" y="790550"/>
                  </a:lnTo>
                  <a:lnTo>
                    <a:pt x="18354" y="815139"/>
                  </a:lnTo>
                  <a:lnTo>
                    <a:pt x="8205" y="834285"/>
                  </a:lnTo>
                  <a:lnTo>
                    <a:pt x="0" y="848652"/>
                  </a:lnTo>
                  <a:lnTo>
                    <a:pt x="791667" y="848652"/>
                  </a:lnTo>
                  <a:lnTo>
                    <a:pt x="762616" y="793823"/>
                  </a:lnTo>
                  <a:lnTo>
                    <a:pt x="746652" y="759162"/>
                  </a:lnTo>
                  <a:lnTo>
                    <a:pt x="720648" y="696061"/>
                  </a:lnTo>
                  <a:lnTo>
                    <a:pt x="706626" y="657295"/>
                  </a:lnTo>
                  <a:lnTo>
                    <a:pt x="684614" y="587914"/>
                  </a:lnTo>
                  <a:lnTo>
                    <a:pt x="672253" y="542037"/>
                  </a:lnTo>
                  <a:lnTo>
                    <a:pt x="657602" y="476709"/>
                  </a:lnTo>
                  <a:lnTo>
                    <a:pt x="650089" y="435175"/>
                  </a:lnTo>
                  <a:lnTo>
                    <a:pt x="643854" y="392254"/>
                  </a:lnTo>
                  <a:lnTo>
                    <a:pt x="639076" y="348068"/>
                  </a:lnTo>
                  <a:lnTo>
                    <a:pt x="634695" y="293389"/>
                  </a:lnTo>
                  <a:lnTo>
                    <a:pt x="630375" y="218243"/>
                  </a:lnTo>
                  <a:lnTo>
                    <a:pt x="628324" y="142009"/>
                  </a:lnTo>
                  <a:lnTo>
                    <a:pt x="628300" y="97015"/>
                  </a:lnTo>
                  <a:lnTo>
                    <a:pt x="629029" y="60031"/>
                  </a:lnTo>
                  <a:lnTo>
                    <a:pt x="630135" y="31495"/>
                  </a:lnTo>
                  <a:lnTo>
                    <a:pt x="632180" y="0"/>
                  </a:lnTo>
                  <a:close/>
                </a:path>
              </a:pathLst>
            </a:custGeom>
            <a:solidFill>
              <a:srgbClr val="CFD1D0"/>
            </a:solidFill>
          </p:spPr>
          <p:txBody>
            <a:bodyPr wrap="square" lIns="0" tIns="0" rIns="0" bIns="0" rtlCol="0"/>
            <a:lstStyle/>
            <a:p>
              <a:endParaRPr/>
            </a:p>
          </p:txBody>
        </p:sp>
        <p:sp>
          <p:nvSpPr>
            <p:cNvPr id="36" name="object 36"/>
            <p:cNvSpPr/>
            <p:nvPr/>
          </p:nvSpPr>
          <p:spPr>
            <a:xfrm>
              <a:off x="3370216" y="3846403"/>
              <a:ext cx="791845" cy="848994"/>
            </a:xfrm>
            <a:custGeom>
              <a:avLst/>
              <a:gdLst/>
              <a:ahLst/>
              <a:cxnLst/>
              <a:rect l="l" t="t" r="r" b="b"/>
              <a:pathLst>
                <a:path w="791845" h="848995">
                  <a:moveTo>
                    <a:pt x="0" y="848652"/>
                  </a:moveTo>
                  <a:lnTo>
                    <a:pt x="791667" y="848652"/>
                  </a:lnTo>
                  <a:lnTo>
                    <a:pt x="790841" y="847343"/>
                  </a:lnTo>
                  <a:lnTo>
                    <a:pt x="789940" y="845781"/>
                  </a:lnTo>
                  <a:lnTo>
                    <a:pt x="788962" y="844054"/>
                  </a:lnTo>
                  <a:lnTo>
                    <a:pt x="787971" y="842416"/>
                  </a:lnTo>
                  <a:lnTo>
                    <a:pt x="786904" y="840536"/>
                  </a:lnTo>
                  <a:lnTo>
                    <a:pt x="785761" y="838492"/>
                  </a:lnTo>
                  <a:lnTo>
                    <a:pt x="784034" y="835456"/>
                  </a:lnTo>
                  <a:lnTo>
                    <a:pt x="782154" y="832002"/>
                  </a:lnTo>
                  <a:lnTo>
                    <a:pt x="780097" y="828230"/>
                  </a:lnTo>
                  <a:lnTo>
                    <a:pt x="779437" y="827011"/>
                  </a:lnTo>
                  <a:lnTo>
                    <a:pt x="778789" y="825690"/>
                  </a:lnTo>
                  <a:lnTo>
                    <a:pt x="778052" y="824382"/>
                  </a:lnTo>
                  <a:lnTo>
                    <a:pt x="775500" y="819632"/>
                  </a:lnTo>
                  <a:lnTo>
                    <a:pt x="772807" y="814298"/>
                  </a:lnTo>
                  <a:lnTo>
                    <a:pt x="769848" y="808558"/>
                  </a:lnTo>
                  <a:lnTo>
                    <a:pt x="746652" y="759162"/>
                  </a:lnTo>
                  <a:lnTo>
                    <a:pt x="729189" y="717678"/>
                  </a:lnTo>
                  <a:lnTo>
                    <a:pt x="726236" y="710082"/>
                  </a:lnTo>
                  <a:lnTo>
                    <a:pt x="723442" y="703186"/>
                  </a:lnTo>
                  <a:lnTo>
                    <a:pt x="720648" y="696061"/>
                  </a:lnTo>
                  <a:lnTo>
                    <a:pt x="718032" y="688759"/>
                  </a:lnTo>
                  <a:lnTo>
                    <a:pt x="706626" y="657295"/>
                  </a:lnTo>
                  <a:lnTo>
                    <a:pt x="684614" y="587914"/>
                  </a:lnTo>
                  <a:lnTo>
                    <a:pt x="674408" y="550278"/>
                  </a:lnTo>
                  <a:lnTo>
                    <a:pt x="657602" y="476709"/>
                  </a:lnTo>
                  <a:lnTo>
                    <a:pt x="650089" y="435175"/>
                  </a:lnTo>
                  <a:lnTo>
                    <a:pt x="643854" y="392254"/>
                  </a:lnTo>
                  <a:lnTo>
                    <a:pt x="639076" y="348068"/>
                  </a:lnTo>
                  <a:lnTo>
                    <a:pt x="634695" y="293389"/>
                  </a:lnTo>
                  <a:lnTo>
                    <a:pt x="631609" y="242709"/>
                  </a:lnTo>
                  <a:lnTo>
                    <a:pt x="631532" y="241312"/>
                  </a:lnTo>
                  <a:lnTo>
                    <a:pt x="631444" y="239915"/>
                  </a:lnTo>
                  <a:lnTo>
                    <a:pt x="629640" y="198678"/>
                  </a:lnTo>
                  <a:lnTo>
                    <a:pt x="629551" y="197281"/>
                  </a:lnTo>
                  <a:lnTo>
                    <a:pt x="629551" y="195884"/>
                  </a:lnTo>
                  <a:lnTo>
                    <a:pt x="629475" y="194576"/>
                  </a:lnTo>
                  <a:lnTo>
                    <a:pt x="628324" y="142009"/>
                  </a:lnTo>
                  <a:lnTo>
                    <a:pt x="628300" y="97015"/>
                  </a:lnTo>
                  <a:lnTo>
                    <a:pt x="630135" y="31495"/>
                  </a:lnTo>
                  <a:lnTo>
                    <a:pt x="632180" y="0"/>
                  </a:lnTo>
                  <a:lnTo>
                    <a:pt x="541631" y="50"/>
                  </a:lnTo>
                  <a:lnTo>
                    <a:pt x="489242" y="66"/>
                  </a:lnTo>
                  <a:lnTo>
                    <a:pt x="455026" y="50"/>
                  </a:lnTo>
                  <a:lnTo>
                    <a:pt x="418998" y="0"/>
                  </a:lnTo>
                  <a:lnTo>
                    <a:pt x="159397" y="0"/>
                  </a:lnTo>
                  <a:lnTo>
                    <a:pt x="162537" y="60031"/>
                  </a:lnTo>
                  <a:lnTo>
                    <a:pt x="163239" y="97015"/>
                  </a:lnTo>
                  <a:lnTo>
                    <a:pt x="163189" y="142009"/>
                  </a:lnTo>
                  <a:lnTo>
                    <a:pt x="162026" y="194576"/>
                  </a:lnTo>
                  <a:lnTo>
                    <a:pt x="162026" y="195973"/>
                  </a:lnTo>
                  <a:lnTo>
                    <a:pt x="161937" y="197281"/>
                  </a:lnTo>
                  <a:lnTo>
                    <a:pt x="161861" y="198678"/>
                  </a:lnTo>
                  <a:lnTo>
                    <a:pt x="161519" y="208364"/>
                  </a:lnTo>
                  <a:lnTo>
                    <a:pt x="161128" y="218243"/>
                  </a:lnTo>
                  <a:lnTo>
                    <a:pt x="160693" y="228321"/>
                  </a:lnTo>
                  <a:lnTo>
                    <a:pt x="160223" y="238607"/>
                  </a:lnTo>
                  <a:lnTo>
                    <a:pt x="160134" y="240004"/>
                  </a:lnTo>
                  <a:lnTo>
                    <a:pt x="160045" y="241312"/>
                  </a:lnTo>
                  <a:lnTo>
                    <a:pt x="159969" y="242709"/>
                  </a:lnTo>
                  <a:lnTo>
                    <a:pt x="157206" y="288827"/>
                  </a:lnTo>
                  <a:lnTo>
                    <a:pt x="153473" y="337065"/>
                  </a:lnTo>
                  <a:lnTo>
                    <a:pt x="149190" y="380721"/>
                  </a:lnTo>
                  <a:lnTo>
                    <a:pt x="139520" y="446722"/>
                  </a:lnTo>
                  <a:lnTo>
                    <a:pt x="129219" y="499595"/>
                  </a:lnTo>
                  <a:lnTo>
                    <a:pt x="117322" y="549825"/>
                  </a:lnTo>
                  <a:lnTo>
                    <a:pt x="104216" y="597166"/>
                  </a:lnTo>
                  <a:lnTo>
                    <a:pt x="85435" y="655768"/>
                  </a:lnTo>
                  <a:lnTo>
                    <a:pt x="64000" y="713633"/>
                  </a:lnTo>
                  <a:lnTo>
                    <a:pt x="53124" y="740168"/>
                  </a:lnTo>
                  <a:lnTo>
                    <a:pt x="52895" y="740994"/>
                  </a:lnTo>
                  <a:lnTo>
                    <a:pt x="52387" y="741806"/>
                  </a:lnTo>
                  <a:lnTo>
                    <a:pt x="49606" y="748372"/>
                  </a:lnTo>
                  <a:lnTo>
                    <a:pt x="46901" y="754773"/>
                  </a:lnTo>
                  <a:lnTo>
                    <a:pt x="44196" y="760844"/>
                  </a:lnTo>
                  <a:lnTo>
                    <a:pt x="18354" y="815139"/>
                  </a:lnTo>
                  <a:lnTo>
                    <a:pt x="330" y="847991"/>
                  </a:lnTo>
                  <a:lnTo>
                    <a:pt x="88" y="848321"/>
                  </a:lnTo>
                  <a:lnTo>
                    <a:pt x="0" y="848652"/>
                  </a:lnTo>
                  <a:close/>
                </a:path>
              </a:pathLst>
            </a:custGeom>
            <a:ln w="6032">
              <a:solidFill>
                <a:srgbClr val="FFFFFF"/>
              </a:solidFill>
            </a:ln>
          </p:spPr>
          <p:txBody>
            <a:bodyPr wrap="square" lIns="0" tIns="0" rIns="0" bIns="0" rtlCol="0"/>
            <a:lstStyle/>
            <a:p>
              <a:endParaRPr/>
            </a:p>
          </p:txBody>
        </p:sp>
        <p:sp>
          <p:nvSpPr>
            <p:cNvPr id="37" name="object 37"/>
            <p:cNvSpPr/>
            <p:nvPr/>
          </p:nvSpPr>
          <p:spPr>
            <a:xfrm>
              <a:off x="3370176" y="4585787"/>
              <a:ext cx="791845" cy="109855"/>
            </a:xfrm>
            <a:custGeom>
              <a:avLst/>
              <a:gdLst/>
              <a:ahLst/>
              <a:cxnLst/>
              <a:rect l="l" t="t" r="r" b="b"/>
              <a:pathLst>
                <a:path w="791845" h="109854">
                  <a:moveTo>
                    <a:pt x="738124" y="0"/>
                  </a:moveTo>
                  <a:lnTo>
                    <a:pt x="53543" y="0"/>
                  </a:lnTo>
                  <a:lnTo>
                    <a:pt x="44272" y="21488"/>
                  </a:lnTo>
                  <a:lnTo>
                    <a:pt x="30594" y="51194"/>
                  </a:lnTo>
                  <a:lnTo>
                    <a:pt x="18426" y="75784"/>
                  </a:lnTo>
                  <a:lnTo>
                    <a:pt x="8255" y="94929"/>
                  </a:lnTo>
                  <a:lnTo>
                    <a:pt x="0" y="109296"/>
                  </a:lnTo>
                  <a:lnTo>
                    <a:pt x="791743" y="109296"/>
                  </a:lnTo>
                  <a:lnTo>
                    <a:pt x="769937" y="69202"/>
                  </a:lnTo>
                  <a:lnTo>
                    <a:pt x="746704" y="19806"/>
                  </a:lnTo>
                  <a:lnTo>
                    <a:pt x="738124" y="0"/>
                  </a:lnTo>
                  <a:close/>
                </a:path>
              </a:pathLst>
            </a:custGeom>
            <a:solidFill>
              <a:srgbClr val="E9E9E8"/>
            </a:solidFill>
          </p:spPr>
          <p:txBody>
            <a:bodyPr wrap="square" lIns="0" tIns="0" rIns="0" bIns="0" rtlCol="0"/>
            <a:lstStyle/>
            <a:p>
              <a:endParaRPr/>
            </a:p>
          </p:txBody>
        </p:sp>
        <p:sp>
          <p:nvSpPr>
            <p:cNvPr id="38" name="object 38"/>
            <p:cNvSpPr/>
            <p:nvPr/>
          </p:nvSpPr>
          <p:spPr>
            <a:xfrm>
              <a:off x="3370176" y="4585787"/>
              <a:ext cx="791845" cy="109855"/>
            </a:xfrm>
            <a:custGeom>
              <a:avLst/>
              <a:gdLst/>
              <a:ahLst/>
              <a:cxnLst/>
              <a:rect l="l" t="t" r="r" b="b"/>
              <a:pathLst>
                <a:path w="791845" h="109854">
                  <a:moveTo>
                    <a:pt x="0" y="109296"/>
                  </a:moveTo>
                  <a:lnTo>
                    <a:pt x="791743" y="109296"/>
                  </a:lnTo>
                  <a:lnTo>
                    <a:pt x="789028" y="104720"/>
                  </a:lnTo>
                  <a:lnTo>
                    <a:pt x="785826" y="99128"/>
                  </a:lnTo>
                  <a:lnTo>
                    <a:pt x="762693" y="54467"/>
                  </a:lnTo>
                  <a:lnTo>
                    <a:pt x="746704" y="19806"/>
                  </a:lnTo>
                  <a:lnTo>
                    <a:pt x="738124" y="0"/>
                  </a:lnTo>
                  <a:lnTo>
                    <a:pt x="53543" y="0"/>
                  </a:lnTo>
                  <a:lnTo>
                    <a:pt x="53213" y="812"/>
                  </a:lnTo>
                  <a:lnTo>
                    <a:pt x="52895" y="1638"/>
                  </a:lnTo>
                  <a:lnTo>
                    <a:pt x="52476" y="2451"/>
                  </a:lnTo>
                  <a:lnTo>
                    <a:pt x="49695" y="9016"/>
                  </a:lnTo>
                  <a:lnTo>
                    <a:pt x="46990" y="15417"/>
                  </a:lnTo>
                  <a:lnTo>
                    <a:pt x="44272" y="21488"/>
                  </a:lnTo>
                  <a:lnTo>
                    <a:pt x="30594" y="51194"/>
                  </a:lnTo>
                  <a:lnTo>
                    <a:pt x="18426" y="75784"/>
                  </a:lnTo>
                  <a:lnTo>
                    <a:pt x="8255" y="94929"/>
                  </a:lnTo>
                  <a:lnTo>
                    <a:pt x="571" y="108305"/>
                  </a:lnTo>
                  <a:lnTo>
                    <a:pt x="406" y="108635"/>
                  </a:lnTo>
                  <a:lnTo>
                    <a:pt x="165" y="108965"/>
                  </a:lnTo>
                  <a:lnTo>
                    <a:pt x="0" y="109296"/>
                  </a:lnTo>
                  <a:close/>
                </a:path>
              </a:pathLst>
            </a:custGeom>
            <a:ln w="4508">
              <a:solidFill>
                <a:srgbClr val="FFFFFF"/>
              </a:solidFill>
            </a:ln>
          </p:spPr>
          <p:txBody>
            <a:bodyPr wrap="square" lIns="0" tIns="0" rIns="0" bIns="0" rtlCol="0"/>
            <a:lstStyle/>
            <a:p>
              <a:endParaRPr/>
            </a:p>
          </p:txBody>
        </p:sp>
        <p:sp>
          <p:nvSpPr>
            <p:cNvPr id="39" name="object 39"/>
            <p:cNvSpPr/>
            <p:nvPr/>
          </p:nvSpPr>
          <p:spPr>
            <a:xfrm>
              <a:off x="3530117" y="3846436"/>
              <a:ext cx="472440" cy="31750"/>
            </a:xfrm>
            <a:custGeom>
              <a:avLst/>
              <a:gdLst/>
              <a:ahLst/>
              <a:cxnLst/>
              <a:rect l="l" t="t" r="r" b="b"/>
              <a:pathLst>
                <a:path w="472439" h="31750">
                  <a:moveTo>
                    <a:pt x="471906" y="0"/>
                  </a:moveTo>
                  <a:lnTo>
                    <a:pt x="0" y="0"/>
                  </a:lnTo>
                  <a:lnTo>
                    <a:pt x="0" y="12700"/>
                  </a:lnTo>
                  <a:lnTo>
                    <a:pt x="1028" y="12700"/>
                  </a:lnTo>
                  <a:lnTo>
                    <a:pt x="1028" y="31750"/>
                  </a:lnTo>
                  <a:lnTo>
                    <a:pt x="470865" y="31750"/>
                  </a:lnTo>
                  <a:lnTo>
                    <a:pt x="470865" y="12700"/>
                  </a:lnTo>
                  <a:lnTo>
                    <a:pt x="471906" y="12700"/>
                  </a:lnTo>
                  <a:lnTo>
                    <a:pt x="471906" y="0"/>
                  </a:lnTo>
                  <a:close/>
                </a:path>
              </a:pathLst>
            </a:custGeom>
            <a:solidFill>
              <a:srgbClr val="E9E9E8"/>
            </a:solidFill>
          </p:spPr>
          <p:txBody>
            <a:bodyPr wrap="square" lIns="0" tIns="0" rIns="0" bIns="0" rtlCol="0"/>
            <a:lstStyle/>
            <a:p>
              <a:endParaRPr/>
            </a:p>
          </p:txBody>
        </p:sp>
        <p:sp>
          <p:nvSpPr>
            <p:cNvPr id="40" name="object 40"/>
            <p:cNvSpPr/>
            <p:nvPr/>
          </p:nvSpPr>
          <p:spPr>
            <a:xfrm>
              <a:off x="3529575" y="3846433"/>
              <a:ext cx="473075" cy="31750"/>
            </a:xfrm>
            <a:custGeom>
              <a:avLst/>
              <a:gdLst/>
              <a:ahLst/>
              <a:cxnLst/>
              <a:rect l="l" t="t" r="r" b="b"/>
              <a:pathLst>
                <a:path w="473075" h="31750">
                  <a:moveTo>
                    <a:pt x="0" y="0"/>
                  </a:moveTo>
                  <a:lnTo>
                    <a:pt x="632" y="6628"/>
                  </a:lnTo>
                  <a:lnTo>
                    <a:pt x="1055" y="12117"/>
                  </a:lnTo>
                  <a:lnTo>
                    <a:pt x="1462" y="19418"/>
                  </a:lnTo>
                  <a:lnTo>
                    <a:pt x="2044" y="31483"/>
                  </a:lnTo>
                  <a:lnTo>
                    <a:pt x="470814" y="31483"/>
                  </a:lnTo>
                  <a:lnTo>
                    <a:pt x="471553" y="17884"/>
                  </a:lnTo>
                  <a:lnTo>
                    <a:pt x="472214" y="8026"/>
                  </a:lnTo>
                  <a:lnTo>
                    <a:pt x="472689" y="2026"/>
                  </a:lnTo>
                  <a:lnTo>
                    <a:pt x="472871" y="0"/>
                  </a:lnTo>
                  <a:lnTo>
                    <a:pt x="0" y="0"/>
                  </a:lnTo>
                  <a:close/>
                </a:path>
              </a:pathLst>
            </a:custGeom>
            <a:ln w="4508">
              <a:solidFill>
                <a:srgbClr val="FFFFFF"/>
              </a:solidFill>
            </a:ln>
          </p:spPr>
          <p:txBody>
            <a:bodyPr wrap="square" lIns="0" tIns="0" rIns="0" bIns="0" rtlCol="0"/>
            <a:lstStyle/>
            <a:p>
              <a:endParaRPr/>
            </a:p>
          </p:txBody>
        </p:sp>
        <p:sp>
          <p:nvSpPr>
            <p:cNvPr id="41" name="object 41"/>
            <p:cNvSpPr/>
            <p:nvPr/>
          </p:nvSpPr>
          <p:spPr>
            <a:xfrm>
              <a:off x="3789212" y="3846406"/>
              <a:ext cx="372745" cy="848994"/>
            </a:xfrm>
            <a:custGeom>
              <a:avLst/>
              <a:gdLst/>
              <a:ahLst/>
              <a:cxnLst/>
              <a:rect l="l" t="t" r="r" b="b"/>
              <a:pathLst>
                <a:path w="372745" h="848995">
                  <a:moveTo>
                    <a:pt x="213194" y="0"/>
                  </a:moveTo>
                  <a:lnTo>
                    <a:pt x="0" y="0"/>
                  </a:lnTo>
                  <a:lnTo>
                    <a:pt x="6235" y="31483"/>
                  </a:lnTo>
                  <a:lnTo>
                    <a:pt x="15034" y="73654"/>
                  </a:lnTo>
                  <a:lnTo>
                    <a:pt x="24199" y="114904"/>
                  </a:lnTo>
                  <a:lnTo>
                    <a:pt x="33689" y="155214"/>
                  </a:lnTo>
                  <a:lnTo>
                    <a:pt x="56083" y="242709"/>
                  </a:lnTo>
                  <a:lnTo>
                    <a:pt x="72431" y="300801"/>
                  </a:lnTo>
                  <a:lnTo>
                    <a:pt x="89250" y="356436"/>
                  </a:lnTo>
                  <a:lnTo>
                    <a:pt x="106441" y="409572"/>
                  </a:lnTo>
                  <a:lnTo>
                    <a:pt x="123900" y="460164"/>
                  </a:lnTo>
                  <a:lnTo>
                    <a:pt x="141528" y="508168"/>
                  </a:lnTo>
                  <a:lnTo>
                    <a:pt x="159223" y="553539"/>
                  </a:lnTo>
                  <a:lnTo>
                    <a:pt x="176884" y="596233"/>
                  </a:lnTo>
                  <a:lnTo>
                    <a:pt x="194409" y="636206"/>
                  </a:lnTo>
                  <a:lnTo>
                    <a:pt x="211698" y="673413"/>
                  </a:lnTo>
                  <a:lnTo>
                    <a:pt x="228649" y="707811"/>
                  </a:lnTo>
                  <a:lnTo>
                    <a:pt x="264010" y="772976"/>
                  </a:lnTo>
                  <a:lnTo>
                    <a:pt x="298758" y="827711"/>
                  </a:lnTo>
                  <a:lnTo>
                    <a:pt x="314286" y="848652"/>
                  </a:lnTo>
                  <a:lnTo>
                    <a:pt x="372668" y="848652"/>
                  </a:lnTo>
                  <a:lnTo>
                    <a:pt x="356514" y="819619"/>
                  </a:lnTo>
                  <a:lnTo>
                    <a:pt x="343627" y="793821"/>
                  </a:lnTo>
                  <a:lnTo>
                    <a:pt x="327651" y="759157"/>
                  </a:lnTo>
                  <a:lnTo>
                    <a:pt x="301663" y="696061"/>
                  </a:lnTo>
                  <a:lnTo>
                    <a:pt x="287628" y="657295"/>
                  </a:lnTo>
                  <a:lnTo>
                    <a:pt x="265621" y="587908"/>
                  </a:lnTo>
                  <a:lnTo>
                    <a:pt x="253259" y="542026"/>
                  </a:lnTo>
                  <a:lnTo>
                    <a:pt x="238603" y="476702"/>
                  </a:lnTo>
                  <a:lnTo>
                    <a:pt x="231093" y="435168"/>
                  </a:lnTo>
                  <a:lnTo>
                    <a:pt x="224858" y="392248"/>
                  </a:lnTo>
                  <a:lnTo>
                    <a:pt x="220078" y="348068"/>
                  </a:lnTo>
                  <a:lnTo>
                    <a:pt x="215696" y="293389"/>
                  </a:lnTo>
                  <a:lnTo>
                    <a:pt x="211386" y="218238"/>
                  </a:lnTo>
                  <a:lnTo>
                    <a:pt x="209328" y="142002"/>
                  </a:lnTo>
                  <a:lnTo>
                    <a:pt x="209307" y="97007"/>
                  </a:lnTo>
                  <a:lnTo>
                    <a:pt x="210035" y="60020"/>
                  </a:lnTo>
                  <a:lnTo>
                    <a:pt x="211137" y="31483"/>
                  </a:lnTo>
                  <a:lnTo>
                    <a:pt x="213194" y="0"/>
                  </a:lnTo>
                  <a:close/>
                </a:path>
              </a:pathLst>
            </a:custGeom>
            <a:solidFill>
              <a:srgbClr val="18171C">
                <a:alpha val="9999"/>
              </a:srgbClr>
            </a:solidFill>
          </p:spPr>
          <p:txBody>
            <a:bodyPr wrap="square" lIns="0" tIns="0" rIns="0" bIns="0" rtlCol="0"/>
            <a:lstStyle/>
            <a:p>
              <a:endParaRPr/>
            </a:p>
          </p:txBody>
        </p:sp>
        <p:sp>
          <p:nvSpPr>
            <p:cNvPr id="42" name="object 42"/>
            <p:cNvSpPr/>
            <p:nvPr/>
          </p:nvSpPr>
          <p:spPr>
            <a:xfrm>
              <a:off x="3530180" y="4040974"/>
              <a:ext cx="471805" cy="48260"/>
            </a:xfrm>
            <a:custGeom>
              <a:avLst/>
              <a:gdLst/>
              <a:ahLst/>
              <a:cxnLst/>
              <a:rect l="l" t="t" r="r" b="b"/>
              <a:pathLst>
                <a:path w="471804" h="48260">
                  <a:moveTo>
                    <a:pt x="471627" y="48145"/>
                  </a:moveTo>
                  <a:lnTo>
                    <a:pt x="471398" y="44043"/>
                  </a:lnTo>
                  <a:lnTo>
                    <a:pt x="445046" y="44043"/>
                  </a:lnTo>
                  <a:lnTo>
                    <a:pt x="445046" y="4114"/>
                  </a:lnTo>
                  <a:lnTo>
                    <a:pt x="469671" y="4114"/>
                  </a:lnTo>
                  <a:lnTo>
                    <a:pt x="469519" y="12"/>
                  </a:lnTo>
                  <a:lnTo>
                    <a:pt x="445046" y="12"/>
                  </a:lnTo>
                  <a:lnTo>
                    <a:pt x="440944" y="0"/>
                  </a:lnTo>
                  <a:lnTo>
                    <a:pt x="440944" y="4114"/>
                  </a:lnTo>
                  <a:lnTo>
                    <a:pt x="440944" y="44043"/>
                  </a:lnTo>
                  <a:lnTo>
                    <a:pt x="399021" y="44043"/>
                  </a:lnTo>
                  <a:lnTo>
                    <a:pt x="399021" y="4114"/>
                  </a:lnTo>
                  <a:lnTo>
                    <a:pt x="440944" y="4114"/>
                  </a:lnTo>
                  <a:lnTo>
                    <a:pt x="440944" y="12"/>
                  </a:lnTo>
                  <a:lnTo>
                    <a:pt x="399021" y="12"/>
                  </a:lnTo>
                  <a:lnTo>
                    <a:pt x="394919" y="0"/>
                  </a:lnTo>
                  <a:lnTo>
                    <a:pt x="394919" y="4114"/>
                  </a:lnTo>
                  <a:lnTo>
                    <a:pt x="394919" y="44043"/>
                  </a:lnTo>
                  <a:lnTo>
                    <a:pt x="352983" y="44043"/>
                  </a:lnTo>
                  <a:lnTo>
                    <a:pt x="352983" y="4114"/>
                  </a:lnTo>
                  <a:lnTo>
                    <a:pt x="394919" y="4114"/>
                  </a:lnTo>
                  <a:lnTo>
                    <a:pt x="394919" y="12"/>
                  </a:lnTo>
                  <a:lnTo>
                    <a:pt x="352983" y="12"/>
                  </a:lnTo>
                  <a:lnTo>
                    <a:pt x="348881" y="0"/>
                  </a:lnTo>
                  <a:lnTo>
                    <a:pt x="348881" y="4114"/>
                  </a:lnTo>
                  <a:lnTo>
                    <a:pt x="348881" y="44043"/>
                  </a:lnTo>
                  <a:lnTo>
                    <a:pt x="306959" y="44043"/>
                  </a:lnTo>
                  <a:lnTo>
                    <a:pt x="306959" y="4114"/>
                  </a:lnTo>
                  <a:lnTo>
                    <a:pt x="348881" y="4114"/>
                  </a:lnTo>
                  <a:lnTo>
                    <a:pt x="348881" y="12"/>
                  </a:lnTo>
                  <a:lnTo>
                    <a:pt x="306959" y="12"/>
                  </a:lnTo>
                  <a:lnTo>
                    <a:pt x="302856" y="0"/>
                  </a:lnTo>
                  <a:lnTo>
                    <a:pt x="302856" y="4114"/>
                  </a:lnTo>
                  <a:lnTo>
                    <a:pt x="302856" y="44043"/>
                  </a:lnTo>
                  <a:lnTo>
                    <a:pt x="260934" y="44043"/>
                  </a:lnTo>
                  <a:lnTo>
                    <a:pt x="260934" y="4114"/>
                  </a:lnTo>
                  <a:lnTo>
                    <a:pt x="302856" y="4114"/>
                  </a:lnTo>
                  <a:lnTo>
                    <a:pt x="302856" y="12"/>
                  </a:lnTo>
                  <a:lnTo>
                    <a:pt x="260934" y="12"/>
                  </a:lnTo>
                  <a:lnTo>
                    <a:pt x="256832" y="0"/>
                  </a:lnTo>
                  <a:lnTo>
                    <a:pt x="256832" y="4114"/>
                  </a:lnTo>
                  <a:lnTo>
                    <a:pt x="256832" y="44043"/>
                  </a:lnTo>
                  <a:lnTo>
                    <a:pt x="214909" y="44043"/>
                  </a:lnTo>
                  <a:lnTo>
                    <a:pt x="214909" y="4114"/>
                  </a:lnTo>
                  <a:lnTo>
                    <a:pt x="256832" y="4114"/>
                  </a:lnTo>
                  <a:lnTo>
                    <a:pt x="256832" y="12"/>
                  </a:lnTo>
                  <a:lnTo>
                    <a:pt x="214909" y="12"/>
                  </a:lnTo>
                  <a:lnTo>
                    <a:pt x="210807" y="0"/>
                  </a:lnTo>
                  <a:lnTo>
                    <a:pt x="210807" y="4114"/>
                  </a:lnTo>
                  <a:lnTo>
                    <a:pt x="210807" y="44043"/>
                  </a:lnTo>
                  <a:lnTo>
                    <a:pt x="168871" y="44043"/>
                  </a:lnTo>
                  <a:lnTo>
                    <a:pt x="168871" y="4114"/>
                  </a:lnTo>
                  <a:lnTo>
                    <a:pt x="210807" y="4114"/>
                  </a:lnTo>
                  <a:lnTo>
                    <a:pt x="210807" y="12"/>
                  </a:lnTo>
                  <a:lnTo>
                    <a:pt x="168871" y="12"/>
                  </a:lnTo>
                  <a:lnTo>
                    <a:pt x="164769" y="0"/>
                  </a:lnTo>
                  <a:lnTo>
                    <a:pt x="164769" y="4114"/>
                  </a:lnTo>
                  <a:lnTo>
                    <a:pt x="164769" y="44043"/>
                  </a:lnTo>
                  <a:lnTo>
                    <a:pt x="122834" y="44043"/>
                  </a:lnTo>
                  <a:lnTo>
                    <a:pt x="122834" y="4114"/>
                  </a:lnTo>
                  <a:lnTo>
                    <a:pt x="164769" y="4114"/>
                  </a:lnTo>
                  <a:lnTo>
                    <a:pt x="164769" y="12"/>
                  </a:lnTo>
                  <a:lnTo>
                    <a:pt x="122834" y="12"/>
                  </a:lnTo>
                  <a:lnTo>
                    <a:pt x="118732" y="0"/>
                  </a:lnTo>
                  <a:lnTo>
                    <a:pt x="118732" y="4114"/>
                  </a:lnTo>
                  <a:lnTo>
                    <a:pt x="118732" y="44043"/>
                  </a:lnTo>
                  <a:lnTo>
                    <a:pt x="76822" y="44043"/>
                  </a:lnTo>
                  <a:lnTo>
                    <a:pt x="76822" y="4114"/>
                  </a:lnTo>
                  <a:lnTo>
                    <a:pt x="118732" y="4114"/>
                  </a:lnTo>
                  <a:lnTo>
                    <a:pt x="118732" y="12"/>
                  </a:lnTo>
                  <a:lnTo>
                    <a:pt x="76822" y="12"/>
                  </a:lnTo>
                  <a:lnTo>
                    <a:pt x="72720" y="0"/>
                  </a:lnTo>
                  <a:lnTo>
                    <a:pt x="72720" y="4114"/>
                  </a:lnTo>
                  <a:lnTo>
                    <a:pt x="72720" y="44043"/>
                  </a:lnTo>
                  <a:lnTo>
                    <a:pt x="30784" y="44043"/>
                  </a:lnTo>
                  <a:lnTo>
                    <a:pt x="30784" y="4114"/>
                  </a:lnTo>
                  <a:lnTo>
                    <a:pt x="72720" y="4114"/>
                  </a:lnTo>
                  <a:lnTo>
                    <a:pt x="72720" y="12"/>
                  </a:lnTo>
                  <a:lnTo>
                    <a:pt x="30784" y="12"/>
                  </a:lnTo>
                  <a:lnTo>
                    <a:pt x="26682" y="0"/>
                  </a:lnTo>
                  <a:lnTo>
                    <a:pt x="2057" y="12"/>
                  </a:lnTo>
                  <a:lnTo>
                    <a:pt x="1892" y="4114"/>
                  </a:lnTo>
                  <a:lnTo>
                    <a:pt x="26682" y="4114"/>
                  </a:lnTo>
                  <a:lnTo>
                    <a:pt x="26682" y="44043"/>
                  </a:lnTo>
                  <a:lnTo>
                    <a:pt x="254" y="44043"/>
                  </a:lnTo>
                  <a:lnTo>
                    <a:pt x="0" y="48145"/>
                  </a:lnTo>
                  <a:lnTo>
                    <a:pt x="26682" y="48145"/>
                  </a:lnTo>
                  <a:lnTo>
                    <a:pt x="30784" y="48171"/>
                  </a:lnTo>
                  <a:lnTo>
                    <a:pt x="72720" y="48145"/>
                  </a:lnTo>
                  <a:lnTo>
                    <a:pt x="76822" y="48171"/>
                  </a:lnTo>
                  <a:lnTo>
                    <a:pt x="118732" y="48145"/>
                  </a:lnTo>
                  <a:lnTo>
                    <a:pt x="122834" y="48171"/>
                  </a:lnTo>
                  <a:lnTo>
                    <a:pt x="164769" y="48145"/>
                  </a:lnTo>
                  <a:lnTo>
                    <a:pt x="168871" y="48171"/>
                  </a:lnTo>
                  <a:lnTo>
                    <a:pt x="210807" y="48145"/>
                  </a:lnTo>
                  <a:lnTo>
                    <a:pt x="214909" y="48171"/>
                  </a:lnTo>
                  <a:lnTo>
                    <a:pt x="256832" y="48145"/>
                  </a:lnTo>
                  <a:lnTo>
                    <a:pt x="260934" y="48171"/>
                  </a:lnTo>
                  <a:lnTo>
                    <a:pt x="302856" y="48145"/>
                  </a:lnTo>
                  <a:lnTo>
                    <a:pt x="306959" y="48171"/>
                  </a:lnTo>
                  <a:lnTo>
                    <a:pt x="348881" y="48145"/>
                  </a:lnTo>
                  <a:lnTo>
                    <a:pt x="352983" y="48171"/>
                  </a:lnTo>
                  <a:lnTo>
                    <a:pt x="394919" y="48145"/>
                  </a:lnTo>
                  <a:lnTo>
                    <a:pt x="399021" y="48171"/>
                  </a:lnTo>
                  <a:lnTo>
                    <a:pt x="440944" y="48145"/>
                  </a:lnTo>
                  <a:lnTo>
                    <a:pt x="445046" y="48171"/>
                  </a:lnTo>
                  <a:lnTo>
                    <a:pt x="471627" y="48145"/>
                  </a:lnTo>
                  <a:close/>
                </a:path>
              </a:pathLst>
            </a:custGeom>
            <a:solidFill>
              <a:srgbClr val="484C4F"/>
            </a:solidFill>
          </p:spPr>
          <p:txBody>
            <a:bodyPr wrap="square" lIns="0" tIns="0" rIns="0" bIns="0" rtlCol="0"/>
            <a:lstStyle/>
            <a:p>
              <a:endParaRPr/>
            </a:p>
          </p:txBody>
        </p:sp>
        <p:sp>
          <p:nvSpPr>
            <p:cNvPr id="43" name="object 43"/>
            <p:cNvSpPr/>
            <p:nvPr/>
          </p:nvSpPr>
          <p:spPr>
            <a:xfrm>
              <a:off x="3317582" y="4695075"/>
              <a:ext cx="895985" cy="41275"/>
            </a:xfrm>
            <a:custGeom>
              <a:avLst/>
              <a:gdLst/>
              <a:ahLst/>
              <a:cxnLst/>
              <a:rect l="l" t="t" r="r" b="b"/>
              <a:pathLst>
                <a:path w="895985" h="41275">
                  <a:moveTo>
                    <a:pt x="895819" y="0"/>
                  </a:moveTo>
                  <a:lnTo>
                    <a:pt x="0" y="0"/>
                  </a:lnTo>
                  <a:lnTo>
                    <a:pt x="0" y="40652"/>
                  </a:lnTo>
                  <a:lnTo>
                    <a:pt x="895819" y="40652"/>
                  </a:lnTo>
                  <a:lnTo>
                    <a:pt x="895819" y="0"/>
                  </a:lnTo>
                  <a:close/>
                </a:path>
              </a:pathLst>
            </a:custGeom>
            <a:solidFill>
              <a:srgbClr val="1D2226"/>
            </a:solidFill>
          </p:spPr>
          <p:txBody>
            <a:bodyPr wrap="square" lIns="0" tIns="0" rIns="0" bIns="0" rtlCol="0"/>
            <a:lstStyle/>
            <a:p>
              <a:endParaRPr/>
            </a:p>
          </p:txBody>
        </p:sp>
        <p:sp>
          <p:nvSpPr>
            <p:cNvPr id="44" name="object 44"/>
            <p:cNvSpPr/>
            <p:nvPr/>
          </p:nvSpPr>
          <p:spPr>
            <a:xfrm>
              <a:off x="2623643" y="3473903"/>
              <a:ext cx="1177925" cy="1262380"/>
            </a:xfrm>
            <a:custGeom>
              <a:avLst/>
              <a:gdLst/>
              <a:ahLst/>
              <a:cxnLst/>
              <a:rect l="l" t="t" r="r" b="b"/>
              <a:pathLst>
                <a:path w="1177925" h="1262379">
                  <a:moveTo>
                    <a:pt x="940257" y="0"/>
                  </a:moveTo>
                  <a:lnTo>
                    <a:pt x="237083" y="0"/>
                  </a:lnTo>
                  <a:lnTo>
                    <a:pt x="238644" y="18016"/>
                  </a:lnTo>
                  <a:lnTo>
                    <a:pt x="240118" y="46824"/>
                  </a:lnTo>
                  <a:lnTo>
                    <a:pt x="241450" y="79756"/>
                  </a:lnTo>
                  <a:lnTo>
                    <a:pt x="242475" y="120812"/>
                  </a:lnTo>
                  <a:lnTo>
                    <a:pt x="242919" y="169659"/>
                  </a:lnTo>
                  <a:lnTo>
                    <a:pt x="242508" y="225965"/>
                  </a:lnTo>
                  <a:lnTo>
                    <a:pt x="240233" y="309899"/>
                  </a:lnTo>
                  <a:lnTo>
                    <a:pt x="237934" y="360984"/>
                  </a:lnTo>
                  <a:lnTo>
                    <a:pt x="235369" y="406158"/>
                  </a:lnTo>
                  <a:lnTo>
                    <a:pt x="229642" y="485159"/>
                  </a:lnTo>
                  <a:lnTo>
                    <a:pt x="225370" y="533996"/>
                  </a:lnTo>
                  <a:lnTo>
                    <a:pt x="219887" y="582206"/>
                  </a:lnTo>
                  <a:lnTo>
                    <a:pt x="211996" y="637389"/>
                  </a:lnTo>
                  <a:lnTo>
                    <a:pt x="202710" y="691043"/>
                  </a:lnTo>
                  <a:lnTo>
                    <a:pt x="192198" y="743059"/>
                  </a:lnTo>
                  <a:lnTo>
                    <a:pt x="180630" y="793328"/>
                  </a:lnTo>
                  <a:lnTo>
                    <a:pt x="168175" y="841740"/>
                  </a:lnTo>
                  <a:lnTo>
                    <a:pt x="152037" y="898271"/>
                  </a:lnTo>
                  <a:lnTo>
                    <a:pt x="127065" y="975330"/>
                  </a:lnTo>
                  <a:lnTo>
                    <a:pt x="111113" y="1019910"/>
                  </a:lnTo>
                  <a:lnTo>
                    <a:pt x="95183" y="1061401"/>
                  </a:lnTo>
                  <a:lnTo>
                    <a:pt x="79019" y="1100874"/>
                  </a:lnTo>
                  <a:lnTo>
                    <a:pt x="78663" y="1102093"/>
                  </a:lnTo>
                  <a:lnTo>
                    <a:pt x="77927" y="1103312"/>
                  </a:lnTo>
                  <a:lnTo>
                    <a:pt x="65735" y="1131595"/>
                  </a:lnTo>
                  <a:lnTo>
                    <a:pt x="45392" y="1175784"/>
                  </a:lnTo>
                  <a:lnTo>
                    <a:pt x="27301" y="1212362"/>
                  </a:lnTo>
                  <a:lnTo>
                    <a:pt x="12207" y="1240846"/>
                  </a:lnTo>
                  <a:lnTo>
                    <a:pt x="127" y="1261732"/>
                  </a:lnTo>
                  <a:lnTo>
                    <a:pt x="0" y="1262214"/>
                  </a:lnTo>
                  <a:lnTo>
                    <a:pt x="1177467" y="1262214"/>
                  </a:lnTo>
                  <a:lnTo>
                    <a:pt x="1157211" y="1226121"/>
                  </a:lnTo>
                  <a:lnTo>
                    <a:pt x="1145032" y="1202575"/>
                  </a:lnTo>
                  <a:lnTo>
                    <a:pt x="1122733" y="1156149"/>
                  </a:lnTo>
                  <a:lnTo>
                    <a:pt x="1093313" y="1089182"/>
                  </a:lnTo>
                  <a:lnTo>
                    <a:pt x="1070916" y="1032496"/>
                  </a:lnTo>
                  <a:lnTo>
                    <a:pt x="1050980" y="977610"/>
                  </a:lnTo>
                  <a:lnTo>
                    <a:pt x="1034316" y="927541"/>
                  </a:lnTo>
                  <a:lnTo>
                    <a:pt x="1018247" y="874410"/>
                  </a:lnTo>
                  <a:lnTo>
                    <a:pt x="999860" y="806173"/>
                  </a:lnTo>
                  <a:lnTo>
                    <a:pt x="990866" y="768540"/>
                  </a:lnTo>
                  <a:lnTo>
                    <a:pt x="980504" y="721100"/>
                  </a:lnTo>
                  <a:lnTo>
                    <a:pt x="971151" y="672201"/>
                  </a:lnTo>
                  <a:lnTo>
                    <a:pt x="962942" y="621938"/>
                  </a:lnTo>
                  <a:lnTo>
                    <a:pt x="956015" y="570403"/>
                  </a:lnTo>
                  <a:lnTo>
                    <a:pt x="950506" y="517690"/>
                  </a:lnTo>
                  <a:lnTo>
                    <a:pt x="947009" y="476308"/>
                  </a:lnTo>
                  <a:lnTo>
                    <a:pt x="943998" y="436360"/>
                  </a:lnTo>
                  <a:lnTo>
                    <a:pt x="941467" y="397901"/>
                  </a:lnTo>
                  <a:lnTo>
                    <a:pt x="937580" y="324592"/>
                  </a:lnTo>
                  <a:lnTo>
                    <a:pt x="934711" y="225965"/>
                  </a:lnTo>
                  <a:lnTo>
                    <a:pt x="934328" y="169659"/>
                  </a:lnTo>
                  <a:lnTo>
                    <a:pt x="934808" y="120812"/>
                  </a:lnTo>
                  <a:lnTo>
                    <a:pt x="935864" y="79756"/>
                  </a:lnTo>
                  <a:lnTo>
                    <a:pt x="937209" y="46824"/>
                  </a:lnTo>
                  <a:lnTo>
                    <a:pt x="939280" y="11934"/>
                  </a:lnTo>
                  <a:lnTo>
                    <a:pt x="940257" y="0"/>
                  </a:lnTo>
                  <a:close/>
                </a:path>
              </a:pathLst>
            </a:custGeom>
            <a:solidFill>
              <a:srgbClr val="CFD1D0"/>
            </a:solidFill>
          </p:spPr>
          <p:txBody>
            <a:bodyPr wrap="square" lIns="0" tIns="0" rIns="0" bIns="0" rtlCol="0"/>
            <a:lstStyle/>
            <a:p>
              <a:endParaRPr/>
            </a:p>
          </p:txBody>
        </p:sp>
        <p:sp>
          <p:nvSpPr>
            <p:cNvPr id="45" name="object 45"/>
            <p:cNvSpPr/>
            <p:nvPr/>
          </p:nvSpPr>
          <p:spPr>
            <a:xfrm>
              <a:off x="2623643" y="3473903"/>
              <a:ext cx="1177925" cy="1262380"/>
            </a:xfrm>
            <a:custGeom>
              <a:avLst/>
              <a:gdLst/>
              <a:ahLst/>
              <a:cxnLst/>
              <a:rect l="l" t="t" r="r" b="b"/>
              <a:pathLst>
                <a:path w="1177925" h="1262379">
                  <a:moveTo>
                    <a:pt x="0" y="1262214"/>
                  </a:moveTo>
                  <a:lnTo>
                    <a:pt x="1177467" y="1262214"/>
                  </a:lnTo>
                  <a:lnTo>
                    <a:pt x="1176235" y="1260259"/>
                  </a:lnTo>
                  <a:lnTo>
                    <a:pt x="1174902" y="1257947"/>
                  </a:lnTo>
                  <a:lnTo>
                    <a:pt x="1173429" y="1255382"/>
                  </a:lnTo>
                  <a:lnTo>
                    <a:pt x="1171968" y="1252943"/>
                  </a:lnTo>
                  <a:lnTo>
                    <a:pt x="1170393" y="1250137"/>
                  </a:lnTo>
                  <a:lnTo>
                    <a:pt x="1168679" y="1247101"/>
                  </a:lnTo>
                  <a:lnTo>
                    <a:pt x="1166114" y="1242580"/>
                  </a:lnTo>
                  <a:lnTo>
                    <a:pt x="1163320" y="1237462"/>
                  </a:lnTo>
                  <a:lnTo>
                    <a:pt x="1160272" y="1231849"/>
                  </a:lnTo>
                  <a:lnTo>
                    <a:pt x="1159294" y="1230020"/>
                  </a:lnTo>
                  <a:lnTo>
                    <a:pt x="1158316" y="1228064"/>
                  </a:lnTo>
                  <a:lnTo>
                    <a:pt x="1157211" y="1226121"/>
                  </a:lnTo>
                  <a:lnTo>
                    <a:pt x="1134269" y="1180666"/>
                  </a:lnTo>
                  <a:lnTo>
                    <a:pt x="1110516" y="1129114"/>
                  </a:lnTo>
                  <a:lnTo>
                    <a:pt x="1093313" y="1089182"/>
                  </a:lnTo>
                  <a:lnTo>
                    <a:pt x="1080147" y="1056106"/>
                  </a:lnTo>
                  <a:lnTo>
                    <a:pt x="1077038" y="1048360"/>
                  </a:lnTo>
                  <a:lnTo>
                    <a:pt x="1050980" y="977610"/>
                  </a:lnTo>
                  <a:lnTo>
                    <a:pt x="1034316" y="927541"/>
                  </a:lnTo>
                  <a:lnTo>
                    <a:pt x="1018247" y="874410"/>
                  </a:lnTo>
                  <a:lnTo>
                    <a:pt x="1003071" y="818426"/>
                  </a:lnTo>
                  <a:lnTo>
                    <a:pt x="993805" y="781207"/>
                  </a:lnTo>
                  <a:lnTo>
                    <a:pt x="980504" y="721100"/>
                  </a:lnTo>
                  <a:lnTo>
                    <a:pt x="971151" y="672201"/>
                  </a:lnTo>
                  <a:lnTo>
                    <a:pt x="962942" y="621938"/>
                  </a:lnTo>
                  <a:lnTo>
                    <a:pt x="956015" y="570403"/>
                  </a:lnTo>
                  <a:lnTo>
                    <a:pt x="950506" y="517690"/>
                  </a:lnTo>
                  <a:lnTo>
                    <a:pt x="947009" y="476308"/>
                  </a:lnTo>
                  <a:lnTo>
                    <a:pt x="943998" y="436360"/>
                  </a:lnTo>
                  <a:lnTo>
                    <a:pt x="941467" y="397901"/>
                  </a:lnTo>
                  <a:lnTo>
                    <a:pt x="939291" y="358902"/>
                  </a:lnTo>
                  <a:lnTo>
                    <a:pt x="939165" y="356831"/>
                  </a:lnTo>
                  <a:lnTo>
                    <a:pt x="936987" y="309899"/>
                  </a:lnTo>
                  <a:lnTo>
                    <a:pt x="936485" y="295490"/>
                  </a:lnTo>
                  <a:lnTo>
                    <a:pt x="936358" y="293420"/>
                  </a:lnTo>
                  <a:lnTo>
                    <a:pt x="936358" y="291338"/>
                  </a:lnTo>
                  <a:lnTo>
                    <a:pt x="936244" y="289394"/>
                  </a:lnTo>
                  <a:lnTo>
                    <a:pt x="934711" y="225965"/>
                  </a:lnTo>
                  <a:lnTo>
                    <a:pt x="934328" y="169659"/>
                  </a:lnTo>
                  <a:lnTo>
                    <a:pt x="934808" y="120812"/>
                  </a:lnTo>
                  <a:lnTo>
                    <a:pt x="935864" y="79756"/>
                  </a:lnTo>
                  <a:lnTo>
                    <a:pt x="938301" y="26596"/>
                  </a:lnTo>
                  <a:lnTo>
                    <a:pt x="940257" y="0"/>
                  </a:lnTo>
                  <a:lnTo>
                    <a:pt x="805586" y="64"/>
                  </a:lnTo>
                  <a:lnTo>
                    <a:pt x="727668" y="85"/>
                  </a:lnTo>
                  <a:lnTo>
                    <a:pt x="676777" y="64"/>
                  </a:lnTo>
                  <a:lnTo>
                    <a:pt x="623189" y="0"/>
                  </a:lnTo>
                  <a:lnTo>
                    <a:pt x="237083" y="0"/>
                  </a:lnTo>
                  <a:lnTo>
                    <a:pt x="240118" y="46824"/>
                  </a:lnTo>
                  <a:lnTo>
                    <a:pt x="242475" y="120812"/>
                  </a:lnTo>
                  <a:lnTo>
                    <a:pt x="242919" y="169659"/>
                  </a:lnTo>
                  <a:lnTo>
                    <a:pt x="242508" y="225965"/>
                  </a:lnTo>
                  <a:lnTo>
                    <a:pt x="240969" y="289394"/>
                  </a:lnTo>
                  <a:lnTo>
                    <a:pt x="240969" y="291465"/>
                  </a:lnTo>
                  <a:lnTo>
                    <a:pt x="240855" y="293420"/>
                  </a:lnTo>
                  <a:lnTo>
                    <a:pt x="240741" y="295490"/>
                  </a:lnTo>
                  <a:lnTo>
                    <a:pt x="240233" y="309899"/>
                  </a:lnTo>
                  <a:lnTo>
                    <a:pt x="239649" y="324592"/>
                  </a:lnTo>
                  <a:lnTo>
                    <a:pt x="237934" y="360984"/>
                  </a:lnTo>
                  <a:lnTo>
                    <a:pt x="236741" y="383294"/>
                  </a:lnTo>
                  <a:lnTo>
                    <a:pt x="233816" y="429575"/>
                  </a:lnTo>
                  <a:lnTo>
                    <a:pt x="230919" y="469223"/>
                  </a:lnTo>
                  <a:lnTo>
                    <a:pt x="226834" y="517690"/>
                  </a:lnTo>
                  <a:lnTo>
                    <a:pt x="221894" y="566242"/>
                  </a:lnTo>
                  <a:lnTo>
                    <a:pt x="211996" y="637389"/>
                  </a:lnTo>
                  <a:lnTo>
                    <a:pt x="202710" y="691043"/>
                  </a:lnTo>
                  <a:lnTo>
                    <a:pt x="192198" y="743059"/>
                  </a:lnTo>
                  <a:lnTo>
                    <a:pt x="180630" y="793328"/>
                  </a:lnTo>
                  <a:lnTo>
                    <a:pt x="168175" y="841740"/>
                  </a:lnTo>
                  <a:lnTo>
                    <a:pt x="155003" y="888187"/>
                  </a:lnTo>
                  <a:lnTo>
                    <a:pt x="142798" y="927811"/>
                  </a:lnTo>
                  <a:lnTo>
                    <a:pt x="127065" y="975330"/>
                  </a:lnTo>
                  <a:lnTo>
                    <a:pt x="111113" y="1019910"/>
                  </a:lnTo>
                  <a:lnTo>
                    <a:pt x="95183" y="1061401"/>
                  </a:lnTo>
                  <a:lnTo>
                    <a:pt x="79514" y="1099654"/>
                  </a:lnTo>
                  <a:lnTo>
                    <a:pt x="79019" y="1100874"/>
                  </a:lnTo>
                  <a:lnTo>
                    <a:pt x="78663" y="1102093"/>
                  </a:lnTo>
                  <a:lnTo>
                    <a:pt x="77927" y="1103312"/>
                  </a:lnTo>
                  <a:lnTo>
                    <a:pt x="74839" y="1110578"/>
                  </a:lnTo>
                  <a:lnTo>
                    <a:pt x="45392" y="1175784"/>
                  </a:lnTo>
                  <a:lnTo>
                    <a:pt x="27301" y="1212362"/>
                  </a:lnTo>
                  <a:lnTo>
                    <a:pt x="850" y="1260754"/>
                  </a:lnTo>
                  <a:lnTo>
                    <a:pt x="482" y="1261237"/>
                  </a:lnTo>
                  <a:lnTo>
                    <a:pt x="127" y="1261732"/>
                  </a:lnTo>
                  <a:lnTo>
                    <a:pt x="0" y="1262214"/>
                  </a:lnTo>
                  <a:close/>
                </a:path>
              </a:pathLst>
            </a:custGeom>
            <a:ln w="8966">
              <a:solidFill>
                <a:srgbClr val="FFFFFF"/>
              </a:solidFill>
            </a:ln>
          </p:spPr>
          <p:txBody>
            <a:bodyPr wrap="square" lIns="0" tIns="0" rIns="0" bIns="0" rtlCol="0"/>
            <a:lstStyle/>
            <a:p>
              <a:endParaRPr/>
            </a:p>
          </p:txBody>
        </p:sp>
        <p:sp>
          <p:nvSpPr>
            <p:cNvPr id="46" name="object 46"/>
            <p:cNvSpPr/>
            <p:nvPr/>
          </p:nvSpPr>
          <p:spPr>
            <a:xfrm>
              <a:off x="2623582" y="4573598"/>
              <a:ext cx="1177925" cy="162560"/>
            </a:xfrm>
            <a:custGeom>
              <a:avLst/>
              <a:gdLst/>
              <a:ahLst/>
              <a:cxnLst/>
              <a:rect l="l" t="t" r="r" b="b"/>
              <a:pathLst>
                <a:path w="1177925" h="162560">
                  <a:moveTo>
                    <a:pt x="1097826" y="0"/>
                  </a:moveTo>
                  <a:lnTo>
                    <a:pt x="79641" y="0"/>
                  </a:lnTo>
                  <a:lnTo>
                    <a:pt x="65862" y="31940"/>
                  </a:lnTo>
                  <a:lnTo>
                    <a:pt x="45515" y="76129"/>
                  </a:lnTo>
                  <a:lnTo>
                    <a:pt x="27408" y="112707"/>
                  </a:lnTo>
                  <a:lnTo>
                    <a:pt x="12275" y="141191"/>
                  </a:lnTo>
                  <a:lnTo>
                    <a:pt x="0" y="162560"/>
                  </a:lnTo>
                  <a:lnTo>
                    <a:pt x="1177582" y="162560"/>
                  </a:lnTo>
                  <a:lnTo>
                    <a:pt x="1148319" y="109203"/>
                  </a:lnTo>
                  <a:lnTo>
                    <a:pt x="1122810" y="56494"/>
                  </a:lnTo>
                  <a:lnTo>
                    <a:pt x="1110584" y="29459"/>
                  </a:lnTo>
                  <a:lnTo>
                    <a:pt x="1097826" y="0"/>
                  </a:lnTo>
                  <a:close/>
                </a:path>
              </a:pathLst>
            </a:custGeom>
            <a:solidFill>
              <a:srgbClr val="E9E9E8"/>
            </a:solidFill>
          </p:spPr>
          <p:txBody>
            <a:bodyPr wrap="square" lIns="0" tIns="0" rIns="0" bIns="0" rtlCol="0"/>
            <a:lstStyle/>
            <a:p>
              <a:endParaRPr/>
            </a:p>
          </p:txBody>
        </p:sp>
        <p:sp>
          <p:nvSpPr>
            <p:cNvPr id="47" name="object 47"/>
            <p:cNvSpPr/>
            <p:nvPr/>
          </p:nvSpPr>
          <p:spPr>
            <a:xfrm>
              <a:off x="2623582" y="4573598"/>
              <a:ext cx="1177925" cy="162560"/>
            </a:xfrm>
            <a:custGeom>
              <a:avLst/>
              <a:gdLst/>
              <a:ahLst/>
              <a:cxnLst/>
              <a:rect l="l" t="t" r="r" b="b"/>
              <a:pathLst>
                <a:path w="1177925" h="162560">
                  <a:moveTo>
                    <a:pt x="0" y="162560"/>
                  </a:moveTo>
                  <a:lnTo>
                    <a:pt x="1177582" y="162560"/>
                  </a:lnTo>
                  <a:lnTo>
                    <a:pt x="1173545" y="155752"/>
                  </a:lnTo>
                  <a:lnTo>
                    <a:pt x="1168788" y="147437"/>
                  </a:lnTo>
                  <a:lnTo>
                    <a:pt x="1148319" y="109203"/>
                  </a:lnTo>
                  <a:lnTo>
                    <a:pt x="1122810" y="56494"/>
                  </a:lnTo>
                  <a:lnTo>
                    <a:pt x="1097826" y="0"/>
                  </a:lnTo>
                  <a:lnTo>
                    <a:pt x="79641" y="0"/>
                  </a:lnTo>
                  <a:lnTo>
                    <a:pt x="79146" y="1219"/>
                  </a:lnTo>
                  <a:lnTo>
                    <a:pt x="78663" y="2438"/>
                  </a:lnTo>
                  <a:lnTo>
                    <a:pt x="78041" y="3657"/>
                  </a:lnTo>
                  <a:lnTo>
                    <a:pt x="45515" y="76129"/>
                  </a:lnTo>
                  <a:lnTo>
                    <a:pt x="27408" y="112707"/>
                  </a:lnTo>
                  <a:lnTo>
                    <a:pt x="850" y="161099"/>
                  </a:lnTo>
                  <a:lnTo>
                    <a:pt x="609" y="161582"/>
                  </a:lnTo>
                  <a:lnTo>
                    <a:pt x="241" y="162077"/>
                  </a:lnTo>
                  <a:lnTo>
                    <a:pt x="0" y="162560"/>
                  </a:lnTo>
                  <a:close/>
                </a:path>
              </a:pathLst>
            </a:custGeom>
            <a:ln w="6718">
              <a:solidFill>
                <a:srgbClr val="FFFFFF"/>
              </a:solidFill>
            </a:ln>
          </p:spPr>
          <p:txBody>
            <a:bodyPr wrap="square" lIns="0" tIns="0" rIns="0" bIns="0" rtlCol="0"/>
            <a:lstStyle/>
            <a:p>
              <a:endParaRPr/>
            </a:p>
          </p:txBody>
        </p:sp>
        <p:sp>
          <p:nvSpPr>
            <p:cNvPr id="48" name="object 48"/>
            <p:cNvSpPr/>
            <p:nvPr/>
          </p:nvSpPr>
          <p:spPr>
            <a:xfrm>
              <a:off x="2860659" y="3473940"/>
              <a:ext cx="703580" cy="46990"/>
            </a:xfrm>
            <a:custGeom>
              <a:avLst/>
              <a:gdLst/>
              <a:ahLst/>
              <a:cxnLst/>
              <a:rect l="l" t="t" r="r" b="b"/>
              <a:pathLst>
                <a:path w="703579" h="46989">
                  <a:moveTo>
                    <a:pt x="703313" y="0"/>
                  </a:moveTo>
                  <a:lnTo>
                    <a:pt x="0" y="0"/>
                  </a:lnTo>
                  <a:lnTo>
                    <a:pt x="1571" y="18018"/>
                  </a:lnTo>
                  <a:lnTo>
                    <a:pt x="3048" y="46837"/>
                  </a:lnTo>
                  <a:lnTo>
                    <a:pt x="700252" y="46837"/>
                  </a:lnTo>
                  <a:lnTo>
                    <a:pt x="702330" y="11936"/>
                  </a:lnTo>
                  <a:lnTo>
                    <a:pt x="703313" y="0"/>
                  </a:lnTo>
                  <a:close/>
                </a:path>
              </a:pathLst>
            </a:custGeom>
            <a:solidFill>
              <a:srgbClr val="E9E9E8"/>
            </a:solidFill>
          </p:spPr>
          <p:txBody>
            <a:bodyPr wrap="square" lIns="0" tIns="0" rIns="0" bIns="0" rtlCol="0"/>
            <a:lstStyle/>
            <a:p>
              <a:endParaRPr/>
            </a:p>
          </p:txBody>
        </p:sp>
        <p:sp>
          <p:nvSpPr>
            <p:cNvPr id="49" name="object 49"/>
            <p:cNvSpPr/>
            <p:nvPr/>
          </p:nvSpPr>
          <p:spPr>
            <a:xfrm>
              <a:off x="2860659" y="3473940"/>
              <a:ext cx="703580" cy="46990"/>
            </a:xfrm>
            <a:custGeom>
              <a:avLst/>
              <a:gdLst/>
              <a:ahLst/>
              <a:cxnLst/>
              <a:rect l="l" t="t" r="r" b="b"/>
              <a:pathLst>
                <a:path w="703579" h="46989">
                  <a:moveTo>
                    <a:pt x="0" y="0"/>
                  </a:moveTo>
                  <a:lnTo>
                    <a:pt x="940" y="9854"/>
                  </a:lnTo>
                  <a:lnTo>
                    <a:pt x="1571" y="18018"/>
                  </a:lnTo>
                  <a:lnTo>
                    <a:pt x="2178" y="28882"/>
                  </a:lnTo>
                  <a:lnTo>
                    <a:pt x="3048" y="46837"/>
                  </a:lnTo>
                  <a:lnTo>
                    <a:pt x="700252" y="46837"/>
                  </a:lnTo>
                  <a:lnTo>
                    <a:pt x="701346" y="26601"/>
                  </a:lnTo>
                  <a:lnTo>
                    <a:pt x="702330" y="11936"/>
                  </a:lnTo>
                  <a:lnTo>
                    <a:pt x="703040" y="3012"/>
                  </a:lnTo>
                  <a:lnTo>
                    <a:pt x="703313" y="0"/>
                  </a:lnTo>
                  <a:lnTo>
                    <a:pt x="0" y="0"/>
                  </a:lnTo>
                  <a:close/>
                </a:path>
              </a:pathLst>
            </a:custGeom>
            <a:ln w="6718">
              <a:solidFill>
                <a:srgbClr val="FFFFFF"/>
              </a:solidFill>
            </a:ln>
          </p:spPr>
          <p:txBody>
            <a:bodyPr wrap="square" lIns="0" tIns="0" rIns="0" bIns="0" rtlCol="0"/>
            <a:lstStyle/>
            <a:p>
              <a:endParaRPr/>
            </a:p>
          </p:txBody>
        </p:sp>
        <p:sp>
          <p:nvSpPr>
            <p:cNvPr id="50" name="object 50"/>
            <p:cNvSpPr/>
            <p:nvPr/>
          </p:nvSpPr>
          <p:spPr>
            <a:xfrm>
              <a:off x="3246824" y="3473898"/>
              <a:ext cx="554355" cy="1262380"/>
            </a:xfrm>
            <a:custGeom>
              <a:avLst/>
              <a:gdLst/>
              <a:ahLst/>
              <a:cxnLst/>
              <a:rect l="l" t="t" r="r" b="b"/>
              <a:pathLst>
                <a:path w="554354" h="1262379">
                  <a:moveTo>
                    <a:pt x="317080" y="0"/>
                  </a:moveTo>
                  <a:lnTo>
                    <a:pt x="0" y="0"/>
                  </a:lnTo>
                  <a:lnTo>
                    <a:pt x="9271" y="46837"/>
                  </a:lnTo>
                  <a:lnTo>
                    <a:pt x="19699" y="97114"/>
                  </a:lnTo>
                  <a:lnTo>
                    <a:pt x="30480" y="146526"/>
                  </a:lnTo>
                  <a:lnTo>
                    <a:pt x="41583" y="195055"/>
                  </a:lnTo>
                  <a:lnTo>
                    <a:pt x="52976" y="242684"/>
                  </a:lnTo>
                  <a:lnTo>
                    <a:pt x="67805" y="302196"/>
                  </a:lnTo>
                  <a:lnTo>
                    <a:pt x="83413" y="360984"/>
                  </a:lnTo>
                  <a:lnTo>
                    <a:pt x="100047" y="420774"/>
                  </a:lnTo>
                  <a:lnTo>
                    <a:pt x="117035" y="478848"/>
                  </a:lnTo>
                  <a:lnTo>
                    <a:pt x="134328" y="535184"/>
                  </a:lnTo>
                  <a:lnTo>
                    <a:pt x="151878" y="589760"/>
                  </a:lnTo>
                  <a:lnTo>
                    <a:pt x="169635" y="642556"/>
                  </a:lnTo>
                  <a:lnTo>
                    <a:pt x="187550" y="693550"/>
                  </a:lnTo>
                  <a:lnTo>
                    <a:pt x="205575" y="742721"/>
                  </a:lnTo>
                  <a:lnTo>
                    <a:pt x="223661" y="790046"/>
                  </a:lnTo>
                  <a:lnTo>
                    <a:pt x="241758" y="835505"/>
                  </a:lnTo>
                  <a:lnTo>
                    <a:pt x="259817" y="879076"/>
                  </a:lnTo>
                  <a:lnTo>
                    <a:pt x="277790" y="920737"/>
                  </a:lnTo>
                  <a:lnTo>
                    <a:pt x="295627" y="960468"/>
                  </a:lnTo>
                  <a:lnTo>
                    <a:pt x="313280" y="998247"/>
                  </a:lnTo>
                  <a:lnTo>
                    <a:pt x="330699" y="1034052"/>
                  </a:lnTo>
                  <a:lnTo>
                    <a:pt x="364642" y="1099654"/>
                  </a:lnTo>
                  <a:lnTo>
                    <a:pt x="392678" y="1149668"/>
                  </a:lnTo>
                  <a:lnTo>
                    <a:pt x="419341" y="1193517"/>
                  </a:lnTo>
                  <a:lnTo>
                    <a:pt x="444355" y="1231074"/>
                  </a:lnTo>
                  <a:lnTo>
                    <a:pt x="467448" y="1262214"/>
                  </a:lnTo>
                  <a:lnTo>
                    <a:pt x="554278" y="1262214"/>
                  </a:lnTo>
                  <a:lnTo>
                    <a:pt x="534035" y="1226121"/>
                  </a:lnTo>
                  <a:lnTo>
                    <a:pt x="521843" y="1202575"/>
                  </a:lnTo>
                  <a:lnTo>
                    <a:pt x="499549" y="1156149"/>
                  </a:lnTo>
                  <a:lnTo>
                    <a:pt x="470131" y="1089182"/>
                  </a:lnTo>
                  <a:lnTo>
                    <a:pt x="447734" y="1032502"/>
                  </a:lnTo>
                  <a:lnTo>
                    <a:pt x="427802" y="977612"/>
                  </a:lnTo>
                  <a:lnTo>
                    <a:pt x="411133" y="927546"/>
                  </a:lnTo>
                  <a:lnTo>
                    <a:pt x="395060" y="874415"/>
                  </a:lnTo>
                  <a:lnTo>
                    <a:pt x="376677" y="806173"/>
                  </a:lnTo>
                  <a:lnTo>
                    <a:pt x="367690" y="768553"/>
                  </a:lnTo>
                  <a:lnTo>
                    <a:pt x="357323" y="721106"/>
                  </a:lnTo>
                  <a:lnTo>
                    <a:pt x="347968" y="672204"/>
                  </a:lnTo>
                  <a:lnTo>
                    <a:pt x="339760" y="621939"/>
                  </a:lnTo>
                  <a:lnTo>
                    <a:pt x="332831" y="570403"/>
                  </a:lnTo>
                  <a:lnTo>
                    <a:pt x="327317" y="517690"/>
                  </a:lnTo>
                  <a:lnTo>
                    <a:pt x="323822" y="476313"/>
                  </a:lnTo>
                  <a:lnTo>
                    <a:pt x="320816" y="436365"/>
                  </a:lnTo>
                  <a:lnTo>
                    <a:pt x="318289" y="397903"/>
                  </a:lnTo>
                  <a:lnTo>
                    <a:pt x="314393" y="324597"/>
                  </a:lnTo>
                  <a:lnTo>
                    <a:pt x="311530" y="225970"/>
                  </a:lnTo>
                  <a:lnTo>
                    <a:pt x="311153" y="169666"/>
                  </a:lnTo>
                  <a:lnTo>
                    <a:pt x="311636" y="120818"/>
                  </a:lnTo>
                  <a:lnTo>
                    <a:pt x="312692" y="79764"/>
                  </a:lnTo>
                  <a:lnTo>
                    <a:pt x="314032" y="46837"/>
                  </a:lnTo>
                  <a:lnTo>
                    <a:pt x="316104" y="11936"/>
                  </a:lnTo>
                  <a:lnTo>
                    <a:pt x="317080" y="0"/>
                  </a:lnTo>
                  <a:close/>
                </a:path>
              </a:pathLst>
            </a:custGeom>
            <a:solidFill>
              <a:srgbClr val="18171C">
                <a:alpha val="9999"/>
              </a:srgbClr>
            </a:solidFill>
          </p:spPr>
          <p:txBody>
            <a:bodyPr wrap="square" lIns="0" tIns="0" rIns="0" bIns="0" rtlCol="0"/>
            <a:lstStyle/>
            <a:p>
              <a:endParaRPr/>
            </a:p>
          </p:txBody>
        </p:sp>
        <p:sp>
          <p:nvSpPr>
            <p:cNvPr id="51" name="object 51"/>
            <p:cNvSpPr/>
            <p:nvPr/>
          </p:nvSpPr>
          <p:spPr>
            <a:xfrm>
              <a:off x="2545359" y="4736160"/>
              <a:ext cx="1332865" cy="60960"/>
            </a:xfrm>
            <a:custGeom>
              <a:avLst/>
              <a:gdLst/>
              <a:ahLst/>
              <a:cxnLst/>
              <a:rect l="l" t="t" r="r" b="b"/>
              <a:pathLst>
                <a:path w="1332864" h="60960">
                  <a:moveTo>
                    <a:pt x="1332382" y="0"/>
                  </a:moveTo>
                  <a:lnTo>
                    <a:pt x="0" y="0"/>
                  </a:lnTo>
                  <a:lnTo>
                    <a:pt x="0" y="60464"/>
                  </a:lnTo>
                  <a:lnTo>
                    <a:pt x="1332382" y="60464"/>
                  </a:lnTo>
                  <a:lnTo>
                    <a:pt x="1332382" y="0"/>
                  </a:lnTo>
                  <a:close/>
                </a:path>
              </a:pathLst>
            </a:custGeom>
            <a:solidFill>
              <a:srgbClr val="1D2226"/>
            </a:solidFill>
          </p:spPr>
          <p:txBody>
            <a:bodyPr wrap="square" lIns="0" tIns="0" rIns="0" bIns="0" rtlCol="0"/>
            <a:lstStyle/>
            <a:p>
              <a:endParaRPr/>
            </a:p>
          </p:txBody>
        </p:sp>
        <p:sp>
          <p:nvSpPr>
            <p:cNvPr id="52" name="object 52"/>
            <p:cNvSpPr/>
            <p:nvPr/>
          </p:nvSpPr>
          <p:spPr>
            <a:xfrm>
              <a:off x="1465919" y="3473903"/>
              <a:ext cx="1177925" cy="1262380"/>
            </a:xfrm>
            <a:custGeom>
              <a:avLst/>
              <a:gdLst/>
              <a:ahLst/>
              <a:cxnLst/>
              <a:rect l="l" t="t" r="r" b="b"/>
              <a:pathLst>
                <a:path w="1177925" h="1262379">
                  <a:moveTo>
                    <a:pt x="940257" y="0"/>
                  </a:moveTo>
                  <a:lnTo>
                    <a:pt x="237083" y="0"/>
                  </a:lnTo>
                  <a:lnTo>
                    <a:pt x="238644" y="18016"/>
                  </a:lnTo>
                  <a:lnTo>
                    <a:pt x="240118" y="46824"/>
                  </a:lnTo>
                  <a:lnTo>
                    <a:pt x="241452" y="79756"/>
                  </a:lnTo>
                  <a:lnTo>
                    <a:pt x="242479" y="120812"/>
                  </a:lnTo>
                  <a:lnTo>
                    <a:pt x="242925" y="169659"/>
                  </a:lnTo>
                  <a:lnTo>
                    <a:pt x="242513" y="225965"/>
                  </a:lnTo>
                  <a:lnTo>
                    <a:pt x="240233" y="309899"/>
                  </a:lnTo>
                  <a:lnTo>
                    <a:pt x="237934" y="360984"/>
                  </a:lnTo>
                  <a:lnTo>
                    <a:pt x="235369" y="406158"/>
                  </a:lnTo>
                  <a:lnTo>
                    <a:pt x="229642" y="485159"/>
                  </a:lnTo>
                  <a:lnTo>
                    <a:pt x="225370" y="533996"/>
                  </a:lnTo>
                  <a:lnTo>
                    <a:pt x="219887" y="582206"/>
                  </a:lnTo>
                  <a:lnTo>
                    <a:pt x="211996" y="637389"/>
                  </a:lnTo>
                  <a:lnTo>
                    <a:pt x="202710" y="691043"/>
                  </a:lnTo>
                  <a:lnTo>
                    <a:pt x="192198" y="743059"/>
                  </a:lnTo>
                  <a:lnTo>
                    <a:pt x="180630" y="793328"/>
                  </a:lnTo>
                  <a:lnTo>
                    <a:pt x="168175" y="841740"/>
                  </a:lnTo>
                  <a:lnTo>
                    <a:pt x="152037" y="898271"/>
                  </a:lnTo>
                  <a:lnTo>
                    <a:pt x="127065" y="975330"/>
                  </a:lnTo>
                  <a:lnTo>
                    <a:pt x="111113" y="1019910"/>
                  </a:lnTo>
                  <a:lnTo>
                    <a:pt x="95183" y="1061401"/>
                  </a:lnTo>
                  <a:lnTo>
                    <a:pt x="79019" y="1100874"/>
                  </a:lnTo>
                  <a:lnTo>
                    <a:pt x="78663" y="1102093"/>
                  </a:lnTo>
                  <a:lnTo>
                    <a:pt x="77927" y="1103312"/>
                  </a:lnTo>
                  <a:lnTo>
                    <a:pt x="65735" y="1131595"/>
                  </a:lnTo>
                  <a:lnTo>
                    <a:pt x="45392" y="1175784"/>
                  </a:lnTo>
                  <a:lnTo>
                    <a:pt x="27301" y="1212362"/>
                  </a:lnTo>
                  <a:lnTo>
                    <a:pt x="12207" y="1240846"/>
                  </a:lnTo>
                  <a:lnTo>
                    <a:pt x="127" y="1261732"/>
                  </a:lnTo>
                  <a:lnTo>
                    <a:pt x="0" y="1262214"/>
                  </a:lnTo>
                  <a:lnTo>
                    <a:pt x="1177467" y="1262214"/>
                  </a:lnTo>
                  <a:lnTo>
                    <a:pt x="1157211" y="1226121"/>
                  </a:lnTo>
                  <a:lnTo>
                    <a:pt x="1145032" y="1202575"/>
                  </a:lnTo>
                  <a:lnTo>
                    <a:pt x="1122733" y="1156149"/>
                  </a:lnTo>
                  <a:lnTo>
                    <a:pt x="1093313" y="1089182"/>
                  </a:lnTo>
                  <a:lnTo>
                    <a:pt x="1070916" y="1032496"/>
                  </a:lnTo>
                  <a:lnTo>
                    <a:pt x="1050980" y="977610"/>
                  </a:lnTo>
                  <a:lnTo>
                    <a:pt x="1034316" y="927541"/>
                  </a:lnTo>
                  <a:lnTo>
                    <a:pt x="1018247" y="874410"/>
                  </a:lnTo>
                  <a:lnTo>
                    <a:pt x="999860" y="806173"/>
                  </a:lnTo>
                  <a:lnTo>
                    <a:pt x="990866" y="768540"/>
                  </a:lnTo>
                  <a:lnTo>
                    <a:pt x="980504" y="721100"/>
                  </a:lnTo>
                  <a:lnTo>
                    <a:pt x="971151" y="672201"/>
                  </a:lnTo>
                  <a:lnTo>
                    <a:pt x="962942" y="621938"/>
                  </a:lnTo>
                  <a:lnTo>
                    <a:pt x="956015" y="570403"/>
                  </a:lnTo>
                  <a:lnTo>
                    <a:pt x="950506" y="517690"/>
                  </a:lnTo>
                  <a:lnTo>
                    <a:pt x="947009" y="476308"/>
                  </a:lnTo>
                  <a:lnTo>
                    <a:pt x="943998" y="436360"/>
                  </a:lnTo>
                  <a:lnTo>
                    <a:pt x="941467" y="397901"/>
                  </a:lnTo>
                  <a:lnTo>
                    <a:pt x="937582" y="324592"/>
                  </a:lnTo>
                  <a:lnTo>
                    <a:pt x="934713" y="225965"/>
                  </a:lnTo>
                  <a:lnTo>
                    <a:pt x="934332" y="169659"/>
                  </a:lnTo>
                  <a:lnTo>
                    <a:pt x="934813" y="120812"/>
                  </a:lnTo>
                  <a:lnTo>
                    <a:pt x="935868" y="79756"/>
                  </a:lnTo>
                  <a:lnTo>
                    <a:pt x="937209" y="46824"/>
                  </a:lnTo>
                  <a:lnTo>
                    <a:pt x="939280" y="11934"/>
                  </a:lnTo>
                  <a:lnTo>
                    <a:pt x="940257" y="0"/>
                  </a:lnTo>
                  <a:close/>
                </a:path>
              </a:pathLst>
            </a:custGeom>
            <a:solidFill>
              <a:srgbClr val="CFD1D0"/>
            </a:solidFill>
          </p:spPr>
          <p:txBody>
            <a:bodyPr wrap="square" lIns="0" tIns="0" rIns="0" bIns="0" rtlCol="0"/>
            <a:lstStyle/>
            <a:p>
              <a:endParaRPr/>
            </a:p>
          </p:txBody>
        </p:sp>
        <p:sp>
          <p:nvSpPr>
            <p:cNvPr id="53" name="object 53"/>
            <p:cNvSpPr/>
            <p:nvPr/>
          </p:nvSpPr>
          <p:spPr>
            <a:xfrm>
              <a:off x="1465919" y="3473903"/>
              <a:ext cx="1177925" cy="1262380"/>
            </a:xfrm>
            <a:custGeom>
              <a:avLst/>
              <a:gdLst/>
              <a:ahLst/>
              <a:cxnLst/>
              <a:rect l="l" t="t" r="r" b="b"/>
              <a:pathLst>
                <a:path w="1177925" h="1262379">
                  <a:moveTo>
                    <a:pt x="0" y="1262214"/>
                  </a:moveTo>
                  <a:lnTo>
                    <a:pt x="1177467" y="1262214"/>
                  </a:lnTo>
                  <a:lnTo>
                    <a:pt x="1176235" y="1260259"/>
                  </a:lnTo>
                  <a:lnTo>
                    <a:pt x="1174902" y="1257947"/>
                  </a:lnTo>
                  <a:lnTo>
                    <a:pt x="1173429" y="1255382"/>
                  </a:lnTo>
                  <a:lnTo>
                    <a:pt x="1171968" y="1252943"/>
                  </a:lnTo>
                  <a:lnTo>
                    <a:pt x="1170393" y="1250137"/>
                  </a:lnTo>
                  <a:lnTo>
                    <a:pt x="1168679" y="1247101"/>
                  </a:lnTo>
                  <a:lnTo>
                    <a:pt x="1166114" y="1242580"/>
                  </a:lnTo>
                  <a:lnTo>
                    <a:pt x="1163320" y="1237462"/>
                  </a:lnTo>
                  <a:lnTo>
                    <a:pt x="1160272" y="1231849"/>
                  </a:lnTo>
                  <a:lnTo>
                    <a:pt x="1159294" y="1230020"/>
                  </a:lnTo>
                  <a:lnTo>
                    <a:pt x="1158316" y="1228064"/>
                  </a:lnTo>
                  <a:lnTo>
                    <a:pt x="1157211" y="1226121"/>
                  </a:lnTo>
                  <a:lnTo>
                    <a:pt x="1134269" y="1180666"/>
                  </a:lnTo>
                  <a:lnTo>
                    <a:pt x="1110516" y="1129114"/>
                  </a:lnTo>
                  <a:lnTo>
                    <a:pt x="1093313" y="1089182"/>
                  </a:lnTo>
                  <a:lnTo>
                    <a:pt x="1080147" y="1056106"/>
                  </a:lnTo>
                  <a:lnTo>
                    <a:pt x="1077038" y="1048360"/>
                  </a:lnTo>
                  <a:lnTo>
                    <a:pt x="1050980" y="977610"/>
                  </a:lnTo>
                  <a:lnTo>
                    <a:pt x="1034316" y="927541"/>
                  </a:lnTo>
                  <a:lnTo>
                    <a:pt x="1018247" y="874410"/>
                  </a:lnTo>
                  <a:lnTo>
                    <a:pt x="1003071" y="818426"/>
                  </a:lnTo>
                  <a:lnTo>
                    <a:pt x="993805" y="781207"/>
                  </a:lnTo>
                  <a:lnTo>
                    <a:pt x="980504" y="721100"/>
                  </a:lnTo>
                  <a:lnTo>
                    <a:pt x="971151" y="672201"/>
                  </a:lnTo>
                  <a:lnTo>
                    <a:pt x="962942" y="621938"/>
                  </a:lnTo>
                  <a:lnTo>
                    <a:pt x="956015" y="570403"/>
                  </a:lnTo>
                  <a:lnTo>
                    <a:pt x="950506" y="517690"/>
                  </a:lnTo>
                  <a:lnTo>
                    <a:pt x="947009" y="476308"/>
                  </a:lnTo>
                  <a:lnTo>
                    <a:pt x="943998" y="436360"/>
                  </a:lnTo>
                  <a:lnTo>
                    <a:pt x="941467" y="397901"/>
                  </a:lnTo>
                  <a:lnTo>
                    <a:pt x="939291" y="358902"/>
                  </a:lnTo>
                  <a:lnTo>
                    <a:pt x="939165" y="356831"/>
                  </a:lnTo>
                  <a:lnTo>
                    <a:pt x="936987" y="309899"/>
                  </a:lnTo>
                  <a:lnTo>
                    <a:pt x="936485" y="295490"/>
                  </a:lnTo>
                  <a:lnTo>
                    <a:pt x="936358" y="293420"/>
                  </a:lnTo>
                  <a:lnTo>
                    <a:pt x="936358" y="291338"/>
                  </a:lnTo>
                  <a:lnTo>
                    <a:pt x="936244" y="289394"/>
                  </a:lnTo>
                  <a:lnTo>
                    <a:pt x="934713" y="225965"/>
                  </a:lnTo>
                  <a:lnTo>
                    <a:pt x="934332" y="169659"/>
                  </a:lnTo>
                  <a:lnTo>
                    <a:pt x="934813" y="120812"/>
                  </a:lnTo>
                  <a:lnTo>
                    <a:pt x="935868" y="79756"/>
                  </a:lnTo>
                  <a:lnTo>
                    <a:pt x="938301" y="26596"/>
                  </a:lnTo>
                  <a:lnTo>
                    <a:pt x="940257" y="0"/>
                  </a:lnTo>
                  <a:lnTo>
                    <a:pt x="805586" y="64"/>
                  </a:lnTo>
                  <a:lnTo>
                    <a:pt x="727668" y="85"/>
                  </a:lnTo>
                  <a:lnTo>
                    <a:pt x="676777" y="64"/>
                  </a:lnTo>
                  <a:lnTo>
                    <a:pt x="623189" y="0"/>
                  </a:lnTo>
                  <a:lnTo>
                    <a:pt x="237083" y="0"/>
                  </a:lnTo>
                  <a:lnTo>
                    <a:pt x="240118" y="46824"/>
                  </a:lnTo>
                  <a:lnTo>
                    <a:pt x="242479" y="120812"/>
                  </a:lnTo>
                  <a:lnTo>
                    <a:pt x="242925" y="169659"/>
                  </a:lnTo>
                  <a:lnTo>
                    <a:pt x="242513" y="225965"/>
                  </a:lnTo>
                  <a:lnTo>
                    <a:pt x="240969" y="289394"/>
                  </a:lnTo>
                  <a:lnTo>
                    <a:pt x="240969" y="291465"/>
                  </a:lnTo>
                  <a:lnTo>
                    <a:pt x="240855" y="293420"/>
                  </a:lnTo>
                  <a:lnTo>
                    <a:pt x="240741" y="295490"/>
                  </a:lnTo>
                  <a:lnTo>
                    <a:pt x="240233" y="309899"/>
                  </a:lnTo>
                  <a:lnTo>
                    <a:pt x="239649" y="324592"/>
                  </a:lnTo>
                  <a:lnTo>
                    <a:pt x="237934" y="360984"/>
                  </a:lnTo>
                  <a:lnTo>
                    <a:pt x="236741" y="383294"/>
                  </a:lnTo>
                  <a:lnTo>
                    <a:pt x="233816" y="429575"/>
                  </a:lnTo>
                  <a:lnTo>
                    <a:pt x="230919" y="469223"/>
                  </a:lnTo>
                  <a:lnTo>
                    <a:pt x="226834" y="517690"/>
                  </a:lnTo>
                  <a:lnTo>
                    <a:pt x="221894" y="566242"/>
                  </a:lnTo>
                  <a:lnTo>
                    <a:pt x="211996" y="637389"/>
                  </a:lnTo>
                  <a:lnTo>
                    <a:pt x="202710" y="691043"/>
                  </a:lnTo>
                  <a:lnTo>
                    <a:pt x="192198" y="743059"/>
                  </a:lnTo>
                  <a:lnTo>
                    <a:pt x="180630" y="793328"/>
                  </a:lnTo>
                  <a:lnTo>
                    <a:pt x="168175" y="841740"/>
                  </a:lnTo>
                  <a:lnTo>
                    <a:pt x="155003" y="888187"/>
                  </a:lnTo>
                  <a:lnTo>
                    <a:pt x="142798" y="927811"/>
                  </a:lnTo>
                  <a:lnTo>
                    <a:pt x="127065" y="975330"/>
                  </a:lnTo>
                  <a:lnTo>
                    <a:pt x="111113" y="1019910"/>
                  </a:lnTo>
                  <a:lnTo>
                    <a:pt x="95183" y="1061401"/>
                  </a:lnTo>
                  <a:lnTo>
                    <a:pt x="79514" y="1099654"/>
                  </a:lnTo>
                  <a:lnTo>
                    <a:pt x="79019" y="1100874"/>
                  </a:lnTo>
                  <a:lnTo>
                    <a:pt x="78663" y="1102093"/>
                  </a:lnTo>
                  <a:lnTo>
                    <a:pt x="77927" y="1103312"/>
                  </a:lnTo>
                  <a:lnTo>
                    <a:pt x="74839" y="1110578"/>
                  </a:lnTo>
                  <a:lnTo>
                    <a:pt x="45392" y="1175784"/>
                  </a:lnTo>
                  <a:lnTo>
                    <a:pt x="27301" y="1212362"/>
                  </a:lnTo>
                  <a:lnTo>
                    <a:pt x="850" y="1260754"/>
                  </a:lnTo>
                  <a:lnTo>
                    <a:pt x="482" y="1261237"/>
                  </a:lnTo>
                  <a:lnTo>
                    <a:pt x="127" y="1261732"/>
                  </a:lnTo>
                  <a:lnTo>
                    <a:pt x="0" y="1262214"/>
                  </a:lnTo>
                  <a:close/>
                </a:path>
              </a:pathLst>
            </a:custGeom>
            <a:ln w="8966">
              <a:solidFill>
                <a:srgbClr val="FFFFFF"/>
              </a:solidFill>
            </a:ln>
          </p:spPr>
          <p:txBody>
            <a:bodyPr wrap="square" lIns="0" tIns="0" rIns="0" bIns="0" rtlCol="0"/>
            <a:lstStyle/>
            <a:p>
              <a:endParaRPr/>
            </a:p>
          </p:txBody>
        </p:sp>
        <p:sp>
          <p:nvSpPr>
            <p:cNvPr id="54" name="object 54"/>
            <p:cNvSpPr/>
            <p:nvPr/>
          </p:nvSpPr>
          <p:spPr>
            <a:xfrm>
              <a:off x="1465858" y="4573598"/>
              <a:ext cx="1177925" cy="162560"/>
            </a:xfrm>
            <a:custGeom>
              <a:avLst/>
              <a:gdLst/>
              <a:ahLst/>
              <a:cxnLst/>
              <a:rect l="l" t="t" r="r" b="b"/>
              <a:pathLst>
                <a:path w="1177925" h="162560">
                  <a:moveTo>
                    <a:pt x="1097826" y="0"/>
                  </a:moveTo>
                  <a:lnTo>
                    <a:pt x="79641" y="0"/>
                  </a:lnTo>
                  <a:lnTo>
                    <a:pt x="65862" y="31940"/>
                  </a:lnTo>
                  <a:lnTo>
                    <a:pt x="45515" y="76129"/>
                  </a:lnTo>
                  <a:lnTo>
                    <a:pt x="27408" y="112707"/>
                  </a:lnTo>
                  <a:lnTo>
                    <a:pt x="12275" y="141191"/>
                  </a:lnTo>
                  <a:lnTo>
                    <a:pt x="0" y="162560"/>
                  </a:lnTo>
                  <a:lnTo>
                    <a:pt x="1177582" y="162560"/>
                  </a:lnTo>
                  <a:lnTo>
                    <a:pt x="1148319" y="109203"/>
                  </a:lnTo>
                  <a:lnTo>
                    <a:pt x="1122810" y="56494"/>
                  </a:lnTo>
                  <a:lnTo>
                    <a:pt x="1110584" y="29459"/>
                  </a:lnTo>
                  <a:lnTo>
                    <a:pt x="1097826" y="0"/>
                  </a:lnTo>
                  <a:close/>
                </a:path>
              </a:pathLst>
            </a:custGeom>
            <a:solidFill>
              <a:srgbClr val="E9E9E8"/>
            </a:solidFill>
          </p:spPr>
          <p:txBody>
            <a:bodyPr wrap="square" lIns="0" tIns="0" rIns="0" bIns="0" rtlCol="0"/>
            <a:lstStyle/>
            <a:p>
              <a:endParaRPr/>
            </a:p>
          </p:txBody>
        </p:sp>
        <p:sp>
          <p:nvSpPr>
            <p:cNvPr id="55" name="object 55"/>
            <p:cNvSpPr/>
            <p:nvPr/>
          </p:nvSpPr>
          <p:spPr>
            <a:xfrm>
              <a:off x="1465858" y="4573598"/>
              <a:ext cx="1177925" cy="162560"/>
            </a:xfrm>
            <a:custGeom>
              <a:avLst/>
              <a:gdLst/>
              <a:ahLst/>
              <a:cxnLst/>
              <a:rect l="l" t="t" r="r" b="b"/>
              <a:pathLst>
                <a:path w="1177925" h="162560">
                  <a:moveTo>
                    <a:pt x="0" y="162560"/>
                  </a:moveTo>
                  <a:lnTo>
                    <a:pt x="1177582" y="162560"/>
                  </a:lnTo>
                  <a:lnTo>
                    <a:pt x="1173545" y="155752"/>
                  </a:lnTo>
                  <a:lnTo>
                    <a:pt x="1168788" y="147437"/>
                  </a:lnTo>
                  <a:lnTo>
                    <a:pt x="1148319" y="109203"/>
                  </a:lnTo>
                  <a:lnTo>
                    <a:pt x="1122810" y="56494"/>
                  </a:lnTo>
                  <a:lnTo>
                    <a:pt x="1097826" y="0"/>
                  </a:lnTo>
                  <a:lnTo>
                    <a:pt x="79641" y="0"/>
                  </a:lnTo>
                  <a:lnTo>
                    <a:pt x="79146" y="1219"/>
                  </a:lnTo>
                  <a:lnTo>
                    <a:pt x="78663" y="2438"/>
                  </a:lnTo>
                  <a:lnTo>
                    <a:pt x="78041" y="3657"/>
                  </a:lnTo>
                  <a:lnTo>
                    <a:pt x="45515" y="76129"/>
                  </a:lnTo>
                  <a:lnTo>
                    <a:pt x="27408" y="112707"/>
                  </a:lnTo>
                  <a:lnTo>
                    <a:pt x="850" y="161099"/>
                  </a:lnTo>
                  <a:lnTo>
                    <a:pt x="609" y="161582"/>
                  </a:lnTo>
                  <a:lnTo>
                    <a:pt x="241" y="162077"/>
                  </a:lnTo>
                  <a:lnTo>
                    <a:pt x="0" y="162560"/>
                  </a:lnTo>
                  <a:close/>
                </a:path>
              </a:pathLst>
            </a:custGeom>
            <a:ln w="6718">
              <a:solidFill>
                <a:srgbClr val="FFFFFF"/>
              </a:solidFill>
            </a:ln>
          </p:spPr>
          <p:txBody>
            <a:bodyPr wrap="square" lIns="0" tIns="0" rIns="0" bIns="0" rtlCol="0"/>
            <a:lstStyle/>
            <a:p>
              <a:endParaRPr/>
            </a:p>
          </p:txBody>
        </p:sp>
        <p:sp>
          <p:nvSpPr>
            <p:cNvPr id="56" name="object 56"/>
            <p:cNvSpPr/>
            <p:nvPr/>
          </p:nvSpPr>
          <p:spPr>
            <a:xfrm>
              <a:off x="1702936" y="3473940"/>
              <a:ext cx="703580" cy="46990"/>
            </a:xfrm>
            <a:custGeom>
              <a:avLst/>
              <a:gdLst/>
              <a:ahLst/>
              <a:cxnLst/>
              <a:rect l="l" t="t" r="r" b="b"/>
              <a:pathLst>
                <a:path w="703580" h="46989">
                  <a:moveTo>
                    <a:pt x="703313" y="0"/>
                  </a:moveTo>
                  <a:lnTo>
                    <a:pt x="0" y="0"/>
                  </a:lnTo>
                  <a:lnTo>
                    <a:pt x="1571" y="18018"/>
                  </a:lnTo>
                  <a:lnTo>
                    <a:pt x="3048" y="46837"/>
                  </a:lnTo>
                  <a:lnTo>
                    <a:pt x="700252" y="46837"/>
                  </a:lnTo>
                  <a:lnTo>
                    <a:pt x="702330" y="11936"/>
                  </a:lnTo>
                  <a:lnTo>
                    <a:pt x="703313" y="0"/>
                  </a:lnTo>
                  <a:close/>
                </a:path>
              </a:pathLst>
            </a:custGeom>
            <a:solidFill>
              <a:srgbClr val="E9E9E8"/>
            </a:solidFill>
          </p:spPr>
          <p:txBody>
            <a:bodyPr wrap="square" lIns="0" tIns="0" rIns="0" bIns="0" rtlCol="0"/>
            <a:lstStyle/>
            <a:p>
              <a:endParaRPr/>
            </a:p>
          </p:txBody>
        </p:sp>
        <p:sp>
          <p:nvSpPr>
            <p:cNvPr id="57" name="object 57"/>
            <p:cNvSpPr/>
            <p:nvPr/>
          </p:nvSpPr>
          <p:spPr>
            <a:xfrm>
              <a:off x="1702936" y="3473940"/>
              <a:ext cx="703580" cy="46990"/>
            </a:xfrm>
            <a:custGeom>
              <a:avLst/>
              <a:gdLst/>
              <a:ahLst/>
              <a:cxnLst/>
              <a:rect l="l" t="t" r="r" b="b"/>
              <a:pathLst>
                <a:path w="703580" h="46989">
                  <a:moveTo>
                    <a:pt x="0" y="0"/>
                  </a:moveTo>
                  <a:lnTo>
                    <a:pt x="940" y="9854"/>
                  </a:lnTo>
                  <a:lnTo>
                    <a:pt x="1571" y="18018"/>
                  </a:lnTo>
                  <a:lnTo>
                    <a:pt x="2178" y="28882"/>
                  </a:lnTo>
                  <a:lnTo>
                    <a:pt x="3048" y="46837"/>
                  </a:lnTo>
                  <a:lnTo>
                    <a:pt x="700252" y="46837"/>
                  </a:lnTo>
                  <a:lnTo>
                    <a:pt x="701346" y="26601"/>
                  </a:lnTo>
                  <a:lnTo>
                    <a:pt x="702330" y="11936"/>
                  </a:lnTo>
                  <a:lnTo>
                    <a:pt x="703040" y="3012"/>
                  </a:lnTo>
                  <a:lnTo>
                    <a:pt x="703313" y="0"/>
                  </a:lnTo>
                  <a:lnTo>
                    <a:pt x="0" y="0"/>
                  </a:lnTo>
                  <a:close/>
                </a:path>
              </a:pathLst>
            </a:custGeom>
            <a:ln w="6718">
              <a:solidFill>
                <a:srgbClr val="FFFFFF"/>
              </a:solidFill>
            </a:ln>
          </p:spPr>
          <p:txBody>
            <a:bodyPr wrap="square" lIns="0" tIns="0" rIns="0" bIns="0" rtlCol="0"/>
            <a:lstStyle/>
            <a:p>
              <a:endParaRPr/>
            </a:p>
          </p:txBody>
        </p:sp>
        <p:sp>
          <p:nvSpPr>
            <p:cNvPr id="58" name="object 58"/>
            <p:cNvSpPr/>
            <p:nvPr/>
          </p:nvSpPr>
          <p:spPr>
            <a:xfrm>
              <a:off x="2089101" y="3473898"/>
              <a:ext cx="554355" cy="1262380"/>
            </a:xfrm>
            <a:custGeom>
              <a:avLst/>
              <a:gdLst/>
              <a:ahLst/>
              <a:cxnLst/>
              <a:rect l="l" t="t" r="r" b="b"/>
              <a:pathLst>
                <a:path w="554355" h="1262379">
                  <a:moveTo>
                    <a:pt x="317080" y="0"/>
                  </a:moveTo>
                  <a:lnTo>
                    <a:pt x="0" y="0"/>
                  </a:lnTo>
                  <a:lnTo>
                    <a:pt x="9271" y="46837"/>
                  </a:lnTo>
                  <a:lnTo>
                    <a:pt x="19699" y="97114"/>
                  </a:lnTo>
                  <a:lnTo>
                    <a:pt x="30480" y="146526"/>
                  </a:lnTo>
                  <a:lnTo>
                    <a:pt x="41583" y="195055"/>
                  </a:lnTo>
                  <a:lnTo>
                    <a:pt x="52976" y="242684"/>
                  </a:lnTo>
                  <a:lnTo>
                    <a:pt x="67805" y="302196"/>
                  </a:lnTo>
                  <a:lnTo>
                    <a:pt x="83413" y="360984"/>
                  </a:lnTo>
                  <a:lnTo>
                    <a:pt x="100047" y="420774"/>
                  </a:lnTo>
                  <a:lnTo>
                    <a:pt x="117035" y="478848"/>
                  </a:lnTo>
                  <a:lnTo>
                    <a:pt x="134328" y="535184"/>
                  </a:lnTo>
                  <a:lnTo>
                    <a:pt x="151878" y="589760"/>
                  </a:lnTo>
                  <a:lnTo>
                    <a:pt x="169635" y="642556"/>
                  </a:lnTo>
                  <a:lnTo>
                    <a:pt x="187550" y="693550"/>
                  </a:lnTo>
                  <a:lnTo>
                    <a:pt x="205575" y="742721"/>
                  </a:lnTo>
                  <a:lnTo>
                    <a:pt x="223661" y="790046"/>
                  </a:lnTo>
                  <a:lnTo>
                    <a:pt x="241758" y="835505"/>
                  </a:lnTo>
                  <a:lnTo>
                    <a:pt x="259817" y="879076"/>
                  </a:lnTo>
                  <a:lnTo>
                    <a:pt x="277790" y="920737"/>
                  </a:lnTo>
                  <a:lnTo>
                    <a:pt x="295627" y="960468"/>
                  </a:lnTo>
                  <a:lnTo>
                    <a:pt x="313280" y="998247"/>
                  </a:lnTo>
                  <a:lnTo>
                    <a:pt x="330699" y="1034052"/>
                  </a:lnTo>
                  <a:lnTo>
                    <a:pt x="364642" y="1099654"/>
                  </a:lnTo>
                  <a:lnTo>
                    <a:pt x="392678" y="1149668"/>
                  </a:lnTo>
                  <a:lnTo>
                    <a:pt x="419341" y="1193517"/>
                  </a:lnTo>
                  <a:lnTo>
                    <a:pt x="444355" y="1231074"/>
                  </a:lnTo>
                  <a:lnTo>
                    <a:pt x="467448" y="1262214"/>
                  </a:lnTo>
                  <a:lnTo>
                    <a:pt x="554278" y="1262214"/>
                  </a:lnTo>
                  <a:lnTo>
                    <a:pt x="534035" y="1226121"/>
                  </a:lnTo>
                  <a:lnTo>
                    <a:pt x="521843" y="1202575"/>
                  </a:lnTo>
                  <a:lnTo>
                    <a:pt x="499554" y="1156149"/>
                  </a:lnTo>
                  <a:lnTo>
                    <a:pt x="470131" y="1089182"/>
                  </a:lnTo>
                  <a:lnTo>
                    <a:pt x="447734" y="1032502"/>
                  </a:lnTo>
                  <a:lnTo>
                    <a:pt x="427802" y="977612"/>
                  </a:lnTo>
                  <a:lnTo>
                    <a:pt x="411133" y="927546"/>
                  </a:lnTo>
                  <a:lnTo>
                    <a:pt x="395060" y="874415"/>
                  </a:lnTo>
                  <a:lnTo>
                    <a:pt x="376677" y="806173"/>
                  </a:lnTo>
                  <a:lnTo>
                    <a:pt x="367690" y="768553"/>
                  </a:lnTo>
                  <a:lnTo>
                    <a:pt x="357323" y="721106"/>
                  </a:lnTo>
                  <a:lnTo>
                    <a:pt x="347969" y="672204"/>
                  </a:lnTo>
                  <a:lnTo>
                    <a:pt x="339762" y="621939"/>
                  </a:lnTo>
                  <a:lnTo>
                    <a:pt x="332837" y="570403"/>
                  </a:lnTo>
                  <a:lnTo>
                    <a:pt x="327329" y="517690"/>
                  </a:lnTo>
                  <a:lnTo>
                    <a:pt x="323827" y="476313"/>
                  </a:lnTo>
                  <a:lnTo>
                    <a:pt x="320817" y="436365"/>
                  </a:lnTo>
                  <a:lnTo>
                    <a:pt x="318289" y="397903"/>
                  </a:lnTo>
                  <a:lnTo>
                    <a:pt x="314393" y="324597"/>
                  </a:lnTo>
                  <a:lnTo>
                    <a:pt x="311530" y="225970"/>
                  </a:lnTo>
                  <a:lnTo>
                    <a:pt x="311153" y="169666"/>
                  </a:lnTo>
                  <a:lnTo>
                    <a:pt x="311636" y="120818"/>
                  </a:lnTo>
                  <a:lnTo>
                    <a:pt x="312692" y="79764"/>
                  </a:lnTo>
                  <a:lnTo>
                    <a:pt x="314032" y="46837"/>
                  </a:lnTo>
                  <a:lnTo>
                    <a:pt x="316104" y="11936"/>
                  </a:lnTo>
                  <a:lnTo>
                    <a:pt x="317080" y="0"/>
                  </a:lnTo>
                  <a:close/>
                </a:path>
              </a:pathLst>
            </a:custGeom>
            <a:solidFill>
              <a:srgbClr val="18171C">
                <a:alpha val="9999"/>
              </a:srgbClr>
            </a:solidFill>
          </p:spPr>
          <p:txBody>
            <a:bodyPr wrap="square" lIns="0" tIns="0" rIns="0" bIns="0" rtlCol="0"/>
            <a:lstStyle/>
            <a:p>
              <a:endParaRPr/>
            </a:p>
          </p:txBody>
        </p:sp>
        <p:sp>
          <p:nvSpPr>
            <p:cNvPr id="59" name="object 59"/>
            <p:cNvSpPr/>
            <p:nvPr/>
          </p:nvSpPr>
          <p:spPr>
            <a:xfrm>
              <a:off x="1387640" y="4736160"/>
              <a:ext cx="1332865" cy="60960"/>
            </a:xfrm>
            <a:custGeom>
              <a:avLst/>
              <a:gdLst/>
              <a:ahLst/>
              <a:cxnLst/>
              <a:rect l="l" t="t" r="r" b="b"/>
              <a:pathLst>
                <a:path w="1332864" h="60960">
                  <a:moveTo>
                    <a:pt x="1332382" y="0"/>
                  </a:moveTo>
                  <a:lnTo>
                    <a:pt x="0" y="0"/>
                  </a:lnTo>
                  <a:lnTo>
                    <a:pt x="0" y="60464"/>
                  </a:lnTo>
                  <a:lnTo>
                    <a:pt x="1332382" y="60464"/>
                  </a:lnTo>
                  <a:lnTo>
                    <a:pt x="1332382" y="0"/>
                  </a:lnTo>
                  <a:close/>
                </a:path>
              </a:pathLst>
            </a:custGeom>
            <a:solidFill>
              <a:srgbClr val="1D2226"/>
            </a:solidFill>
          </p:spPr>
          <p:txBody>
            <a:bodyPr wrap="square" lIns="0" tIns="0" rIns="0" bIns="0" rtlCol="0"/>
            <a:lstStyle/>
            <a:p>
              <a:endParaRPr/>
            </a:p>
          </p:txBody>
        </p:sp>
        <p:pic>
          <p:nvPicPr>
            <p:cNvPr id="60" name="object 60"/>
            <p:cNvPicPr/>
            <p:nvPr/>
          </p:nvPicPr>
          <p:blipFill>
            <a:blip r:embed="rId8" cstate="print"/>
            <a:stretch>
              <a:fillRect/>
            </a:stretch>
          </p:blipFill>
          <p:spPr>
            <a:xfrm>
              <a:off x="1708658" y="1439430"/>
              <a:ext cx="3997477" cy="2102192"/>
            </a:xfrm>
            <a:prstGeom prst="rect">
              <a:avLst/>
            </a:prstGeom>
          </p:spPr>
        </p:pic>
        <p:sp>
          <p:nvSpPr>
            <p:cNvPr id="61" name="object 61"/>
            <p:cNvSpPr/>
            <p:nvPr/>
          </p:nvSpPr>
          <p:spPr>
            <a:xfrm>
              <a:off x="4039722" y="3961168"/>
              <a:ext cx="93345" cy="593090"/>
            </a:xfrm>
            <a:custGeom>
              <a:avLst/>
              <a:gdLst/>
              <a:ahLst/>
              <a:cxnLst/>
              <a:rect l="l" t="t" r="r" b="b"/>
              <a:pathLst>
                <a:path w="93345" h="593089">
                  <a:moveTo>
                    <a:pt x="74485" y="0"/>
                  </a:moveTo>
                  <a:lnTo>
                    <a:pt x="18783" y="0"/>
                  </a:lnTo>
                  <a:lnTo>
                    <a:pt x="18910" y="1282"/>
                  </a:lnTo>
                  <a:lnTo>
                    <a:pt x="19202" y="7493"/>
                  </a:lnTo>
                  <a:lnTo>
                    <a:pt x="17970" y="41008"/>
                  </a:lnTo>
                  <a:lnTo>
                    <a:pt x="17887" y="96411"/>
                  </a:lnTo>
                  <a:lnTo>
                    <a:pt x="17522" y="498457"/>
                  </a:lnTo>
                  <a:lnTo>
                    <a:pt x="17411" y="538683"/>
                  </a:lnTo>
                  <a:lnTo>
                    <a:pt x="7924" y="575818"/>
                  </a:lnTo>
                  <a:lnTo>
                    <a:pt x="6172" y="579958"/>
                  </a:lnTo>
                  <a:lnTo>
                    <a:pt x="5854" y="580745"/>
                  </a:lnTo>
                  <a:lnTo>
                    <a:pt x="2959" y="587260"/>
                  </a:lnTo>
                  <a:lnTo>
                    <a:pt x="934" y="590994"/>
                  </a:lnTo>
                  <a:lnTo>
                    <a:pt x="0" y="592556"/>
                  </a:lnTo>
                  <a:lnTo>
                    <a:pt x="93281" y="592556"/>
                  </a:lnTo>
                  <a:lnTo>
                    <a:pt x="84607" y="573722"/>
                  </a:lnTo>
                  <a:lnTo>
                    <a:pt x="82804" y="568947"/>
                  </a:lnTo>
                  <a:lnTo>
                    <a:pt x="77674" y="498457"/>
                  </a:lnTo>
                  <a:lnTo>
                    <a:pt x="77292" y="441368"/>
                  </a:lnTo>
                  <a:lnTo>
                    <a:pt x="76931" y="372429"/>
                  </a:lnTo>
                  <a:lnTo>
                    <a:pt x="75732" y="96411"/>
                  </a:lnTo>
                  <a:lnTo>
                    <a:pt x="75480" y="55320"/>
                  </a:lnTo>
                  <a:lnTo>
                    <a:pt x="75298" y="41008"/>
                  </a:lnTo>
                  <a:lnTo>
                    <a:pt x="74904" y="36563"/>
                  </a:lnTo>
                  <a:lnTo>
                    <a:pt x="74612" y="32410"/>
                  </a:lnTo>
                  <a:lnTo>
                    <a:pt x="74307" y="26479"/>
                  </a:lnTo>
                  <a:lnTo>
                    <a:pt x="74168" y="22910"/>
                  </a:lnTo>
                  <a:lnTo>
                    <a:pt x="73875" y="14097"/>
                  </a:lnTo>
                  <a:lnTo>
                    <a:pt x="74066" y="7493"/>
                  </a:lnTo>
                  <a:lnTo>
                    <a:pt x="74371" y="1282"/>
                  </a:lnTo>
                  <a:lnTo>
                    <a:pt x="74485" y="0"/>
                  </a:lnTo>
                  <a:close/>
                </a:path>
              </a:pathLst>
            </a:custGeom>
            <a:solidFill>
              <a:srgbClr val="DFE1E1"/>
            </a:solidFill>
          </p:spPr>
          <p:txBody>
            <a:bodyPr wrap="square" lIns="0" tIns="0" rIns="0" bIns="0" rtlCol="0"/>
            <a:lstStyle/>
            <a:p>
              <a:endParaRPr/>
            </a:p>
          </p:txBody>
        </p:sp>
        <p:sp>
          <p:nvSpPr>
            <p:cNvPr id="62" name="object 62"/>
            <p:cNvSpPr/>
            <p:nvPr/>
          </p:nvSpPr>
          <p:spPr>
            <a:xfrm>
              <a:off x="4039717" y="4540850"/>
              <a:ext cx="93345" cy="13335"/>
            </a:xfrm>
            <a:custGeom>
              <a:avLst/>
              <a:gdLst/>
              <a:ahLst/>
              <a:cxnLst/>
              <a:rect l="l" t="t" r="r" b="b"/>
              <a:pathLst>
                <a:path w="93345" h="13335">
                  <a:moveTo>
                    <a:pt x="86969" y="0"/>
                  </a:moveTo>
                  <a:lnTo>
                    <a:pt x="6311" y="0"/>
                  </a:lnTo>
                  <a:lnTo>
                    <a:pt x="2971" y="7581"/>
                  </a:lnTo>
                  <a:lnTo>
                    <a:pt x="0" y="12877"/>
                  </a:lnTo>
                  <a:lnTo>
                    <a:pt x="93294" y="12877"/>
                  </a:lnTo>
                  <a:lnTo>
                    <a:pt x="89636" y="5981"/>
                  </a:lnTo>
                  <a:lnTo>
                    <a:pt x="86969" y="0"/>
                  </a:lnTo>
                  <a:close/>
                </a:path>
              </a:pathLst>
            </a:custGeom>
            <a:solidFill>
              <a:srgbClr val="AFB4B6"/>
            </a:solidFill>
          </p:spPr>
          <p:txBody>
            <a:bodyPr wrap="square" lIns="0" tIns="0" rIns="0" bIns="0" rtlCol="0"/>
            <a:lstStyle/>
            <a:p>
              <a:endParaRPr/>
            </a:p>
          </p:txBody>
        </p:sp>
        <p:sp>
          <p:nvSpPr>
            <p:cNvPr id="63" name="object 63"/>
            <p:cNvSpPr/>
            <p:nvPr/>
          </p:nvSpPr>
          <p:spPr>
            <a:xfrm>
              <a:off x="4058499" y="3961166"/>
              <a:ext cx="55880" cy="3810"/>
            </a:xfrm>
            <a:custGeom>
              <a:avLst/>
              <a:gdLst/>
              <a:ahLst/>
              <a:cxnLst/>
              <a:rect l="l" t="t" r="r" b="b"/>
              <a:pathLst>
                <a:path w="55879" h="3810">
                  <a:moveTo>
                    <a:pt x="55714" y="0"/>
                  </a:moveTo>
                  <a:lnTo>
                    <a:pt x="0" y="0"/>
                  </a:lnTo>
                  <a:lnTo>
                    <a:pt x="127" y="1282"/>
                  </a:lnTo>
                  <a:lnTo>
                    <a:pt x="241" y="3708"/>
                  </a:lnTo>
                  <a:lnTo>
                    <a:pt x="55473" y="3708"/>
                  </a:lnTo>
                  <a:lnTo>
                    <a:pt x="55587" y="1282"/>
                  </a:lnTo>
                  <a:lnTo>
                    <a:pt x="55714" y="0"/>
                  </a:lnTo>
                  <a:close/>
                </a:path>
              </a:pathLst>
            </a:custGeom>
            <a:solidFill>
              <a:srgbClr val="9BA0A3"/>
            </a:solidFill>
          </p:spPr>
          <p:txBody>
            <a:bodyPr wrap="square" lIns="0" tIns="0" rIns="0" bIns="0" rtlCol="0"/>
            <a:lstStyle/>
            <a:p>
              <a:endParaRPr/>
            </a:p>
          </p:txBody>
        </p:sp>
        <p:sp>
          <p:nvSpPr>
            <p:cNvPr id="64" name="object 64"/>
            <p:cNvSpPr/>
            <p:nvPr/>
          </p:nvSpPr>
          <p:spPr>
            <a:xfrm>
              <a:off x="4089096" y="3961162"/>
              <a:ext cx="44450" cy="593090"/>
            </a:xfrm>
            <a:custGeom>
              <a:avLst/>
              <a:gdLst/>
              <a:ahLst/>
              <a:cxnLst/>
              <a:rect l="l" t="t" r="r" b="b"/>
              <a:pathLst>
                <a:path w="44450" h="593089">
                  <a:moveTo>
                    <a:pt x="25118" y="0"/>
                  </a:moveTo>
                  <a:lnTo>
                    <a:pt x="6842" y="12"/>
                  </a:lnTo>
                  <a:lnTo>
                    <a:pt x="0" y="12"/>
                  </a:lnTo>
                  <a:lnTo>
                    <a:pt x="2080" y="10401"/>
                  </a:lnTo>
                  <a:lnTo>
                    <a:pt x="3566" y="16827"/>
                  </a:lnTo>
                  <a:lnTo>
                    <a:pt x="6195" y="27089"/>
                  </a:lnTo>
                  <a:lnTo>
                    <a:pt x="6601" y="28600"/>
                  </a:lnTo>
                  <a:lnTo>
                    <a:pt x="8530" y="46916"/>
                  </a:lnTo>
                  <a:lnTo>
                    <a:pt x="12540" y="138185"/>
                  </a:lnTo>
                  <a:lnTo>
                    <a:pt x="14598" y="202247"/>
                  </a:lnTo>
                  <a:lnTo>
                    <a:pt x="16675" y="272666"/>
                  </a:lnTo>
                  <a:lnTo>
                    <a:pt x="18759" y="344996"/>
                  </a:lnTo>
                  <a:lnTo>
                    <a:pt x="20840" y="414790"/>
                  </a:lnTo>
                  <a:lnTo>
                    <a:pt x="22905" y="477602"/>
                  </a:lnTo>
                  <a:lnTo>
                    <a:pt x="24943" y="528987"/>
                  </a:lnTo>
                  <a:lnTo>
                    <a:pt x="28889" y="579691"/>
                  </a:lnTo>
                  <a:lnTo>
                    <a:pt x="37030" y="592556"/>
                  </a:lnTo>
                  <a:lnTo>
                    <a:pt x="43914" y="592556"/>
                  </a:lnTo>
                  <a:lnTo>
                    <a:pt x="42390" y="589864"/>
                  </a:lnTo>
                  <a:lnTo>
                    <a:pt x="41335" y="587832"/>
                  </a:lnTo>
                  <a:lnTo>
                    <a:pt x="40256" y="585660"/>
                  </a:lnTo>
                  <a:lnTo>
                    <a:pt x="38973" y="582917"/>
                  </a:lnTo>
                  <a:lnTo>
                    <a:pt x="37119" y="578586"/>
                  </a:lnTo>
                  <a:lnTo>
                    <a:pt x="36205" y="576237"/>
                  </a:lnTo>
                  <a:lnTo>
                    <a:pt x="35862" y="575424"/>
                  </a:lnTo>
                  <a:lnTo>
                    <a:pt x="28700" y="537798"/>
                  </a:lnTo>
                  <a:lnTo>
                    <a:pt x="28300" y="498469"/>
                  </a:lnTo>
                  <a:lnTo>
                    <a:pt x="27920" y="441378"/>
                  </a:lnTo>
                  <a:lnTo>
                    <a:pt x="27561" y="372438"/>
                  </a:lnTo>
                  <a:lnTo>
                    <a:pt x="26364" y="96413"/>
                  </a:lnTo>
                  <a:lnTo>
                    <a:pt x="26132" y="56900"/>
                  </a:lnTo>
                  <a:lnTo>
                    <a:pt x="25930" y="41008"/>
                  </a:lnTo>
                  <a:lnTo>
                    <a:pt x="25524" y="36563"/>
                  </a:lnTo>
                  <a:lnTo>
                    <a:pt x="25245" y="32423"/>
                  </a:lnTo>
                  <a:lnTo>
                    <a:pt x="24864" y="24917"/>
                  </a:lnTo>
                  <a:lnTo>
                    <a:pt x="24598" y="16827"/>
                  </a:lnTo>
                  <a:lnTo>
                    <a:pt x="24698" y="7505"/>
                  </a:lnTo>
                  <a:lnTo>
                    <a:pt x="24991" y="1282"/>
                  </a:lnTo>
                  <a:lnTo>
                    <a:pt x="25116" y="12"/>
                  </a:lnTo>
                  <a:lnTo>
                    <a:pt x="6842" y="12"/>
                  </a:lnTo>
                  <a:lnTo>
                    <a:pt x="25118" y="0"/>
                  </a:lnTo>
                  <a:close/>
                </a:path>
              </a:pathLst>
            </a:custGeom>
            <a:solidFill>
              <a:srgbClr val="18171C">
                <a:alpha val="9999"/>
              </a:srgbClr>
            </a:solidFill>
          </p:spPr>
          <p:txBody>
            <a:bodyPr wrap="square" lIns="0" tIns="0" rIns="0" bIns="0" rtlCol="0"/>
            <a:lstStyle/>
            <a:p>
              <a:endParaRPr/>
            </a:p>
          </p:txBody>
        </p:sp>
        <p:sp>
          <p:nvSpPr>
            <p:cNvPr id="65" name="object 65"/>
            <p:cNvSpPr/>
            <p:nvPr/>
          </p:nvSpPr>
          <p:spPr>
            <a:xfrm>
              <a:off x="4058564" y="3984078"/>
              <a:ext cx="55880" cy="5715"/>
            </a:xfrm>
            <a:custGeom>
              <a:avLst/>
              <a:gdLst/>
              <a:ahLst/>
              <a:cxnLst/>
              <a:rect l="l" t="t" r="r" b="b"/>
              <a:pathLst>
                <a:path w="55879" h="5714">
                  <a:moveTo>
                    <a:pt x="55575" y="5689"/>
                  </a:moveTo>
                  <a:lnTo>
                    <a:pt x="55549" y="5207"/>
                  </a:lnTo>
                  <a:lnTo>
                    <a:pt x="52451" y="5207"/>
                  </a:lnTo>
                  <a:lnTo>
                    <a:pt x="52451" y="495"/>
                  </a:lnTo>
                  <a:lnTo>
                    <a:pt x="55346" y="495"/>
                  </a:lnTo>
                  <a:lnTo>
                    <a:pt x="55333" y="12"/>
                  </a:lnTo>
                  <a:lnTo>
                    <a:pt x="52451" y="12"/>
                  </a:lnTo>
                  <a:lnTo>
                    <a:pt x="51968" y="0"/>
                  </a:lnTo>
                  <a:lnTo>
                    <a:pt x="51968" y="495"/>
                  </a:lnTo>
                  <a:lnTo>
                    <a:pt x="51968" y="5207"/>
                  </a:lnTo>
                  <a:lnTo>
                    <a:pt x="47028" y="5207"/>
                  </a:lnTo>
                  <a:lnTo>
                    <a:pt x="47028" y="495"/>
                  </a:lnTo>
                  <a:lnTo>
                    <a:pt x="51968" y="495"/>
                  </a:lnTo>
                  <a:lnTo>
                    <a:pt x="51968" y="12"/>
                  </a:lnTo>
                  <a:lnTo>
                    <a:pt x="47028" y="12"/>
                  </a:lnTo>
                  <a:lnTo>
                    <a:pt x="46532" y="0"/>
                  </a:lnTo>
                  <a:lnTo>
                    <a:pt x="46532" y="495"/>
                  </a:lnTo>
                  <a:lnTo>
                    <a:pt x="46532" y="5207"/>
                  </a:lnTo>
                  <a:lnTo>
                    <a:pt x="41592" y="5207"/>
                  </a:lnTo>
                  <a:lnTo>
                    <a:pt x="41592" y="495"/>
                  </a:lnTo>
                  <a:lnTo>
                    <a:pt x="46532" y="495"/>
                  </a:lnTo>
                  <a:lnTo>
                    <a:pt x="46532" y="12"/>
                  </a:lnTo>
                  <a:lnTo>
                    <a:pt x="41592" y="12"/>
                  </a:lnTo>
                  <a:lnTo>
                    <a:pt x="41097" y="0"/>
                  </a:lnTo>
                  <a:lnTo>
                    <a:pt x="41097" y="495"/>
                  </a:lnTo>
                  <a:lnTo>
                    <a:pt x="41097" y="5207"/>
                  </a:lnTo>
                  <a:lnTo>
                    <a:pt x="36169" y="5207"/>
                  </a:lnTo>
                  <a:lnTo>
                    <a:pt x="36169" y="495"/>
                  </a:lnTo>
                  <a:lnTo>
                    <a:pt x="41097" y="495"/>
                  </a:lnTo>
                  <a:lnTo>
                    <a:pt x="41097" y="12"/>
                  </a:lnTo>
                  <a:lnTo>
                    <a:pt x="36169" y="12"/>
                  </a:lnTo>
                  <a:lnTo>
                    <a:pt x="35687" y="0"/>
                  </a:lnTo>
                  <a:lnTo>
                    <a:pt x="35687" y="495"/>
                  </a:lnTo>
                  <a:lnTo>
                    <a:pt x="35687" y="5207"/>
                  </a:lnTo>
                  <a:lnTo>
                    <a:pt x="30746" y="5207"/>
                  </a:lnTo>
                  <a:lnTo>
                    <a:pt x="30746" y="495"/>
                  </a:lnTo>
                  <a:lnTo>
                    <a:pt x="35687" y="495"/>
                  </a:lnTo>
                  <a:lnTo>
                    <a:pt x="35687" y="12"/>
                  </a:lnTo>
                  <a:lnTo>
                    <a:pt x="30746" y="12"/>
                  </a:lnTo>
                  <a:lnTo>
                    <a:pt x="30264" y="0"/>
                  </a:lnTo>
                  <a:lnTo>
                    <a:pt x="30264" y="495"/>
                  </a:lnTo>
                  <a:lnTo>
                    <a:pt x="30264" y="5207"/>
                  </a:lnTo>
                  <a:lnTo>
                    <a:pt x="25323" y="5207"/>
                  </a:lnTo>
                  <a:lnTo>
                    <a:pt x="25323" y="495"/>
                  </a:lnTo>
                  <a:lnTo>
                    <a:pt x="30264" y="495"/>
                  </a:lnTo>
                  <a:lnTo>
                    <a:pt x="30264" y="12"/>
                  </a:lnTo>
                  <a:lnTo>
                    <a:pt x="25323" y="12"/>
                  </a:lnTo>
                  <a:lnTo>
                    <a:pt x="24828" y="0"/>
                  </a:lnTo>
                  <a:lnTo>
                    <a:pt x="24828" y="495"/>
                  </a:lnTo>
                  <a:lnTo>
                    <a:pt x="24828" y="5207"/>
                  </a:lnTo>
                  <a:lnTo>
                    <a:pt x="19900" y="5207"/>
                  </a:lnTo>
                  <a:lnTo>
                    <a:pt x="19900" y="495"/>
                  </a:lnTo>
                  <a:lnTo>
                    <a:pt x="24828" y="495"/>
                  </a:lnTo>
                  <a:lnTo>
                    <a:pt x="24828" y="12"/>
                  </a:lnTo>
                  <a:lnTo>
                    <a:pt x="19900" y="12"/>
                  </a:lnTo>
                  <a:lnTo>
                    <a:pt x="19418" y="0"/>
                  </a:lnTo>
                  <a:lnTo>
                    <a:pt x="19418" y="495"/>
                  </a:lnTo>
                  <a:lnTo>
                    <a:pt x="19418" y="5207"/>
                  </a:lnTo>
                  <a:lnTo>
                    <a:pt x="14478" y="5207"/>
                  </a:lnTo>
                  <a:lnTo>
                    <a:pt x="14478" y="495"/>
                  </a:lnTo>
                  <a:lnTo>
                    <a:pt x="19418" y="495"/>
                  </a:lnTo>
                  <a:lnTo>
                    <a:pt x="19418" y="12"/>
                  </a:lnTo>
                  <a:lnTo>
                    <a:pt x="14478" y="12"/>
                  </a:lnTo>
                  <a:lnTo>
                    <a:pt x="13995" y="0"/>
                  </a:lnTo>
                  <a:lnTo>
                    <a:pt x="13995" y="495"/>
                  </a:lnTo>
                  <a:lnTo>
                    <a:pt x="13995" y="5207"/>
                  </a:lnTo>
                  <a:lnTo>
                    <a:pt x="9055" y="5207"/>
                  </a:lnTo>
                  <a:lnTo>
                    <a:pt x="9055" y="495"/>
                  </a:lnTo>
                  <a:lnTo>
                    <a:pt x="13995" y="495"/>
                  </a:lnTo>
                  <a:lnTo>
                    <a:pt x="13995" y="12"/>
                  </a:lnTo>
                  <a:lnTo>
                    <a:pt x="9055" y="12"/>
                  </a:lnTo>
                  <a:lnTo>
                    <a:pt x="8572" y="0"/>
                  </a:lnTo>
                  <a:lnTo>
                    <a:pt x="8572" y="495"/>
                  </a:lnTo>
                  <a:lnTo>
                    <a:pt x="8572" y="5207"/>
                  </a:lnTo>
                  <a:lnTo>
                    <a:pt x="3632" y="5207"/>
                  </a:lnTo>
                  <a:lnTo>
                    <a:pt x="3632" y="495"/>
                  </a:lnTo>
                  <a:lnTo>
                    <a:pt x="8572" y="495"/>
                  </a:lnTo>
                  <a:lnTo>
                    <a:pt x="8572" y="12"/>
                  </a:lnTo>
                  <a:lnTo>
                    <a:pt x="3632" y="12"/>
                  </a:lnTo>
                  <a:lnTo>
                    <a:pt x="3149" y="0"/>
                  </a:lnTo>
                  <a:lnTo>
                    <a:pt x="254" y="12"/>
                  </a:lnTo>
                  <a:lnTo>
                    <a:pt x="228" y="495"/>
                  </a:lnTo>
                  <a:lnTo>
                    <a:pt x="3149" y="495"/>
                  </a:lnTo>
                  <a:lnTo>
                    <a:pt x="3149" y="5207"/>
                  </a:lnTo>
                  <a:lnTo>
                    <a:pt x="25" y="5207"/>
                  </a:lnTo>
                  <a:lnTo>
                    <a:pt x="0" y="5689"/>
                  </a:lnTo>
                  <a:lnTo>
                    <a:pt x="55575" y="5689"/>
                  </a:lnTo>
                  <a:close/>
                </a:path>
              </a:pathLst>
            </a:custGeom>
            <a:solidFill>
              <a:srgbClr val="757B7F"/>
            </a:solidFill>
          </p:spPr>
          <p:txBody>
            <a:bodyPr wrap="square" lIns="0" tIns="0" rIns="0" bIns="0" rtlCol="0"/>
            <a:lstStyle/>
            <a:p>
              <a:endParaRPr/>
            </a:p>
          </p:txBody>
        </p:sp>
        <p:sp>
          <p:nvSpPr>
            <p:cNvPr id="66" name="object 66"/>
            <p:cNvSpPr/>
            <p:nvPr/>
          </p:nvSpPr>
          <p:spPr>
            <a:xfrm>
              <a:off x="4033520" y="4553724"/>
              <a:ext cx="106045" cy="5080"/>
            </a:xfrm>
            <a:custGeom>
              <a:avLst/>
              <a:gdLst/>
              <a:ahLst/>
              <a:cxnLst/>
              <a:rect l="l" t="t" r="r" b="b"/>
              <a:pathLst>
                <a:path w="106045" h="5079">
                  <a:moveTo>
                    <a:pt x="105562" y="0"/>
                  </a:moveTo>
                  <a:lnTo>
                    <a:pt x="0" y="0"/>
                  </a:lnTo>
                  <a:lnTo>
                    <a:pt x="0" y="4787"/>
                  </a:lnTo>
                  <a:lnTo>
                    <a:pt x="105562" y="4787"/>
                  </a:lnTo>
                  <a:lnTo>
                    <a:pt x="105562" y="0"/>
                  </a:lnTo>
                  <a:close/>
                </a:path>
              </a:pathLst>
            </a:custGeom>
            <a:solidFill>
              <a:srgbClr val="505457"/>
            </a:solidFill>
          </p:spPr>
          <p:txBody>
            <a:bodyPr wrap="square" lIns="0" tIns="0" rIns="0" bIns="0" rtlCol="0"/>
            <a:lstStyle/>
            <a:p>
              <a:endParaRPr/>
            </a:p>
          </p:txBody>
        </p:sp>
        <p:sp>
          <p:nvSpPr>
            <p:cNvPr id="67" name="object 67"/>
            <p:cNvSpPr/>
            <p:nvPr/>
          </p:nvSpPr>
          <p:spPr>
            <a:xfrm>
              <a:off x="4931792" y="3851735"/>
              <a:ext cx="93345" cy="1019175"/>
            </a:xfrm>
            <a:custGeom>
              <a:avLst/>
              <a:gdLst/>
              <a:ahLst/>
              <a:cxnLst/>
              <a:rect l="l" t="t" r="r" b="b"/>
              <a:pathLst>
                <a:path w="93345" h="1019175">
                  <a:moveTo>
                    <a:pt x="74498" y="0"/>
                  </a:moveTo>
                  <a:lnTo>
                    <a:pt x="18783" y="0"/>
                  </a:lnTo>
                  <a:lnTo>
                    <a:pt x="18910" y="1282"/>
                  </a:lnTo>
                  <a:lnTo>
                    <a:pt x="19202" y="7505"/>
                  </a:lnTo>
                  <a:lnTo>
                    <a:pt x="17970" y="41008"/>
                  </a:lnTo>
                  <a:lnTo>
                    <a:pt x="17879" y="161604"/>
                  </a:lnTo>
                  <a:lnTo>
                    <a:pt x="17522" y="896080"/>
                  </a:lnTo>
                  <a:lnTo>
                    <a:pt x="17411" y="964984"/>
                  </a:lnTo>
                  <a:lnTo>
                    <a:pt x="7924" y="1002118"/>
                  </a:lnTo>
                  <a:lnTo>
                    <a:pt x="6172" y="1006259"/>
                  </a:lnTo>
                  <a:lnTo>
                    <a:pt x="5854" y="1007046"/>
                  </a:lnTo>
                  <a:lnTo>
                    <a:pt x="2959" y="1013561"/>
                  </a:lnTo>
                  <a:lnTo>
                    <a:pt x="934" y="1017295"/>
                  </a:lnTo>
                  <a:lnTo>
                    <a:pt x="0" y="1018857"/>
                  </a:lnTo>
                  <a:lnTo>
                    <a:pt x="93281" y="1018857"/>
                  </a:lnTo>
                  <a:lnTo>
                    <a:pt x="84607" y="1000023"/>
                  </a:lnTo>
                  <a:lnTo>
                    <a:pt x="82804" y="995248"/>
                  </a:lnTo>
                  <a:lnTo>
                    <a:pt x="78031" y="946158"/>
                  </a:lnTo>
                  <a:lnTo>
                    <a:pt x="77587" y="859599"/>
                  </a:lnTo>
                  <a:lnTo>
                    <a:pt x="77375" y="801181"/>
                  </a:lnTo>
                  <a:lnTo>
                    <a:pt x="76970" y="663522"/>
                  </a:lnTo>
                  <a:lnTo>
                    <a:pt x="75787" y="161604"/>
                  </a:lnTo>
                  <a:lnTo>
                    <a:pt x="75651" y="112559"/>
                  </a:lnTo>
                  <a:lnTo>
                    <a:pt x="75524" y="74851"/>
                  </a:lnTo>
                  <a:lnTo>
                    <a:pt x="75406" y="50370"/>
                  </a:lnTo>
                  <a:lnTo>
                    <a:pt x="75298" y="41008"/>
                  </a:lnTo>
                  <a:lnTo>
                    <a:pt x="74904" y="36575"/>
                  </a:lnTo>
                  <a:lnTo>
                    <a:pt x="74612" y="32423"/>
                  </a:lnTo>
                  <a:lnTo>
                    <a:pt x="74307" y="26479"/>
                  </a:lnTo>
                  <a:lnTo>
                    <a:pt x="74168" y="22936"/>
                  </a:lnTo>
                  <a:lnTo>
                    <a:pt x="73875" y="14096"/>
                  </a:lnTo>
                  <a:lnTo>
                    <a:pt x="74066" y="7505"/>
                  </a:lnTo>
                  <a:lnTo>
                    <a:pt x="74371" y="1282"/>
                  </a:lnTo>
                  <a:lnTo>
                    <a:pt x="74498" y="0"/>
                  </a:lnTo>
                  <a:close/>
                </a:path>
              </a:pathLst>
            </a:custGeom>
            <a:solidFill>
              <a:srgbClr val="DFE1E1"/>
            </a:solidFill>
          </p:spPr>
          <p:txBody>
            <a:bodyPr wrap="square" lIns="0" tIns="0" rIns="0" bIns="0" rtlCol="0"/>
            <a:lstStyle/>
            <a:p>
              <a:endParaRPr/>
            </a:p>
          </p:txBody>
        </p:sp>
        <p:sp>
          <p:nvSpPr>
            <p:cNvPr id="68" name="object 68"/>
            <p:cNvSpPr/>
            <p:nvPr/>
          </p:nvSpPr>
          <p:spPr>
            <a:xfrm>
              <a:off x="4931787" y="4857719"/>
              <a:ext cx="93345" cy="13335"/>
            </a:xfrm>
            <a:custGeom>
              <a:avLst/>
              <a:gdLst/>
              <a:ahLst/>
              <a:cxnLst/>
              <a:rect l="l" t="t" r="r" b="b"/>
              <a:pathLst>
                <a:path w="93345" h="13335">
                  <a:moveTo>
                    <a:pt x="86969" y="0"/>
                  </a:moveTo>
                  <a:lnTo>
                    <a:pt x="6311" y="0"/>
                  </a:lnTo>
                  <a:lnTo>
                    <a:pt x="2971" y="7581"/>
                  </a:lnTo>
                  <a:lnTo>
                    <a:pt x="0" y="12877"/>
                  </a:lnTo>
                  <a:lnTo>
                    <a:pt x="93294" y="12877"/>
                  </a:lnTo>
                  <a:lnTo>
                    <a:pt x="89636" y="5981"/>
                  </a:lnTo>
                  <a:lnTo>
                    <a:pt x="86969" y="0"/>
                  </a:lnTo>
                  <a:close/>
                </a:path>
              </a:pathLst>
            </a:custGeom>
            <a:solidFill>
              <a:srgbClr val="AFB4B6"/>
            </a:solidFill>
          </p:spPr>
          <p:txBody>
            <a:bodyPr wrap="square" lIns="0" tIns="0" rIns="0" bIns="0" rtlCol="0"/>
            <a:lstStyle/>
            <a:p>
              <a:endParaRPr/>
            </a:p>
          </p:txBody>
        </p:sp>
        <p:sp>
          <p:nvSpPr>
            <p:cNvPr id="69" name="object 69"/>
            <p:cNvSpPr/>
            <p:nvPr/>
          </p:nvSpPr>
          <p:spPr>
            <a:xfrm>
              <a:off x="4950570" y="3851738"/>
              <a:ext cx="55880" cy="3810"/>
            </a:xfrm>
            <a:custGeom>
              <a:avLst/>
              <a:gdLst/>
              <a:ahLst/>
              <a:cxnLst/>
              <a:rect l="l" t="t" r="r" b="b"/>
              <a:pathLst>
                <a:path w="55879" h="3810">
                  <a:moveTo>
                    <a:pt x="55714" y="0"/>
                  </a:moveTo>
                  <a:lnTo>
                    <a:pt x="0" y="0"/>
                  </a:lnTo>
                  <a:lnTo>
                    <a:pt x="127" y="1282"/>
                  </a:lnTo>
                  <a:lnTo>
                    <a:pt x="241" y="3708"/>
                  </a:lnTo>
                  <a:lnTo>
                    <a:pt x="55473" y="3708"/>
                  </a:lnTo>
                  <a:lnTo>
                    <a:pt x="55587" y="1282"/>
                  </a:lnTo>
                  <a:lnTo>
                    <a:pt x="55714" y="0"/>
                  </a:lnTo>
                  <a:close/>
                </a:path>
              </a:pathLst>
            </a:custGeom>
            <a:solidFill>
              <a:srgbClr val="9BA0A3"/>
            </a:solidFill>
          </p:spPr>
          <p:txBody>
            <a:bodyPr wrap="square" lIns="0" tIns="0" rIns="0" bIns="0" rtlCol="0"/>
            <a:lstStyle/>
            <a:p>
              <a:endParaRPr/>
            </a:p>
          </p:txBody>
        </p:sp>
        <p:sp>
          <p:nvSpPr>
            <p:cNvPr id="70" name="object 70"/>
            <p:cNvSpPr/>
            <p:nvPr/>
          </p:nvSpPr>
          <p:spPr>
            <a:xfrm>
              <a:off x="4981164" y="3851735"/>
              <a:ext cx="44450" cy="1019175"/>
            </a:xfrm>
            <a:custGeom>
              <a:avLst/>
              <a:gdLst/>
              <a:ahLst/>
              <a:cxnLst/>
              <a:rect l="l" t="t" r="r" b="b"/>
              <a:pathLst>
                <a:path w="44450" h="1019175">
                  <a:moveTo>
                    <a:pt x="25118" y="0"/>
                  </a:moveTo>
                  <a:lnTo>
                    <a:pt x="6842" y="12"/>
                  </a:lnTo>
                  <a:lnTo>
                    <a:pt x="0" y="12"/>
                  </a:lnTo>
                  <a:lnTo>
                    <a:pt x="2080" y="10401"/>
                  </a:lnTo>
                  <a:lnTo>
                    <a:pt x="3566" y="16827"/>
                  </a:lnTo>
                  <a:lnTo>
                    <a:pt x="6195" y="27089"/>
                  </a:lnTo>
                  <a:lnTo>
                    <a:pt x="6601" y="28600"/>
                  </a:lnTo>
                  <a:lnTo>
                    <a:pt x="7711" y="39965"/>
                  </a:lnTo>
                  <a:lnTo>
                    <a:pt x="9987" y="101791"/>
                  </a:lnTo>
                  <a:lnTo>
                    <a:pt x="11150" y="149035"/>
                  </a:lnTo>
                  <a:lnTo>
                    <a:pt x="12325" y="205022"/>
                  </a:lnTo>
                  <a:lnTo>
                    <a:pt x="13511" y="268142"/>
                  </a:lnTo>
                  <a:lnTo>
                    <a:pt x="14706" y="336788"/>
                  </a:lnTo>
                  <a:lnTo>
                    <a:pt x="15907" y="409350"/>
                  </a:lnTo>
                  <a:lnTo>
                    <a:pt x="19524" y="634452"/>
                  </a:lnTo>
                  <a:lnTo>
                    <a:pt x="20727" y="706595"/>
                  </a:lnTo>
                  <a:lnTo>
                    <a:pt x="21925" y="774612"/>
                  </a:lnTo>
                  <a:lnTo>
                    <a:pt x="23116" y="836894"/>
                  </a:lnTo>
                  <a:lnTo>
                    <a:pt x="24297" y="891832"/>
                  </a:lnTo>
                  <a:lnTo>
                    <a:pt x="25465" y="937819"/>
                  </a:lnTo>
                  <a:lnTo>
                    <a:pt x="27758" y="996501"/>
                  </a:lnTo>
                  <a:lnTo>
                    <a:pt x="37030" y="1018857"/>
                  </a:lnTo>
                  <a:lnTo>
                    <a:pt x="43914" y="1018857"/>
                  </a:lnTo>
                  <a:lnTo>
                    <a:pt x="42783" y="1016901"/>
                  </a:lnTo>
                  <a:lnTo>
                    <a:pt x="41335" y="1014133"/>
                  </a:lnTo>
                  <a:lnTo>
                    <a:pt x="30083" y="983691"/>
                  </a:lnTo>
                  <a:lnTo>
                    <a:pt x="29740" y="982421"/>
                  </a:lnTo>
                  <a:lnTo>
                    <a:pt x="28431" y="908562"/>
                  </a:lnTo>
                  <a:lnTo>
                    <a:pt x="28214" y="859605"/>
                  </a:lnTo>
                  <a:lnTo>
                    <a:pt x="27925" y="774612"/>
                  </a:lnTo>
                  <a:lnTo>
                    <a:pt x="27600" y="663525"/>
                  </a:lnTo>
                  <a:lnTo>
                    <a:pt x="26385" y="149035"/>
                  </a:lnTo>
                  <a:lnTo>
                    <a:pt x="26157" y="74851"/>
                  </a:lnTo>
                  <a:lnTo>
                    <a:pt x="26039" y="50370"/>
                  </a:lnTo>
                  <a:lnTo>
                    <a:pt x="25930" y="41008"/>
                  </a:lnTo>
                  <a:lnTo>
                    <a:pt x="25537" y="36563"/>
                  </a:lnTo>
                  <a:lnTo>
                    <a:pt x="25245" y="32423"/>
                  </a:lnTo>
                  <a:lnTo>
                    <a:pt x="24864" y="24917"/>
                  </a:lnTo>
                  <a:lnTo>
                    <a:pt x="24598" y="16827"/>
                  </a:lnTo>
                  <a:lnTo>
                    <a:pt x="24698" y="7505"/>
                  </a:lnTo>
                  <a:lnTo>
                    <a:pt x="24991" y="1282"/>
                  </a:lnTo>
                  <a:lnTo>
                    <a:pt x="25116" y="12"/>
                  </a:lnTo>
                  <a:lnTo>
                    <a:pt x="6842" y="12"/>
                  </a:lnTo>
                  <a:lnTo>
                    <a:pt x="25118" y="0"/>
                  </a:lnTo>
                  <a:close/>
                </a:path>
              </a:pathLst>
            </a:custGeom>
            <a:solidFill>
              <a:srgbClr val="18171C">
                <a:alpha val="9999"/>
              </a:srgbClr>
            </a:solidFill>
          </p:spPr>
          <p:txBody>
            <a:bodyPr wrap="square" lIns="0" tIns="0" rIns="0" bIns="0" rtlCol="0"/>
            <a:lstStyle/>
            <a:p>
              <a:endParaRPr/>
            </a:p>
          </p:txBody>
        </p:sp>
        <p:sp>
          <p:nvSpPr>
            <p:cNvPr id="71" name="object 71"/>
            <p:cNvSpPr/>
            <p:nvPr/>
          </p:nvSpPr>
          <p:spPr>
            <a:xfrm>
              <a:off x="4950638" y="3874655"/>
              <a:ext cx="55880" cy="5715"/>
            </a:xfrm>
            <a:custGeom>
              <a:avLst/>
              <a:gdLst/>
              <a:ahLst/>
              <a:cxnLst/>
              <a:rect l="l" t="t" r="r" b="b"/>
              <a:pathLst>
                <a:path w="55879" h="5714">
                  <a:moveTo>
                    <a:pt x="55575" y="5689"/>
                  </a:moveTo>
                  <a:lnTo>
                    <a:pt x="55537" y="5207"/>
                  </a:lnTo>
                  <a:lnTo>
                    <a:pt x="52438" y="5207"/>
                  </a:lnTo>
                  <a:lnTo>
                    <a:pt x="52438" y="495"/>
                  </a:lnTo>
                  <a:lnTo>
                    <a:pt x="55333" y="495"/>
                  </a:lnTo>
                  <a:lnTo>
                    <a:pt x="55321" y="12"/>
                  </a:lnTo>
                  <a:lnTo>
                    <a:pt x="52438" y="12"/>
                  </a:lnTo>
                  <a:lnTo>
                    <a:pt x="51955" y="0"/>
                  </a:lnTo>
                  <a:lnTo>
                    <a:pt x="51955" y="495"/>
                  </a:lnTo>
                  <a:lnTo>
                    <a:pt x="51955" y="5207"/>
                  </a:lnTo>
                  <a:lnTo>
                    <a:pt x="47015" y="5207"/>
                  </a:lnTo>
                  <a:lnTo>
                    <a:pt x="47015" y="495"/>
                  </a:lnTo>
                  <a:lnTo>
                    <a:pt x="51955" y="495"/>
                  </a:lnTo>
                  <a:lnTo>
                    <a:pt x="51955" y="12"/>
                  </a:lnTo>
                  <a:lnTo>
                    <a:pt x="47015" y="12"/>
                  </a:lnTo>
                  <a:lnTo>
                    <a:pt x="46532" y="0"/>
                  </a:lnTo>
                  <a:lnTo>
                    <a:pt x="46532" y="495"/>
                  </a:lnTo>
                  <a:lnTo>
                    <a:pt x="46532" y="5207"/>
                  </a:lnTo>
                  <a:lnTo>
                    <a:pt x="41592" y="5207"/>
                  </a:lnTo>
                  <a:lnTo>
                    <a:pt x="41592" y="495"/>
                  </a:lnTo>
                  <a:lnTo>
                    <a:pt x="46532" y="495"/>
                  </a:lnTo>
                  <a:lnTo>
                    <a:pt x="46532" y="12"/>
                  </a:lnTo>
                  <a:lnTo>
                    <a:pt x="41592" y="12"/>
                  </a:lnTo>
                  <a:lnTo>
                    <a:pt x="41109" y="0"/>
                  </a:lnTo>
                  <a:lnTo>
                    <a:pt x="41109" y="495"/>
                  </a:lnTo>
                  <a:lnTo>
                    <a:pt x="41109" y="5207"/>
                  </a:lnTo>
                  <a:lnTo>
                    <a:pt x="36169" y="5207"/>
                  </a:lnTo>
                  <a:lnTo>
                    <a:pt x="36169" y="495"/>
                  </a:lnTo>
                  <a:lnTo>
                    <a:pt x="41109" y="495"/>
                  </a:lnTo>
                  <a:lnTo>
                    <a:pt x="41109" y="12"/>
                  </a:lnTo>
                  <a:lnTo>
                    <a:pt x="36169" y="12"/>
                  </a:lnTo>
                  <a:lnTo>
                    <a:pt x="35674" y="0"/>
                  </a:lnTo>
                  <a:lnTo>
                    <a:pt x="35674" y="495"/>
                  </a:lnTo>
                  <a:lnTo>
                    <a:pt x="35674" y="5207"/>
                  </a:lnTo>
                  <a:lnTo>
                    <a:pt x="30746" y="5207"/>
                  </a:lnTo>
                  <a:lnTo>
                    <a:pt x="30746" y="495"/>
                  </a:lnTo>
                  <a:lnTo>
                    <a:pt x="35674" y="495"/>
                  </a:lnTo>
                  <a:lnTo>
                    <a:pt x="35674" y="12"/>
                  </a:lnTo>
                  <a:lnTo>
                    <a:pt x="30746" y="12"/>
                  </a:lnTo>
                  <a:lnTo>
                    <a:pt x="30264" y="0"/>
                  </a:lnTo>
                  <a:lnTo>
                    <a:pt x="30264" y="495"/>
                  </a:lnTo>
                  <a:lnTo>
                    <a:pt x="30264" y="5207"/>
                  </a:lnTo>
                  <a:lnTo>
                    <a:pt x="25323" y="5207"/>
                  </a:lnTo>
                  <a:lnTo>
                    <a:pt x="25323" y="495"/>
                  </a:lnTo>
                  <a:lnTo>
                    <a:pt x="30264" y="495"/>
                  </a:lnTo>
                  <a:lnTo>
                    <a:pt x="30264" y="12"/>
                  </a:lnTo>
                  <a:lnTo>
                    <a:pt x="25323" y="12"/>
                  </a:lnTo>
                  <a:lnTo>
                    <a:pt x="24841" y="0"/>
                  </a:lnTo>
                  <a:lnTo>
                    <a:pt x="24841" y="495"/>
                  </a:lnTo>
                  <a:lnTo>
                    <a:pt x="24841" y="5207"/>
                  </a:lnTo>
                  <a:lnTo>
                    <a:pt x="19900" y="5207"/>
                  </a:lnTo>
                  <a:lnTo>
                    <a:pt x="19900" y="495"/>
                  </a:lnTo>
                  <a:lnTo>
                    <a:pt x="24841" y="495"/>
                  </a:lnTo>
                  <a:lnTo>
                    <a:pt x="24841" y="12"/>
                  </a:lnTo>
                  <a:lnTo>
                    <a:pt x="19900" y="12"/>
                  </a:lnTo>
                  <a:lnTo>
                    <a:pt x="19405" y="0"/>
                  </a:lnTo>
                  <a:lnTo>
                    <a:pt x="19405" y="495"/>
                  </a:lnTo>
                  <a:lnTo>
                    <a:pt x="19405" y="5207"/>
                  </a:lnTo>
                  <a:lnTo>
                    <a:pt x="14478" y="5207"/>
                  </a:lnTo>
                  <a:lnTo>
                    <a:pt x="14478" y="495"/>
                  </a:lnTo>
                  <a:lnTo>
                    <a:pt x="19405" y="495"/>
                  </a:lnTo>
                  <a:lnTo>
                    <a:pt x="19405" y="12"/>
                  </a:lnTo>
                  <a:lnTo>
                    <a:pt x="14478" y="12"/>
                  </a:lnTo>
                  <a:lnTo>
                    <a:pt x="13995" y="0"/>
                  </a:lnTo>
                  <a:lnTo>
                    <a:pt x="13995" y="495"/>
                  </a:lnTo>
                  <a:lnTo>
                    <a:pt x="13995" y="5207"/>
                  </a:lnTo>
                  <a:lnTo>
                    <a:pt x="9055" y="5207"/>
                  </a:lnTo>
                  <a:lnTo>
                    <a:pt x="9055" y="495"/>
                  </a:lnTo>
                  <a:lnTo>
                    <a:pt x="13995" y="495"/>
                  </a:lnTo>
                  <a:lnTo>
                    <a:pt x="13995" y="12"/>
                  </a:lnTo>
                  <a:lnTo>
                    <a:pt x="9055" y="12"/>
                  </a:lnTo>
                  <a:lnTo>
                    <a:pt x="8572" y="0"/>
                  </a:lnTo>
                  <a:lnTo>
                    <a:pt x="8572" y="495"/>
                  </a:lnTo>
                  <a:lnTo>
                    <a:pt x="8572" y="5207"/>
                  </a:lnTo>
                  <a:lnTo>
                    <a:pt x="3632" y="5207"/>
                  </a:lnTo>
                  <a:lnTo>
                    <a:pt x="3632" y="495"/>
                  </a:lnTo>
                  <a:lnTo>
                    <a:pt x="8572" y="495"/>
                  </a:lnTo>
                  <a:lnTo>
                    <a:pt x="8572" y="12"/>
                  </a:lnTo>
                  <a:lnTo>
                    <a:pt x="3632" y="12"/>
                  </a:lnTo>
                  <a:lnTo>
                    <a:pt x="3149" y="0"/>
                  </a:lnTo>
                  <a:lnTo>
                    <a:pt x="241" y="12"/>
                  </a:lnTo>
                  <a:lnTo>
                    <a:pt x="215" y="495"/>
                  </a:lnTo>
                  <a:lnTo>
                    <a:pt x="3149" y="495"/>
                  </a:lnTo>
                  <a:lnTo>
                    <a:pt x="3149" y="5207"/>
                  </a:lnTo>
                  <a:lnTo>
                    <a:pt x="25" y="5207"/>
                  </a:lnTo>
                  <a:lnTo>
                    <a:pt x="0" y="5689"/>
                  </a:lnTo>
                  <a:lnTo>
                    <a:pt x="55575" y="5689"/>
                  </a:lnTo>
                  <a:close/>
                </a:path>
              </a:pathLst>
            </a:custGeom>
            <a:solidFill>
              <a:srgbClr val="757B7F"/>
            </a:solidFill>
          </p:spPr>
          <p:txBody>
            <a:bodyPr wrap="square" lIns="0" tIns="0" rIns="0" bIns="0" rtlCol="0"/>
            <a:lstStyle/>
            <a:p>
              <a:endParaRPr/>
            </a:p>
          </p:txBody>
        </p:sp>
        <p:sp>
          <p:nvSpPr>
            <p:cNvPr id="72" name="object 72"/>
            <p:cNvSpPr/>
            <p:nvPr/>
          </p:nvSpPr>
          <p:spPr>
            <a:xfrm>
              <a:off x="4925580" y="4870602"/>
              <a:ext cx="106045" cy="5080"/>
            </a:xfrm>
            <a:custGeom>
              <a:avLst/>
              <a:gdLst/>
              <a:ahLst/>
              <a:cxnLst/>
              <a:rect l="l" t="t" r="r" b="b"/>
              <a:pathLst>
                <a:path w="106045" h="5079">
                  <a:moveTo>
                    <a:pt x="105562" y="0"/>
                  </a:moveTo>
                  <a:lnTo>
                    <a:pt x="0" y="0"/>
                  </a:lnTo>
                  <a:lnTo>
                    <a:pt x="0" y="4787"/>
                  </a:lnTo>
                  <a:lnTo>
                    <a:pt x="105562" y="4787"/>
                  </a:lnTo>
                  <a:lnTo>
                    <a:pt x="105562" y="0"/>
                  </a:lnTo>
                  <a:close/>
                </a:path>
              </a:pathLst>
            </a:custGeom>
            <a:solidFill>
              <a:srgbClr val="505457"/>
            </a:solidFill>
          </p:spPr>
          <p:txBody>
            <a:bodyPr wrap="square" lIns="0" tIns="0" rIns="0" bIns="0" rtlCol="0"/>
            <a:lstStyle/>
            <a:p>
              <a:endParaRPr/>
            </a:p>
          </p:txBody>
        </p:sp>
        <p:sp>
          <p:nvSpPr>
            <p:cNvPr id="73" name="object 73"/>
            <p:cNvSpPr/>
            <p:nvPr/>
          </p:nvSpPr>
          <p:spPr>
            <a:xfrm>
              <a:off x="1530184" y="3767331"/>
              <a:ext cx="97155" cy="1060450"/>
            </a:xfrm>
            <a:custGeom>
              <a:avLst/>
              <a:gdLst/>
              <a:ahLst/>
              <a:cxnLst/>
              <a:rect l="l" t="t" r="r" b="b"/>
              <a:pathLst>
                <a:path w="97155" h="1060450">
                  <a:moveTo>
                    <a:pt x="77520" y="0"/>
                  </a:moveTo>
                  <a:lnTo>
                    <a:pt x="19545" y="0"/>
                  </a:lnTo>
                  <a:lnTo>
                    <a:pt x="19685" y="1333"/>
                  </a:lnTo>
                  <a:lnTo>
                    <a:pt x="19989" y="7810"/>
                  </a:lnTo>
                  <a:lnTo>
                    <a:pt x="20167" y="14668"/>
                  </a:lnTo>
                  <a:lnTo>
                    <a:pt x="19735" y="27546"/>
                  </a:lnTo>
                  <a:lnTo>
                    <a:pt x="19342" y="34721"/>
                  </a:lnTo>
                  <a:lnTo>
                    <a:pt x="19126" y="37388"/>
                  </a:lnTo>
                  <a:lnTo>
                    <a:pt x="19011" y="39090"/>
                  </a:lnTo>
                  <a:lnTo>
                    <a:pt x="18707" y="42684"/>
                  </a:lnTo>
                  <a:lnTo>
                    <a:pt x="18614" y="156558"/>
                  </a:lnTo>
                  <a:lnTo>
                    <a:pt x="18256" y="906208"/>
                  </a:lnTo>
                  <a:lnTo>
                    <a:pt x="18135" y="1004265"/>
                  </a:lnTo>
                  <a:lnTo>
                    <a:pt x="8255" y="1042911"/>
                  </a:lnTo>
                  <a:lnTo>
                    <a:pt x="6426" y="1047229"/>
                  </a:lnTo>
                  <a:lnTo>
                    <a:pt x="5422" y="1049566"/>
                  </a:lnTo>
                  <a:lnTo>
                    <a:pt x="3086" y="1054823"/>
                  </a:lnTo>
                  <a:lnTo>
                    <a:pt x="1092" y="1058519"/>
                  </a:lnTo>
                  <a:lnTo>
                    <a:pt x="0" y="1060335"/>
                  </a:lnTo>
                  <a:lnTo>
                    <a:pt x="97078" y="1060335"/>
                  </a:lnTo>
                  <a:lnTo>
                    <a:pt x="89065" y="1043343"/>
                  </a:lnTo>
                  <a:lnTo>
                    <a:pt x="88379" y="1041615"/>
                  </a:lnTo>
                  <a:lnTo>
                    <a:pt x="86182" y="1035773"/>
                  </a:lnTo>
                  <a:lnTo>
                    <a:pt x="84315" y="1030046"/>
                  </a:lnTo>
                  <a:lnTo>
                    <a:pt x="82687" y="1023694"/>
                  </a:lnTo>
                  <a:lnTo>
                    <a:pt x="82334" y="1022413"/>
                  </a:lnTo>
                  <a:lnTo>
                    <a:pt x="81018" y="952561"/>
                  </a:lnTo>
                  <a:lnTo>
                    <a:pt x="80801" y="906208"/>
                  </a:lnTo>
                  <a:lnTo>
                    <a:pt x="80591" y="850644"/>
                  </a:lnTo>
                  <a:lnTo>
                    <a:pt x="80188" y="718579"/>
                  </a:lnTo>
                  <a:lnTo>
                    <a:pt x="78851" y="156558"/>
                  </a:lnTo>
                  <a:lnTo>
                    <a:pt x="78718" y="110114"/>
                  </a:lnTo>
                  <a:lnTo>
                    <a:pt x="78594" y="74539"/>
                  </a:lnTo>
                  <a:lnTo>
                    <a:pt x="78478" y="51504"/>
                  </a:lnTo>
                  <a:lnTo>
                    <a:pt x="78371" y="42684"/>
                  </a:lnTo>
                  <a:lnTo>
                    <a:pt x="77905" y="37388"/>
                  </a:lnTo>
                  <a:lnTo>
                    <a:pt x="77647" y="33731"/>
                  </a:lnTo>
                  <a:lnTo>
                    <a:pt x="77330" y="27546"/>
                  </a:lnTo>
                  <a:lnTo>
                    <a:pt x="77190" y="23850"/>
                  </a:lnTo>
                  <a:lnTo>
                    <a:pt x="76898" y="14668"/>
                  </a:lnTo>
                  <a:lnTo>
                    <a:pt x="77076" y="7810"/>
                  </a:lnTo>
                  <a:lnTo>
                    <a:pt x="77393" y="1333"/>
                  </a:lnTo>
                  <a:lnTo>
                    <a:pt x="77520" y="0"/>
                  </a:lnTo>
                  <a:close/>
                </a:path>
              </a:pathLst>
            </a:custGeom>
            <a:solidFill>
              <a:srgbClr val="DFE1E1"/>
            </a:solidFill>
          </p:spPr>
          <p:txBody>
            <a:bodyPr wrap="square" lIns="0" tIns="0" rIns="0" bIns="0" rtlCol="0"/>
            <a:lstStyle/>
            <a:p>
              <a:endParaRPr/>
            </a:p>
          </p:txBody>
        </p:sp>
        <p:sp>
          <p:nvSpPr>
            <p:cNvPr id="74" name="object 74"/>
            <p:cNvSpPr/>
            <p:nvPr/>
          </p:nvSpPr>
          <p:spPr>
            <a:xfrm>
              <a:off x="1530181" y="4814274"/>
              <a:ext cx="97155" cy="13970"/>
            </a:xfrm>
            <a:custGeom>
              <a:avLst/>
              <a:gdLst/>
              <a:ahLst/>
              <a:cxnLst/>
              <a:rect l="l" t="t" r="r" b="b"/>
              <a:pathLst>
                <a:path w="97155" h="13970">
                  <a:moveTo>
                    <a:pt x="90512" y="0"/>
                  </a:moveTo>
                  <a:lnTo>
                    <a:pt x="6565" y="0"/>
                  </a:lnTo>
                  <a:lnTo>
                    <a:pt x="3098" y="7886"/>
                  </a:lnTo>
                  <a:lnTo>
                    <a:pt x="0" y="13398"/>
                  </a:lnTo>
                  <a:lnTo>
                    <a:pt x="97091" y="13398"/>
                  </a:lnTo>
                  <a:lnTo>
                    <a:pt x="93281" y="6223"/>
                  </a:lnTo>
                  <a:lnTo>
                    <a:pt x="90512" y="0"/>
                  </a:lnTo>
                  <a:close/>
                </a:path>
              </a:pathLst>
            </a:custGeom>
            <a:solidFill>
              <a:srgbClr val="AFB4B6"/>
            </a:solidFill>
          </p:spPr>
          <p:txBody>
            <a:bodyPr wrap="square" lIns="0" tIns="0" rIns="0" bIns="0" rtlCol="0"/>
            <a:lstStyle/>
            <a:p>
              <a:endParaRPr/>
            </a:p>
          </p:txBody>
        </p:sp>
        <p:sp>
          <p:nvSpPr>
            <p:cNvPr id="75" name="object 75"/>
            <p:cNvSpPr/>
            <p:nvPr/>
          </p:nvSpPr>
          <p:spPr>
            <a:xfrm>
              <a:off x="1549727" y="3767331"/>
              <a:ext cx="58419" cy="4445"/>
            </a:xfrm>
            <a:custGeom>
              <a:avLst/>
              <a:gdLst/>
              <a:ahLst/>
              <a:cxnLst/>
              <a:rect l="l" t="t" r="r" b="b"/>
              <a:pathLst>
                <a:path w="58419" h="4445">
                  <a:moveTo>
                    <a:pt x="57988" y="0"/>
                  </a:moveTo>
                  <a:lnTo>
                    <a:pt x="0" y="0"/>
                  </a:lnTo>
                  <a:lnTo>
                    <a:pt x="139" y="1346"/>
                  </a:lnTo>
                  <a:lnTo>
                    <a:pt x="254" y="3860"/>
                  </a:lnTo>
                  <a:lnTo>
                    <a:pt x="57734" y="3860"/>
                  </a:lnTo>
                  <a:lnTo>
                    <a:pt x="57861" y="1346"/>
                  </a:lnTo>
                  <a:lnTo>
                    <a:pt x="57988" y="0"/>
                  </a:lnTo>
                  <a:close/>
                </a:path>
              </a:pathLst>
            </a:custGeom>
            <a:solidFill>
              <a:srgbClr val="9BA0A3"/>
            </a:solidFill>
          </p:spPr>
          <p:txBody>
            <a:bodyPr wrap="square" lIns="0" tIns="0" rIns="0" bIns="0" rtlCol="0"/>
            <a:lstStyle/>
            <a:p>
              <a:endParaRPr/>
            </a:p>
          </p:txBody>
        </p:sp>
        <p:sp>
          <p:nvSpPr>
            <p:cNvPr id="76" name="object 76"/>
            <p:cNvSpPr/>
            <p:nvPr/>
          </p:nvSpPr>
          <p:spPr>
            <a:xfrm>
              <a:off x="1581566" y="3767327"/>
              <a:ext cx="45720" cy="1060450"/>
            </a:xfrm>
            <a:custGeom>
              <a:avLst/>
              <a:gdLst/>
              <a:ahLst/>
              <a:cxnLst/>
              <a:rect l="l" t="t" r="r" b="b"/>
              <a:pathLst>
                <a:path w="45719" h="1060450">
                  <a:moveTo>
                    <a:pt x="26149" y="0"/>
                  </a:moveTo>
                  <a:lnTo>
                    <a:pt x="0" y="0"/>
                  </a:lnTo>
                  <a:lnTo>
                    <a:pt x="495" y="2590"/>
                  </a:lnTo>
                  <a:lnTo>
                    <a:pt x="774" y="3860"/>
                  </a:lnTo>
                  <a:lnTo>
                    <a:pt x="2171" y="10833"/>
                  </a:lnTo>
                  <a:lnTo>
                    <a:pt x="3708" y="17513"/>
                  </a:lnTo>
                  <a:lnTo>
                    <a:pt x="6159" y="27114"/>
                  </a:lnTo>
                  <a:lnTo>
                    <a:pt x="6883" y="29756"/>
                  </a:lnTo>
                  <a:lnTo>
                    <a:pt x="7977" y="40646"/>
                  </a:lnTo>
                  <a:lnTo>
                    <a:pt x="10221" y="99449"/>
                  </a:lnTo>
                  <a:lnTo>
                    <a:pt x="11367" y="144490"/>
                  </a:lnTo>
                  <a:lnTo>
                    <a:pt x="12526" y="198045"/>
                  </a:lnTo>
                  <a:lnTo>
                    <a:pt x="13696" y="258677"/>
                  </a:lnTo>
                  <a:lnTo>
                    <a:pt x="14875" y="324953"/>
                  </a:lnTo>
                  <a:lnTo>
                    <a:pt x="16060" y="395435"/>
                  </a:lnTo>
                  <a:lnTo>
                    <a:pt x="19636" y="617772"/>
                  </a:lnTo>
                  <a:lnTo>
                    <a:pt x="20828" y="690731"/>
                  </a:lnTo>
                  <a:lnTo>
                    <a:pt x="22017" y="760720"/>
                  </a:lnTo>
                  <a:lnTo>
                    <a:pt x="23199" y="826304"/>
                  </a:lnTo>
                  <a:lnTo>
                    <a:pt x="24374" y="886048"/>
                  </a:lnTo>
                  <a:lnTo>
                    <a:pt x="25540" y="938518"/>
                  </a:lnTo>
                  <a:lnTo>
                    <a:pt x="26693" y="982276"/>
                  </a:lnTo>
                  <a:lnTo>
                    <a:pt x="28955" y="1037921"/>
                  </a:lnTo>
                  <a:lnTo>
                    <a:pt x="38544" y="1060335"/>
                  </a:lnTo>
                  <a:lnTo>
                    <a:pt x="45694" y="1060335"/>
                  </a:lnTo>
                  <a:lnTo>
                    <a:pt x="44767" y="1058722"/>
                  </a:lnTo>
                  <a:lnTo>
                    <a:pt x="43713" y="1056779"/>
                  </a:lnTo>
                  <a:lnTo>
                    <a:pt x="41884" y="1053160"/>
                  </a:lnTo>
                  <a:lnTo>
                    <a:pt x="40563" y="1050302"/>
                  </a:lnTo>
                  <a:lnTo>
                    <a:pt x="38150" y="1044613"/>
                  </a:lnTo>
                  <a:lnTo>
                    <a:pt x="37680" y="1043355"/>
                  </a:lnTo>
                  <a:lnTo>
                    <a:pt x="36995" y="1041628"/>
                  </a:lnTo>
                  <a:lnTo>
                    <a:pt x="34798" y="1035773"/>
                  </a:lnTo>
                  <a:lnTo>
                    <a:pt x="32931" y="1030046"/>
                  </a:lnTo>
                  <a:lnTo>
                    <a:pt x="31318" y="1023759"/>
                  </a:lnTo>
                  <a:lnTo>
                    <a:pt x="30949" y="1022413"/>
                  </a:lnTo>
                  <a:lnTo>
                    <a:pt x="29633" y="952569"/>
                  </a:lnTo>
                  <a:lnTo>
                    <a:pt x="29341" y="886048"/>
                  </a:lnTo>
                  <a:lnTo>
                    <a:pt x="29132" y="826304"/>
                  </a:lnTo>
                  <a:lnTo>
                    <a:pt x="28804" y="718582"/>
                  </a:lnTo>
                  <a:lnTo>
                    <a:pt x="27432" y="144490"/>
                  </a:lnTo>
                  <a:lnTo>
                    <a:pt x="27209" y="74539"/>
                  </a:lnTo>
                  <a:lnTo>
                    <a:pt x="27094" y="51504"/>
                  </a:lnTo>
                  <a:lnTo>
                    <a:pt x="26987" y="42684"/>
                  </a:lnTo>
                  <a:lnTo>
                    <a:pt x="26581" y="38061"/>
                  </a:lnTo>
                  <a:lnTo>
                    <a:pt x="26276" y="33743"/>
                  </a:lnTo>
                  <a:lnTo>
                    <a:pt x="25882" y="25933"/>
                  </a:lnTo>
                  <a:lnTo>
                    <a:pt x="25607" y="17513"/>
                  </a:lnTo>
                  <a:lnTo>
                    <a:pt x="25692" y="7810"/>
                  </a:lnTo>
                  <a:lnTo>
                    <a:pt x="26009" y="1346"/>
                  </a:lnTo>
                  <a:lnTo>
                    <a:pt x="26149" y="0"/>
                  </a:lnTo>
                  <a:close/>
                </a:path>
              </a:pathLst>
            </a:custGeom>
            <a:solidFill>
              <a:srgbClr val="18171C">
                <a:alpha val="9999"/>
              </a:srgbClr>
            </a:solidFill>
          </p:spPr>
          <p:txBody>
            <a:bodyPr wrap="square" lIns="0" tIns="0" rIns="0" bIns="0" rtlCol="0"/>
            <a:lstStyle/>
            <a:p>
              <a:endParaRPr/>
            </a:p>
          </p:txBody>
        </p:sp>
        <p:sp>
          <p:nvSpPr>
            <p:cNvPr id="77" name="object 77"/>
            <p:cNvSpPr/>
            <p:nvPr/>
          </p:nvSpPr>
          <p:spPr>
            <a:xfrm>
              <a:off x="1549793" y="3791191"/>
              <a:ext cx="58419" cy="6350"/>
            </a:xfrm>
            <a:custGeom>
              <a:avLst/>
              <a:gdLst/>
              <a:ahLst/>
              <a:cxnLst/>
              <a:rect l="l" t="t" r="r" b="b"/>
              <a:pathLst>
                <a:path w="58419" h="6350">
                  <a:moveTo>
                    <a:pt x="57835" y="5905"/>
                  </a:moveTo>
                  <a:lnTo>
                    <a:pt x="57810" y="5410"/>
                  </a:lnTo>
                  <a:lnTo>
                    <a:pt x="54584" y="5410"/>
                  </a:lnTo>
                  <a:lnTo>
                    <a:pt x="54584" y="508"/>
                  </a:lnTo>
                  <a:lnTo>
                    <a:pt x="57594" y="508"/>
                  </a:lnTo>
                  <a:lnTo>
                    <a:pt x="57581" y="12"/>
                  </a:lnTo>
                  <a:lnTo>
                    <a:pt x="54584" y="12"/>
                  </a:lnTo>
                  <a:lnTo>
                    <a:pt x="54076" y="0"/>
                  </a:lnTo>
                  <a:lnTo>
                    <a:pt x="54076" y="508"/>
                  </a:lnTo>
                  <a:lnTo>
                    <a:pt x="54076" y="5410"/>
                  </a:lnTo>
                  <a:lnTo>
                    <a:pt x="48945" y="5410"/>
                  </a:lnTo>
                  <a:lnTo>
                    <a:pt x="48945" y="508"/>
                  </a:lnTo>
                  <a:lnTo>
                    <a:pt x="54076" y="508"/>
                  </a:lnTo>
                  <a:lnTo>
                    <a:pt x="54076" y="12"/>
                  </a:lnTo>
                  <a:lnTo>
                    <a:pt x="48945" y="12"/>
                  </a:lnTo>
                  <a:lnTo>
                    <a:pt x="48450" y="0"/>
                  </a:lnTo>
                  <a:lnTo>
                    <a:pt x="48450" y="508"/>
                  </a:lnTo>
                  <a:lnTo>
                    <a:pt x="48450" y="5410"/>
                  </a:lnTo>
                  <a:lnTo>
                    <a:pt x="43294" y="5410"/>
                  </a:lnTo>
                  <a:lnTo>
                    <a:pt x="43294" y="508"/>
                  </a:lnTo>
                  <a:lnTo>
                    <a:pt x="48450" y="508"/>
                  </a:lnTo>
                  <a:lnTo>
                    <a:pt x="48450" y="12"/>
                  </a:lnTo>
                  <a:lnTo>
                    <a:pt x="43294" y="12"/>
                  </a:lnTo>
                  <a:lnTo>
                    <a:pt x="42799" y="0"/>
                  </a:lnTo>
                  <a:lnTo>
                    <a:pt x="42799" y="508"/>
                  </a:lnTo>
                  <a:lnTo>
                    <a:pt x="42799" y="5410"/>
                  </a:lnTo>
                  <a:lnTo>
                    <a:pt x="37655" y="5410"/>
                  </a:lnTo>
                  <a:lnTo>
                    <a:pt x="37655" y="508"/>
                  </a:lnTo>
                  <a:lnTo>
                    <a:pt x="42799" y="508"/>
                  </a:lnTo>
                  <a:lnTo>
                    <a:pt x="42799" y="12"/>
                  </a:lnTo>
                  <a:lnTo>
                    <a:pt x="37655" y="12"/>
                  </a:lnTo>
                  <a:lnTo>
                    <a:pt x="37160" y="0"/>
                  </a:lnTo>
                  <a:lnTo>
                    <a:pt x="37160" y="508"/>
                  </a:lnTo>
                  <a:lnTo>
                    <a:pt x="37160" y="5410"/>
                  </a:lnTo>
                  <a:lnTo>
                    <a:pt x="32004" y="5410"/>
                  </a:lnTo>
                  <a:lnTo>
                    <a:pt x="32004" y="508"/>
                  </a:lnTo>
                  <a:lnTo>
                    <a:pt x="37160" y="508"/>
                  </a:lnTo>
                  <a:lnTo>
                    <a:pt x="37160" y="12"/>
                  </a:lnTo>
                  <a:lnTo>
                    <a:pt x="32004" y="12"/>
                  </a:lnTo>
                  <a:lnTo>
                    <a:pt x="31508" y="0"/>
                  </a:lnTo>
                  <a:lnTo>
                    <a:pt x="31508" y="508"/>
                  </a:lnTo>
                  <a:lnTo>
                    <a:pt x="31508" y="5410"/>
                  </a:lnTo>
                  <a:lnTo>
                    <a:pt x="26365" y="5410"/>
                  </a:lnTo>
                  <a:lnTo>
                    <a:pt x="26365" y="508"/>
                  </a:lnTo>
                  <a:lnTo>
                    <a:pt x="31508" y="508"/>
                  </a:lnTo>
                  <a:lnTo>
                    <a:pt x="31508" y="12"/>
                  </a:lnTo>
                  <a:lnTo>
                    <a:pt x="26365" y="12"/>
                  </a:lnTo>
                  <a:lnTo>
                    <a:pt x="25869" y="0"/>
                  </a:lnTo>
                  <a:lnTo>
                    <a:pt x="25869" y="508"/>
                  </a:lnTo>
                  <a:lnTo>
                    <a:pt x="25869" y="5410"/>
                  </a:lnTo>
                  <a:lnTo>
                    <a:pt x="20713" y="5410"/>
                  </a:lnTo>
                  <a:lnTo>
                    <a:pt x="20713" y="508"/>
                  </a:lnTo>
                  <a:lnTo>
                    <a:pt x="25869" y="508"/>
                  </a:lnTo>
                  <a:lnTo>
                    <a:pt x="25869" y="12"/>
                  </a:lnTo>
                  <a:lnTo>
                    <a:pt x="20713" y="12"/>
                  </a:lnTo>
                  <a:lnTo>
                    <a:pt x="20218" y="0"/>
                  </a:lnTo>
                  <a:lnTo>
                    <a:pt x="20218" y="508"/>
                  </a:lnTo>
                  <a:lnTo>
                    <a:pt x="20218" y="5410"/>
                  </a:lnTo>
                  <a:lnTo>
                    <a:pt x="15074" y="5410"/>
                  </a:lnTo>
                  <a:lnTo>
                    <a:pt x="15074" y="508"/>
                  </a:lnTo>
                  <a:lnTo>
                    <a:pt x="20218" y="508"/>
                  </a:lnTo>
                  <a:lnTo>
                    <a:pt x="20218" y="12"/>
                  </a:lnTo>
                  <a:lnTo>
                    <a:pt x="15074" y="12"/>
                  </a:lnTo>
                  <a:lnTo>
                    <a:pt x="14579" y="0"/>
                  </a:lnTo>
                  <a:lnTo>
                    <a:pt x="14579" y="508"/>
                  </a:lnTo>
                  <a:lnTo>
                    <a:pt x="14579" y="5410"/>
                  </a:lnTo>
                  <a:lnTo>
                    <a:pt x="9423" y="5410"/>
                  </a:lnTo>
                  <a:lnTo>
                    <a:pt x="9423" y="508"/>
                  </a:lnTo>
                  <a:lnTo>
                    <a:pt x="14579" y="508"/>
                  </a:lnTo>
                  <a:lnTo>
                    <a:pt x="14579" y="12"/>
                  </a:lnTo>
                  <a:lnTo>
                    <a:pt x="9423" y="12"/>
                  </a:lnTo>
                  <a:lnTo>
                    <a:pt x="8928" y="0"/>
                  </a:lnTo>
                  <a:lnTo>
                    <a:pt x="8928" y="508"/>
                  </a:lnTo>
                  <a:lnTo>
                    <a:pt x="8928" y="5410"/>
                  </a:lnTo>
                  <a:lnTo>
                    <a:pt x="3784" y="5410"/>
                  </a:lnTo>
                  <a:lnTo>
                    <a:pt x="3784" y="508"/>
                  </a:lnTo>
                  <a:lnTo>
                    <a:pt x="8928" y="508"/>
                  </a:lnTo>
                  <a:lnTo>
                    <a:pt x="8928" y="12"/>
                  </a:lnTo>
                  <a:lnTo>
                    <a:pt x="3784" y="12"/>
                  </a:lnTo>
                  <a:lnTo>
                    <a:pt x="3276" y="0"/>
                  </a:lnTo>
                  <a:lnTo>
                    <a:pt x="254" y="12"/>
                  </a:lnTo>
                  <a:lnTo>
                    <a:pt x="228" y="508"/>
                  </a:lnTo>
                  <a:lnTo>
                    <a:pt x="3276" y="508"/>
                  </a:lnTo>
                  <a:lnTo>
                    <a:pt x="3276" y="5410"/>
                  </a:lnTo>
                  <a:lnTo>
                    <a:pt x="25" y="5410"/>
                  </a:lnTo>
                  <a:lnTo>
                    <a:pt x="0" y="5905"/>
                  </a:lnTo>
                  <a:lnTo>
                    <a:pt x="3276" y="5905"/>
                  </a:lnTo>
                  <a:lnTo>
                    <a:pt x="3784" y="5918"/>
                  </a:lnTo>
                  <a:lnTo>
                    <a:pt x="8928" y="5905"/>
                  </a:lnTo>
                  <a:lnTo>
                    <a:pt x="9423" y="5918"/>
                  </a:lnTo>
                  <a:lnTo>
                    <a:pt x="14579" y="5905"/>
                  </a:lnTo>
                  <a:lnTo>
                    <a:pt x="15074" y="5918"/>
                  </a:lnTo>
                  <a:lnTo>
                    <a:pt x="20218" y="5905"/>
                  </a:lnTo>
                  <a:lnTo>
                    <a:pt x="20713" y="5918"/>
                  </a:lnTo>
                  <a:lnTo>
                    <a:pt x="25869" y="5905"/>
                  </a:lnTo>
                  <a:lnTo>
                    <a:pt x="26365" y="5918"/>
                  </a:lnTo>
                  <a:lnTo>
                    <a:pt x="31508" y="5905"/>
                  </a:lnTo>
                  <a:lnTo>
                    <a:pt x="32004" y="5918"/>
                  </a:lnTo>
                  <a:lnTo>
                    <a:pt x="37160" y="5905"/>
                  </a:lnTo>
                  <a:lnTo>
                    <a:pt x="37655" y="5918"/>
                  </a:lnTo>
                  <a:lnTo>
                    <a:pt x="42799" y="5905"/>
                  </a:lnTo>
                  <a:lnTo>
                    <a:pt x="43294" y="5918"/>
                  </a:lnTo>
                  <a:lnTo>
                    <a:pt x="48450" y="5905"/>
                  </a:lnTo>
                  <a:lnTo>
                    <a:pt x="48945" y="5918"/>
                  </a:lnTo>
                  <a:lnTo>
                    <a:pt x="54076" y="5905"/>
                  </a:lnTo>
                  <a:lnTo>
                    <a:pt x="54584" y="5918"/>
                  </a:lnTo>
                  <a:lnTo>
                    <a:pt x="57835" y="5905"/>
                  </a:lnTo>
                  <a:close/>
                </a:path>
              </a:pathLst>
            </a:custGeom>
            <a:solidFill>
              <a:srgbClr val="757B7F"/>
            </a:solidFill>
          </p:spPr>
          <p:txBody>
            <a:bodyPr wrap="square" lIns="0" tIns="0" rIns="0" bIns="0" rtlCol="0"/>
            <a:lstStyle/>
            <a:p>
              <a:endParaRPr/>
            </a:p>
          </p:txBody>
        </p:sp>
        <p:sp>
          <p:nvSpPr>
            <p:cNvPr id="78" name="object 78"/>
            <p:cNvSpPr/>
            <p:nvPr/>
          </p:nvSpPr>
          <p:spPr>
            <a:xfrm>
              <a:off x="1523720" y="4827663"/>
              <a:ext cx="109855" cy="5080"/>
            </a:xfrm>
            <a:custGeom>
              <a:avLst/>
              <a:gdLst/>
              <a:ahLst/>
              <a:cxnLst/>
              <a:rect l="l" t="t" r="r" b="b"/>
              <a:pathLst>
                <a:path w="109855" h="5079">
                  <a:moveTo>
                    <a:pt x="109854" y="0"/>
                  </a:moveTo>
                  <a:lnTo>
                    <a:pt x="0" y="0"/>
                  </a:lnTo>
                  <a:lnTo>
                    <a:pt x="0" y="4991"/>
                  </a:lnTo>
                  <a:lnTo>
                    <a:pt x="109854" y="4991"/>
                  </a:lnTo>
                  <a:lnTo>
                    <a:pt x="109854" y="0"/>
                  </a:lnTo>
                  <a:close/>
                </a:path>
              </a:pathLst>
            </a:custGeom>
            <a:solidFill>
              <a:srgbClr val="505457"/>
            </a:solidFill>
          </p:spPr>
          <p:txBody>
            <a:bodyPr wrap="square" lIns="0" tIns="0" rIns="0" bIns="0" rtlCol="0"/>
            <a:lstStyle/>
            <a:p>
              <a:endParaRPr/>
            </a:p>
          </p:txBody>
        </p:sp>
        <p:sp>
          <p:nvSpPr>
            <p:cNvPr id="79" name="object 79"/>
            <p:cNvSpPr/>
            <p:nvPr/>
          </p:nvSpPr>
          <p:spPr>
            <a:xfrm>
              <a:off x="4313680" y="4328732"/>
              <a:ext cx="615315" cy="569595"/>
            </a:xfrm>
            <a:custGeom>
              <a:avLst/>
              <a:gdLst/>
              <a:ahLst/>
              <a:cxnLst/>
              <a:rect l="l" t="t" r="r" b="b"/>
              <a:pathLst>
                <a:path w="615314" h="569595">
                  <a:moveTo>
                    <a:pt x="318808" y="126"/>
                  </a:moveTo>
                  <a:lnTo>
                    <a:pt x="273138" y="1959"/>
                  </a:lnTo>
                  <a:lnTo>
                    <a:pt x="218160" y="13500"/>
                  </a:lnTo>
                  <a:lnTo>
                    <a:pt x="173062" y="31686"/>
                  </a:lnTo>
                  <a:lnTo>
                    <a:pt x="139573" y="51079"/>
                  </a:lnTo>
                  <a:lnTo>
                    <a:pt x="100152" y="82448"/>
                  </a:lnTo>
                  <a:lnTo>
                    <a:pt x="71043" y="113753"/>
                  </a:lnTo>
                  <a:lnTo>
                    <a:pt x="48717" y="144995"/>
                  </a:lnTo>
                  <a:lnTo>
                    <a:pt x="22517" y="196684"/>
                  </a:lnTo>
                  <a:lnTo>
                    <a:pt x="9105" y="238836"/>
                  </a:lnTo>
                  <a:lnTo>
                    <a:pt x="965" y="289661"/>
                  </a:lnTo>
                  <a:lnTo>
                    <a:pt x="0" y="309384"/>
                  </a:lnTo>
                  <a:lnTo>
                    <a:pt x="0" y="315467"/>
                  </a:lnTo>
                  <a:lnTo>
                    <a:pt x="0" y="569125"/>
                  </a:lnTo>
                  <a:lnTo>
                    <a:pt x="615124" y="569125"/>
                  </a:lnTo>
                  <a:lnTo>
                    <a:pt x="615124" y="309384"/>
                  </a:lnTo>
                  <a:lnTo>
                    <a:pt x="610158" y="258356"/>
                  </a:lnTo>
                  <a:lnTo>
                    <a:pt x="592607" y="196684"/>
                  </a:lnTo>
                  <a:lnTo>
                    <a:pt x="575627" y="160616"/>
                  </a:lnTo>
                  <a:lnTo>
                    <a:pt x="547230" y="117728"/>
                  </a:lnTo>
                  <a:lnTo>
                    <a:pt x="519112" y="86359"/>
                  </a:lnTo>
                  <a:lnTo>
                    <a:pt x="486968" y="59232"/>
                  </a:lnTo>
                  <a:lnTo>
                    <a:pt x="434378" y="27990"/>
                  </a:lnTo>
                  <a:lnTo>
                    <a:pt x="396963" y="13500"/>
                  </a:lnTo>
                  <a:lnTo>
                    <a:pt x="359037" y="4438"/>
                  </a:lnTo>
                  <a:lnTo>
                    <a:pt x="339788" y="1574"/>
                  </a:lnTo>
                  <a:lnTo>
                    <a:pt x="318808" y="126"/>
                  </a:lnTo>
                  <a:close/>
                </a:path>
              </a:pathLst>
            </a:custGeom>
            <a:solidFill>
              <a:srgbClr val="DFE1E1"/>
            </a:solidFill>
          </p:spPr>
          <p:txBody>
            <a:bodyPr wrap="square" lIns="0" tIns="0" rIns="0" bIns="0" rtlCol="0"/>
            <a:lstStyle/>
            <a:p>
              <a:endParaRPr/>
            </a:p>
          </p:txBody>
        </p:sp>
        <p:sp>
          <p:nvSpPr>
            <p:cNvPr id="80" name="object 80"/>
            <p:cNvSpPr/>
            <p:nvPr/>
          </p:nvSpPr>
          <p:spPr>
            <a:xfrm>
              <a:off x="4582019" y="4328725"/>
              <a:ext cx="347980" cy="569595"/>
            </a:xfrm>
            <a:custGeom>
              <a:avLst/>
              <a:gdLst/>
              <a:ahLst/>
              <a:cxnLst/>
              <a:rect l="l" t="t" r="r" b="b"/>
              <a:pathLst>
                <a:path w="347979" h="569595">
                  <a:moveTo>
                    <a:pt x="34264" y="0"/>
                  </a:moveTo>
                  <a:lnTo>
                    <a:pt x="15290" y="927"/>
                  </a:lnTo>
                  <a:lnTo>
                    <a:pt x="7620" y="1663"/>
                  </a:lnTo>
                  <a:lnTo>
                    <a:pt x="0" y="2717"/>
                  </a:lnTo>
                  <a:lnTo>
                    <a:pt x="11640" y="4440"/>
                  </a:lnTo>
                  <a:lnTo>
                    <a:pt x="23133" y="6630"/>
                  </a:lnTo>
                  <a:lnTo>
                    <a:pt x="64831" y="18764"/>
                  </a:lnTo>
                  <a:lnTo>
                    <a:pt x="109245" y="39319"/>
                  </a:lnTo>
                  <a:lnTo>
                    <a:pt x="144475" y="62941"/>
                  </a:lnTo>
                  <a:lnTo>
                    <a:pt x="183121" y="98082"/>
                  </a:lnTo>
                  <a:lnTo>
                    <a:pt x="211378" y="133349"/>
                  </a:lnTo>
                  <a:lnTo>
                    <a:pt x="238163" y="180200"/>
                  </a:lnTo>
                  <a:lnTo>
                    <a:pt x="255384" y="226656"/>
                  </a:lnTo>
                  <a:lnTo>
                    <a:pt x="265137" y="273977"/>
                  </a:lnTo>
                  <a:lnTo>
                    <a:pt x="267716" y="309384"/>
                  </a:lnTo>
                  <a:lnTo>
                    <a:pt x="267716" y="569137"/>
                  </a:lnTo>
                  <a:lnTo>
                    <a:pt x="347395" y="569137"/>
                  </a:lnTo>
                  <a:lnTo>
                    <a:pt x="347395" y="309384"/>
                  </a:lnTo>
                  <a:lnTo>
                    <a:pt x="346430" y="289661"/>
                  </a:lnTo>
                  <a:lnTo>
                    <a:pt x="338302" y="238836"/>
                  </a:lnTo>
                  <a:lnTo>
                    <a:pt x="317842" y="180200"/>
                  </a:lnTo>
                  <a:lnTo>
                    <a:pt x="298754" y="144995"/>
                  </a:lnTo>
                  <a:lnTo>
                    <a:pt x="266420" y="102057"/>
                  </a:lnTo>
                  <a:lnTo>
                    <a:pt x="234035" y="70751"/>
                  </a:lnTo>
                  <a:lnTo>
                    <a:pt x="188925" y="39319"/>
                  </a:lnTo>
                  <a:lnTo>
                    <a:pt x="152015" y="21645"/>
                  </a:lnTo>
                  <a:lnTo>
                    <a:pt x="108689" y="7942"/>
                  </a:lnTo>
                  <a:lnTo>
                    <a:pt x="51104" y="139"/>
                  </a:lnTo>
                  <a:lnTo>
                    <a:pt x="34264" y="0"/>
                  </a:lnTo>
                  <a:close/>
                </a:path>
              </a:pathLst>
            </a:custGeom>
            <a:solidFill>
              <a:srgbClr val="18171C">
                <a:alpha val="5000"/>
              </a:srgbClr>
            </a:solidFill>
          </p:spPr>
          <p:txBody>
            <a:bodyPr wrap="square" lIns="0" tIns="0" rIns="0" bIns="0" rtlCol="0"/>
            <a:lstStyle/>
            <a:p>
              <a:endParaRPr/>
            </a:p>
          </p:txBody>
        </p:sp>
        <p:sp>
          <p:nvSpPr>
            <p:cNvPr id="81" name="object 81"/>
            <p:cNvSpPr/>
            <p:nvPr/>
          </p:nvSpPr>
          <p:spPr>
            <a:xfrm>
              <a:off x="4314164" y="4341126"/>
              <a:ext cx="614680" cy="285115"/>
            </a:xfrm>
            <a:custGeom>
              <a:avLst/>
              <a:gdLst/>
              <a:ahLst/>
              <a:cxnLst/>
              <a:rect l="l" t="t" r="r" b="b"/>
              <a:pathLst>
                <a:path w="614679" h="285114">
                  <a:moveTo>
                    <a:pt x="404126" y="3708"/>
                  </a:moveTo>
                  <a:lnTo>
                    <a:pt x="392582" y="0"/>
                  </a:lnTo>
                  <a:lnTo>
                    <a:pt x="221526" y="0"/>
                  </a:lnTo>
                  <a:lnTo>
                    <a:pt x="209969" y="3708"/>
                  </a:lnTo>
                  <a:lnTo>
                    <a:pt x="404126" y="3708"/>
                  </a:lnTo>
                  <a:close/>
                </a:path>
                <a:path w="614679" h="285114">
                  <a:moveTo>
                    <a:pt x="441553" y="19316"/>
                  </a:moveTo>
                  <a:lnTo>
                    <a:pt x="433870" y="15608"/>
                  </a:lnTo>
                  <a:lnTo>
                    <a:pt x="180225" y="15608"/>
                  </a:lnTo>
                  <a:lnTo>
                    <a:pt x="172542" y="19316"/>
                  </a:lnTo>
                  <a:lnTo>
                    <a:pt x="441553" y="19316"/>
                  </a:lnTo>
                  <a:close/>
                </a:path>
                <a:path w="614679" h="285114">
                  <a:moveTo>
                    <a:pt x="469112" y="34937"/>
                  </a:moveTo>
                  <a:lnTo>
                    <a:pt x="463105" y="31229"/>
                  </a:lnTo>
                  <a:lnTo>
                    <a:pt x="150990" y="31229"/>
                  </a:lnTo>
                  <a:lnTo>
                    <a:pt x="144995" y="34937"/>
                  </a:lnTo>
                  <a:lnTo>
                    <a:pt x="469112" y="34937"/>
                  </a:lnTo>
                  <a:close/>
                </a:path>
                <a:path w="614679" h="285114">
                  <a:moveTo>
                    <a:pt x="491363" y="50558"/>
                  </a:moveTo>
                  <a:lnTo>
                    <a:pt x="486460" y="46850"/>
                  </a:lnTo>
                  <a:lnTo>
                    <a:pt x="127635" y="46850"/>
                  </a:lnTo>
                  <a:lnTo>
                    <a:pt x="122732" y="50558"/>
                  </a:lnTo>
                  <a:lnTo>
                    <a:pt x="491363" y="50558"/>
                  </a:lnTo>
                  <a:close/>
                </a:path>
                <a:path w="614679" h="285114">
                  <a:moveTo>
                    <a:pt x="510197" y="66243"/>
                  </a:moveTo>
                  <a:lnTo>
                    <a:pt x="505942" y="62471"/>
                  </a:lnTo>
                  <a:lnTo>
                    <a:pt x="108140" y="62471"/>
                  </a:lnTo>
                  <a:lnTo>
                    <a:pt x="103886" y="66243"/>
                  </a:lnTo>
                  <a:lnTo>
                    <a:pt x="510197" y="66243"/>
                  </a:lnTo>
                  <a:close/>
                </a:path>
                <a:path w="614679" h="285114">
                  <a:moveTo>
                    <a:pt x="526262" y="81864"/>
                  </a:moveTo>
                  <a:lnTo>
                    <a:pt x="522592" y="78092"/>
                  </a:lnTo>
                  <a:lnTo>
                    <a:pt x="91503" y="78092"/>
                  </a:lnTo>
                  <a:lnTo>
                    <a:pt x="87820" y="81864"/>
                  </a:lnTo>
                  <a:lnTo>
                    <a:pt x="526262" y="81864"/>
                  </a:lnTo>
                  <a:close/>
                </a:path>
                <a:path w="614679" h="285114">
                  <a:moveTo>
                    <a:pt x="540346" y="97485"/>
                  </a:moveTo>
                  <a:lnTo>
                    <a:pt x="537108" y="93713"/>
                  </a:lnTo>
                  <a:lnTo>
                    <a:pt x="76987" y="93713"/>
                  </a:lnTo>
                  <a:lnTo>
                    <a:pt x="73761" y="97485"/>
                  </a:lnTo>
                  <a:lnTo>
                    <a:pt x="540346" y="97485"/>
                  </a:lnTo>
                  <a:close/>
                </a:path>
                <a:path w="614679" h="285114">
                  <a:moveTo>
                    <a:pt x="552589" y="113093"/>
                  </a:moveTo>
                  <a:lnTo>
                    <a:pt x="549821" y="109385"/>
                  </a:lnTo>
                  <a:lnTo>
                    <a:pt x="64325" y="109385"/>
                  </a:lnTo>
                  <a:lnTo>
                    <a:pt x="61556" y="113093"/>
                  </a:lnTo>
                  <a:lnTo>
                    <a:pt x="552589" y="113093"/>
                  </a:lnTo>
                  <a:close/>
                </a:path>
                <a:path w="614679" h="285114">
                  <a:moveTo>
                    <a:pt x="563384" y="128714"/>
                  </a:moveTo>
                  <a:lnTo>
                    <a:pt x="560933" y="125006"/>
                  </a:lnTo>
                  <a:lnTo>
                    <a:pt x="53174" y="125006"/>
                  </a:lnTo>
                  <a:lnTo>
                    <a:pt x="50723" y="128714"/>
                  </a:lnTo>
                  <a:lnTo>
                    <a:pt x="563384" y="128714"/>
                  </a:lnTo>
                  <a:close/>
                </a:path>
                <a:path w="614679" h="285114">
                  <a:moveTo>
                    <a:pt x="572935" y="144335"/>
                  </a:moveTo>
                  <a:lnTo>
                    <a:pt x="570725" y="140627"/>
                  </a:lnTo>
                  <a:lnTo>
                    <a:pt x="43370" y="140627"/>
                  </a:lnTo>
                  <a:lnTo>
                    <a:pt x="41236" y="144335"/>
                  </a:lnTo>
                  <a:lnTo>
                    <a:pt x="572935" y="144335"/>
                  </a:lnTo>
                  <a:close/>
                </a:path>
                <a:path w="614679" h="285114">
                  <a:moveTo>
                    <a:pt x="581253" y="160020"/>
                  </a:moveTo>
                  <a:lnTo>
                    <a:pt x="579310" y="156248"/>
                  </a:lnTo>
                  <a:lnTo>
                    <a:pt x="34785" y="156248"/>
                  </a:lnTo>
                  <a:lnTo>
                    <a:pt x="32918" y="160020"/>
                  </a:lnTo>
                  <a:lnTo>
                    <a:pt x="581253" y="160020"/>
                  </a:lnTo>
                  <a:close/>
                </a:path>
                <a:path w="614679" h="285114">
                  <a:moveTo>
                    <a:pt x="588467" y="175641"/>
                  </a:moveTo>
                  <a:lnTo>
                    <a:pt x="586790" y="171869"/>
                  </a:lnTo>
                  <a:lnTo>
                    <a:pt x="27292" y="171869"/>
                  </a:lnTo>
                  <a:lnTo>
                    <a:pt x="25615" y="175641"/>
                  </a:lnTo>
                  <a:lnTo>
                    <a:pt x="588467" y="175641"/>
                  </a:lnTo>
                  <a:close/>
                </a:path>
                <a:path w="614679" h="285114">
                  <a:moveTo>
                    <a:pt x="594728" y="191249"/>
                  </a:moveTo>
                  <a:lnTo>
                    <a:pt x="593318" y="187477"/>
                  </a:lnTo>
                  <a:lnTo>
                    <a:pt x="20853" y="187477"/>
                  </a:lnTo>
                  <a:lnTo>
                    <a:pt x="19431" y="191249"/>
                  </a:lnTo>
                  <a:lnTo>
                    <a:pt x="594728" y="191249"/>
                  </a:lnTo>
                  <a:close/>
                </a:path>
                <a:path w="614679" h="285114">
                  <a:moveTo>
                    <a:pt x="600024" y="206870"/>
                  </a:moveTo>
                  <a:lnTo>
                    <a:pt x="598855" y="203161"/>
                  </a:lnTo>
                  <a:lnTo>
                    <a:pt x="15303" y="203161"/>
                  </a:lnTo>
                  <a:lnTo>
                    <a:pt x="14071" y="206870"/>
                  </a:lnTo>
                  <a:lnTo>
                    <a:pt x="600024" y="206870"/>
                  </a:lnTo>
                  <a:close/>
                </a:path>
                <a:path w="614679" h="285114">
                  <a:moveTo>
                    <a:pt x="604469" y="222491"/>
                  </a:moveTo>
                  <a:lnTo>
                    <a:pt x="603504" y="218782"/>
                  </a:lnTo>
                  <a:lnTo>
                    <a:pt x="10579" y="218782"/>
                  </a:lnTo>
                  <a:lnTo>
                    <a:pt x="9613" y="222491"/>
                  </a:lnTo>
                  <a:lnTo>
                    <a:pt x="604469" y="222491"/>
                  </a:lnTo>
                  <a:close/>
                </a:path>
                <a:path w="614679" h="285114">
                  <a:moveTo>
                    <a:pt x="608025" y="238112"/>
                  </a:moveTo>
                  <a:lnTo>
                    <a:pt x="607263" y="234403"/>
                  </a:lnTo>
                  <a:lnTo>
                    <a:pt x="6845" y="234403"/>
                  </a:lnTo>
                  <a:lnTo>
                    <a:pt x="6070" y="238112"/>
                  </a:lnTo>
                  <a:lnTo>
                    <a:pt x="608025" y="238112"/>
                  </a:lnTo>
                  <a:close/>
                </a:path>
                <a:path w="614679" h="285114">
                  <a:moveTo>
                    <a:pt x="610857" y="253720"/>
                  </a:moveTo>
                  <a:lnTo>
                    <a:pt x="610285" y="250012"/>
                  </a:lnTo>
                  <a:lnTo>
                    <a:pt x="3873" y="250012"/>
                  </a:lnTo>
                  <a:lnTo>
                    <a:pt x="3225" y="253720"/>
                  </a:lnTo>
                  <a:lnTo>
                    <a:pt x="610857" y="253720"/>
                  </a:lnTo>
                  <a:close/>
                </a:path>
                <a:path w="614679" h="285114">
                  <a:moveTo>
                    <a:pt x="612863" y="269405"/>
                  </a:moveTo>
                  <a:lnTo>
                    <a:pt x="612419" y="265633"/>
                  </a:lnTo>
                  <a:lnTo>
                    <a:pt x="1676" y="265633"/>
                  </a:lnTo>
                  <a:lnTo>
                    <a:pt x="1231" y="269405"/>
                  </a:lnTo>
                  <a:lnTo>
                    <a:pt x="612863" y="269405"/>
                  </a:lnTo>
                  <a:close/>
                </a:path>
                <a:path w="614679" h="285114">
                  <a:moveTo>
                    <a:pt x="614083" y="285026"/>
                  </a:moveTo>
                  <a:lnTo>
                    <a:pt x="613829" y="281254"/>
                  </a:lnTo>
                  <a:lnTo>
                    <a:pt x="254" y="281254"/>
                  </a:lnTo>
                  <a:lnTo>
                    <a:pt x="0" y="285026"/>
                  </a:lnTo>
                  <a:lnTo>
                    <a:pt x="614083" y="285026"/>
                  </a:lnTo>
                  <a:close/>
                </a:path>
              </a:pathLst>
            </a:custGeom>
            <a:solidFill>
              <a:srgbClr val="C6CACB"/>
            </a:solidFill>
          </p:spPr>
          <p:txBody>
            <a:bodyPr wrap="square" lIns="0" tIns="0" rIns="0" bIns="0" rtlCol="0"/>
            <a:lstStyle/>
            <a:p>
              <a:endParaRPr/>
            </a:p>
          </p:txBody>
        </p:sp>
        <p:sp>
          <p:nvSpPr>
            <p:cNvPr id="82" name="object 82"/>
            <p:cNvSpPr/>
            <p:nvPr/>
          </p:nvSpPr>
          <p:spPr>
            <a:xfrm>
              <a:off x="4054779" y="4465027"/>
              <a:ext cx="7620" cy="252729"/>
            </a:xfrm>
            <a:custGeom>
              <a:avLst/>
              <a:gdLst/>
              <a:ahLst/>
              <a:cxnLst/>
              <a:rect l="l" t="t" r="r" b="b"/>
              <a:pathLst>
                <a:path w="7620" h="252729">
                  <a:moveTo>
                    <a:pt x="7569" y="0"/>
                  </a:moveTo>
                  <a:lnTo>
                    <a:pt x="6057" y="0"/>
                  </a:lnTo>
                  <a:lnTo>
                    <a:pt x="6057" y="1130"/>
                  </a:lnTo>
                  <a:lnTo>
                    <a:pt x="6057" y="246646"/>
                  </a:lnTo>
                  <a:lnTo>
                    <a:pt x="1511" y="246646"/>
                  </a:lnTo>
                  <a:lnTo>
                    <a:pt x="1511" y="242836"/>
                  </a:lnTo>
                  <a:lnTo>
                    <a:pt x="6057" y="242836"/>
                  </a:lnTo>
                  <a:lnTo>
                    <a:pt x="6057" y="241719"/>
                  </a:lnTo>
                  <a:lnTo>
                    <a:pt x="1511" y="241719"/>
                  </a:lnTo>
                  <a:lnTo>
                    <a:pt x="1511" y="237896"/>
                  </a:lnTo>
                  <a:lnTo>
                    <a:pt x="6057" y="237896"/>
                  </a:lnTo>
                  <a:lnTo>
                    <a:pt x="6057" y="236778"/>
                  </a:lnTo>
                  <a:lnTo>
                    <a:pt x="1511" y="236778"/>
                  </a:lnTo>
                  <a:lnTo>
                    <a:pt x="1511" y="232968"/>
                  </a:lnTo>
                  <a:lnTo>
                    <a:pt x="6057" y="232968"/>
                  </a:lnTo>
                  <a:lnTo>
                    <a:pt x="6057" y="231851"/>
                  </a:lnTo>
                  <a:lnTo>
                    <a:pt x="1511" y="231851"/>
                  </a:lnTo>
                  <a:lnTo>
                    <a:pt x="1511" y="228041"/>
                  </a:lnTo>
                  <a:lnTo>
                    <a:pt x="6057" y="228041"/>
                  </a:lnTo>
                  <a:lnTo>
                    <a:pt x="6057" y="226923"/>
                  </a:lnTo>
                  <a:lnTo>
                    <a:pt x="1511" y="226923"/>
                  </a:lnTo>
                  <a:lnTo>
                    <a:pt x="1511" y="223100"/>
                  </a:lnTo>
                  <a:lnTo>
                    <a:pt x="6057" y="223100"/>
                  </a:lnTo>
                  <a:lnTo>
                    <a:pt x="6057" y="221983"/>
                  </a:lnTo>
                  <a:lnTo>
                    <a:pt x="1511" y="221983"/>
                  </a:lnTo>
                  <a:lnTo>
                    <a:pt x="1511" y="218173"/>
                  </a:lnTo>
                  <a:lnTo>
                    <a:pt x="6057" y="218173"/>
                  </a:lnTo>
                  <a:lnTo>
                    <a:pt x="6057" y="217055"/>
                  </a:lnTo>
                  <a:lnTo>
                    <a:pt x="1511" y="217055"/>
                  </a:lnTo>
                  <a:lnTo>
                    <a:pt x="1511" y="213233"/>
                  </a:lnTo>
                  <a:lnTo>
                    <a:pt x="6057" y="213233"/>
                  </a:lnTo>
                  <a:lnTo>
                    <a:pt x="6057" y="212115"/>
                  </a:lnTo>
                  <a:lnTo>
                    <a:pt x="1511" y="212115"/>
                  </a:lnTo>
                  <a:lnTo>
                    <a:pt x="1511" y="208305"/>
                  </a:lnTo>
                  <a:lnTo>
                    <a:pt x="6057" y="208305"/>
                  </a:lnTo>
                  <a:lnTo>
                    <a:pt x="6057" y="207187"/>
                  </a:lnTo>
                  <a:lnTo>
                    <a:pt x="1511" y="207187"/>
                  </a:lnTo>
                  <a:lnTo>
                    <a:pt x="1511" y="203365"/>
                  </a:lnTo>
                  <a:lnTo>
                    <a:pt x="6057" y="203365"/>
                  </a:lnTo>
                  <a:lnTo>
                    <a:pt x="6057" y="202247"/>
                  </a:lnTo>
                  <a:lnTo>
                    <a:pt x="1511" y="202247"/>
                  </a:lnTo>
                  <a:lnTo>
                    <a:pt x="1511" y="198437"/>
                  </a:lnTo>
                  <a:lnTo>
                    <a:pt x="6057" y="198437"/>
                  </a:lnTo>
                  <a:lnTo>
                    <a:pt x="6057" y="197319"/>
                  </a:lnTo>
                  <a:lnTo>
                    <a:pt x="1511" y="197319"/>
                  </a:lnTo>
                  <a:lnTo>
                    <a:pt x="1511" y="193509"/>
                  </a:lnTo>
                  <a:lnTo>
                    <a:pt x="6057" y="193509"/>
                  </a:lnTo>
                  <a:lnTo>
                    <a:pt x="6057" y="192392"/>
                  </a:lnTo>
                  <a:lnTo>
                    <a:pt x="1511" y="192392"/>
                  </a:lnTo>
                  <a:lnTo>
                    <a:pt x="1511" y="188569"/>
                  </a:lnTo>
                  <a:lnTo>
                    <a:pt x="6057" y="188569"/>
                  </a:lnTo>
                  <a:lnTo>
                    <a:pt x="6057" y="187452"/>
                  </a:lnTo>
                  <a:lnTo>
                    <a:pt x="1511" y="187452"/>
                  </a:lnTo>
                  <a:lnTo>
                    <a:pt x="1511" y="183642"/>
                  </a:lnTo>
                  <a:lnTo>
                    <a:pt x="6057" y="183642"/>
                  </a:lnTo>
                  <a:lnTo>
                    <a:pt x="6057" y="182524"/>
                  </a:lnTo>
                  <a:lnTo>
                    <a:pt x="1511" y="182524"/>
                  </a:lnTo>
                  <a:lnTo>
                    <a:pt x="1511" y="178701"/>
                  </a:lnTo>
                  <a:lnTo>
                    <a:pt x="6057" y="178701"/>
                  </a:lnTo>
                  <a:lnTo>
                    <a:pt x="6057" y="177584"/>
                  </a:lnTo>
                  <a:lnTo>
                    <a:pt x="1511" y="177584"/>
                  </a:lnTo>
                  <a:lnTo>
                    <a:pt x="1511" y="173774"/>
                  </a:lnTo>
                  <a:lnTo>
                    <a:pt x="6057" y="173774"/>
                  </a:lnTo>
                  <a:lnTo>
                    <a:pt x="6057" y="172656"/>
                  </a:lnTo>
                  <a:lnTo>
                    <a:pt x="1511" y="172656"/>
                  </a:lnTo>
                  <a:lnTo>
                    <a:pt x="1511" y="168846"/>
                  </a:lnTo>
                  <a:lnTo>
                    <a:pt x="6057" y="168846"/>
                  </a:lnTo>
                  <a:lnTo>
                    <a:pt x="6057" y="167728"/>
                  </a:lnTo>
                  <a:lnTo>
                    <a:pt x="1511" y="167728"/>
                  </a:lnTo>
                  <a:lnTo>
                    <a:pt x="1511" y="163906"/>
                  </a:lnTo>
                  <a:lnTo>
                    <a:pt x="6057" y="163906"/>
                  </a:lnTo>
                  <a:lnTo>
                    <a:pt x="6057" y="162788"/>
                  </a:lnTo>
                  <a:lnTo>
                    <a:pt x="1511" y="162788"/>
                  </a:lnTo>
                  <a:lnTo>
                    <a:pt x="1511" y="158978"/>
                  </a:lnTo>
                  <a:lnTo>
                    <a:pt x="6057" y="158978"/>
                  </a:lnTo>
                  <a:lnTo>
                    <a:pt x="6057" y="157861"/>
                  </a:lnTo>
                  <a:lnTo>
                    <a:pt x="1511" y="157861"/>
                  </a:lnTo>
                  <a:lnTo>
                    <a:pt x="1511" y="154051"/>
                  </a:lnTo>
                  <a:lnTo>
                    <a:pt x="6057" y="154051"/>
                  </a:lnTo>
                  <a:lnTo>
                    <a:pt x="6057" y="152933"/>
                  </a:lnTo>
                  <a:lnTo>
                    <a:pt x="1511" y="152933"/>
                  </a:lnTo>
                  <a:lnTo>
                    <a:pt x="1511" y="149110"/>
                  </a:lnTo>
                  <a:lnTo>
                    <a:pt x="6057" y="149110"/>
                  </a:lnTo>
                  <a:lnTo>
                    <a:pt x="6057" y="147993"/>
                  </a:lnTo>
                  <a:lnTo>
                    <a:pt x="1511" y="147993"/>
                  </a:lnTo>
                  <a:lnTo>
                    <a:pt x="1511" y="144170"/>
                  </a:lnTo>
                  <a:lnTo>
                    <a:pt x="6057" y="144170"/>
                  </a:lnTo>
                  <a:lnTo>
                    <a:pt x="6057" y="143052"/>
                  </a:lnTo>
                  <a:lnTo>
                    <a:pt x="1511" y="143052"/>
                  </a:lnTo>
                  <a:lnTo>
                    <a:pt x="1511" y="139242"/>
                  </a:lnTo>
                  <a:lnTo>
                    <a:pt x="6057" y="139242"/>
                  </a:lnTo>
                  <a:lnTo>
                    <a:pt x="6057" y="138125"/>
                  </a:lnTo>
                  <a:lnTo>
                    <a:pt x="1511" y="138125"/>
                  </a:lnTo>
                  <a:lnTo>
                    <a:pt x="1511" y="134315"/>
                  </a:lnTo>
                  <a:lnTo>
                    <a:pt x="6057" y="134315"/>
                  </a:lnTo>
                  <a:lnTo>
                    <a:pt x="6057" y="133197"/>
                  </a:lnTo>
                  <a:lnTo>
                    <a:pt x="1511" y="133197"/>
                  </a:lnTo>
                  <a:lnTo>
                    <a:pt x="1511" y="129374"/>
                  </a:lnTo>
                  <a:lnTo>
                    <a:pt x="6057" y="129374"/>
                  </a:lnTo>
                  <a:lnTo>
                    <a:pt x="6057" y="128257"/>
                  </a:lnTo>
                  <a:lnTo>
                    <a:pt x="1511" y="128257"/>
                  </a:lnTo>
                  <a:lnTo>
                    <a:pt x="1511" y="124447"/>
                  </a:lnTo>
                  <a:lnTo>
                    <a:pt x="6057" y="124447"/>
                  </a:lnTo>
                  <a:lnTo>
                    <a:pt x="6057" y="123329"/>
                  </a:lnTo>
                  <a:lnTo>
                    <a:pt x="1511" y="123329"/>
                  </a:lnTo>
                  <a:lnTo>
                    <a:pt x="1511" y="119519"/>
                  </a:lnTo>
                  <a:lnTo>
                    <a:pt x="6057" y="119519"/>
                  </a:lnTo>
                  <a:lnTo>
                    <a:pt x="6057" y="118402"/>
                  </a:lnTo>
                  <a:lnTo>
                    <a:pt x="1511" y="118402"/>
                  </a:lnTo>
                  <a:lnTo>
                    <a:pt x="1511" y="114579"/>
                  </a:lnTo>
                  <a:lnTo>
                    <a:pt x="6057" y="114579"/>
                  </a:lnTo>
                  <a:lnTo>
                    <a:pt x="6057" y="113461"/>
                  </a:lnTo>
                  <a:lnTo>
                    <a:pt x="1511" y="113461"/>
                  </a:lnTo>
                  <a:lnTo>
                    <a:pt x="1511" y="109639"/>
                  </a:lnTo>
                  <a:lnTo>
                    <a:pt x="6057" y="109639"/>
                  </a:lnTo>
                  <a:lnTo>
                    <a:pt x="6057" y="108521"/>
                  </a:lnTo>
                  <a:lnTo>
                    <a:pt x="1511" y="108521"/>
                  </a:lnTo>
                  <a:lnTo>
                    <a:pt x="1511" y="104724"/>
                  </a:lnTo>
                  <a:lnTo>
                    <a:pt x="6057" y="104724"/>
                  </a:lnTo>
                  <a:lnTo>
                    <a:pt x="6057" y="103606"/>
                  </a:lnTo>
                  <a:lnTo>
                    <a:pt x="1511" y="103606"/>
                  </a:lnTo>
                  <a:lnTo>
                    <a:pt x="1511" y="99783"/>
                  </a:lnTo>
                  <a:lnTo>
                    <a:pt x="6057" y="99783"/>
                  </a:lnTo>
                  <a:lnTo>
                    <a:pt x="6057" y="98666"/>
                  </a:lnTo>
                  <a:lnTo>
                    <a:pt x="1511" y="98666"/>
                  </a:lnTo>
                  <a:lnTo>
                    <a:pt x="1511" y="94843"/>
                  </a:lnTo>
                  <a:lnTo>
                    <a:pt x="6057" y="94843"/>
                  </a:lnTo>
                  <a:lnTo>
                    <a:pt x="6057" y="93726"/>
                  </a:lnTo>
                  <a:lnTo>
                    <a:pt x="1511" y="93726"/>
                  </a:lnTo>
                  <a:lnTo>
                    <a:pt x="1511" y="89928"/>
                  </a:lnTo>
                  <a:lnTo>
                    <a:pt x="6057" y="89928"/>
                  </a:lnTo>
                  <a:lnTo>
                    <a:pt x="6057" y="88811"/>
                  </a:lnTo>
                  <a:lnTo>
                    <a:pt x="1511" y="88811"/>
                  </a:lnTo>
                  <a:lnTo>
                    <a:pt x="1511" y="84988"/>
                  </a:lnTo>
                  <a:lnTo>
                    <a:pt x="6057" y="84988"/>
                  </a:lnTo>
                  <a:lnTo>
                    <a:pt x="6057" y="83870"/>
                  </a:lnTo>
                  <a:lnTo>
                    <a:pt x="1511" y="83870"/>
                  </a:lnTo>
                  <a:lnTo>
                    <a:pt x="1511" y="80048"/>
                  </a:lnTo>
                  <a:lnTo>
                    <a:pt x="6057" y="80048"/>
                  </a:lnTo>
                  <a:lnTo>
                    <a:pt x="6057" y="78930"/>
                  </a:lnTo>
                  <a:lnTo>
                    <a:pt x="1511" y="78930"/>
                  </a:lnTo>
                  <a:lnTo>
                    <a:pt x="1511" y="75120"/>
                  </a:lnTo>
                  <a:lnTo>
                    <a:pt x="6057" y="75120"/>
                  </a:lnTo>
                  <a:lnTo>
                    <a:pt x="6057" y="74002"/>
                  </a:lnTo>
                  <a:lnTo>
                    <a:pt x="1511" y="74002"/>
                  </a:lnTo>
                  <a:lnTo>
                    <a:pt x="1511" y="70192"/>
                  </a:lnTo>
                  <a:lnTo>
                    <a:pt x="6057" y="70192"/>
                  </a:lnTo>
                  <a:lnTo>
                    <a:pt x="6057" y="69075"/>
                  </a:lnTo>
                  <a:lnTo>
                    <a:pt x="1511" y="69075"/>
                  </a:lnTo>
                  <a:lnTo>
                    <a:pt x="1511" y="65252"/>
                  </a:lnTo>
                  <a:lnTo>
                    <a:pt x="6057" y="65252"/>
                  </a:lnTo>
                  <a:lnTo>
                    <a:pt x="6057" y="64135"/>
                  </a:lnTo>
                  <a:lnTo>
                    <a:pt x="1511" y="64135"/>
                  </a:lnTo>
                  <a:lnTo>
                    <a:pt x="1511" y="60325"/>
                  </a:lnTo>
                  <a:lnTo>
                    <a:pt x="6057" y="60325"/>
                  </a:lnTo>
                  <a:lnTo>
                    <a:pt x="6057" y="59207"/>
                  </a:lnTo>
                  <a:lnTo>
                    <a:pt x="1511" y="59207"/>
                  </a:lnTo>
                  <a:lnTo>
                    <a:pt x="1511" y="55397"/>
                  </a:lnTo>
                  <a:lnTo>
                    <a:pt x="6057" y="55397"/>
                  </a:lnTo>
                  <a:lnTo>
                    <a:pt x="6057" y="54279"/>
                  </a:lnTo>
                  <a:lnTo>
                    <a:pt x="1511" y="54279"/>
                  </a:lnTo>
                  <a:lnTo>
                    <a:pt x="1511" y="50457"/>
                  </a:lnTo>
                  <a:lnTo>
                    <a:pt x="6057" y="50457"/>
                  </a:lnTo>
                  <a:lnTo>
                    <a:pt x="6057" y="49339"/>
                  </a:lnTo>
                  <a:lnTo>
                    <a:pt x="1511" y="49339"/>
                  </a:lnTo>
                  <a:lnTo>
                    <a:pt x="1511" y="45516"/>
                  </a:lnTo>
                  <a:lnTo>
                    <a:pt x="6057" y="45516"/>
                  </a:lnTo>
                  <a:lnTo>
                    <a:pt x="6057" y="44399"/>
                  </a:lnTo>
                  <a:lnTo>
                    <a:pt x="1511" y="44399"/>
                  </a:lnTo>
                  <a:lnTo>
                    <a:pt x="1511" y="40589"/>
                  </a:lnTo>
                  <a:lnTo>
                    <a:pt x="6057" y="40589"/>
                  </a:lnTo>
                  <a:lnTo>
                    <a:pt x="6057" y="39471"/>
                  </a:lnTo>
                  <a:lnTo>
                    <a:pt x="1511" y="39471"/>
                  </a:lnTo>
                  <a:lnTo>
                    <a:pt x="1511" y="35661"/>
                  </a:lnTo>
                  <a:lnTo>
                    <a:pt x="6057" y="35661"/>
                  </a:lnTo>
                  <a:lnTo>
                    <a:pt x="6057" y="34544"/>
                  </a:lnTo>
                  <a:lnTo>
                    <a:pt x="1511" y="34544"/>
                  </a:lnTo>
                  <a:lnTo>
                    <a:pt x="1511" y="30721"/>
                  </a:lnTo>
                  <a:lnTo>
                    <a:pt x="6057" y="30721"/>
                  </a:lnTo>
                  <a:lnTo>
                    <a:pt x="6057" y="29603"/>
                  </a:lnTo>
                  <a:lnTo>
                    <a:pt x="1511" y="29603"/>
                  </a:lnTo>
                  <a:lnTo>
                    <a:pt x="1511" y="25793"/>
                  </a:lnTo>
                  <a:lnTo>
                    <a:pt x="6057" y="25793"/>
                  </a:lnTo>
                  <a:lnTo>
                    <a:pt x="6057" y="24676"/>
                  </a:lnTo>
                  <a:lnTo>
                    <a:pt x="1511" y="24676"/>
                  </a:lnTo>
                  <a:lnTo>
                    <a:pt x="1511" y="20853"/>
                  </a:lnTo>
                  <a:lnTo>
                    <a:pt x="6057" y="20853"/>
                  </a:lnTo>
                  <a:lnTo>
                    <a:pt x="6057" y="19735"/>
                  </a:lnTo>
                  <a:lnTo>
                    <a:pt x="1511" y="19735"/>
                  </a:lnTo>
                  <a:lnTo>
                    <a:pt x="1511" y="15925"/>
                  </a:lnTo>
                  <a:lnTo>
                    <a:pt x="6057" y="15925"/>
                  </a:lnTo>
                  <a:lnTo>
                    <a:pt x="6057" y="14808"/>
                  </a:lnTo>
                  <a:lnTo>
                    <a:pt x="1511" y="14808"/>
                  </a:lnTo>
                  <a:lnTo>
                    <a:pt x="1511" y="10998"/>
                  </a:lnTo>
                  <a:lnTo>
                    <a:pt x="6057" y="10998"/>
                  </a:lnTo>
                  <a:lnTo>
                    <a:pt x="6057" y="9880"/>
                  </a:lnTo>
                  <a:lnTo>
                    <a:pt x="1511" y="9880"/>
                  </a:lnTo>
                  <a:lnTo>
                    <a:pt x="1511" y="6057"/>
                  </a:lnTo>
                  <a:lnTo>
                    <a:pt x="6057" y="6057"/>
                  </a:lnTo>
                  <a:lnTo>
                    <a:pt x="6057" y="4940"/>
                  </a:lnTo>
                  <a:lnTo>
                    <a:pt x="1511" y="4940"/>
                  </a:lnTo>
                  <a:lnTo>
                    <a:pt x="1511" y="1130"/>
                  </a:lnTo>
                  <a:lnTo>
                    <a:pt x="6057" y="1130"/>
                  </a:lnTo>
                  <a:lnTo>
                    <a:pt x="6057" y="12"/>
                  </a:lnTo>
                  <a:lnTo>
                    <a:pt x="1511" y="12"/>
                  </a:lnTo>
                  <a:lnTo>
                    <a:pt x="0" y="0"/>
                  </a:lnTo>
                  <a:lnTo>
                    <a:pt x="0" y="252691"/>
                  </a:lnTo>
                  <a:lnTo>
                    <a:pt x="1511" y="252691"/>
                  </a:lnTo>
                  <a:lnTo>
                    <a:pt x="1511" y="247764"/>
                  </a:lnTo>
                  <a:lnTo>
                    <a:pt x="6057" y="247764"/>
                  </a:lnTo>
                  <a:lnTo>
                    <a:pt x="6057" y="252691"/>
                  </a:lnTo>
                  <a:lnTo>
                    <a:pt x="7569" y="252691"/>
                  </a:lnTo>
                  <a:lnTo>
                    <a:pt x="7569" y="12"/>
                  </a:lnTo>
                  <a:close/>
                </a:path>
              </a:pathLst>
            </a:custGeom>
            <a:solidFill>
              <a:srgbClr val="757B7F"/>
            </a:solidFill>
          </p:spPr>
          <p:txBody>
            <a:bodyPr wrap="square" lIns="0" tIns="0" rIns="0" bIns="0" rtlCol="0"/>
            <a:lstStyle/>
            <a:p>
              <a:endParaRPr/>
            </a:p>
          </p:txBody>
        </p:sp>
        <p:sp>
          <p:nvSpPr>
            <p:cNvPr id="83" name="object 83"/>
            <p:cNvSpPr/>
            <p:nvPr/>
          </p:nvSpPr>
          <p:spPr>
            <a:xfrm>
              <a:off x="3990480" y="4465027"/>
              <a:ext cx="68580" cy="252729"/>
            </a:xfrm>
            <a:custGeom>
              <a:avLst/>
              <a:gdLst/>
              <a:ahLst/>
              <a:cxnLst/>
              <a:rect l="l" t="t" r="r" b="b"/>
              <a:pathLst>
                <a:path w="68579" h="252729">
                  <a:moveTo>
                    <a:pt x="10591" y="0"/>
                  </a:moveTo>
                  <a:lnTo>
                    <a:pt x="0" y="0"/>
                  </a:lnTo>
                  <a:lnTo>
                    <a:pt x="0" y="252691"/>
                  </a:lnTo>
                  <a:lnTo>
                    <a:pt x="10591" y="252691"/>
                  </a:lnTo>
                  <a:lnTo>
                    <a:pt x="10591" y="0"/>
                  </a:lnTo>
                  <a:close/>
                </a:path>
                <a:path w="68579" h="252729">
                  <a:moveTo>
                    <a:pt x="68072" y="0"/>
                  </a:moveTo>
                  <a:lnTo>
                    <a:pt x="57480" y="0"/>
                  </a:lnTo>
                  <a:lnTo>
                    <a:pt x="57480" y="252691"/>
                  </a:lnTo>
                  <a:lnTo>
                    <a:pt x="68072" y="252691"/>
                  </a:lnTo>
                  <a:lnTo>
                    <a:pt x="68072" y="0"/>
                  </a:lnTo>
                  <a:close/>
                </a:path>
              </a:pathLst>
            </a:custGeom>
            <a:solidFill>
              <a:srgbClr val="505457"/>
            </a:solidFill>
          </p:spPr>
          <p:txBody>
            <a:bodyPr wrap="square" lIns="0" tIns="0" rIns="0" bIns="0" rtlCol="0"/>
            <a:lstStyle/>
            <a:p>
              <a:endParaRPr/>
            </a:p>
          </p:txBody>
        </p:sp>
        <p:sp>
          <p:nvSpPr>
            <p:cNvPr id="84" name="object 84"/>
            <p:cNvSpPr/>
            <p:nvPr/>
          </p:nvSpPr>
          <p:spPr>
            <a:xfrm>
              <a:off x="3913164" y="4455961"/>
              <a:ext cx="145415" cy="10160"/>
            </a:xfrm>
            <a:custGeom>
              <a:avLst/>
              <a:gdLst/>
              <a:ahLst/>
              <a:cxnLst/>
              <a:rect l="l" t="t" r="r" b="b"/>
              <a:pathLst>
                <a:path w="145414" h="10160">
                  <a:moveTo>
                    <a:pt x="145402" y="0"/>
                  </a:moveTo>
                  <a:lnTo>
                    <a:pt x="0" y="0"/>
                  </a:lnTo>
                  <a:lnTo>
                    <a:pt x="901" y="2082"/>
                  </a:lnTo>
                  <a:lnTo>
                    <a:pt x="18973" y="2082"/>
                  </a:lnTo>
                  <a:lnTo>
                    <a:pt x="18973" y="9855"/>
                  </a:lnTo>
                  <a:lnTo>
                    <a:pt x="21145" y="9855"/>
                  </a:lnTo>
                  <a:lnTo>
                    <a:pt x="21145" y="2082"/>
                  </a:lnTo>
                  <a:lnTo>
                    <a:pt x="43789" y="2082"/>
                  </a:lnTo>
                  <a:lnTo>
                    <a:pt x="43789" y="9855"/>
                  </a:lnTo>
                  <a:lnTo>
                    <a:pt x="46012" y="9855"/>
                  </a:lnTo>
                  <a:lnTo>
                    <a:pt x="46012" y="2082"/>
                  </a:lnTo>
                  <a:lnTo>
                    <a:pt x="68656" y="2082"/>
                  </a:lnTo>
                  <a:lnTo>
                    <a:pt x="68656" y="9855"/>
                  </a:lnTo>
                  <a:lnTo>
                    <a:pt x="70840" y="9855"/>
                  </a:lnTo>
                  <a:lnTo>
                    <a:pt x="70840" y="2082"/>
                  </a:lnTo>
                  <a:lnTo>
                    <a:pt x="93484" y="2082"/>
                  </a:lnTo>
                  <a:lnTo>
                    <a:pt x="93484" y="9855"/>
                  </a:lnTo>
                  <a:lnTo>
                    <a:pt x="95707" y="9855"/>
                  </a:lnTo>
                  <a:lnTo>
                    <a:pt x="95707" y="2082"/>
                  </a:lnTo>
                  <a:lnTo>
                    <a:pt x="118351" y="2082"/>
                  </a:lnTo>
                  <a:lnTo>
                    <a:pt x="118351" y="9855"/>
                  </a:lnTo>
                  <a:lnTo>
                    <a:pt x="120523" y="9855"/>
                  </a:lnTo>
                  <a:lnTo>
                    <a:pt x="120523" y="2082"/>
                  </a:lnTo>
                  <a:lnTo>
                    <a:pt x="143179" y="2082"/>
                  </a:lnTo>
                  <a:lnTo>
                    <a:pt x="143179" y="9855"/>
                  </a:lnTo>
                  <a:lnTo>
                    <a:pt x="145402" y="9855"/>
                  </a:lnTo>
                  <a:lnTo>
                    <a:pt x="145402" y="0"/>
                  </a:lnTo>
                  <a:close/>
                </a:path>
              </a:pathLst>
            </a:custGeom>
            <a:solidFill>
              <a:srgbClr val="757B7F"/>
            </a:solidFill>
          </p:spPr>
          <p:txBody>
            <a:bodyPr wrap="square" lIns="0" tIns="0" rIns="0" bIns="0" rtlCol="0"/>
            <a:lstStyle/>
            <a:p>
              <a:endParaRPr/>
            </a:p>
          </p:txBody>
        </p:sp>
        <p:sp>
          <p:nvSpPr>
            <p:cNvPr id="85" name="object 85"/>
            <p:cNvSpPr/>
            <p:nvPr/>
          </p:nvSpPr>
          <p:spPr>
            <a:xfrm>
              <a:off x="3499132" y="4327544"/>
              <a:ext cx="433070" cy="390525"/>
            </a:xfrm>
            <a:custGeom>
              <a:avLst/>
              <a:gdLst/>
              <a:ahLst/>
              <a:cxnLst/>
              <a:rect l="l" t="t" r="r" b="b"/>
              <a:pathLst>
                <a:path w="433070" h="390525">
                  <a:moveTo>
                    <a:pt x="224231" y="0"/>
                  </a:moveTo>
                  <a:lnTo>
                    <a:pt x="208432" y="0"/>
                  </a:lnTo>
                  <a:lnTo>
                    <a:pt x="192094" y="1252"/>
                  </a:lnTo>
                  <a:lnTo>
                    <a:pt x="150710" y="10020"/>
                  </a:lnTo>
                  <a:lnTo>
                    <a:pt x="111493" y="26860"/>
                  </a:lnTo>
                  <a:lnTo>
                    <a:pt x="70434" y="56451"/>
                  </a:lnTo>
                  <a:lnTo>
                    <a:pt x="36029" y="96647"/>
                  </a:lnTo>
                  <a:lnTo>
                    <a:pt x="15836" y="134772"/>
                  </a:lnTo>
                  <a:lnTo>
                    <a:pt x="3492" y="177063"/>
                  </a:lnTo>
                  <a:lnTo>
                    <a:pt x="0" y="212051"/>
                  </a:lnTo>
                  <a:lnTo>
                    <a:pt x="0" y="216230"/>
                  </a:lnTo>
                  <a:lnTo>
                    <a:pt x="0" y="390169"/>
                  </a:lnTo>
                  <a:lnTo>
                    <a:pt x="432600" y="390169"/>
                  </a:lnTo>
                  <a:lnTo>
                    <a:pt x="432473" y="207924"/>
                  </a:lnTo>
                  <a:lnTo>
                    <a:pt x="426199" y="163677"/>
                  </a:lnTo>
                  <a:lnTo>
                    <a:pt x="411822" y="123469"/>
                  </a:lnTo>
                  <a:lnTo>
                    <a:pt x="382651" y="77914"/>
                  </a:lnTo>
                  <a:lnTo>
                    <a:pt x="352869" y="48412"/>
                  </a:lnTo>
                  <a:lnTo>
                    <a:pt x="321157" y="26860"/>
                  </a:lnTo>
                  <a:lnTo>
                    <a:pt x="276453" y="8394"/>
                  </a:lnTo>
                  <a:lnTo>
                    <a:pt x="238975" y="990"/>
                  </a:lnTo>
                  <a:lnTo>
                    <a:pt x="224231" y="0"/>
                  </a:lnTo>
                  <a:close/>
                </a:path>
              </a:pathLst>
            </a:custGeom>
            <a:solidFill>
              <a:srgbClr val="DFE1E1"/>
            </a:solidFill>
          </p:spPr>
          <p:txBody>
            <a:bodyPr wrap="square" lIns="0" tIns="0" rIns="0" bIns="0" rtlCol="0"/>
            <a:lstStyle/>
            <a:p>
              <a:endParaRPr/>
            </a:p>
          </p:txBody>
        </p:sp>
        <p:sp>
          <p:nvSpPr>
            <p:cNvPr id="86" name="object 86"/>
            <p:cNvSpPr/>
            <p:nvPr/>
          </p:nvSpPr>
          <p:spPr>
            <a:xfrm>
              <a:off x="3687851" y="4327544"/>
              <a:ext cx="244475" cy="390525"/>
            </a:xfrm>
            <a:custGeom>
              <a:avLst/>
              <a:gdLst/>
              <a:ahLst/>
              <a:cxnLst/>
              <a:rect l="l" t="t" r="r" b="b"/>
              <a:pathLst>
                <a:path w="244475" h="390525">
                  <a:moveTo>
                    <a:pt x="35941" y="0"/>
                  </a:moveTo>
                  <a:lnTo>
                    <a:pt x="20142" y="0"/>
                  </a:lnTo>
                  <a:lnTo>
                    <a:pt x="5346" y="1041"/>
                  </a:lnTo>
                  <a:lnTo>
                    <a:pt x="0" y="1765"/>
                  </a:lnTo>
                  <a:lnTo>
                    <a:pt x="8186" y="2945"/>
                  </a:lnTo>
                  <a:lnTo>
                    <a:pt x="16270" y="4446"/>
                  </a:lnTo>
                  <a:lnTo>
                    <a:pt x="54406" y="16014"/>
                  </a:lnTo>
                  <a:lnTo>
                    <a:pt x="90119" y="34937"/>
                  </a:lnTo>
                  <a:lnTo>
                    <a:pt x="128790" y="67157"/>
                  </a:lnTo>
                  <a:lnTo>
                    <a:pt x="155790" y="102057"/>
                  </a:lnTo>
                  <a:lnTo>
                    <a:pt x="176301" y="144945"/>
                  </a:lnTo>
                  <a:lnTo>
                    <a:pt x="186461" y="187769"/>
                  </a:lnTo>
                  <a:lnTo>
                    <a:pt x="188277" y="390182"/>
                  </a:lnTo>
                  <a:lnTo>
                    <a:pt x="244322" y="390182"/>
                  </a:lnTo>
                  <a:lnTo>
                    <a:pt x="244322" y="212051"/>
                  </a:lnTo>
                  <a:lnTo>
                    <a:pt x="242519" y="187769"/>
                  </a:lnTo>
                  <a:lnTo>
                    <a:pt x="232346" y="144945"/>
                  </a:lnTo>
                  <a:lnTo>
                    <a:pt x="211823" y="102057"/>
                  </a:lnTo>
                  <a:lnTo>
                    <a:pt x="176796" y="59118"/>
                  </a:lnTo>
                  <a:lnTo>
                    <a:pt x="132867" y="26860"/>
                  </a:lnTo>
                  <a:lnTo>
                    <a:pt x="88176" y="8394"/>
                  </a:lnTo>
                  <a:lnTo>
                    <a:pt x="52266" y="1252"/>
                  </a:lnTo>
                  <a:lnTo>
                    <a:pt x="35941" y="0"/>
                  </a:lnTo>
                  <a:close/>
                </a:path>
              </a:pathLst>
            </a:custGeom>
            <a:solidFill>
              <a:srgbClr val="18171C">
                <a:alpha val="5000"/>
              </a:srgbClr>
            </a:solidFill>
          </p:spPr>
          <p:txBody>
            <a:bodyPr wrap="square" lIns="0" tIns="0" rIns="0" bIns="0" rtlCol="0"/>
            <a:lstStyle/>
            <a:p>
              <a:endParaRPr/>
            </a:p>
          </p:txBody>
        </p:sp>
        <p:sp>
          <p:nvSpPr>
            <p:cNvPr id="87" name="object 87"/>
            <p:cNvSpPr/>
            <p:nvPr/>
          </p:nvSpPr>
          <p:spPr>
            <a:xfrm>
              <a:off x="3916975" y="4465038"/>
              <a:ext cx="141605" cy="20955"/>
            </a:xfrm>
            <a:custGeom>
              <a:avLst/>
              <a:gdLst/>
              <a:ahLst/>
              <a:cxnLst/>
              <a:rect l="l" t="t" r="r" b="b"/>
              <a:pathLst>
                <a:path w="141604" h="20954">
                  <a:moveTo>
                    <a:pt x="141579" y="0"/>
                  </a:moveTo>
                  <a:lnTo>
                    <a:pt x="0" y="0"/>
                  </a:lnTo>
                  <a:lnTo>
                    <a:pt x="6083" y="17830"/>
                  </a:lnTo>
                  <a:lnTo>
                    <a:pt x="6807" y="20472"/>
                  </a:lnTo>
                  <a:lnTo>
                    <a:pt x="141579" y="20472"/>
                  </a:lnTo>
                  <a:lnTo>
                    <a:pt x="141579" y="0"/>
                  </a:lnTo>
                  <a:close/>
                </a:path>
              </a:pathLst>
            </a:custGeom>
            <a:solidFill>
              <a:srgbClr val="9BA0A3"/>
            </a:solidFill>
          </p:spPr>
          <p:txBody>
            <a:bodyPr wrap="square" lIns="0" tIns="0" rIns="0" bIns="0" rtlCol="0"/>
            <a:lstStyle/>
            <a:p>
              <a:endParaRPr/>
            </a:p>
          </p:txBody>
        </p:sp>
        <p:sp>
          <p:nvSpPr>
            <p:cNvPr id="88" name="object 88"/>
            <p:cNvSpPr/>
            <p:nvPr/>
          </p:nvSpPr>
          <p:spPr>
            <a:xfrm>
              <a:off x="3499472" y="4335957"/>
              <a:ext cx="432434" cy="195580"/>
            </a:xfrm>
            <a:custGeom>
              <a:avLst/>
              <a:gdLst/>
              <a:ahLst/>
              <a:cxnLst/>
              <a:rect l="l" t="t" r="r" b="b"/>
              <a:pathLst>
                <a:path w="432435" h="195579">
                  <a:moveTo>
                    <a:pt x="284213" y="2540"/>
                  </a:moveTo>
                  <a:lnTo>
                    <a:pt x="276085" y="0"/>
                  </a:lnTo>
                  <a:lnTo>
                    <a:pt x="155790" y="0"/>
                  </a:lnTo>
                  <a:lnTo>
                    <a:pt x="147662" y="2540"/>
                  </a:lnTo>
                  <a:lnTo>
                    <a:pt x="284213" y="2540"/>
                  </a:lnTo>
                  <a:close/>
                </a:path>
                <a:path w="432435" h="195579">
                  <a:moveTo>
                    <a:pt x="310540" y="13246"/>
                  </a:moveTo>
                  <a:lnTo>
                    <a:pt x="305130" y="10706"/>
                  </a:lnTo>
                  <a:lnTo>
                    <a:pt x="126746" y="10706"/>
                  </a:lnTo>
                  <a:lnTo>
                    <a:pt x="121348" y="13246"/>
                  </a:lnTo>
                  <a:lnTo>
                    <a:pt x="310540" y="13246"/>
                  </a:lnTo>
                  <a:close/>
                </a:path>
                <a:path w="432435" h="195579">
                  <a:moveTo>
                    <a:pt x="329907" y="23952"/>
                  </a:moveTo>
                  <a:lnTo>
                    <a:pt x="325691" y="21412"/>
                  </a:lnTo>
                  <a:lnTo>
                    <a:pt x="106184" y="21412"/>
                  </a:lnTo>
                  <a:lnTo>
                    <a:pt x="101968" y="23952"/>
                  </a:lnTo>
                  <a:lnTo>
                    <a:pt x="329907" y="23952"/>
                  </a:lnTo>
                  <a:close/>
                </a:path>
                <a:path w="432435" h="195579">
                  <a:moveTo>
                    <a:pt x="345567" y="34658"/>
                  </a:moveTo>
                  <a:lnTo>
                    <a:pt x="342112" y="32118"/>
                  </a:lnTo>
                  <a:lnTo>
                    <a:pt x="89763" y="32118"/>
                  </a:lnTo>
                  <a:lnTo>
                    <a:pt x="86309" y="34658"/>
                  </a:lnTo>
                  <a:lnTo>
                    <a:pt x="345567" y="34658"/>
                  </a:lnTo>
                  <a:close/>
                </a:path>
                <a:path w="432435" h="195579">
                  <a:moveTo>
                    <a:pt x="358825" y="45415"/>
                  </a:moveTo>
                  <a:lnTo>
                    <a:pt x="355815" y="42824"/>
                  </a:lnTo>
                  <a:lnTo>
                    <a:pt x="76060" y="42824"/>
                  </a:lnTo>
                  <a:lnTo>
                    <a:pt x="73063" y="45415"/>
                  </a:lnTo>
                  <a:lnTo>
                    <a:pt x="358825" y="45415"/>
                  </a:lnTo>
                  <a:close/>
                </a:path>
                <a:path w="432435" h="195579">
                  <a:moveTo>
                    <a:pt x="370116" y="56134"/>
                  </a:moveTo>
                  <a:lnTo>
                    <a:pt x="367538" y="53543"/>
                  </a:lnTo>
                  <a:lnTo>
                    <a:pt x="64350" y="53543"/>
                  </a:lnTo>
                  <a:lnTo>
                    <a:pt x="61760" y="56134"/>
                  </a:lnTo>
                  <a:lnTo>
                    <a:pt x="370116" y="56134"/>
                  </a:lnTo>
                  <a:close/>
                </a:path>
                <a:path w="432435" h="195579">
                  <a:moveTo>
                    <a:pt x="380009" y="66840"/>
                  </a:moveTo>
                  <a:lnTo>
                    <a:pt x="377736" y="64249"/>
                  </a:lnTo>
                  <a:lnTo>
                    <a:pt x="54127" y="64249"/>
                  </a:lnTo>
                  <a:lnTo>
                    <a:pt x="51866" y="66840"/>
                  </a:lnTo>
                  <a:lnTo>
                    <a:pt x="380009" y="66840"/>
                  </a:lnTo>
                  <a:close/>
                </a:path>
                <a:path w="432435" h="195579">
                  <a:moveTo>
                    <a:pt x="388632" y="77546"/>
                  </a:moveTo>
                  <a:lnTo>
                    <a:pt x="386676" y="75006"/>
                  </a:lnTo>
                  <a:lnTo>
                    <a:pt x="45250" y="75006"/>
                  </a:lnTo>
                  <a:lnTo>
                    <a:pt x="43294" y="77546"/>
                  </a:lnTo>
                  <a:lnTo>
                    <a:pt x="388632" y="77546"/>
                  </a:lnTo>
                  <a:close/>
                </a:path>
                <a:path w="432435" h="195579">
                  <a:moveTo>
                    <a:pt x="396214" y="88252"/>
                  </a:moveTo>
                  <a:lnTo>
                    <a:pt x="394487" y="85712"/>
                  </a:lnTo>
                  <a:lnTo>
                    <a:pt x="37401" y="85712"/>
                  </a:lnTo>
                  <a:lnTo>
                    <a:pt x="35674" y="88252"/>
                  </a:lnTo>
                  <a:lnTo>
                    <a:pt x="396214" y="88252"/>
                  </a:lnTo>
                  <a:close/>
                </a:path>
                <a:path w="432435" h="195579">
                  <a:moveTo>
                    <a:pt x="402920" y="98971"/>
                  </a:moveTo>
                  <a:lnTo>
                    <a:pt x="401383" y="96431"/>
                  </a:lnTo>
                  <a:lnTo>
                    <a:pt x="30492" y="96431"/>
                  </a:lnTo>
                  <a:lnTo>
                    <a:pt x="28994" y="98971"/>
                  </a:lnTo>
                  <a:lnTo>
                    <a:pt x="402920" y="98971"/>
                  </a:lnTo>
                  <a:close/>
                </a:path>
                <a:path w="432435" h="195579">
                  <a:moveTo>
                    <a:pt x="408774" y="109728"/>
                  </a:moveTo>
                  <a:lnTo>
                    <a:pt x="407416" y="107137"/>
                  </a:lnTo>
                  <a:lnTo>
                    <a:pt x="24460" y="107137"/>
                  </a:lnTo>
                  <a:lnTo>
                    <a:pt x="23139" y="109728"/>
                  </a:lnTo>
                  <a:lnTo>
                    <a:pt x="408774" y="109728"/>
                  </a:lnTo>
                  <a:close/>
                </a:path>
                <a:path w="432435" h="195579">
                  <a:moveTo>
                    <a:pt x="413867" y="120434"/>
                  </a:moveTo>
                  <a:lnTo>
                    <a:pt x="412686" y="117843"/>
                  </a:lnTo>
                  <a:lnTo>
                    <a:pt x="19202" y="117843"/>
                  </a:lnTo>
                  <a:lnTo>
                    <a:pt x="18021" y="120434"/>
                  </a:lnTo>
                  <a:lnTo>
                    <a:pt x="413867" y="120434"/>
                  </a:lnTo>
                  <a:close/>
                </a:path>
                <a:path w="432435" h="195579">
                  <a:moveTo>
                    <a:pt x="418274" y="131140"/>
                  </a:moveTo>
                  <a:lnTo>
                    <a:pt x="417283" y="128549"/>
                  </a:lnTo>
                  <a:lnTo>
                    <a:pt x="14668" y="128549"/>
                  </a:lnTo>
                  <a:lnTo>
                    <a:pt x="13665" y="131140"/>
                  </a:lnTo>
                  <a:lnTo>
                    <a:pt x="418274" y="131140"/>
                  </a:lnTo>
                  <a:close/>
                </a:path>
                <a:path w="432435" h="195579">
                  <a:moveTo>
                    <a:pt x="421982" y="141846"/>
                  </a:moveTo>
                  <a:lnTo>
                    <a:pt x="421170" y="139306"/>
                  </a:lnTo>
                  <a:lnTo>
                    <a:pt x="10756" y="139306"/>
                  </a:lnTo>
                  <a:lnTo>
                    <a:pt x="9893" y="141846"/>
                  </a:lnTo>
                  <a:lnTo>
                    <a:pt x="421982" y="141846"/>
                  </a:lnTo>
                  <a:close/>
                </a:path>
                <a:path w="432435" h="195579">
                  <a:moveTo>
                    <a:pt x="425132" y="152565"/>
                  </a:moveTo>
                  <a:lnTo>
                    <a:pt x="424446" y="150025"/>
                  </a:lnTo>
                  <a:lnTo>
                    <a:pt x="7442" y="150025"/>
                  </a:lnTo>
                  <a:lnTo>
                    <a:pt x="6769" y="152565"/>
                  </a:lnTo>
                  <a:lnTo>
                    <a:pt x="425132" y="152565"/>
                  </a:lnTo>
                  <a:close/>
                </a:path>
                <a:path w="432435" h="195579">
                  <a:moveTo>
                    <a:pt x="427609" y="163271"/>
                  </a:moveTo>
                  <a:lnTo>
                    <a:pt x="427075" y="160731"/>
                  </a:lnTo>
                  <a:lnTo>
                    <a:pt x="4800" y="160731"/>
                  </a:lnTo>
                  <a:lnTo>
                    <a:pt x="4267" y="163271"/>
                  </a:lnTo>
                  <a:lnTo>
                    <a:pt x="427609" y="163271"/>
                  </a:lnTo>
                  <a:close/>
                </a:path>
                <a:path w="432435" h="195579">
                  <a:moveTo>
                    <a:pt x="429615" y="173977"/>
                  </a:moveTo>
                  <a:lnTo>
                    <a:pt x="429209" y="171437"/>
                  </a:lnTo>
                  <a:lnTo>
                    <a:pt x="2730" y="171437"/>
                  </a:lnTo>
                  <a:lnTo>
                    <a:pt x="2273" y="173977"/>
                  </a:lnTo>
                  <a:lnTo>
                    <a:pt x="429615" y="173977"/>
                  </a:lnTo>
                  <a:close/>
                </a:path>
                <a:path w="432435" h="195579">
                  <a:moveTo>
                    <a:pt x="431012" y="184734"/>
                  </a:moveTo>
                  <a:lnTo>
                    <a:pt x="430707" y="182143"/>
                  </a:lnTo>
                  <a:lnTo>
                    <a:pt x="1181" y="182143"/>
                  </a:lnTo>
                  <a:lnTo>
                    <a:pt x="863" y="184734"/>
                  </a:lnTo>
                  <a:lnTo>
                    <a:pt x="431012" y="184734"/>
                  </a:lnTo>
                  <a:close/>
                </a:path>
                <a:path w="432435" h="195579">
                  <a:moveTo>
                    <a:pt x="431876" y="195440"/>
                  </a:moveTo>
                  <a:lnTo>
                    <a:pt x="431698" y="192849"/>
                  </a:lnTo>
                  <a:lnTo>
                    <a:pt x="177" y="192849"/>
                  </a:lnTo>
                  <a:lnTo>
                    <a:pt x="0" y="195440"/>
                  </a:lnTo>
                  <a:lnTo>
                    <a:pt x="431876" y="195440"/>
                  </a:lnTo>
                  <a:close/>
                </a:path>
              </a:pathLst>
            </a:custGeom>
            <a:solidFill>
              <a:srgbClr val="C6CACB"/>
            </a:solidFill>
          </p:spPr>
          <p:txBody>
            <a:bodyPr wrap="square" lIns="0" tIns="0" rIns="0" bIns="0" rtlCol="0"/>
            <a:lstStyle/>
            <a:p>
              <a:endParaRPr/>
            </a:p>
          </p:txBody>
        </p:sp>
        <p:sp>
          <p:nvSpPr>
            <p:cNvPr id="89" name="object 89"/>
            <p:cNvSpPr/>
            <p:nvPr/>
          </p:nvSpPr>
          <p:spPr>
            <a:xfrm>
              <a:off x="3499111" y="4522579"/>
              <a:ext cx="560070" cy="10160"/>
            </a:xfrm>
            <a:custGeom>
              <a:avLst/>
              <a:gdLst/>
              <a:ahLst/>
              <a:cxnLst/>
              <a:rect l="l" t="t" r="r" b="b"/>
              <a:pathLst>
                <a:path w="560070" h="10160">
                  <a:moveTo>
                    <a:pt x="559447" y="0"/>
                  </a:moveTo>
                  <a:lnTo>
                    <a:pt x="2260" y="0"/>
                  </a:lnTo>
                  <a:lnTo>
                    <a:pt x="0" y="0"/>
                  </a:lnTo>
                  <a:lnTo>
                    <a:pt x="0" y="9842"/>
                  </a:lnTo>
                  <a:lnTo>
                    <a:pt x="2260" y="9842"/>
                  </a:lnTo>
                  <a:lnTo>
                    <a:pt x="2260" y="2082"/>
                  </a:lnTo>
                  <a:lnTo>
                    <a:pt x="25323" y="2082"/>
                  </a:lnTo>
                  <a:lnTo>
                    <a:pt x="25323" y="9842"/>
                  </a:lnTo>
                  <a:lnTo>
                    <a:pt x="27584" y="9842"/>
                  </a:lnTo>
                  <a:lnTo>
                    <a:pt x="27584" y="2082"/>
                  </a:lnTo>
                  <a:lnTo>
                    <a:pt x="50660" y="2082"/>
                  </a:lnTo>
                  <a:lnTo>
                    <a:pt x="50660" y="9842"/>
                  </a:lnTo>
                  <a:lnTo>
                    <a:pt x="52920" y="9842"/>
                  </a:lnTo>
                  <a:lnTo>
                    <a:pt x="52920" y="2082"/>
                  </a:lnTo>
                  <a:lnTo>
                    <a:pt x="75984" y="2082"/>
                  </a:lnTo>
                  <a:lnTo>
                    <a:pt x="75984" y="9842"/>
                  </a:lnTo>
                  <a:lnTo>
                    <a:pt x="78244" y="9842"/>
                  </a:lnTo>
                  <a:lnTo>
                    <a:pt x="78244" y="2082"/>
                  </a:lnTo>
                  <a:lnTo>
                    <a:pt x="101320" y="2082"/>
                  </a:lnTo>
                  <a:lnTo>
                    <a:pt x="101320" y="9842"/>
                  </a:lnTo>
                  <a:lnTo>
                    <a:pt x="103568" y="9842"/>
                  </a:lnTo>
                  <a:lnTo>
                    <a:pt x="103568" y="2082"/>
                  </a:lnTo>
                  <a:lnTo>
                    <a:pt x="126644" y="2082"/>
                  </a:lnTo>
                  <a:lnTo>
                    <a:pt x="126644" y="9842"/>
                  </a:lnTo>
                  <a:lnTo>
                    <a:pt x="128892" y="9842"/>
                  </a:lnTo>
                  <a:lnTo>
                    <a:pt x="128892" y="2082"/>
                  </a:lnTo>
                  <a:lnTo>
                    <a:pt x="151968" y="2082"/>
                  </a:lnTo>
                  <a:lnTo>
                    <a:pt x="151968" y="9842"/>
                  </a:lnTo>
                  <a:lnTo>
                    <a:pt x="154216" y="9842"/>
                  </a:lnTo>
                  <a:lnTo>
                    <a:pt x="154216" y="2082"/>
                  </a:lnTo>
                  <a:lnTo>
                    <a:pt x="177291" y="2082"/>
                  </a:lnTo>
                  <a:lnTo>
                    <a:pt x="177291" y="9842"/>
                  </a:lnTo>
                  <a:lnTo>
                    <a:pt x="179552" y="9842"/>
                  </a:lnTo>
                  <a:lnTo>
                    <a:pt x="179552" y="2082"/>
                  </a:lnTo>
                  <a:lnTo>
                    <a:pt x="202615" y="2082"/>
                  </a:lnTo>
                  <a:lnTo>
                    <a:pt x="202615" y="9842"/>
                  </a:lnTo>
                  <a:lnTo>
                    <a:pt x="204876" y="9842"/>
                  </a:lnTo>
                  <a:lnTo>
                    <a:pt x="204876" y="2082"/>
                  </a:lnTo>
                  <a:lnTo>
                    <a:pt x="227939" y="2082"/>
                  </a:lnTo>
                  <a:lnTo>
                    <a:pt x="227939" y="9842"/>
                  </a:lnTo>
                  <a:lnTo>
                    <a:pt x="230200" y="9842"/>
                  </a:lnTo>
                  <a:lnTo>
                    <a:pt x="230200" y="2082"/>
                  </a:lnTo>
                  <a:lnTo>
                    <a:pt x="253276" y="2082"/>
                  </a:lnTo>
                  <a:lnTo>
                    <a:pt x="253276" y="9842"/>
                  </a:lnTo>
                  <a:lnTo>
                    <a:pt x="255523" y="9842"/>
                  </a:lnTo>
                  <a:lnTo>
                    <a:pt x="255523" y="2082"/>
                  </a:lnTo>
                  <a:lnTo>
                    <a:pt x="278599" y="2082"/>
                  </a:lnTo>
                  <a:lnTo>
                    <a:pt x="278599" y="9842"/>
                  </a:lnTo>
                  <a:lnTo>
                    <a:pt x="280847" y="9842"/>
                  </a:lnTo>
                  <a:lnTo>
                    <a:pt x="280847" y="2082"/>
                  </a:lnTo>
                  <a:lnTo>
                    <a:pt x="303923" y="2082"/>
                  </a:lnTo>
                  <a:lnTo>
                    <a:pt x="303923" y="9842"/>
                  </a:lnTo>
                  <a:lnTo>
                    <a:pt x="306184" y="9842"/>
                  </a:lnTo>
                  <a:lnTo>
                    <a:pt x="306184" y="2082"/>
                  </a:lnTo>
                  <a:lnTo>
                    <a:pt x="329247" y="2082"/>
                  </a:lnTo>
                  <a:lnTo>
                    <a:pt x="329247" y="9842"/>
                  </a:lnTo>
                  <a:lnTo>
                    <a:pt x="331508" y="9842"/>
                  </a:lnTo>
                  <a:lnTo>
                    <a:pt x="331508" y="2082"/>
                  </a:lnTo>
                  <a:lnTo>
                    <a:pt x="354571" y="2082"/>
                  </a:lnTo>
                  <a:lnTo>
                    <a:pt x="354571" y="9842"/>
                  </a:lnTo>
                  <a:lnTo>
                    <a:pt x="356844" y="9842"/>
                  </a:lnTo>
                  <a:lnTo>
                    <a:pt x="356844" y="2082"/>
                  </a:lnTo>
                  <a:lnTo>
                    <a:pt x="379907" y="2082"/>
                  </a:lnTo>
                  <a:lnTo>
                    <a:pt x="379907" y="9842"/>
                  </a:lnTo>
                  <a:lnTo>
                    <a:pt x="382168" y="9842"/>
                  </a:lnTo>
                  <a:lnTo>
                    <a:pt x="382168" y="2082"/>
                  </a:lnTo>
                  <a:lnTo>
                    <a:pt x="405231" y="2082"/>
                  </a:lnTo>
                  <a:lnTo>
                    <a:pt x="405231" y="9842"/>
                  </a:lnTo>
                  <a:lnTo>
                    <a:pt x="407479" y="9842"/>
                  </a:lnTo>
                  <a:lnTo>
                    <a:pt x="407479" y="2082"/>
                  </a:lnTo>
                  <a:lnTo>
                    <a:pt x="430568" y="2082"/>
                  </a:lnTo>
                  <a:lnTo>
                    <a:pt x="430568" y="9842"/>
                  </a:lnTo>
                  <a:lnTo>
                    <a:pt x="432816" y="9842"/>
                  </a:lnTo>
                  <a:lnTo>
                    <a:pt x="432816" y="2082"/>
                  </a:lnTo>
                  <a:lnTo>
                    <a:pt x="455891" y="2082"/>
                  </a:lnTo>
                  <a:lnTo>
                    <a:pt x="455891" y="9842"/>
                  </a:lnTo>
                  <a:lnTo>
                    <a:pt x="458139" y="9842"/>
                  </a:lnTo>
                  <a:lnTo>
                    <a:pt x="458139" y="2082"/>
                  </a:lnTo>
                  <a:lnTo>
                    <a:pt x="481203" y="2082"/>
                  </a:lnTo>
                  <a:lnTo>
                    <a:pt x="481203" y="9842"/>
                  </a:lnTo>
                  <a:lnTo>
                    <a:pt x="483476" y="9842"/>
                  </a:lnTo>
                  <a:lnTo>
                    <a:pt x="483476" y="2082"/>
                  </a:lnTo>
                  <a:lnTo>
                    <a:pt x="506539" y="2082"/>
                  </a:lnTo>
                  <a:lnTo>
                    <a:pt x="506539" y="9842"/>
                  </a:lnTo>
                  <a:lnTo>
                    <a:pt x="508800" y="9842"/>
                  </a:lnTo>
                  <a:lnTo>
                    <a:pt x="508800" y="2082"/>
                  </a:lnTo>
                  <a:lnTo>
                    <a:pt x="531863" y="2082"/>
                  </a:lnTo>
                  <a:lnTo>
                    <a:pt x="531863" y="9842"/>
                  </a:lnTo>
                  <a:lnTo>
                    <a:pt x="534123" y="9842"/>
                  </a:lnTo>
                  <a:lnTo>
                    <a:pt x="534123" y="2082"/>
                  </a:lnTo>
                  <a:lnTo>
                    <a:pt x="557199" y="2082"/>
                  </a:lnTo>
                  <a:lnTo>
                    <a:pt x="557199" y="9842"/>
                  </a:lnTo>
                  <a:lnTo>
                    <a:pt x="559447" y="9842"/>
                  </a:lnTo>
                  <a:lnTo>
                    <a:pt x="559447" y="0"/>
                  </a:lnTo>
                  <a:close/>
                </a:path>
              </a:pathLst>
            </a:custGeom>
            <a:solidFill>
              <a:srgbClr val="757B7F"/>
            </a:solidFill>
          </p:spPr>
          <p:txBody>
            <a:bodyPr wrap="square" lIns="0" tIns="0" rIns="0" bIns="0" rtlCol="0"/>
            <a:lstStyle/>
            <a:p>
              <a:endParaRPr/>
            </a:p>
          </p:txBody>
        </p:sp>
        <p:sp>
          <p:nvSpPr>
            <p:cNvPr id="90" name="object 90"/>
            <p:cNvSpPr/>
            <p:nvPr/>
          </p:nvSpPr>
          <p:spPr>
            <a:xfrm>
              <a:off x="3499116" y="4531245"/>
              <a:ext cx="559435" cy="20955"/>
            </a:xfrm>
            <a:custGeom>
              <a:avLst/>
              <a:gdLst/>
              <a:ahLst/>
              <a:cxnLst/>
              <a:rect l="l" t="t" r="r" b="b"/>
              <a:pathLst>
                <a:path w="559435" h="20954">
                  <a:moveTo>
                    <a:pt x="559422" y="0"/>
                  </a:moveTo>
                  <a:lnTo>
                    <a:pt x="0" y="0"/>
                  </a:lnTo>
                  <a:lnTo>
                    <a:pt x="0" y="20485"/>
                  </a:lnTo>
                  <a:lnTo>
                    <a:pt x="559422" y="20485"/>
                  </a:lnTo>
                  <a:lnTo>
                    <a:pt x="559422" y="0"/>
                  </a:lnTo>
                  <a:close/>
                </a:path>
              </a:pathLst>
            </a:custGeom>
            <a:solidFill>
              <a:srgbClr val="9BA0A3"/>
            </a:solidFill>
          </p:spPr>
          <p:txBody>
            <a:bodyPr wrap="square" lIns="0" tIns="0" rIns="0" bIns="0" rtlCol="0"/>
            <a:lstStyle/>
            <a:p>
              <a:endParaRPr/>
            </a:p>
          </p:txBody>
        </p:sp>
        <p:sp>
          <p:nvSpPr>
            <p:cNvPr id="91" name="object 91"/>
            <p:cNvSpPr/>
            <p:nvPr/>
          </p:nvSpPr>
          <p:spPr>
            <a:xfrm>
              <a:off x="3543649" y="4454246"/>
              <a:ext cx="118110" cy="263525"/>
            </a:xfrm>
            <a:custGeom>
              <a:avLst/>
              <a:gdLst/>
              <a:ahLst/>
              <a:cxnLst/>
              <a:rect l="l" t="t" r="r" b="b"/>
              <a:pathLst>
                <a:path w="118110" h="263525">
                  <a:moveTo>
                    <a:pt x="63576" y="0"/>
                  </a:moveTo>
                  <a:lnTo>
                    <a:pt x="59042" y="0"/>
                  </a:lnTo>
                  <a:lnTo>
                    <a:pt x="47127" y="1195"/>
                  </a:lnTo>
                  <a:lnTo>
                    <a:pt x="10067" y="26018"/>
                  </a:lnTo>
                  <a:lnTo>
                    <a:pt x="0" y="59042"/>
                  </a:lnTo>
                  <a:lnTo>
                    <a:pt x="0" y="263486"/>
                  </a:lnTo>
                  <a:lnTo>
                    <a:pt x="118084" y="263486"/>
                  </a:lnTo>
                  <a:lnTo>
                    <a:pt x="118084" y="59042"/>
                  </a:lnTo>
                  <a:lnTo>
                    <a:pt x="105002" y="21983"/>
                  </a:lnTo>
                  <a:lnTo>
                    <a:pt x="72250" y="1498"/>
                  </a:lnTo>
                  <a:lnTo>
                    <a:pt x="63576" y="0"/>
                  </a:lnTo>
                  <a:close/>
                </a:path>
              </a:pathLst>
            </a:custGeom>
            <a:solidFill>
              <a:srgbClr val="C6CACB"/>
            </a:solidFill>
          </p:spPr>
          <p:txBody>
            <a:bodyPr wrap="square" lIns="0" tIns="0" rIns="0" bIns="0" rtlCol="0"/>
            <a:lstStyle/>
            <a:p>
              <a:endParaRPr/>
            </a:p>
          </p:txBody>
        </p:sp>
        <p:sp>
          <p:nvSpPr>
            <p:cNvPr id="92" name="object 92"/>
            <p:cNvSpPr/>
            <p:nvPr/>
          </p:nvSpPr>
          <p:spPr>
            <a:xfrm>
              <a:off x="3589437" y="4454249"/>
              <a:ext cx="72390" cy="263525"/>
            </a:xfrm>
            <a:custGeom>
              <a:avLst/>
              <a:gdLst/>
              <a:ahLst/>
              <a:cxnLst/>
              <a:rect l="l" t="t" r="r" b="b"/>
              <a:pathLst>
                <a:path w="72389" h="263525">
                  <a:moveTo>
                    <a:pt x="13246" y="0"/>
                  </a:moveTo>
                  <a:lnTo>
                    <a:pt x="8712" y="0"/>
                  </a:lnTo>
                  <a:lnTo>
                    <a:pt x="4267" y="495"/>
                  </a:lnTo>
                  <a:lnTo>
                    <a:pt x="0" y="1498"/>
                  </a:lnTo>
                  <a:lnTo>
                    <a:pt x="18225" y="9062"/>
                  </a:lnTo>
                  <a:lnTo>
                    <a:pt x="32751" y="21978"/>
                  </a:lnTo>
                  <a:lnTo>
                    <a:pt x="42360" y="39040"/>
                  </a:lnTo>
                  <a:lnTo>
                    <a:pt x="45834" y="59042"/>
                  </a:lnTo>
                  <a:lnTo>
                    <a:pt x="45834" y="263474"/>
                  </a:lnTo>
                  <a:lnTo>
                    <a:pt x="72288" y="263474"/>
                  </a:lnTo>
                  <a:lnTo>
                    <a:pt x="72288" y="59042"/>
                  </a:lnTo>
                  <a:lnTo>
                    <a:pt x="67645" y="36052"/>
                  </a:lnTo>
                  <a:lnTo>
                    <a:pt x="54987" y="17286"/>
                  </a:lnTo>
                  <a:lnTo>
                    <a:pt x="36219" y="4637"/>
                  </a:lnTo>
                  <a:lnTo>
                    <a:pt x="13246" y="0"/>
                  </a:lnTo>
                  <a:close/>
                </a:path>
              </a:pathLst>
            </a:custGeom>
            <a:solidFill>
              <a:srgbClr val="18171C">
                <a:alpha val="9999"/>
              </a:srgbClr>
            </a:solidFill>
          </p:spPr>
          <p:txBody>
            <a:bodyPr wrap="square" lIns="0" tIns="0" rIns="0" bIns="0" rtlCol="0"/>
            <a:lstStyle/>
            <a:p>
              <a:endParaRPr/>
            </a:p>
          </p:txBody>
        </p:sp>
        <p:sp>
          <p:nvSpPr>
            <p:cNvPr id="93" name="object 93"/>
            <p:cNvSpPr/>
            <p:nvPr/>
          </p:nvSpPr>
          <p:spPr>
            <a:xfrm>
              <a:off x="3458455" y="4454246"/>
              <a:ext cx="118110" cy="263525"/>
            </a:xfrm>
            <a:custGeom>
              <a:avLst/>
              <a:gdLst/>
              <a:ahLst/>
              <a:cxnLst/>
              <a:rect l="l" t="t" r="r" b="b"/>
              <a:pathLst>
                <a:path w="118110" h="263525">
                  <a:moveTo>
                    <a:pt x="63576" y="0"/>
                  </a:moveTo>
                  <a:lnTo>
                    <a:pt x="59042" y="0"/>
                  </a:lnTo>
                  <a:lnTo>
                    <a:pt x="47127" y="1195"/>
                  </a:lnTo>
                  <a:lnTo>
                    <a:pt x="10067" y="26018"/>
                  </a:lnTo>
                  <a:lnTo>
                    <a:pt x="0" y="59042"/>
                  </a:lnTo>
                  <a:lnTo>
                    <a:pt x="0" y="263486"/>
                  </a:lnTo>
                  <a:lnTo>
                    <a:pt x="118084" y="263486"/>
                  </a:lnTo>
                  <a:lnTo>
                    <a:pt x="118084" y="59042"/>
                  </a:lnTo>
                  <a:lnTo>
                    <a:pt x="105002" y="21983"/>
                  </a:lnTo>
                  <a:lnTo>
                    <a:pt x="72250" y="1498"/>
                  </a:lnTo>
                  <a:lnTo>
                    <a:pt x="63576" y="0"/>
                  </a:lnTo>
                  <a:close/>
                </a:path>
              </a:pathLst>
            </a:custGeom>
            <a:solidFill>
              <a:srgbClr val="C6CACB"/>
            </a:solidFill>
          </p:spPr>
          <p:txBody>
            <a:bodyPr wrap="square" lIns="0" tIns="0" rIns="0" bIns="0" rtlCol="0"/>
            <a:lstStyle/>
            <a:p>
              <a:endParaRPr/>
            </a:p>
          </p:txBody>
        </p:sp>
        <p:sp>
          <p:nvSpPr>
            <p:cNvPr id="94" name="object 94"/>
            <p:cNvSpPr/>
            <p:nvPr/>
          </p:nvSpPr>
          <p:spPr>
            <a:xfrm>
              <a:off x="3504243" y="4454249"/>
              <a:ext cx="72390" cy="263525"/>
            </a:xfrm>
            <a:custGeom>
              <a:avLst/>
              <a:gdLst/>
              <a:ahLst/>
              <a:cxnLst/>
              <a:rect l="l" t="t" r="r" b="b"/>
              <a:pathLst>
                <a:path w="72389" h="263525">
                  <a:moveTo>
                    <a:pt x="13246" y="0"/>
                  </a:moveTo>
                  <a:lnTo>
                    <a:pt x="8712" y="0"/>
                  </a:lnTo>
                  <a:lnTo>
                    <a:pt x="4267" y="495"/>
                  </a:lnTo>
                  <a:lnTo>
                    <a:pt x="0" y="1498"/>
                  </a:lnTo>
                  <a:lnTo>
                    <a:pt x="18225" y="9062"/>
                  </a:lnTo>
                  <a:lnTo>
                    <a:pt x="32751" y="21978"/>
                  </a:lnTo>
                  <a:lnTo>
                    <a:pt x="42360" y="39040"/>
                  </a:lnTo>
                  <a:lnTo>
                    <a:pt x="45834" y="59042"/>
                  </a:lnTo>
                  <a:lnTo>
                    <a:pt x="45834" y="263474"/>
                  </a:lnTo>
                  <a:lnTo>
                    <a:pt x="72288" y="263474"/>
                  </a:lnTo>
                  <a:lnTo>
                    <a:pt x="72288" y="59042"/>
                  </a:lnTo>
                  <a:lnTo>
                    <a:pt x="67645" y="36052"/>
                  </a:lnTo>
                  <a:lnTo>
                    <a:pt x="54987" y="17286"/>
                  </a:lnTo>
                  <a:lnTo>
                    <a:pt x="36219" y="4637"/>
                  </a:lnTo>
                  <a:lnTo>
                    <a:pt x="13246" y="0"/>
                  </a:lnTo>
                  <a:close/>
                </a:path>
              </a:pathLst>
            </a:custGeom>
            <a:solidFill>
              <a:srgbClr val="18171C">
                <a:alpha val="9999"/>
              </a:srgbClr>
            </a:solidFill>
          </p:spPr>
          <p:txBody>
            <a:bodyPr wrap="square" lIns="0" tIns="0" rIns="0" bIns="0" rtlCol="0"/>
            <a:lstStyle/>
            <a:p>
              <a:endParaRPr/>
            </a:p>
          </p:txBody>
        </p:sp>
        <p:sp>
          <p:nvSpPr>
            <p:cNvPr id="95" name="object 95"/>
            <p:cNvSpPr/>
            <p:nvPr/>
          </p:nvSpPr>
          <p:spPr>
            <a:xfrm>
              <a:off x="3120555" y="4607026"/>
              <a:ext cx="8255" cy="255904"/>
            </a:xfrm>
            <a:custGeom>
              <a:avLst/>
              <a:gdLst/>
              <a:ahLst/>
              <a:cxnLst/>
              <a:rect l="l" t="t" r="r" b="b"/>
              <a:pathLst>
                <a:path w="8255" h="255904">
                  <a:moveTo>
                    <a:pt x="1524" y="0"/>
                  </a:moveTo>
                  <a:lnTo>
                    <a:pt x="0" y="0"/>
                  </a:lnTo>
                  <a:lnTo>
                    <a:pt x="0" y="255308"/>
                  </a:lnTo>
                  <a:lnTo>
                    <a:pt x="1524" y="255308"/>
                  </a:lnTo>
                  <a:lnTo>
                    <a:pt x="1524" y="0"/>
                  </a:lnTo>
                  <a:close/>
                </a:path>
                <a:path w="8255" h="255904">
                  <a:moveTo>
                    <a:pt x="7632" y="0"/>
                  </a:moveTo>
                  <a:lnTo>
                    <a:pt x="6108" y="0"/>
                  </a:lnTo>
                  <a:lnTo>
                    <a:pt x="6108" y="255308"/>
                  </a:lnTo>
                  <a:lnTo>
                    <a:pt x="7632" y="255308"/>
                  </a:lnTo>
                  <a:lnTo>
                    <a:pt x="7632" y="0"/>
                  </a:lnTo>
                  <a:close/>
                </a:path>
              </a:pathLst>
            </a:custGeom>
            <a:solidFill>
              <a:srgbClr val="757B7F"/>
            </a:solidFill>
          </p:spPr>
          <p:txBody>
            <a:bodyPr wrap="square" lIns="0" tIns="0" rIns="0" bIns="0" rtlCol="0"/>
            <a:lstStyle/>
            <a:p>
              <a:endParaRPr/>
            </a:p>
          </p:txBody>
        </p:sp>
        <p:sp>
          <p:nvSpPr>
            <p:cNvPr id="96" name="object 96"/>
            <p:cNvSpPr/>
            <p:nvPr/>
          </p:nvSpPr>
          <p:spPr>
            <a:xfrm>
              <a:off x="3124371" y="4607026"/>
              <a:ext cx="0" cy="250825"/>
            </a:xfrm>
            <a:custGeom>
              <a:avLst/>
              <a:gdLst/>
              <a:ahLst/>
              <a:cxnLst/>
              <a:rect l="l" t="t" r="r" b="b"/>
              <a:pathLst>
                <a:path h="250825">
                  <a:moveTo>
                    <a:pt x="0" y="0"/>
                  </a:moveTo>
                  <a:lnTo>
                    <a:pt x="0" y="250317"/>
                  </a:lnTo>
                </a:path>
              </a:pathLst>
            </a:custGeom>
            <a:ln w="7632">
              <a:solidFill>
                <a:srgbClr val="757B7F"/>
              </a:solidFill>
              <a:prstDash val="dot"/>
            </a:ln>
          </p:spPr>
          <p:txBody>
            <a:bodyPr wrap="square" lIns="0" tIns="0" rIns="0" bIns="0" rtlCol="0"/>
            <a:lstStyle/>
            <a:p>
              <a:endParaRPr/>
            </a:p>
          </p:txBody>
        </p:sp>
        <p:sp>
          <p:nvSpPr>
            <p:cNvPr id="97" name="object 97"/>
            <p:cNvSpPr/>
            <p:nvPr/>
          </p:nvSpPr>
          <p:spPr>
            <a:xfrm>
              <a:off x="3055594" y="4607026"/>
              <a:ext cx="69215" cy="255904"/>
            </a:xfrm>
            <a:custGeom>
              <a:avLst/>
              <a:gdLst/>
              <a:ahLst/>
              <a:cxnLst/>
              <a:rect l="l" t="t" r="r" b="b"/>
              <a:pathLst>
                <a:path w="69214" h="255904">
                  <a:moveTo>
                    <a:pt x="10706" y="0"/>
                  </a:moveTo>
                  <a:lnTo>
                    <a:pt x="0" y="0"/>
                  </a:lnTo>
                  <a:lnTo>
                    <a:pt x="0" y="255308"/>
                  </a:lnTo>
                  <a:lnTo>
                    <a:pt x="10706" y="255308"/>
                  </a:lnTo>
                  <a:lnTo>
                    <a:pt x="10706" y="0"/>
                  </a:lnTo>
                  <a:close/>
                </a:path>
                <a:path w="69214" h="255904">
                  <a:moveTo>
                    <a:pt x="68770" y="0"/>
                  </a:moveTo>
                  <a:lnTo>
                    <a:pt x="58077" y="0"/>
                  </a:lnTo>
                  <a:lnTo>
                    <a:pt x="58077" y="255308"/>
                  </a:lnTo>
                  <a:lnTo>
                    <a:pt x="68770" y="255308"/>
                  </a:lnTo>
                  <a:lnTo>
                    <a:pt x="68770" y="0"/>
                  </a:lnTo>
                  <a:close/>
                </a:path>
              </a:pathLst>
            </a:custGeom>
            <a:solidFill>
              <a:srgbClr val="505457"/>
            </a:solidFill>
          </p:spPr>
          <p:txBody>
            <a:bodyPr wrap="square" lIns="0" tIns="0" rIns="0" bIns="0" rtlCol="0"/>
            <a:lstStyle/>
            <a:p>
              <a:endParaRPr/>
            </a:p>
          </p:txBody>
        </p:sp>
        <p:sp>
          <p:nvSpPr>
            <p:cNvPr id="98" name="object 98"/>
            <p:cNvSpPr/>
            <p:nvPr/>
          </p:nvSpPr>
          <p:spPr>
            <a:xfrm>
              <a:off x="2977481" y="4602835"/>
              <a:ext cx="147320" cy="0"/>
            </a:xfrm>
            <a:custGeom>
              <a:avLst/>
              <a:gdLst/>
              <a:ahLst/>
              <a:cxnLst/>
              <a:rect l="l" t="t" r="r" b="b"/>
              <a:pathLst>
                <a:path w="147319">
                  <a:moveTo>
                    <a:pt x="0" y="0"/>
                  </a:moveTo>
                  <a:lnTo>
                    <a:pt x="146900" y="0"/>
                  </a:lnTo>
                </a:path>
              </a:pathLst>
            </a:custGeom>
            <a:ln w="9944">
              <a:solidFill>
                <a:srgbClr val="757B7F"/>
              </a:solidFill>
            </a:ln>
          </p:spPr>
          <p:txBody>
            <a:bodyPr wrap="square" lIns="0" tIns="0" rIns="0" bIns="0" rtlCol="0"/>
            <a:lstStyle/>
            <a:p>
              <a:endParaRPr/>
            </a:p>
          </p:txBody>
        </p:sp>
        <p:sp>
          <p:nvSpPr>
            <p:cNvPr id="99" name="object 99"/>
            <p:cNvSpPr/>
            <p:nvPr/>
          </p:nvSpPr>
          <p:spPr>
            <a:xfrm>
              <a:off x="2559170" y="4468120"/>
              <a:ext cx="437515" cy="394335"/>
            </a:xfrm>
            <a:custGeom>
              <a:avLst/>
              <a:gdLst/>
              <a:ahLst/>
              <a:cxnLst/>
              <a:rect l="l" t="t" r="r" b="b"/>
              <a:pathLst>
                <a:path w="437514" h="394335">
                  <a:moveTo>
                    <a:pt x="226542" y="0"/>
                  </a:moveTo>
                  <a:lnTo>
                    <a:pt x="210578" y="0"/>
                  </a:lnTo>
                  <a:lnTo>
                    <a:pt x="194083" y="1264"/>
                  </a:lnTo>
                  <a:lnTo>
                    <a:pt x="152273" y="10121"/>
                  </a:lnTo>
                  <a:lnTo>
                    <a:pt x="112648" y="27139"/>
                  </a:lnTo>
                  <a:lnTo>
                    <a:pt x="71158" y="57035"/>
                  </a:lnTo>
                  <a:lnTo>
                    <a:pt x="36398" y="97650"/>
                  </a:lnTo>
                  <a:lnTo>
                    <a:pt x="16002" y="136169"/>
                  </a:lnTo>
                  <a:lnTo>
                    <a:pt x="3530" y="178892"/>
                  </a:lnTo>
                  <a:lnTo>
                    <a:pt x="0" y="214248"/>
                  </a:lnTo>
                  <a:lnTo>
                    <a:pt x="0" y="218465"/>
                  </a:lnTo>
                  <a:lnTo>
                    <a:pt x="0" y="394208"/>
                  </a:lnTo>
                  <a:lnTo>
                    <a:pt x="437083" y="394208"/>
                  </a:lnTo>
                  <a:lnTo>
                    <a:pt x="437083" y="214248"/>
                  </a:lnTo>
                  <a:lnTo>
                    <a:pt x="430606" y="165366"/>
                  </a:lnTo>
                  <a:lnTo>
                    <a:pt x="416077" y="124752"/>
                  </a:lnTo>
                  <a:lnTo>
                    <a:pt x="391045" y="84264"/>
                  </a:lnTo>
                  <a:lnTo>
                    <a:pt x="356527" y="48920"/>
                  </a:lnTo>
                  <a:lnTo>
                    <a:pt x="324472" y="27139"/>
                  </a:lnTo>
                  <a:lnTo>
                    <a:pt x="279311" y="8470"/>
                  </a:lnTo>
                  <a:lnTo>
                    <a:pt x="241439" y="1003"/>
                  </a:lnTo>
                  <a:lnTo>
                    <a:pt x="226542" y="0"/>
                  </a:lnTo>
                  <a:close/>
                </a:path>
              </a:pathLst>
            </a:custGeom>
            <a:solidFill>
              <a:srgbClr val="DFE1E1"/>
            </a:solidFill>
          </p:spPr>
          <p:txBody>
            <a:bodyPr wrap="square" lIns="0" tIns="0" rIns="0" bIns="0" rtlCol="0"/>
            <a:lstStyle/>
            <a:p>
              <a:endParaRPr/>
            </a:p>
          </p:txBody>
        </p:sp>
        <p:sp>
          <p:nvSpPr>
            <p:cNvPr id="100" name="object 100"/>
            <p:cNvSpPr/>
            <p:nvPr/>
          </p:nvSpPr>
          <p:spPr>
            <a:xfrm>
              <a:off x="2749840" y="4468111"/>
              <a:ext cx="247015" cy="394335"/>
            </a:xfrm>
            <a:custGeom>
              <a:avLst/>
              <a:gdLst/>
              <a:ahLst/>
              <a:cxnLst/>
              <a:rect l="l" t="t" r="r" b="b"/>
              <a:pathLst>
                <a:path w="247014" h="394335">
                  <a:moveTo>
                    <a:pt x="36322" y="0"/>
                  </a:moveTo>
                  <a:lnTo>
                    <a:pt x="20358" y="0"/>
                  </a:lnTo>
                  <a:lnTo>
                    <a:pt x="5410" y="1054"/>
                  </a:lnTo>
                  <a:lnTo>
                    <a:pt x="0" y="1790"/>
                  </a:lnTo>
                  <a:lnTo>
                    <a:pt x="8272" y="2984"/>
                  </a:lnTo>
                  <a:lnTo>
                    <a:pt x="16440" y="4503"/>
                  </a:lnTo>
                  <a:lnTo>
                    <a:pt x="54978" y="16179"/>
                  </a:lnTo>
                  <a:lnTo>
                    <a:pt x="91059" y="35306"/>
                  </a:lnTo>
                  <a:lnTo>
                    <a:pt x="130111" y="67856"/>
                  </a:lnTo>
                  <a:lnTo>
                    <a:pt x="157403" y="103111"/>
                  </a:lnTo>
                  <a:lnTo>
                    <a:pt x="178117" y="146443"/>
                  </a:lnTo>
                  <a:lnTo>
                    <a:pt x="188391" y="189725"/>
                  </a:lnTo>
                  <a:lnTo>
                    <a:pt x="190220" y="394208"/>
                  </a:lnTo>
                  <a:lnTo>
                    <a:pt x="246849" y="394208"/>
                  </a:lnTo>
                  <a:lnTo>
                    <a:pt x="246849" y="214249"/>
                  </a:lnTo>
                  <a:lnTo>
                    <a:pt x="245021" y="189725"/>
                  </a:lnTo>
                  <a:lnTo>
                    <a:pt x="234746" y="146443"/>
                  </a:lnTo>
                  <a:lnTo>
                    <a:pt x="214020" y="103111"/>
                  </a:lnTo>
                  <a:lnTo>
                    <a:pt x="186740" y="67856"/>
                  </a:lnTo>
                  <a:lnTo>
                    <a:pt x="151765" y="38049"/>
                  </a:lnTo>
                  <a:lnTo>
                    <a:pt x="118427" y="19304"/>
                  </a:lnTo>
                  <a:lnTo>
                    <a:pt x="77231" y="5404"/>
                  </a:lnTo>
                  <a:lnTo>
                    <a:pt x="52805" y="1264"/>
                  </a:lnTo>
                  <a:lnTo>
                    <a:pt x="36322" y="0"/>
                  </a:lnTo>
                  <a:close/>
                </a:path>
              </a:pathLst>
            </a:custGeom>
            <a:solidFill>
              <a:srgbClr val="18171C">
                <a:alpha val="5000"/>
              </a:srgbClr>
            </a:solidFill>
          </p:spPr>
          <p:txBody>
            <a:bodyPr wrap="square" lIns="0" tIns="0" rIns="0" bIns="0" rtlCol="0"/>
            <a:lstStyle/>
            <a:p>
              <a:endParaRPr/>
            </a:p>
          </p:txBody>
        </p:sp>
        <p:sp>
          <p:nvSpPr>
            <p:cNvPr id="101" name="object 101"/>
            <p:cNvSpPr/>
            <p:nvPr/>
          </p:nvSpPr>
          <p:spPr>
            <a:xfrm>
              <a:off x="2981332" y="4607032"/>
              <a:ext cx="143510" cy="20955"/>
            </a:xfrm>
            <a:custGeom>
              <a:avLst/>
              <a:gdLst/>
              <a:ahLst/>
              <a:cxnLst/>
              <a:rect l="l" t="t" r="r" b="b"/>
              <a:pathLst>
                <a:path w="143510" h="20954">
                  <a:moveTo>
                    <a:pt x="143052" y="0"/>
                  </a:moveTo>
                  <a:lnTo>
                    <a:pt x="0" y="0"/>
                  </a:lnTo>
                  <a:lnTo>
                    <a:pt x="6146" y="18021"/>
                  </a:lnTo>
                  <a:lnTo>
                    <a:pt x="6883" y="20675"/>
                  </a:lnTo>
                  <a:lnTo>
                    <a:pt x="143052" y="20675"/>
                  </a:lnTo>
                  <a:lnTo>
                    <a:pt x="143052" y="0"/>
                  </a:lnTo>
                  <a:close/>
                </a:path>
              </a:pathLst>
            </a:custGeom>
            <a:solidFill>
              <a:srgbClr val="9BA0A3"/>
            </a:solidFill>
          </p:spPr>
          <p:txBody>
            <a:bodyPr wrap="square" lIns="0" tIns="0" rIns="0" bIns="0" rtlCol="0"/>
            <a:lstStyle/>
            <a:p>
              <a:endParaRPr/>
            </a:p>
          </p:txBody>
        </p:sp>
        <p:sp>
          <p:nvSpPr>
            <p:cNvPr id="102" name="object 102"/>
            <p:cNvSpPr/>
            <p:nvPr/>
          </p:nvSpPr>
          <p:spPr>
            <a:xfrm>
              <a:off x="2559520" y="4476610"/>
              <a:ext cx="436880" cy="197485"/>
            </a:xfrm>
            <a:custGeom>
              <a:avLst/>
              <a:gdLst/>
              <a:ahLst/>
              <a:cxnLst/>
              <a:rect l="l" t="t" r="r" b="b"/>
              <a:pathLst>
                <a:path w="436880" h="197485">
                  <a:moveTo>
                    <a:pt x="287147" y="2565"/>
                  </a:moveTo>
                  <a:lnTo>
                    <a:pt x="278942" y="0"/>
                  </a:lnTo>
                  <a:lnTo>
                    <a:pt x="157391" y="0"/>
                  </a:lnTo>
                  <a:lnTo>
                    <a:pt x="149186" y="2565"/>
                  </a:lnTo>
                  <a:lnTo>
                    <a:pt x="287147" y="2565"/>
                  </a:lnTo>
                  <a:close/>
                </a:path>
                <a:path w="436880" h="197485">
                  <a:moveTo>
                    <a:pt x="313728" y="13385"/>
                  </a:moveTo>
                  <a:lnTo>
                    <a:pt x="308279" y="10820"/>
                  </a:lnTo>
                  <a:lnTo>
                    <a:pt x="128054" y="10820"/>
                  </a:lnTo>
                  <a:lnTo>
                    <a:pt x="122593" y="13385"/>
                  </a:lnTo>
                  <a:lnTo>
                    <a:pt x="313728" y="13385"/>
                  </a:lnTo>
                  <a:close/>
                </a:path>
                <a:path w="436880" h="197485">
                  <a:moveTo>
                    <a:pt x="333324" y="24206"/>
                  </a:moveTo>
                  <a:lnTo>
                    <a:pt x="329057" y="21640"/>
                  </a:lnTo>
                  <a:lnTo>
                    <a:pt x="107276" y="21640"/>
                  </a:lnTo>
                  <a:lnTo>
                    <a:pt x="103022" y="24206"/>
                  </a:lnTo>
                  <a:lnTo>
                    <a:pt x="333324" y="24206"/>
                  </a:lnTo>
                  <a:close/>
                </a:path>
                <a:path w="436880" h="197485">
                  <a:moveTo>
                    <a:pt x="349135" y="35026"/>
                  </a:moveTo>
                  <a:lnTo>
                    <a:pt x="345655" y="32461"/>
                  </a:lnTo>
                  <a:lnTo>
                    <a:pt x="90678" y="32461"/>
                  </a:lnTo>
                  <a:lnTo>
                    <a:pt x="87198" y="35026"/>
                  </a:lnTo>
                  <a:lnTo>
                    <a:pt x="349135" y="35026"/>
                  </a:lnTo>
                  <a:close/>
                </a:path>
                <a:path w="436880" h="197485">
                  <a:moveTo>
                    <a:pt x="362521" y="45897"/>
                  </a:moveTo>
                  <a:lnTo>
                    <a:pt x="359498" y="43294"/>
                  </a:lnTo>
                  <a:lnTo>
                    <a:pt x="76835" y="43294"/>
                  </a:lnTo>
                  <a:lnTo>
                    <a:pt x="73812" y="45897"/>
                  </a:lnTo>
                  <a:lnTo>
                    <a:pt x="362521" y="45897"/>
                  </a:lnTo>
                  <a:close/>
                </a:path>
                <a:path w="436880" h="197485">
                  <a:moveTo>
                    <a:pt x="373938" y="56718"/>
                  </a:moveTo>
                  <a:lnTo>
                    <a:pt x="371322" y="54102"/>
                  </a:lnTo>
                  <a:lnTo>
                    <a:pt x="65011" y="54102"/>
                  </a:lnTo>
                  <a:lnTo>
                    <a:pt x="62395" y="56718"/>
                  </a:lnTo>
                  <a:lnTo>
                    <a:pt x="373938" y="56718"/>
                  </a:lnTo>
                  <a:close/>
                </a:path>
                <a:path w="436880" h="197485">
                  <a:moveTo>
                    <a:pt x="383933" y="67538"/>
                  </a:moveTo>
                  <a:lnTo>
                    <a:pt x="381647" y="64922"/>
                  </a:lnTo>
                  <a:lnTo>
                    <a:pt x="54698" y="64922"/>
                  </a:lnTo>
                  <a:lnTo>
                    <a:pt x="52400" y="67538"/>
                  </a:lnTo>
                  <a:lnTo>
                    <a:pt x="383933" y="67538"/>
                  </a:lnTo>
                  <a:close/>
                </a:path>
                <a:path w="436880" h="197485">
                  <a:moveTo>
                    <a:pt x="392645" y="78359"/>
                  </a:moveTo>
                  <a:lnTo>
                    <a:pt x="390677" y="75793"/>
                  </a:lnTo>
                  <a:lnTo>
                    <a:pt x="45707" y="75793"/>
                  </a:lnTo>
                  <a:lnTo>
                    <a:pt x="43738" y="78359"/>
                  </a:lnTo>
                  <a:lnTo>
                    <a:pt x="392645" y="78359"/>
                  </a:lnTo>
                  <a:close/>
                </a:path>
                <a:path w="436880" h="197485">
                  <a:moveTo>
                    <a:pt x="400304" y="89179"/>
                  </a:moveTo>
                  <a:lnTo>
                    <a:pt x="398564" y="86614"/>
                  </a:lnTo>
                  <a:lnTo>
                    <a:pt x="37769" y="86614"/>
                  </a:lnTo>
                  <a:lnTo>
                    <a:pt x="36029" y="89179"/>
                  </a:lnTo>
                  <a:lnTo>
                    <a:pt x="400304" y="89179"/>
                  </a:lnTo>
                  <a:close/>
                </a:path>
                <a:path w="436880" h="197485">
                  <a:moveTo>
                    <a:pt x="407085" y="99999"/>
                  </a:moveTo>
                  <a:lnTo>
                    <a:pt x="405536" y="97434"/>
                  </a:lnTo>
                  <a:lnTo>
                    <a:pt x="30810" y="97434"/>
                  </a:lnTo>
                  <a:lnTo>
                    <a:pt x="29298" y="99999"/>
                  </a:lnTo>
                  <a:lnTo>
                    <a:pt x="407085" y="99999"/>
                  </a:lnTo>
                  <a:close/>
                </a:path>
                <a:path w="436880" h="197485">
                  <a:moveTo>
                    <a:pt x="413004" y="110871"/>
                  </a:moveTo>
                  <a:lnTo>
                    <a:pt x="411632" y="108254"/>
                  </a:lnTo>
                  <a:lnTo>
                    <a:pt x="24714" y="108254"/>
                  </a:lnTo>
                  <a:lnTo>
                    <a:pt x="23380" y="110871"/>
                  </a:lnTo>
                  <a:lnTo>
                    <a:pt x="413004" y="110871"/>
                  </a:lnTo>
                  <a:close/>
                </a:path>
                <a:path w="436880" h="197485">
                  <a:moveTo>
                    <a:pt x="418147" y="121691"/>
                  </a:moveTo>
                  <a:lnTo>
                    <a:pt x="416953" y="119075"/>
                  </a:lnTo>
                  <a:lnTo>
                    <a:pt x="19392" y="119075"/>
                  </a:lnTo>
                  <a:lnTo>
                    <a:pt x="18199" y="121691"/>
                  </a:lnTo>
                  <a:lnTo>
                    <a:pt x="418147" y="121691"/>
                  </a:lnTo>
                  <a:close/>
                </a:path>
                <a:path w="436880" h="197485">
                  <a:moveTo>
                    <a:pt x="422579" y="132511"/>
                  </a:moveTo>
                  <a:lnTo>
                    <a:pt x="421576" y="129895"/>
                  </a:lnTo>
                  <a:lnTo>
                    <a:pt x="14795" y="129895"/>
                  </a:lnTo>
                  <a:lnTo>
                    <a:pt x="13792" y="132511"/>
                  </a:lnTo>
                  <a:lnTo>
                    <a:pt x="422579" y="132511"/>
                  </a:lnTo>
                  <a:close/>
                </a:path>
                <a:path w="436880" h="197485">
                  <a:moveTo>
                    <a:pt x="426351" y="143319"/>
                  </a:moveTo>
                  <a:lnTo>
                    <a:pt x="425526" y="140754"/>
                  </a:lnTo>
                  <a:lnTo>
                    <a:pt x="10871" y="140754"/>
                  </a:lnTo>
                  <a:lnTo>
                    <a:pt x="9994" y="143319"/>
                  </a:lnTo>
                  <a:lnTo>
                    <a:pt x="426351" y="143319"/>
                  </a:lnTo>
                  <a:close/>
                </a:path>
                <a:path w="436880" h="197485">
                  <a:moveTo>
                    <a:pt x="429514" y="154152"/>
                  </a:moveTo>
                  <a:lnTo>
                    <a:pt x="428828" y="151587"/>
                  </a:lnTo>
                  <a:lnTo>
                    <a:pt x="7518" y="151587"/>
                  </a:lnTo>
                  <a:lnTo>
                    <a:pt x="6832" y="154152"/>
                  </a:lnTo>
                  <a:lnTo>
                    <a:pt x="429514" y="154152"/>
                  </a:lnTo>
                  <a:close/>
                </a:path>
                <a:path w="436880" h="197485">
                  <a:moveTo>
                    <a:pt x="432028" y="164973"/>
                  </a:moveTo>
                  <a:lnTo>
                    <a:pt x="431469" y="162407"/>
                  </a:lnTo>
                  <a:lnTo>
                    <a:pt x="4851" y="162407"/>
                  </a:lnTo>
                  <a:lnTo>
                    <a:pt x="4305" y="164973"/>
                  </a:lnTo>
                  <a:lnTo>
                    <a:pt x="432028" y="164973"/>
                  </a:lnTo>
                  <a:close/>
                </a:path>
                <a:path w="436880" h="197485">
                  <a:moveTo>
                    <a:pt x="434047" y="175793"/>
                  </a:moveTo>
                  <a:lnTo>
                    <a:pt x="433628" y="173228"/>
                  </a:lnTo>
                  <a:lnTo>
                    <a:pt x="2743" y="173228"/>
                  </a:lnTo>
                  <a:lnTo>
                    <a:pt x="2286" y="175793"/>
                  </a:lnTo>
                  <a:lnTo>
                    <a:pt x="434047" y="175793"/>
                  </a:lnTo>
                  <a:close/>
                </a:path>
                <a:path w="436880" h="197485">
                  <a:moveTo>
                    <a:pt x="435457" y="186651"/>
                  </a:moveTo>
                  <a:lnTo>
                    <a:pt x="435140" y="184035"/>
                  </a:lnTo>
                  <a:lnTo>
                    <a:pt x="1181" y="184035"/>
                  </a:lnTo>
                  <a:lnTo>
                    <a:pt x="863" y="186651"/>
                  </a:lnTo>
                  <a:lnTo>
                    <a:pt x="435457" y="186651"/>
                  </a:lnTo>
                  <a:close/>
                </a:path>
                <a:path w="436880" h="197485">
                  <a:moveTo>
                    <a:pt x="436346" y="197472"/>
                  </a:moveTo>
                  <a:lnTo>
                    <a:pt x="436156" y="194868"/>
                  </a:lnTo>
                  <a:lnTo>
                    <a:pt x="190" y="194868"/>
                  </a:lnTo>
                  <a:lnTo>
                    <a:pt x="0" y="197472"/>
                  </a:lnTo>
                  <a:lnTo>
                    <a:pt x="436346" y="197472"/>
                  </a:lnTo>
                  <a:close/>
                </a:path>
              </a:pathLst>
            </a:custGeom>
            <a:solidFill>
              <a:srgbClr val="C6CACB"/>
            </a:solidFill>
          </p:spPr>
          <p:txBody>
            <a:bodyPr wrap="square" lIns="0" tIns="0" rIns="0" bIns="0" rtlCol="0"/>
            <a:lstStyle/>
            <a:p>
              <a:endParaRPr/>
            </a:p>
          </p:txBody>
        </p:sp>
        <p:sp>
          <p:nvSpPr>
            <p:cNvPr id="103" name="object 103"/>
            <p:cNvSpPr/>
            <p:nvPr/>
          </p:nvSpPr>
          <p:spPr>
            <a:xfrm>
              <a:off x="2559160" y="4665169"/>
              <a:ext cx="565785" cy="10160"/>
            </a:xfrm>
            <a:custGeom>
              <a:avLst/>
              <a:gdLst/>
              <a:ahLst/>
              <a:cxnLst/>
              <a:rect l="l" t="t" r="r" b="b"/>
              <a:pathLst>
                <a:path w="565785" h="10160">
                  <a:moveTo>
                    <a:pt x="565226" y="0"/>
                  </a:moveTo>
                  <a:lnTo>
                    <a:pt x="2273" y="0"/>
                  </a:lnTo>
                  <a:lnTo>
                    <a:pt x="0" y="0"/>
                  </a:lnTo>
                  <a:lnTo>
                    <a:pt x="0" y="9944"/>
                  </a:lnTo>
                  <a:lnTo>
                    <a:pt x="2273" y="9944"/>
                  </a:lnTo>
                  <a:lnTo>
                    <a:pt x="2273" y="2095"/>
                  </a:lnTo>
                  <a:lnTo>
                    <a:pt x="25577" y="2095"/>
                  </a:lnTo>
                  <a:lnTo>
                    <a:pt x="25577" y="9944"/>
                  </a:lnTo>
                  <a:lnTo>
                    <a:pt x="27863" y="9944"/>
                  </a:lnTo>
                  <a:lnTo>
                    <a:pt x="27863" y="2095"/>
                  </a:lnTo>
                  <a:lnTo>
                    <a:pt x="51168" y="2095"/>
                  </a:lnTo>
                  <a:lnTo>
                    <a:pt x="51168" y="9944"/>
                  </a:lnTo>
                  <a:lnTo>
                    <a:pt x="53454" y="9944"/>
                  </a:lnTo>
                  <a:lnTo>
                    <a:pt x="53454" y="2095"/>
                  </a:lnTo>
                  <a:lnTo>
                    <a:pt x="76758" y="2095"/>
                  </a:lnTo>
                  <a:lnTo>
                    <a:pt x="76758" y="9944"/>
                  </a:lnTo>
                  <a:lnTo>
                    <a:pt x="79044" y="9944"/>
                  </a:lnTo>
                  <a:lnTo>
                    <a:pt x="79044" y="2095"/>
                  </a:lnTo>
                  <a:lnTo>
                    <a:pt x="102349" y="2095"/>
                  </a:lnTo>
                  <a:lnTo>
                    <a:pt x="102349" y="9944"/>
                  </a:lnTo>
                  <a:lnTo>
                    <a:pt x="104622" y="9944"/>
                  </a:lnTo>
                  <a:lnTo>
                    <a:pt x="104622" y="2095"/>
                  </a:lnTo>
                  <a:lnTo>
                    <a:pt x="127939" y="2095"/>
                  </a:lnTo>
                  <a:lnTo>
                    <a:pt x="127939" y="9944"/>
                  </a:lnTo>
                  <a:lnTo>
                    <a:pt x="130213" y="9944"/>
                  </a:lnTo>
                  <a:lnTo>
                    <a:pt x="130213" y="2095"/>
                  </a:lnTo>
                  <a:lnTo>
                    <a:pt x="153517" y="2095"/>
                  </a:lnTo>
                  <a:lnTo>
                    <a:pt x="153517" y="9944"/>
                  </a:lnTo>
                  <a:lnTo>
                    <a:pt x="155803" y="9944"/>
                  </a:lnTo>
                  <a:lnTo>
                    <a:pt x="155803" y="2095"/>
                  </a:lnTo>
                  <a:lnTo>
                    <a:pt x="179120" y="2095"/>
                  </a:lnTo>
                  <a:lnTo>
                    <a:pt x="179120" y="9944"/>
                  </a:lnTo>
                  <a:lnTo>
                    <a:pt x="181394" y="9944"/>
                  </a:lnTo>
                  <a:lnTo>
                    <a:pt x="181394" y="2095"/>
                  </a:lnTo>
                  <a:lnTo>
                    <a:pt x="204698" y="2095"/>
                  </a:lnTo>
                  <a:lnTo>
                    <a:pt x="204698" y="9944"/>
                  </a:lnTo>
                  <a:lnTo>
                    <a:pt x="206984" y="9944"/>
                  </a:lnTo>
                  <a:lnTo>
                    <a:pt x="206984" y="2095"/>
                  </a:lnTo>
                  <a:lnTo>
                    <a:pt x="230289" y="2095"/>
                  </a:lnTo>
                  <a:lnTo>
                    <a:pt x="230289" y="9944"/>
                  </a:lnTo>
                  <a:lnTo>
                    <a:pt x="232562" y="9944"/>
                  </a:lnTo>
                  <a:lnTo>
                    <a:pt x="232562" y="2095"/>
                  </a:lnTo>
                  <a:lnTo>
                    <a:pt x="255879" y="2095"/>
                  </a:lnTo>
                  <a:lnTo>
                    <a:pt x="255879" y="9944"/>
                  </a:lnTo>
                  <a:lnTo>
                    <a:pt x="258165" y="9944"/>
                  </a:lnTo>
                  <a:lnTo>
                    <a:pt x="258165" y="2095"/>
                  </a:lnTo>
                  <a:lnTo>
                    <a:pt x="281470" y="2095"/>
                  </a:lnTo>
                  <a:lnTo>
                    <a:pt x="281470" y="9944"/>
                  </a:lnTo>
                  <a:lnTo>
                    <a:pt x="283743" y="9944"/>
                  </a:lnTo>
                  <a:lnTo>
                    <a:pt x="283743" y="2095"/>
                  </a:lnTo>
                  <a:lnTo>
                    <a:pt x="307060" y="2095"/>
                  </a:lnTo>
                  <a:lnTo>
                    <a:pt x="307060" y="9944"/>
                  </a:lnTo>
                  <a:lnTo>
                    <a:pt x="309333" y="9944"/>
                  </a:lnTo>
                  <a:lnTo>
                    <a:pt x="309333" y="2095"/>
                  </a:lnTo>
                  <a:lnTo>
                    <a:pt x="332638" y="2095"/>
                  </a:lnTo>
                  <a:lnTo>
                    <a:pt x="332638" y="9944"/>
                  </a:lnTo>
                  <a:lnTo>
                    <a:pt x="334924" y="9944"/>
                  </a:lnTo>
                  <a:lnTo>
                    <a:pt x="334924" y="2095"/>
                  </a:lnTo>
                  <a:lnTo>
                    <a:pt x="358228" y="2095"/>
                  </a:lnTo>
                  <a:lnTo>
                    <a:pt x="358228" y="9944"/>
                  </a:lnTo>
                  <a:lnTo>
                    <a:pt x="360514" y="9944"/>
                  </a:lnTo>
                  <a:lnTo>
                    <a:pt x="360514" y="2095"/>
                  </a:lnTo>
                  <a:lnTo>
                    <a:pt x="383819" y="2095"/>
                  </a:lnTo>
                  <a:lnTo>
                    <a:pt x="383819" y="9944"/>
                  </a:lnTo>
                  <a:lnTo>
                    <a:pt x="386105" y="9944"/>
                  </a:lnTo>
                  <a:lnTo>
                    <a:pt x="386105" y="2095"/>
                  </a:lnTo>
                  <a:lnTo>
                    <a:pt x="409409" y="2095"/>
                  </a:lnTo>
                  <a:lnTo>
                    <a:pt x="409409" y="9944"/>
                  </a:lnTo>
                  <a:lnTo>
                    <a:pt x="411683" y="9944"/>
                  </a:lnTo>
                  <a:lnTo>
                    <a:pt x="411683" y="2095"/>
                  </a:lnTo>
                  <a:lnTo>
                    <a:pt x="435000" y="2095"/>
                  </a:lnTo>
                  <a:lnTo>
                    <a:pt x="435000" y="9944"/>
                  </a:lnTo>
                  <a:lnTo>
                    <a:pt x="437273" y="9944"/>
                  </a:lnTo>
                  <a:lnTo>
                    <a:pt x="437273" y="2095"/>
                  </a:lnTo>
                  <a:lnTo>
                    <a:pt x="460590" y="2095"/>
                  </a:lnTo>
                  <a:lnTo>
                    <a:pt x="460590" y="9944"/>
                  </a:lnTo>
                  <a:lnTo>
                    <a:pt x="462876" y="9944"/>
                  </a:lnTo>
                  <a:lnTo>
                    <a:pt x="462876" y="2095"/>
                  </a:lnTo>
                  <a:lnTo>
                    <a:pt x="486181" y="2095"/>
                  </a:lnTo>
                  <a:lnTo>
                    <a:pt x="486181" y="9944"/>
                  </a:lnTo>
                  <a:lnTo>
                    <a:pt x="488454" y="9944"/>
                  </a:lnTo>
                  <a:lnTo>
                    <a:pt x="488454" y="2095"/>
                  </a:lnTo>
                  <a:lnTo>
                    <a:pt x="511759" y="2095"/>
                  </a:lnTo>
                  <a:lnTo>
                    <a:pt x="511759" y="9944"/>
                  </a:lnTo>
                  <a:lnTo>
                    <a:pt x="514045" y="9944"/>
                  </a:lnTo>
                  <a:lnTo>
                    <a:pt x="514045" y="2095"/>
                  </a:lnTo>
                  <a:lnTo>
                    <a:pt x="537349" y="2095"/>
                  </a:lnTo>
                  <a:lnTo>
                    <a:pt x="537349" y="9944"/>
                  </a:lnTo>
                  <a:lnTo>
                    <a:pt x="539623" y="9944"/>
                  </a:lnTo>
                  <a:lnTo>
                    <a:pt x="539623" y="2095"/>
                  </a:lnTo>
                  <a:lnTo>
                    <a:pt x="562940" y="2095"/>
                  </a:lnTo>
                  <a:lnTo>
                    <a:pt x="562940" y="9944"/>
                  </a:lnTo>
                  <a:lnTo>
                    <a:pt x="565226" y="9944"/>
                  </a:lnTo>
                  <a:lnTo>
                    <a:pt x="565226" y="0"/>
                  </a:lnTo>
                  <a:close/>
                </a:path>
              </a:pathLst>
            </a:custGeom>
            <a:solidFill>
              <a:srgbClr val="757B7F"/>
            </a:solidFill>
          </p:spPr>
          <p:txBody>
            <a:bodyPr wrap="square" lIns="0" tIns="0" rIns="0" bIns="0" rtlCol="0"/>
            <a:lstStyle/>
            <a:p>
              <a:endParaRPr/>
            </a:p>
          </p:txBody>
        </p:sp>
        <p:sp>
          <p:nvSpPr>
            <p:cNvPr id="104" name="object 104"/>
            <p:cNvSpPr/>
            <p:nvPr/>
          </p:nvSpPr>
          <p:spPr>
            <a:xfrm>
              <a:off x="2559164" y="4673904"/>
              <a:ext cx="565785" cy="20955"/>
            </a:xfrm>
            <a:custGeom>
              <a:avLst/>
              <a:gdLst/>
              <a:ahLst/>
              <a:cxnLst/>
              <a:rect l="l" t="t" r="r" b="b"/>
              <a:pathLst>
                <a:path w="565785" h="20954">
                  <a:moveTo>
                    <a:pt x="565213" y="0"/>
                  </a:moveTo>
                  <a:lnTo>
                    <a:pt x="0" y="0"/>
                  </a:lnTo>
                  <a:lnTo>
                    <a:pt x="0" y="20713"/>
                  </a:lnTo>
                  <a:lnTo>
                    <a:pt x="565213" y="20713"/>
                  </a:lnTo>
                  <a:lnTo>
                    <a:pt x="565213" y="0"/>
                  </a:lnTo>
                  <a:close/>
                </a:path>
              </a:pathLst>
            </a:custGeom>
            <a:solidFill>
              <a:srgbClr val="9BA0A3"/>
            </a:solidFill>
          </p:spPr>
          <p:txBody>
            <a:bodyPr wrap="square" lIns="0" tIns="0" rIns="0" bIns="0" rtlCol="0"/>
            <a:lstStyle/>
            <a:p>
              <a:endParaRPr/>
            </a:p>
          </p:txBody>
        </p:sp>
        <p:sp>
          <p:nvSpPr>
            <p:cNvPr id="105" name="object 105"/>
            <p:cNvSpPr/>
            <p:nvPr/>
          </p:nvSpPr>
          <p:spPr>
            <a:xfrm>
              <a:off x="4445127" y="4650638"/>
              <a:ext cx="8255" cy="259715"/>
            </a:xfrm>
            <a:custGeom>
              <a:avLst/>
              <a:gdLst/>
              <a:ahLst/>
              <a:cxnLst/>
              <a:rect l="l" t="t" r="r" b="b"/>
              <a:pathLst>
                <a:path w="8254" h="259714">
                  <a:moveTo>
                    <a:pt x="1549" y="0"/>
                  </a:moveTo>
                  <a:lnTo>
                    <a:pt x="0" y="0"/>
                  </a:lnTo>
                  <a:lnTo>
                    <a:pt x="0" y="259219"/>
                  </a:lnTo>
                  <a:lnTo>
                    <a:pt x="1549" y="259219"/>
                  </a:lnTo>
                  <a:lnTo>
                    <a:pt x="1549" y="0"/>
                  </a:lnTo>
                  <a:close/>
                </a:path>
                <a:path w="8254" h="259714">
                  <a:moveTo>
                    <a:pt x="7759" y="0"/>
                  </a:moveTo>
                  <a:lnTo>
                    <a:pt x="6210" y="0"/>
                  </a:lnTo>
                  <a:lnTo>
                    <a:pt x="6210" y="259219"/>
                  </a:lnTo>
                  <a:lnTo>
                    <a:pt x="7759" y="259219"/>
                  </a:lnTo>
                  <a:lnTo>
                    <a:pt x="7759" y="0"/>
                  </a:lnTo>
                  <a:close/>
                </a:path>
              </a:pathLst>
            </a:custGeom>
            <a:solidFill>
              <a:srgbClr val="757B7F"/>
            </a:solidFill>
          </p:spPr>
          <p:txBody>
            <a:bodyPr wrap="square" lIns="0" tIns="0" rIns="0" bIns="0" rtlCol="0"/>
            <a:lstStyle/>
            <a:p>
              <a:endParaRPr/>
            </a:p>
          </p:txBody>
        </p:sp>
        <p:sp>
          <p:nvSpPr>
            <p:cNvPr id="106" name="object 106"/>
            <p:cNvSpPr/>
            <p:nvPr/>
          </p:nvSpPr>
          <p:spPr>
            <a:xfrm>
              <a:off x="4449006" y="4650638"/>
              <a:ext cx="0" cy="254635"/>
            </a:xfrm>
            <a:custGeom>
              <a:avLst/>
              <a:gdLst/>
              <a:ahLst/>
              <a:cxnLst/>
              <a:rect l="l" t="t" r="r" b="b"/>
              <a:pathLst>
                <a:path h="254635">
                  <a:moveTo>
                    <a:pt x="0" y="0"/>
                  </a:moveTo>
                  <a:lnTo>
                    <a:pt x="0" y="254165"/>
                  </a:lnTo>
                </a:path>
              </a:pathLst>
            </a:custGeom>
            <a:ln w="7759">
              <a:solidFill>
                <a:srgbClr val="757B7F"/>
              </a:solidFill>
              <a:prstDash val="dot"/>
            </a:ln>
          </p:spPr>
          <p:txBody>
            <a:bodyPr wrap="square" lIns="0" tIns="0" rIns="0" bIns="0" rtlCol="0"/>
            <a:lstStyle/>
            <a:p>
              <a:endParaRPr/>
            </a:p>
          </p:txBody>
        </p:sp>
        <p:sp>
          <p:nvSpPr>
            <p:cNvPr id="107" name="object 107"/>
            <p:cNvSpPr/>
            <p:nvPr/>
          </p:nvSpPr>
          <p:spPr>
            <a:xfrm>
              <a:off x="4379163" y="4650638"/>
              <a:ext cx="69850" cy="259715"/>
            </a:xfrm>
            <a:custGeom>
              <a:avLst/>
              <a:gdLst/>
              <a:ahLst/>
              <a:cxnLst/>
              <a:rect l="l" t="t" r="r" b="b"/>
              <a:pathLst>
                <a:path w="69850" h="259714">
                  <a:moveTo>
                    <a:pt x="10858" y="0"/>
                  </a:moveTo>
                  <a:lnTo>
                    <a:pt x="0" y="0"/>
                  </a:lnTo>
                  <a:lnTo>
                    <a:pt x="0" y="259219"/>
                  </a:lnTo>
                  <a:lnTo>
                    <a:pt x="10858" y="259219"/>
                  </a:lnTo>
                  <a:lnTo>
                    <a:pt x="10858" y="0"/>
                  </a:lnTo>
                  <a:close/>
                </a:path>
                <a:path w="69850" h="259714">
                  <a:moveTo>
                    <a:pt x="69824" y="0"/>
                  </a:moveTo>
                  <a:lnTo>
                    <a:pt x="58966" y="0"/>
                  </a:lnTo>
                  <a:lnTo>
                    <a:pt x="58966" y="259219"/>
                  </a:lnTo>
                  <a:lnTo>
                    <a:pt x="69824" y="259219"/>
                  </a:lnTo>
                  <a:lnTo>
                    <a:pt x="69824" y="0"/>
                  </a:lnTo>
                  <a:close/>
                </a:path>
              </a:pathLst>
            </a:custGeom>
            <a:solidFill>
              <a:srgbClr val="505457"/>
            </a:solidFill>
          </p:spPr>
          <p:txBody>
            <a:bodyPr wrap="square" lIns="0" tIns="0" rIns="0" bIns="0" rtlCol="0"/>
            <a:lstStyle/>
            <a:p>
              <a:endParaRPr/>
            </a:p>
          </p:txBody>
        </p:sp>
        <p:sp>
          <p:nvSpPr>
            <p:cNvPr id="108" name="object 108"/>
            <p:cNvSpPr/>
            <p:nvPr/>
          </p:nvSpPr>
          <p:spPr>
            <a:xfrm>
              <a:off x="4299854" y="4646380"/>
              <a:ext cx="149225" cy="0"/>
            </a:xfrm>
            <a:custGeom>
              <a:avLst/>
              <a:gdLst/>
              <a:ahLst/>
              <a:cxnLst/>
              <a:rect l="l" t="t" r="r" b="b"/>
              <a:pathLst>
                <a:path w="149225">
                  <a:moveTo>
                    <a:pt x="0" y="0"/>
                  </a:moveTo>
                  <a:lnTo>
                    <a:pt x="149148" y="0"/>
                  </a:lnTo>
                </a:path>
              </a:pathLst>
            </a:custGeom>
            <a:ln w="10096">
              <a:solidFill>
                <a:srgbClr val="757B7F"/>
              </a:solidFill>
            </a:ln>
          </p:spPr>
          <p:txBody>
            <a:bodyPr wrap="square" lIns="0" tIns="0" rIns="0" bIns="0" rtlCol="0"/>
            <a:lstStyle/>
            <a:p>
              <a:endParaRPr/>
            </a:p>
          </p:txBody>
        </p:sp>
        <p:sp>
          <p:nvSpPr>
            <p:cNvPr id="109" name="object 109"/>
            <p:cNvSpPr/>
            <p:nvPr/>
          </p:nvSpPr>
          <p:spPr>
            <a:xfrm>
              <a:off x="3875126" y="4509582"/>
              <a:ext cx="443865" cy="400685"/>
            </a:xfrm>
            <a:custGeom>
              <a:avLst/>
              <a:gdLst/>
              <a:ahLst/>
              <a:cxnLst/>
              <a:rect l="l" t="t" r="r" b="b"/>
              <a:pathLst>
                <a:path w="443864" h="400685">
                  <a:moveTo>
                    <a:pt x="230009" y="0"/>
                  </a:moveTo>
                  <a:lnTo>
                    <a:pt x="213817" y="0"/>
                  </a:lnTo>
                  <a:lnTo>
                    <a:pt x="197066" y="1293"/>
                  </a:lnTo>
                  <a:lnTo>
                    <a:pt x="154597" y="10299"/>
                  </a:lnTo>
                  <a:lnTo>
                    <a:pt x="114388" y="27571"/>
                  </a:lnTo>
                  <a:lnTo>
                    <a:pt x="72250" y="57924"/>
                  </a:lnTo>
                  <a:lnTo>
                    <a:pt x="36957" y="99161"/>
                  </a:lnTo>
                  <a:lnTo>
                    <a:pt x="16256" y="138264"/>
                  </a:lnTo>
                  <a:lnTo>
                    <a:pt x="3581" y="181660"/>
                  </a:lnTo>
                  <a:lnTo>
                    <a:pt x="0" y="221830"/>
                  </a:lnTo>
                  <a:lnTo>
                    <a:pt x="0" y="400265"/>
                  </a:lnTo>
                  <a:lnTo>
                    <a:pt x="443788" y="400265"/>
                  </a:lnTo>
                  <a:lnTo>
                    <a:pt x="443788" y="217550"/>
                  </a:lnTo>
                  <a:lnTo>
                    <a:pt x="437222" y="167919"/>
                  </a:lnTo>
                  <a:lnTo>
                    <a:pt x="422465" y="126682"/>
                  </a:lnTo>
                  <a:lnTo>
                    <a:pt x="403148" y="93725"/>
                  </a:lnTo>
                  <a:lnTo>
                    <a:pt x="371538" y="57924"/>
                  </a:lnTo>
                  <a:lnTo>
                    <a:pt x="329450" y="27571"/>
                  </a:lnTo>
                  <a:lnTo>
                    <a:pt x="283603" y="8623"/>
                  </a:lnTo>
                  <a:lnTo>
                    <a:pt x="245135" y="1028"/>
                  </a:lnTo>
                  <a:lnTo>
                    <a:pt x="230009" y="0"/>
                  </a:lnTo>
                  <a:close/>
                </a:path>
              </a:pathLst>
            </a:custGeom>
            <a:solidFill>
              <a:srgbClr val="DFE1E1"/>
            </a:solidFill>
          </p:spPr>
          <p:txBody>
            <a:bodyPr wrap="square" lIns="0" tIns="0" rIns="0" bIns="0" rtlCol="0"/>
            <a:lstStyle/>
            <a:p>
              <a:endParaRPr/>
            </a:p>
          </p:txBody>
        </p:sp>
        <p:sp>
          <p:nvSpPr>
            <p:cNvPr id="110" name="object 110"/>
            <p:cNvSpPr/>
            <p:nvPr/>
          </p:nvSpPr>
          <p:spPr>
            <a:xfrm>
              <a:off x="4068721" y="4509592"/>
              <a:ext cx="250825" cy="400685"/>
            </a:xfrm>
            <a:custGeom>
              <a:avLst/>
              <a:gdLst/>
              <a:ahLst/>
              <a:cxnLst/>
              <a:rect l="l" t="t" r="r" b="b"/>
              <a:pathLst>
                <a:path w="250825" h="400685">
                  <a:moveTo>
                    <a:pt x="36868" y="0"/>
                  </a:moveTo>
                  <a:lnTo>
                    <a:pt x="20662" y="0"/>
                  </a:lnTo>
                  <a:lnTo>
                    <a:pt x="5499" y="1066"/>
                  </a:lnTo>
                  <a:lnTo>
                    <a:pt x="0" y="1816"/>
                  </a:lnTo>
                  <a:lnTo>
                    <a:pt x="8396" y="3029"/>
                  </a:lnTo>
                  <a:lnTo>
                    <a:pt x="16687" y="4570"/>
                  </a:lnTo>
                  <a:lnTo>
                    <a:pt x="55816" y="16433"/>
                  </a:lnTo>
                  <a:lnTo>
                    <a:pt x="92443" y="35852"/>
                  </a:lnTo>
                  <a:lnTo>
                    <a:pt x="132105" y="68897"/>
                  </a:lnTo>
                  <a:lnTo>
                    <a:pt x="159816" y="104698"/>
                  </a:lnTo>
                  <a:lnTo>
                    <a:pt x="178803" y="143154"/>
                  </a:lnTo>
                  <a:lnTo>
                    <a:pt x="189560" y="181648"/>
                  </a:lnTo>
                  <a:lnTo>
                    <a:pt x="193141" y="217538"/>
                  </a:lnTo>
                  <a:lnTo>
                    <a:pt x="193141" y="400253"/>
                  </a:lnTo>
                  <a:lnTo>
                    <a:pt x="250634" y="400253"/>
                  </a:lnTo>
                  <a:lnTo>
                    <a:pt x="250634" y="217538"/>
                  </a:lnTo>
                  <a:lnTo>
                    <a:pt x="248780" y="192633"/>
                  </a:lnTo>
                  <a:lnTo>
                    <a:pt x="238340" y="148691"/>
                  </a:lnTo>
                  <a:lnTo>
                    <a:pt x="217309" y="104698"/>
                  </a:lnTo>
                  <a:lnTo>
                    <a:pt x="181368" y="60655"/>
                  </a:lnTo>
                  <a:lnTo>
                    <a:pt x="136309" y="27558"/>
                  </a:lnTo>
                  <a:lnTo>
                    <a:pt x="90449" y="8610"/>
                  </a:lnTo>
                  <a:lnTo>
                    <a:pt x="53616" y="1288"/>
                  </a:lnTo>
                  <a:lnTo>
                    <a:pt x="36868" y="0"/>
                  </a:lnTo>
                  <a:close/>
                </a:path>
              </a:pathLst>
            </a:custGeom>
            <a:solidFill>
              <a:srgbClr val="18171C">
                <a:alpha val="5000"/>
              </a:srgbClr>
            </a:solidFill>
          </p:spPr>
          <p:txBody>
            <a:bodyPr wrap="square" lIns="0" tIns="0" rIns="0" bIns="0" rtlCol="0"/>
            <a:lstStyle/>
            <a:p>
              <a:endParaRPr/>
            </a:p>
          </p:txBody>
        </p:sp>
        <p:sp>
          <p:nvSpPr>
            <p:cNvPr id="111" name="object 111"/>
            <p:cNvSpPr/>
            <p:nvPr/>
          </p:nvSpPr>
          <p:spPr>
            <a:xfrm>
              <a:off x="4303763" y="4650642"/>
              <a:ext cx="145415" cy="21590"/>
            </a:xfrm>
            <a:custGeom>
              <a:avLst/>
              <a:gdLst/>
              <a:ahLst/>
              <a:cxnLst/>
              <a:rect l="l" t="t" r="r" b="b"/>
              <a:pathLst>
                <a:path w="145414" h="21589">
                  <a:moveTo>
                    <a:pt x="145249" y="0"/>
                  </a:moveTo>
                  <a:lnTo>
                    <a:pt x="0" y="0"/>
                  </a:lnTo>
                  <a:lnTo>
                    <a:pt x="6235" y="18300"/>
                  </a:lnTo>
                  <a:lnTo>
                    <a:pt x="6985" y="21005"/>
                  </a:lnTo>
                  <a:lnTo>
                    <a:pt x="145249" y="21005"/>
                  </a:lnTo>
                  <a:lnTo>
                    <a:pt x="145249" y="0"/>
                  </a:lnTo>
                  <a:close/>
                </a:path>
              </a:pathLst>
            </a:custGeom>
            <a:solidFill>
              <a:srgbClr val="9BA0A3"/>
            </a:solidFill>
          </p:spPr>
          <p:txBody>
            <a:bodyPr wrap="square" lIns="0" tIns="0" rIns="0" bIns="0" rtlCol="0"/>
            <a:lstStyle/>
            <a:p>
              <a:endParaRPr/>
            </a:p>
          </p:txBody>
        </p:sp>
        <p:sp>
          <p:nvSpPr>
            <p:cNvPr id="112" name="object 112"/>
            <p:cNvSpPr/>
            <p:nvPr/>
          </p:nvSpPr>
          <p:spPr>
            <a:xfrm>
              <a:off x="3877805" y="4518228"/>
              <a:ext cx="441325" cy="200660"/>
            </a:xfrm>
            <a:custGeom>
              <a:avLst/>
              <a:gdLst/>
              <a:ahLst/>
              <a:cxnLst/>
              <a:rect l="l" t="t" r="r" b="b"/>
              <a:pathLst>
                <a:path w="441325" h="200660">
                  <a:moveTo>
                    <a:pt x="289229" y="2603"/>
                  </a:moveTo>
                  <a:lnTo>
                    <a:pt x="280898" y="0"/>
                  </a:lnTo>
                  <a:lnTo>
                    <a:pt x="157480" y="0"/>
                  </a:lnTo>
                  <a:lnTo>
                    <a:pt x="149148" y="2603"/>
                  </a:lnTo>
                  <a:lnTo>
                    <a:pt x="289229" y="2603"/>
                  </a:lnTo>
                  <a:close/>
                </a:path>
                <a:path w="441325" h="200660">
                  <a:moveTo>
                    <a:pt x="316217" y="13589"/>
                  </a:moveTo>
                  <a:lnTo>
                    <a:pt x="310680" y="10985"/>
                  </a:lnTo>
                  <a:lnTo>
                    <a:pt x="127685" y="10985"/>
                  </a:lnTo>
                  <a:lnTo>
                    <a:pt x="122148" y="13589"/>
                  </a:lnTo>
                  <a:lnTo>
                    <a:pt x="316217" y="13589"/>
                  </a:lnTo>
                  <a:close/>
                </a:path>
                <a:path w="441325" h="200660">
                  <a:moveTo>
                    <a:pt x="336105" y="24574"/>
                  </a:moveTo>
                  <a:lnTo>
                    <a:pt x="331774" y="21971"/>
                  </a:lnTo>
                  <a:lnTo>
                    <a:pt x="106603" y="21971"/>
                  </a:lnTo>
                  <a:lnTo>
                    <a:pt x="102273" y="24574"/>
                  </a:lnTo>
                  <a:lnTo>
                    <a:pt x="336105" y="24574"/>
                  </a:lnTo>
                  <a:close/>
                </a:path>
                <a:path w="441325" h="200660">
                  <a:moveTo>
                    <a:pt x="352171" y="35560"/>
                  </a:moveTo>
                  <a:lnTo>
                    <a:pt x="348627" y="32956"/>
                  </a:lnTo>
                  <a:lnTo>
                    <a:pt x="89750" y="32956"/>
                  </a:lnTo>
                  <a:lnTo>
                    <a:pt x="86220" y="35560"/>
                  </a:lnTo>
                  <a:lnTo>
                    <a:pt x="352171" y="35560"/>
                  </a:lnTo>
                  <a:close/>
                </a:path>
                <a:path w="441325" h="200660">
                  <a:moveTo>
                    <a:pt x="365760" y="46596"/>
                  </a:moveTo>
                  <a:lnTo>
                    <a:pt x="362673" y="43942"/>
                  </a:lnTo>
                  <a:lnTo>
                    <a:pt x="75692" y="43942"/>
                  </a:lnTo>
                  <a:lnTo>
                    <a:pt x="72618" y="46596"/>
                  </a:lnTo>
                  <a:lnTo>
                    <a:pt x="365760" y="46596"/>
                  </a:lnTo>
                  <a:close/>
                </a:path>
                <a:path w="441325" h="200660">
                  <a:moveTo>
                    <a:pt x="377342" y="57581"/>
                  </a:moveTo>
                  <a:lnTo>
                    <a:pt x="374688" y="54927"/>
                  </a:lnTo>
                  <a:lnTo>
                    <a:pt x="63677" y="54927"/>
                  </a:lnTo>
                  <a:lnTo>
                    <a:pt x="61023" y="57581"/>
                  </a:lnTo>
                  <a:lnTo>
                    <a:pt x="377342" y="57581"/>
                  </a:lnTo>
                  <a:close/>
                </a:path>
                <a:path w="441325" h="200660">
                  <a:moveTo>
                    <a:pt x="387502" y="68567"/>
                  </a:moveTo>
                  <a:lnTo>
                    <a:pt x="385178" y="65913"/>
                  </a:lnTo>
                  <a:lnTo>
                    <a:pt x="53200" y="65913"/>
                  </a:lnTo>
                  <a:lnTo>
                    <a:pt x="50876" y="68567"/>
                  </a:lnTo>
                  <a:lnTo>
                    <a:pt x="387502" y="68567"/>
                  </a:lnTo>
                  <a:close/>
                </a:path>
                <a:path w="441325" h="200660">
                  <a:moveTo>
                    <a:pt x="396354" y="79552"/>
                  </a:moveTo>
                  <a:lnTo>
                    <a:pt x="394347" y="76949"/>
                  </a:lnTo>
                  <a:lnTo>
                    <a:pt x="44094" y="76949"/>
                  </a:lnTo>
                  <a:lnTo>
                    <a:pt x="42087" y="79552"/>
                  </a:lnTo>
                  <a:lnTo>
                    <a:pt x="396354" y="79552"/>
                  </a:lnTo>
                  <a:close/>
                </a:path>
                <a:path w="441325" h="200660">
                  <a:moveTo>
                    <a:pt x="404114" y="90538"/>
                  </a:moveTo>
                  <a:lnTo>
                    <a:pt x="402348" y="87934"/>
                  </a:lnTo>
                  <a:lnTo>
                    <a:pt x="36029" y="87934"/>
                  </a:lnTo>
                  <a:lnTo>
                    <a:pt x="34264" y="90538"/>
                  </a:lnTo>
                  <a:lnTo>
                    <a:pt x="404114" y="90538"/>
                  </a:lnTo>
                  <a:close/>
                </a:path>
                <a:path w="441325" h="200660">
                  <a:moveTo>
                    <a:pt x="411010" y="101523"/>
                  </a:moveTo>
                  <a:lnTo>
                    <a:pt x="409435" y="98920"/>
                  </a:lnTo>
                  <a:lnTo>
                    <a:pt x="28956" y="98920"/>
                  </a:lnTo>
                  <a:lnTo>
                    <a:pt x="27419" y="101523"/>
                  </a:lnTo>
                  <a:lnTo>
                    <a:pt x="411010" y="101523"/>
                  </a:lnTo>
                  <a:close/>
                </a:path>
                <a:path w="441325" h="200660">
                  <a:moveTo>
                    <a:pt x="417017" y="112560"/>
                  </a:moveTo>
                  <a:lnTo>
                    <a:pt x="415607" y="109905"/>
                  </a:lnTo>
                  <a:lnTo>
                    <a:pt x="22758" y="109905"/>
                  </a:lnTo>
                  <a:lnTo>
                    <a:pt x="21412" y="112560"/>
                  </a:lnTo>
                  <a:lnTo>
                    <a:pt x="417017" y="112560"/>
                  </a:lnTo>
                  <a:close/>
                </a:path>
                <a:path w="441325" h="200660">
                  <a:moveTo>
                    <a:pt x="422236" y="123545"/>
                  </a:moveTo>
                  <a:lnTo>
                    <a:pt x="421017" y="120891"/>
                  </a:lnTo>
                  <a:lnTo>
                    <a:pt x="17360" y="120891"/>
                  </a:lnTo>
                  <a:lnTo>
                    <a:pt x="16154" y="123545"/>
                  </a:lnTo>
                  <a:lnTo>
                    <a:pt x="422236" y="123545"/>
                  </a:lnTo>
                  <a:close/>
                </a:path>
                <a:path w="441325" h="200660">
                  <a:moveTo>
                    <a:pt x="426732" y="134531"/>
                  </a:moveTo>
                  <a:lnTo>
                    <a:pt x="425716" y="131876"/>
                  </a:lnTo>
                  <a:lnTo>
                    <a:pt x="12712" y="131876"/>
                  </a:lnTo>
                  <a:lnTo>
                    <a:pt x="11684" y="134531"/>
                  </a:lnTo>
                  <a:lnTo>
                    <a:pt x="426732" y="134531"/>
                  </a:lnTo>
                  <a:close/>
                </a:path>
                <a:path w="441325" h="200660">
                  <a:moveTo>
                    <a:pt x="430568" y="145516"/>
                  </a:moveTo>
                  <a:lnTo>
                    <a:pt x="429729" y="142913"/>
                  </a:lnTo>
                  <a:lnTo>
                    <a:pt x="8712" y="142913"/>
                  </a:lnTo>
                  <a:lnTo>
                    <a:pt x="7823" y="145516"/>
                  </a:lnTo>
                  <a:lnTo>
                    <a:pt x="430568" y="145516"/>
                  </a:lnTo>
                  <a:close/>
                </a:path>
                <a:path w="441325" h="200660">
                  <a:moveTo>
                    <a:pt x="433768" y="156502"/>
                  </a:moveTo>
                  <a:lnTo>
                    <a:pt x="433082" y="153898"/>
                  </a:lnTo>
                  <a:lnTo>
                    <a:pt x="5308" y="153898"/>
                  </a:lnTo>
                  <a:lnTo>
                    <a:pt x="4610" y="156502"/>
                  </a:lnTo>
                  <a:lnTo>
                    <a:pt x="433768" y="156502"/>
                  </a:lnTo>
                  <a:close/>
                </a:path>
                <a:path w="441325" h="200660">
                  <a:moveTo>
                    <a:pt x="436333" y="167487"/>
                  </a:moveTo>
                  <a:lnTo>
                    <a:pt x="435775" y="164884"/>
                  </a:lnTo>
                  <a:lnTo>
                    <a:pt x="2603" y="164884"/>
                  </a:lnTo>
                  <a:lnTo>
                    <a:pt x="2044" y="167487"/>
                  </a:lnTo>
                  <a:lnTo>
                    <a:pt x="436333" y="167487"/>
                  </a:lnTo>
                  <a:close/>
                </a:path>
                <a:path w="441325" h="200660">
                  <a:moveTo>
                    <a:pt x="438378" y="178473"/>
                  </a:moveTo>
                  <a:lnTo>
                    <a:pt x="437972" y="175869"/>
                  </a:lnTo>
                  <a:lnTo>
                    <a:pt x="469" y="175869"/>
                  </a:lnTo>
                  <a:lnTo>
                    <a:pt x="0" y="178473"/>
                  </a:lnTo>
                  <a:lnTo>
                    <a:pt x="438378" y="178473"/>
                  </a:lnTo>
                  <a:close/>
                </a:path>
                <a:path w="441325" h="200660">
                  <a:moveTo>
                    <a:pt x="439826" y="186855"/>
                  </a:moveTo>
                  <a:lnTo>
                    <a:pt x="28448" y="186855"/>
                  </a:lnTo>
                  <a:lnTo>
                    <a:pt x="28448" y="189509"/>
                  </a:lnTo>
                  <a:lnTo>
                    <a:pt x="439826" y="189509"/>
                  </a:lnTo>
                  <a:lnTo>
                    <a:pt x="439826" y="186855"/>
                  </a:lnTo>
                  <a:close/>
                </a:path>
                <a:path w="441325" h="200660">
                  <a:moveTo>
                    <a:pt x="440715" y="197840"/>
                  </a:moveTo>
                  <a:lnTo>
                    <a:pt x="28448" y="197840"/>
                  </a:lnTo>
                  <a:lnTo>
                    <a:pt x="28448" y="200494"/>
                  </a:lnTo>
                  <a:lnTo>
                    <a:pt x="440715" y="200494"/>
                  </a:lnTo>
                  <a:lnTo>
                    <a:pt x="440715" y="197840"/>
                  </a:lnTo>
                  <a:close/>
                </a:path>
              </a:pathLst>
            </a:custGeom>
            <a:solidFill>
              <a:srgbClr val="C6CACB"/>
            </a:solidFill>
          </p:spPr>
          <p:txBody>
            <a:bodyPr wrap="square" lIns="0" tIns="0" rIns="0" bIns="0" rtlCol="0"/>
            <a:lstStyle/>
            <a:p>
              <a:endParaRPr/>
            </a:p>
          </p:txBody>
        </p:sp>
        <p:sp>
          <p:nvSpPr>
            <p:cNvPr id="113" name="object 113"/>
            <p:cNvSpPr/>
            <p:nvPr/>
          </p:nvSpPr>
          <p:spPr>
            <a:xfrm>
              <a:off x="3906253" y="4709669"/>
              <a:ext cx="542925" cy="10160"/>
            </a:xfrm>
            <a:custGeom>
              <a:avLst/>
              <a:gdLst/>
              <a:ahLst/>
              <a:cxnLst/>
              <a:rect l="l" t="t" r="r" b="b"/>
              <a:pathLst>
                <a:path w="542925" h="10160">
                  <a:moveTo>
                    <a:pt x="0" y="10083"/>
                  </a:moveTo>
                  <a:lnTo>
                    <a:pt x="542759" y="10083"/>
                  </a:lnTo>
                  <a:lnTo>
                    <a:pt x="542759" y="0"/>
                  </a:lnTo>
                  <a:lnTo>
                    <a:pt x="0" y="0"/>
                  </a:lnTo>
                  <a:lnTo>
                    <a:pt x="0" y="10083"/>
                  </a:lnTo>
                  <a:close/>
                </a:path>
              </a:pathLst>
            </a:custGeom>
            <a:solidFill>
              <a:srgbClr val="757B7F"/>
            </a:solidFill>
          </p:spPr>
          <p:txBody>
            <a:bodyPr wrap="square" lIns="0" tIns="0" rIns="0" bIns="0" rtlCol="0"/>
            <a:lstStyle/>
            <a:p>
              <a:endParaRPr/>
            </a:p>
          </p:txBody>
        </p:sp>
        <p:sp>
          <p:nvSpPr>
            <p:cNvPr id="114" name="object 114"/>
            <p:cNvSpPr/>
            <p:nvPr/>
          </p:nvSpPr>
          <p:spPr>
            <a:xfrm>
              <a:off x="3906253" y="4718545"/>
              <a:ext cx="542925" cy="21590"/>
            </a:xfrm>
            <a:custGeom>
              <a:avLst/>
              <a:gdLst/>
              <a:ahLst/>
              <a:cxnLst/>
              <a:rect l="l" t="t" r="r" b="b"/>
              <a:pathLst>
                <a:path w="542925" h="21589">
                  <a:moveTo>
                    <a:pt x="0" y="21018"/>
                  </a:moveTo>
                  <a:lnTo>
                    <a:pt x="542721" y="21018"/>
                  </a:lnTo>
                  <a:lnTo>
                    <a:pt x="542721" y="0"/>
                  </a:lnTo>
                  <a:lnTo>
                    <a:pt x="0" y="0"/>
                  </a:lnTo>
                  <a:lnTo>
                    <a:pt x="0" y="21018"/>
                  </a:lnTo>
                  <a:close/>
                </a:path>
              </a:pathLst>
            </a:custGeom>
            <a:solidFill>
              <a:srgbClr val="9BA0A3"/>
            </a:solidFill>
          </p:spPr>
          <p:txBody>
            <a:bodyPr wrap="square" lIns="0" tIns="0" rIns="0" bIns="0" rtlCol="0"/>
            <a:lstStyle/>
            <a:p>
              <a:endParaRPr/>
            </a:p>
          </p:txBody>
        </p:sp>
        <p:sp>
          <p:nvSpPr>
            <p:cNvPr id="115" name="object 115"/>
            <p:cNvSpPr/>
            <p:nvPr/>
          </p:nvSpPr>
          <p:spPr>
            <a:xfrm>
              <a:off x="2604147" y="4596132"/>
              <a:ext cx="119380" cy="266700"/>
            </a:xfrm>
            <a:custGeom>
              <a:avLst/>
              <a:gdLst/>
              <a:ahLst/>
              <a:cxnLst/>
              <a:rect l="l" t="t" r="r" b="b"/>
              <a:pathLst>
                <a:path w="119380" h="266700">
                  <a:moveTo>
                    <a:pt x="64236" y="0"/>
                  </a:moveTo>
                  <a:lnTo>
                    <a:pt x="59651" y="0"/>
                  </a:lnTo>
                  <a:lnTo>
                    <a:pt x="47610" y="1207"/>
                  </a:lnTo>
                  <a:lnTo>
                    <a:pt x="10174" y="26288"/>
                  </a:lnTo>
                  <a:lnTo>
                    <a:pt x="0" y="59651"/>
                  </a:lnTo>
                  <a:lnTo>
                    <a:pt x="0" y="266204"/>
                  </a:lnTo>
                  <a:lnTo>
                    <a:pt x="119303" y="266204"/>
                  </a:lnTo>
                  <a:lnTo>
                    <a:pt x="119303" y="59651"/>
                  </a:lnTo>
                  <a:lnTo>
                    <a:pt x="106086" y="22213"/>
                  </a:lnTo>
                  <a:lnTo>
                    <a:pt x="72999" y="1511"/>
                  </a:lnTo>
                  <a:lnTo>
                    <a:pt x="64236" y="0"/>
                  </a:lnTo>
                  <a:close/>
                </a:path>
              </a:pathLst>
            </a:custGeom>
            <a:solidFill>
              <a:srgbClr val="C6CACB"/>
            </a:solidFill>
          </p:spPr>
          <p:txBody>
            <a:bodyPr wrap="square" lIns="0" tIns="0" rIns="0" bIns="0" rtlCol="0"/>
            <a:lstStyle/>
            <a:p>
              <a:endParaRPr/>
            </a:p>
          </p:txBody>
        </p:sp>
        <p:sp>
          <p:nvSpPr>
            <p:cNvPr id="116" name="object 116"/>
            <p:cNvSpPr/>
            <p:nvPr/>
          </p:nvSpPr>
          <p:spPr>
            <a:xfrm>
              <a:off x="2650410" y="4596137"/>
              <a:ext cx="73660" cy="266700"/>
            </a:xfrm>
            <a:custGeom>
              <a:avLst/>
              <a:gdLst/>
              <a:ahLst/>
              <a:cxnLst/>
              <a:rect l="l" t="t" r="r" b="b"/>
              <a:pathLst>
                <a:path w="73660" h="266700">
                  <a:moveTo>
                    <a:pt x="13385" y="0"/>
                  </a:moveTo>
                  <a:lnTo>
                    <a:pt x="8801" y="0"/>
                  </a:lnTo>
                  <a:lnTo>
                    <a:pt x="4318" y="508"/>
                  </a:lnTo>
                  <a:lnTo>
                    <a:pt x="0" y="1511"/>
                  </a:lnTo>
                  <a:lnTo>
                    <a:pt x="18413" y="9154"/>
                  </a:lnTo>
                  <a:lnTo>
                    <a:pt x="33093" y="22204"/>
                  </a:lnTo>
                  <a:lnTo>
                    <a:pt x="42805" y="39442"/>
                  </a:lnTo>
                  <a:lnTo>
                    <a:pt x="46316" y="59651"/>
                  </a:lnTo>
                  <a:lnTo>
                    <a:pt x="46316" y="266204"/>
                  </a:lnTo>
                  <a:lnTo>
                    <a:pt x="73037" y="266204"/>
                  </a:lnTo>
                  <a:lnTo>
                    <a:pt x="73037" y="59651"/>
                  </a:lnTo>
                  <a:lnTo>
                    <a:pt x="68348" y="36422"/>
                  </a:lnTo>
                  <a:lnTo>
                    <a:pt x="55560" y="17462"/>
                  </a:lnTo>
                  <a:lnTo>
                    <a:pt x="36599" y="4684"/>
                  </a:lnTo>
                  <a:lnTo>
                    <a:pt x="13385" y="0"/>
                  </a:lnTo>
                  <a:close/>
                </a:path>
              </a:pathLst>
            </a:custGeom>
            <a:solidFill>
              <a:srgbClr val="18171C">
                <a:alpha val="9999"/>
              </a:srgbClr>
            </a:solidFill>
          </p:spPr>
          <p:txBody>
            <a:bodyPr wrap="square" lIns="0" tIns="0" rIns="0" bIns="0" rtlCol="0"/>
            <a:lstStyle/>
            <a:p>
              <a:endParaRPr/>
            </a:p>
          </p:txBody>
        </p:sp>
        <p:sp>
          <p:nvSpPr>
            <p:cNvPr id="117" name="object 117"/>
            <p:cNvSpPr/>
            <p:nvPr/>
          </p:nvSpPr>
          <p:spPr>
            <a:xfrm>
              <a:off x="2518074" y="4596132"/>
              <a:ext cx="119380" cy="266700"/>
            </a:xfrm>
            <a:custGeom>
              <a:avLst/>
              <a:gdLst/>
              <a:ahLst/>
              <a:cxnLst/>
              <a:rect l="l" t="t" r="r" b="b"/>
              <a:pathLst>
                <a:path w="119380" h="266700">
                  <a:moveTo>
                    <a:pt x="64236" y="0"/>
                  </a:moveTo>
                  <a:lnTo>
                    <a:pt x="59651" y="0"/>
                  </a:lnTo>
                  <a:lnTo>
                    <a:pt x="47610" y="1207"/>
                  </a:lnTo>
                  <a:lnTo>
                    <a:pt x="10174" y="26288"/>
                  </a:lnTo>
                  <a:lnTo>
                    <a:pt x="0" y="59651"/>
                  </a:lnTo>
                  <a:lnTo>
                    <a:pt x="0" y="266204"/>
                  </a:lnTo>
                  <a:lnTo>
                    <a:pt x="119303" y="266204"/>
                  </a:lnTo>
                  <a:lnTo>
                    <a:pt x="119303" y="59651"/>
                  </a:lnTo>
                  <a:lnTo>
                    <a:pt x="106086" y="22213"/>
                  </a:lnTo>
                  <a:lnTo>
                    <a:pt x="72999" y="1511"/>
                  </a:lnTo>
                  <a:lnTo>
                    <a:pt x="64236" y="0"/>
                  </a:lnTo>
                  <a:close/>
                </a:path>
              </a:pathLst>
            </a:custGeom>
            <a:solidFill>
              <a:srgbClr val="C6CACB"/>
            </a:solidFill>
          </p:spPr>
          <p:txBody>
            <a:bodyPr wrap="square" lIns="0" tIns="0" rIns="0" bIns="0" rtlCol="0"/>
            <a:lstStyle/>
            <a:p>
              <a:endParaRPr/>
            </a:p>
          </p:txBody>
        </p:sp>
        <p:sp>
          <p:nvSpPr>
            <p:cNvPr id="118" name="object 118"/>
            <p:cNvSpPr/>
            <p:nvPr/>
          </p:nvSpPr>
          <p:spPr>
            <a:xfrm>
              <a:off x="2564335" y="4596137"/>
              <a:ext cx="73660" cy="266700"/>
            </a:xfrm>
            <a:custGeom>
              <a:avLst/>
              <a:gdLst/>
              <a:ahLst/>
              <a:cxnLst/>
              <a:rect l="l" t="t" r="r" b="b"/>
              <a:pathLst>
                <a:path w="73660" h="266700">
                  <a:moveTo>
                    <a:pt x="13385" y="0"/>
                  </a:moveTo>
                  <a:lnTo>
                    <a:pt x="8801" y="0"/>
                  </a:lnTo>
                  <a:lnTo>
                    <a:pt x="4318" y="508"/>
                  </a:lnTo>
                  <a:lnTo>
                    <a:pt x="0" y="1511"/>
                  </a:lnTo>
                  <a:lnTo>
                    <a:pt x="18413" y="9154"/>
                  </a:lnTo>
                  <a:lnTo>
                    <a:pt x="33093" y="22204"/>
                  </a:lnTo>
                  <a:lnTo>
                    <a:pt x="42805" y="39442"/>
                  </a:lnTo>
                  <a:lnTo>
                    <a:pt x="46316" y="59651"/>
                  </a:lnTo>
                  <a:lnTo>
                    <a:pt x="46316" y="266204"/>
                  </a:lnTo>
                  <a:lnTo>
                    <a:pt x="73037" y="266204"/>
                  </a:lnTo>
                  <a:lnTo>
                    <a:pt x="73037" y="59651"/>
                  </a:lnTo>
                  <a:lnTo>
                    <a:pt x="68348" y="36422"/>
                  </a:lnTo>
                  <a:lnTo>
                    <a:pt x="55560" y="17462"/>
                  </a:lnTo>
                  <a:lnTo>
                    <a:pt x="36599" y="4684"/>
                  </a:lnTo>
                  <a:lnTo>
                    <a:pt x="13385" y="0"/>
                  </a:lnTo>
                  <a:close/>
                </a:path>
              </a:pathLst>
            </a:custGeom>
            <a:solidFill>
              <a:srgbClr val="18171C">
                <a:alpha val="9999"/>
              </a:srgbClr>
            </a:solidFill>
          </p:spPr>
          <p:txBody>
            <a:bodyPr wrap="square" lIns="0" tIns="0" rIns="0" bIns="0" rtlCol="0"/>
            <a:lstStyle/>
            <a:p>
              <a:endParaRPr/>
            </a:p>
          </p:txBody>
        </p:sp>
        <p:sp>
          <p:nvSpPr>
            <p:cNvPr id="119" name="object 119"/>
            <p:cNvSpPr/>
            <p:nvPr/>
          </p:nvSpPr>
          <p:spPr>
            <a:xfrm>
              <a:off x="2113038" y="4619154"/>
              <a:ext cx="9525" cy="307340"/>
            </a:xfrm>
            <a:custGeom>
              <a:avLst/>
              <a:gdLst/>
              <a:ahLst/>
              <a:cxnLst/>
              <a:rect l="l" t="t" r="r" b="b"/>
              <a:pathLst>
                <a:path w="9525" h="307339">
                  <a:moveTo>
                    <a:pt x="1841" y="0"/>
                  </a:moveTo>
                  <a:lnTo>
                    <a:pt x="0" y="0"/>
                  </a:lnTo>
                  <a:lnTo>
                    <a:pt x="0" y="306781"/>
                  </a:lnTo>
                  <a:lnTo>
                    <a:pt x="1841" y="306781"/>
                  </a:lnTo>
                  <a:lnTo>
                    <a:pt x="1841" y="0"/>
                  </a:lnTo>
                  <a:close/>
                </a:path>
                <a:path w="9525" h="307339">
                  <a:moveTo>
                    <a:pt x="9182" y="0"/>
                  </a:moveTo>
                  <a:lnTo>
                    <a:pt x="7340" y="0"/>
                  </a:lnTo>
                  <a:lnTo>
                    <a:pt x="7340" y="306781"/>
                  </a:lnTo>
                  <a:lnTo>
                    <a:pt x="9182" y="306781"/>
                  </a:lnTo>
                  <a:lnTo>
                    <a:pt x="9182" y="0"/>
                  </a:lnTo>
                  <a:close/>
                </a:path>
              </a:pathLst>
            </a:custGeom>
            <a:solidFill>
              <a:srgbClr val="757B7F"/>
            </a:solidFill>
          </p:spPr>
          <p:txBody>
            <a:bodyPr wrap="square" lIns="0" tIns="0" rIns="0" bIns="0" rtlCol="0"/>
            <a:lstStyle/>
            <a:p>
              <a:endParaRPr/>
            </a:p>
          </p:txBody>
        </p:sp>
        <p:sp>
          <p:nvSpPr>
            <p:cNvPr id="120" name="object 120"/>
            <p:cNvSpPr/>
            <p:nvPr/>
          </p:nvSpPr>
          <p:spPr>
            <a:xfrm>
              <a:off x="2117629" y="4619154"/>
              <a:ext cx="0" cy="300990"/>
            </a:xfrm>
            <a:custGeom>
              <a:avLst/>
              <a:gdLst/>
              <a:ahLst/>
              <a:cxnLst/>
              <a:rect l="l" t="t" r="r" b="b"/>
              <a:pathLst>
                <a:path h="300989">
                  <a:moveTo>
                    <a:pt x="0" y="0"/>
                  </a:moveTo>
                  <a:lnTo>
                    <a:pt x="0" y="300799"/>
                  </a:lnTo>
                </a:path>
              </a:pathLst>
            </a:custGeom>
            <a:ln w="9182">
              <a:solidFill>
                <a:srgbClr val="757B7F"/>
              </a:solidFill>
              <a:prstDash val="dot"/>
            </a:ln>
          </p:spPr>
          <p:txBody>
            <a:bodyPr wrap="square" lIns="0" tIns="0" rIns="0" bIns="0" rtlCol="0"/>
            <a:lstStyle/>
            <a:p>
              <a:endParaRPr/>
            </a:p>
          </p:txBody>
        </p:sp>
        <p:sp>
          <p:nvSpPr>
            <p:cNvPr id="121" name="object 121"/>
            <p:cNvSpPr/>
            <p:nvPr/>
          </p:nvSpPr>
          <p:spPr>
            <a:xfrm>
              <a:off x="2034971" y="4619154"/>
              <a:ext cx="83185" cy="307340"/>
            </a:xfrm>
            <a:custGeom>
              <a:avLst/>
              <a:gdLst/>
              <a:ahLst/>
              <a:cxnLst/>
              <a:rect l="l" t="t" r="r" b="b"/>
              <a:pathLst>
                <a:path w="83185" h="307339">
                  <a:moveTo>
                    <a:pt x="12852" y="0"/>
                  </a:moveTo>
                  <a:lnTo>
                    <a:pt x="0" y="0"/>
                  </a:lnTo>
                  <a:lnTo>
                    <a:pt x="0" y="306781"/>
                  </a:lnTo>
                  <a:lnTo>
                    <a:pt x="12852" y="306781"/>
                  </a:lnTo>
                  <a:lnTo>
                    <a:pt x="12852" y="0"/>
                  </a:lnTo>
                  <a:close/>
                </a:path>
                <a:path w="83185" h="307339">
                  <a:moveTo>
                    <a:pt x="82638" y="0"/>
                  </a:moveTo>
                  <a:lnTo>
                    <a:pt x="69786" y="0"/>
                  </a:lnTo>
                  <a:lnTo>
                    <a:pt x="69786" y="306781"/>
                  </a:lnTo>
                  <a:lnTo>
                    <a:pt x="82638" y="306781"/>
                  </a:lnTo>
                  <a:lnTo>
                    <a:pt x="82638" y="0"/>
                  </a:lnTo>
                  <a:close/>
                </a:path>
              </a:pathLst>
            </a:custGeom>
            <a:solidFill>
              <a:srgbClr val="505457"/>
            </a:solidFill>
          </p:spPr>
          <p:txBody>
            <a:bodyPr wrap="square" lIns="0" tIns="0" rIns="0" bIns="0" rtlCol="0"/>
            <a:lstStyle/>
            <a:p>
              <a:endParaRPr/>
            </a:p>
          </p:txBody>
        </p:sp>
        <p:sp>
          <p:nvSpPr>
            <p:cNvPr id="122" name="object 122"/>
            <p:cNvSpPr/>
            <p:nvPr/>
          </p:nvSpPr>
          <p:spPr>
            <a:xfrm>
              <a:off x="1941109" y="4614123"/>
              <a:ext cx="176530" cy="0"/>
            </a:xfrm>
            <a:custGeom>
              <a:avLst/>
              <a:gdLst/>
              <a:ahLst/>
              <a:cxnLst/>
              <a:rect l="l" t="t" r="r" b="b"/>
              <a:pathLst>
                <a:path w="176530">
                  <a:moveTo>
                    <a:pt x="0" y="0"/>
                  </a:moveTo>
                  <a:lnTo>
                    <a:pt x="176517" y="0"/>
                  </a:lnTo>
                </a:path>
              </a:pathLst>
            </a:custGeom>
            <a:ln w="11963">
              <a:solidFill>
                <a:srgbClr val="757B7F"/>
              </a:solidFill>
            </a:ln>
          </p:spPr>
          <p:txBody>
            <a:bodyPr wrap="square" lIns="0" tIns="0" rIns="0" bIns="0" rtlCol="0"/>
            <a:lstStyle/>
            <a:p>
              <a:endParaRPr/>
            </a:p>
          </p:txBody>
        </p:sp>
        <p:sp>
          <p:nvSpPr>
            <p:cNvPr id="123" name="object 123"/>
            <p:cNvSpPr/>
            <p:nvPr/>
          </p:nvSpPr>
          <p:spPr>
            <a:xfrm>
              <a:off x="1438451" y="4452231"/>
              <a:ext cx="525780" cy="473709"/>
            </a:xfrm>
            <a:custGeom>
              <a:avLst/>
              <a:gdLst/>
              <a:ahLst/>
              <a:cxnLst/>
              <a:rect l="l" t="t" r="r" b="b"/>
              <a:pathLst>
                <a:path w="525780" h="473710">
                  <a:moveTo>
                    <a:pt x="272224" y="0"/>
                  </a:moveTo>
                  <a:lnTo>
                    <a:pt x="253047" y="0"/>
                  </a:lnTo>
                  <a:lnTo>
                    <a:pt x="233219" y="1521"/>
                  </a:lnTo>
                  <a:lnTo>
                    <a:pt x="186270" y="11125"/>
                  </a:lnTo>
                  <a:lnTo>
                    <a:pt x="147764" y="26288"/>
                  </a:lnTo>
                  <a:lnTo>
                    <a:pt x="100990" y="55486"/>
                  </a:lnTo>
                  <a:lnTo>
                    <a:pt x="72224" y="81546"/>
                  </a:lnTo>
                  <a:lnTo>
                    <a:pt x="39509" y="123901"/>
                  </a:lnTo>
                  <a:lnTo>
                    <a:pt x="19227" y="163626"/>
                  </a:lnTo>
                  <a:lnTo>
                    <a:pt x="4241" y="214972"/>
                  </a:lnTo>
                  <a:lnTo>
                    <a:pt x="0" y="257454"/>
                  </a:lnTo>
                  <a:lnTo>
                    <a:pt x="0" y="262521"/>
                  </a:lnTo>
                  <a:lnTo>
                    <a:pt x="0" y="473697"/>
                  </a:lnTo>
                  <a:lnTo>
                    <a:pt x="525208" y="473697"/>
                  </a:lnTo>
                  <a:lnTo>
                    <a:pt x="525208" y="257454"/>
                  </a:lnTo>
                  <a:lnTo>
                    <a:pt x="520966" y="214972"/>
                  </a:lnTo>
                  <a:lnTo>
                    <a:pt x="510667" y="175971"/>
                  </a:lnTo>
                  <a:lnTo>
                    <a:pt x="491490" y="133603"/>
                  </a:lnTo>
                  <a:lnTo>
                    <a:pt x="469900" y="101269"/>
                  </a:lnTo>
                  <a:lnTo>
                    <a:pt x="443230" y="71780"/>
                  </a:lnTo>
                  <a:lnTo>
                    <a:pt x="410933" y="45719"/>
                  </a:lnTo>
                  <a:lnTo>
                    <a:pt x="370890" y="23202"/>
                  </a:lnTo>
                  <a:lnTo>
                    <a:pt x="326062" y="7607"/>
                  </a:lnTo>
                  <a:lnTo>
                    <a:pt x="290118" y="1206"/>
                  </a:lnTo>
                  <a:lnTo>
                    <a:pt x="272224" y="0"/>
                  </a:lnTo>
                  <a:close/>
                </a:path>
              </a:pathLst>
            </a:custGeom>
            <a:solidFill>
              <a:srgbClr val="DFE1E1"/>
            </a:solidFill>
          </p:spPr>
          <p:txBody>
            <a:bodyPr wrap="square" lIns="0" tIns="0" rIns="0" bIns="0" rtlCol="0"/>
            <a:lstStyle/>
            <a:p>
              <a:endParaRPr/>
            </a:p>
          </p:txBody>
        </p:sp>
        <p:sp>
          <p:nvSpPr>
            <p:cNvPr id="124" name="object 124"/>
            <p:cNvSpPr/>
            <p:nvPr/>
          </p:nvSpPr>
          <p:spPr>
            <a:xfrm>
              <a:off x="1667568" y="4452233"/>
              <a:ext cx="297180" cy="473709"/>
            </a:xfrm>
            <a:custGeom>
              <a:avLst/>
              <a:gdLst/>
              <a:ahLst/>
              <a:cxnLst/>
              <a:rect l="l" t="t" r="r" b="b"/>
              <a:pathLst>
                <a:path w="297180" h="473710">
                  <a:moveTo>
                    <a:pt x="43637" y="0"/>
                  </a:moveTo>
                  <a:lnTo>
                    <a:pt x="24460" y="0"/>
                  </a:lnTo>
                  <a:lnTo>
                    <a:pt x="13055" y="660"/>
                  </a:lnTo>
                  <a:lnTo>
                    <a:pt x="6502" y="1257"/>
                  </a:lnTo>
                  <a:lnTo>
                    <a:pt x="0" y="2146"/>
                  </a:lnTo>
                  <a:lnTo>
                    <a:pt x="9937" y="3581"/>
                  </a:lnTo>
                  <a:lnTo>
                    <a:pt x="19748" y="5403"/>
                  </a:lnTo>
                  <a:lnTo>
                    <a:pt x="61755" y="17902"/>
                  </a:lnTo>
                  <a:lnTo>
                    <a:pt x="109410" y="42417"/>
                  </a:lnTo>
                  <a:lnTo>
                    <a:pt x="143078" y="68529"/>
                  </a:lnTo>
                  <a:lnTo>
                    <a:pt x="180492" y="110896"/>
                  </a:lnTo>
                  <a:lnTo>
                    <a:pt x="201752" y="146646"/>
                  </a:lnTo>
                  <a:lnTo>
                    <a:pt x="218059" y="188582"/>
                  </a:lnTo>
                  <a:lnTo>
                    <a:pt x="226377" y="227977"/>
                  </a:lnTo>
                  <a:lnTo>
                    <a:pt x="228587" y="257454"/>
                  </a:lnTo>
                  <a:lnTo>
                    <a:pt x="228587" y="473697"/>
                  </a:lnTo>
                  <a:lnTo>
                    <a:pt x="296633" y="473697"/>
                  </a:lnTo>
                  <a:lnTo>
                    <a:pt x="296633" y="257454"/>
                  </a:lnTo>
                  <a:lnTo>
                    <a:pt x="295795" y="241033"/>
                  </a:lnTo>
                  <a:lnTo>
                    <a:pt x="288861" y="198716"/>
                  </a:lnTo>
                  <a:lnTo>
                    <a:pt x="271386" y="149910"/>
                  </a:lnTo>
                  <a:lnTo>
                    <a:pt x="241312" y="101257"/>
                  </a:lnTo>
                  <a:lnTo>
                    <a:pt x="214642" y="71780"/>
                  </a:lnTo>
                  <a:lnTo>
                    <a:pt x="182359" y="45719"/>
                  </a:lnTo>
                  <a:lnTo>
                    <a:pt x="142303" y="23190"/>
                  </a:lnTo>
                  <a:lnTo>
                    <a:pt x="92806" y="6492"/>
                  </a:lnTo>
                  <a:lnTo>
                    <a:pt x="63451" y="1521"/>
                  </a:lnTo>
                  <a:lnTo>
                    <a:pt x="43637" y="0"/>
                  </a:lnTo>
                  <a:close/>
                </a:path>
              </a:pathLst>
            </a:custGeom>
            <a:solidFill>
              <a:srgbClr val="18171C">
                <a:alpha val="5000"/>
              </a:srgbClr>
            </a:solidFill>
          </p:spPr>
          <p:txBody>
            <a:bodyPr wrap="square" lIns="0" tIns="0" rIns="0" bIns="0" rtlCol="0"/>
            <a:lstStyle/>
            <a:p>
              <a:endParaRPr/>
            </a:p>
          </p:txBody>
        </p:sp>
        <p:sp>
          <p:nvSpPr>
            <p:cNvPr id="125" name="object 125"/>
            <p:cNvSpPr/>
            <p:nvPr/>
          </p:nvSpPr>
          <p:spPr>
            <a:xfrm>
              <a:off x="1945736" y="4619160"/>
              <a:ext cx="172085" cy="25400"/>
            </a:xfrm>
            <a:custGeom>
              <a:avLst/>
              <a:gdLst/>
              <a:ahLst/>
              <a:cxnLst/>
              <a:rect l="l" t="t" r="r" b="b"/>
              <a:pathLst>
                <a:path w="172085" h="25400">
                  <a:moveTo>
                    <a:pt x="171894" y="0"/>
                  </a:moveTo>
                  <a:lnTo>
                    <a:pt x="0" y="0"/>
                  </a:lnTo>
                  <a:lnTo>
                    <a:pt x="7378" y="21653"/>
                  </a:lnTo>
                  <a:lnTo>
                    <a:pt x="8255" y="24841"/>
                  </a:lnTo>
                  <a:lnTo>
                    <a:pt x="171894" y="24841"/>
                  </a:lnTo>
                  <a:lnTo>
                    <a:pt x="171894" y="0"/>
                  </a:lnTo>
                  <a:close/>
                </a:path>
              </a:pathLst>
            </a:custGeom>
            <a:solidFill>
              <a:srgbClr val="9BA0A3"/>
            </a:solidFill>
          </p:spPr>
          <p:txBody>
            <a:bodyPr wrap="square" lIns="0" tIns="0" rIns="0" bIns="0" rtlCol="0"/>
            <a:lstStyle/>
            <a:p>
              <a:endParaRPr/>
            </a:p>
          </p:txBody>
        </p:sp>
        <p:sp>
          <p:nvSpPr>
            <p:cNvPr id="126" name="object 126"/>
            <p:cNvSpPr/>
            <p:nvPr/>
          </p:nvSpPr>
          <p:spPr>
            <a:xfrm>
              <a:off x="1438871" y="4462437"/>
              <a:ext cx="521970" cy="237490"/>
            </a:xfrm>
            <a:custGeom>
              <a:avLst/>
              <a:gdLst/>
              <a:ahLst/>
              <a:cxnLst/>
              <a:rect l="l" t="t" r="r" b="b"/>
              <a:pathLst>
                <a:path w="521969" h="237489">
                  <a:moveTo>
                    <a:pt x="345046" y="3086"/>
                  </a:moveTo>
                  <a:lnTo>
                    <a:pt x="335191" y="0"/>
                  </a:lnTo>
                  <a:lnTo>
                    <a:pt x="189128" y="0"/>
                  </a:lnTo>
                  <a:lnTo>
                    <a:pt x="179273" y="3086"/>
                  </a:lnTo>
                  <a:lnTo>
                    <a:pt x="345046" y="3086"/>
                  </a:lnTo>
                  <a:close/>
                </a:path>
                <a:path w="521969" h="237489">
                  <a:moveTo>
                    <a:pt x="377012" y="16090"/>
                  </a:moveTo>
                  <a:lnTo>
                    <a:pt x="370459" y="13004"/>
                  </a:lnTo>
                  <a:lnTo>
                    <a:pt x="153873" y="13004"/>
                  </a:lnTo>
                  <a:lnTo>
                    <a:pt x="147320" y="16090"/>
                  </a:lnTo>
                  <a:lnTo>
                    <a:pt x="377012" y="16090"/>
                  </a:lnTo>
                  <a:close/>
                </a:path>
                <a:path w="521969" h="237489">
                  <a:moveTo>
                    <a:pt x="400532" y="29095"/>
                  </a:moveTo>
                  <a:lnTo>
                    <a:pt x="395389" y="26009"/>
                  </a:lnTo>
                  <a:lnTo>
                    <a:pt x="128905" y="26009"/>
                  </a:lnTo>
                  <a:lnTo>
                    <a:pt x="123786" y="29095"/>
                  </a:lnTo>
                  <a:lnTo>
                    <a:pt x="400532" y="29095"/>
                  </a:lnTo>
                  <a:close/>
                </a:path>
                <a:path w="521969" h="237489">
                  <a:moveTo>
                    <a:pt x="419544" y="42100"/>
                  </a:moveTo>
                  <a:lnTo>
                    <a:pt x="415353" y="39014"/>
                  </a:lnTo>
                  <a:lnTo>
                    <a:pt x="108978" y="39014"/>
                  </a:lnTo>
                  <a:lnTo>
                    <a:pt x="104787" y="42100"/>
                  </a:lnTo>
                  <a:lnTo>
                    <a:pt x="419544" y="42100"/>
                  </a:lnTo>
                  <a:close/>
                </a:path>
                <a:path w="521969" h="237489">
                  <a:moveTo>
                    <a:pt x="435622" y="55156"/>
                  </a:moveTo>
                  <a:lnTo>
                    <a:pt x="431977" y="52019"/>
                  </a:lnTo>
                  <a:lnTo>
                    <a:pt x="92329" y="52019"/>
                  </a:lnTo>
                  <a:lnTo>
                    <a:pt x="88696" y="55156"/>
                  </a:lnTo>
                  <a:lnTo>
                    <a:pt x="435622" y="55156"/>
                  </a:lnTo>
                  <a:close/>
                </a:path>
                <a:path w="521969" h="237489">
                  <a:moveTo>
                    <a:pt x="449338" y="68160"/>
                  </a:moveTo>
                  <a:lnTo>
                    <a:pt x="446201" y="65024"/>
                  </a:lnTo>
                  <a:lnTo>
                    <a:pt x="78117" y="65024"/>
                  </a:lnTo>
                  <a:lnTo>
                    <a:pt x="74980" y="68160"/>
                  </a:lnTo>
                  <a:lnTo>
                    <a:pt x="449338" y="68160"/>
                  </a:lnTo>
                  <a:close/>
                </a:path>
                <a:path w="521969" h="237489">
                  <a:moveTo>
                    <a:pt x="461352" y="81153"/>
                  </a:moveTo>
                  <a:lnTo>
                    <a:pt x="458584" y="78016"/>
                  </a:lnTo>
                  <a:lnTo>
                    <a:pt x="65722" y="78016"/>
                  </a:lnTo>
                  <a:lnTo>
                    <a:pt x="62966" y="81153"/>
                  </a:lnTo>
                  <a:lnTo>
                    <a:pt x="461352" y="81153"/>
                  </a:lnTo>
                  <a:close/>
                </a:path>
                <a:path w="521969" h="237489">
                  <a:moveTo>
                    <a:pt x="471817" y="94157"/>
                  </a:moveTo>
                  <a:lnTo>
                    <a:pt x="469442" y="91071"/>
                  </a:lnTo>
                  <a:lnTo>
                    <a:pt x="54927" y="91071"/>
                  </a:lnTo>
                  <a:lnTo>
                    <a:pt x="52552" y="94157"/>
                  </a:lnTo>
                  <a:lnTo>
                    <a:pt x="471817" y="94157"/>
                  </a:lnTo>
                  <a:close/>
                </a:path>
                <a:path w="521969" h="237489">
                  <a:moveTo>
                    <a:pt x="481012" y="107162"/>
                  </a:moveTo>
                  <a:lnTo>
                    <a:pt x="478917" y="104076"/>
                  </a:lnTo>
                  <a:lnTo>
                    <a:pt x="45377" y="104076"/>
                  </a:lnTo>
                  <a:lnTo>
                    <a:pt x="43294" y="107162"/>
                  </a:lnTo>
                  <a:lnTo>
                    <a:pt x="481012" y="107162"/>
                  </a:lnTo>
                  <a:close/>
                </a:path>
                <a:path w="521969" h="237489">
                  <a:moveTo>
                    <a:pt x="484924" y="234162"/>
                  </a:moveTo>
                  <a:lnTo>
                    <a:pt x="0" y="234162"/>
                  </a:lnTo>
                  <a:lnTo>
                    <a:pt x="0" y="237299"/>
                  </a:lnTo>
                  <a:lnTo>
                    <a:pt x="484924" y="237299"/>
                  </a:lnTo>
                  <a:lnTo>
                    <a:pt x="484924" y="234162"/>
                  </a:lnTo>
                  <a:close/>
                </a:path>
                <a:path w="521969" h="237489">
                  <a:moveTo>
                    <a:pt x="484924" y="221157"/>
                  </a:moveTo>
                  <a:lnTo>
                    <a:pt x="1041" y="221157"/>
                  </a:lnTo>
                  <a:lnTo>
                    <a:pt x="1041" y="224294"/>
                  </a:lnTo>
                  <a:lnTo>
                    <a:pt x="484924" y="224294"/>
                  </a:lnTo>
                  <a:lnTo>
                    <a:pt x="484924" y="221157"/>
                  </a:lnTo>
                  <a:close/>
                </a:path>
                <a:path w="521969" h="237489">
                  <a:moveTo>
                    <a:pt x="489178" y="120167"/>
                  </a:moveTo>
                  <a:lnTo>
                    <a:pt x="487299" y="117081"/>
                  </a:lnTo>
                  <a:lnTo>
                    <a:pt x="37020" y="117081"/>
                  </a:lnTo>
                  <a:lnTo>
                    <a:pt x="35204" y="120167"/>
                  </a:lnTo>
                  <a:lnTo>
                    <a:pt x="489178" y="120167"/>
                  </a:lnTo>
                  <a:close/>
                </a:path>
                <a:path w="521969" h="237489">
                  <a:moveTo>
                    <a:pt x="496277" y="133223"/>
                  </a:moveTo>
                  <a:lnTo>
                    <a:pt x="494626" y="130086"/>
                  </a:lnTo>
                  <a:lnTo>
                    <a:pt x="29692" y="130086"/>
                  </a:lnTo>
                  <a:lnTo>
                    <a:pt x="28092" y="133223"/>
                  </a:lnTo>
                  <a:lnTo>
                    <a:pt x="496277" y="133223"/>
                  </a:lnTo>
                  <a:close/>
                </a:path>
                <a:path w="521969" h="237489">
                  <a:moveTo>
                    <a:pt x="502450" y="146227"/>
                  </a:moveTo>
                  <a:lnTo>
                    <a:pt x="501015" y="143090"/>
                  </a:lnTo>
                  <a:lnTo>
                    <a:pt x="23304" y="143090"/>
                  </a:lnTo>
                  <a:lnTo>
                    <a:pt x="21869" y="146227"/>
                  </a:lnTo>
                  <a:lnTo>
                    <a:pt x="502450" y="146227"/>
                  </a:lnTo>
                  <a:close/>
                </a:path>
                <a:path w="521969" h="237489">
                  <a:moveTo>
                    <a:pt x="507796" y="159219"/>
                  </a:moveTo>
                  <a:lnTo>
                    <a:pt x="506577" y="156083"/>
                  </a:lnTo>
                  <a:lnTo>
                    <a:pt x="17792" y="156083"/>
                  </a:lnTo>
                  <a:lnTo>
                    <a:pt x="16573" y="159219"/>
                  </a:lnTo>
                  <a:lnTo>
                    <a:pt x="507796" y="159219"/>
                  </a:lnTo>
                  <a:close/>
                </a:path>
                <a:path w="521969" h="237489">
                  <a:moveTo>
                    <a:pt x="512305" y="172224"/>
                  </a:moveTo>
                  <a:lnTo>
                    <a:pt x="511314" y="169138"/>
                  </a:lnTo>
                  <a:lnTo>
                    <a:pt x="13055" y="169138"/>
                  </a:lnTo>
                  <a:lnTo>
                    <a:pt x="12001" y="172224"/>
                  </a:lnTo>
                  <a:lnTo>
                    <a:pt x="512305" y="172224"/>
                  </a:lnTo>
                  <a:close/>
                </a:path>
                <a:path w="521969" h="237489">
                  <a:moveTo>
                    <a:pt x="516115" y="185229"/>
                  </a:moveTo>
                  <a:lnTo>
                    <a:pt x="515289" y="182143"/>
                  </a:lnTo>
                  <a:lnTo>
                    <a:pt x="9029" y="182143"/>
                  </a:lnTo>
                  <a:lnTo>
                    <a:pt x="8204" y="185229"/>
                  </a:lnTo>
                  <a:lnTo>
                    <a:pt x="516115" y="185229"/>
                  </a:lnTo>
                  <a:close/>
                </a:path>
                <a:path w="521969" h="237489">
                  <a:moveTo>
                    <a:pt x="519150" y="198234"/>
                  </a:moveTo>
                  <a:lnTo>
                    <a:pt x="518490" y="195148"/>
                  </a:lnTo>
                  <a:lnTo>
                    <a:pt x="5842" y="195148"/>
                  </a:lnTo>
                  <a:lnTo>
                    <a:pt x="5181" y="198234"/>
                  </a:lnTo>
                  <a:lnTo>
                    <a:pt x="519150" y="198234"/>
                  </a:lnTo>
                  <a:close/>
                </a:path>
                <a:path w="521969" h="237489">
                  <a:moveTo>
                    <a:pt x="521576" y="211239"/>
                  </a:moveTo>
                  <a:lnTo>
                    <a:pt x="521081" y="208153"/>
                  </a:lnTo>
                  <a:lnTo>
                    <a:pt x="3302" y="208153"/>
                  </a:lnTo>
                  <a:lnTo>
                    <a:pt x="2755" y="211239"/>
                  </a:lnTo>
                  <a:lnTo>
                    <a:pt x="521576" y="211239"/>
                  </a:lnTo>
                  <a:close/>
                </a:path>
              </a:pathLst>
            </a:custGeom>
            <a:solidFill>
              <a:srgbClr val="C6CACB"/>
            </a:solidFill>
          </p:spPr>
          <p:txBody>
            <a:bodyPr wrap="square" lIns="0" tIns="0" rIns="0" bIns="0" rtlCol="0"/>
            <a:lstStyle/>
            <a:p>
              <a:endParaRPr/>
            </a:p>
          </p:txBody>
        </p:sp>
        <p:sp>
          <p:nvSpPr>
            <p:cNvPr id="127" name="object 127"/>
            <p:cNvSpPr/>
            <p:nvPr/>
          </p:nvSpPr>
          <p:spPr>
            <a:xfrm>
              <a:off x="1438428" y="4689020"/>
              <a:ext cx="485775" cy="12065"/>
            </a:xfrm>
            <a:custGeom>
              <a:avLst/>
              <a:gdLst/>
              <a:ahLst/>
              <a:cxnLst/>
              <a:rect l="l" t="t" r="r" b="b"/>
              <a:pathLst>
                <a:path w="485775" h="12064">
                  <a:moveTo>
                    <a:pt x="0" y="11950"/>
                  </a:moveTo>
                  <a:lnTo>
                    <a:pt x="485367" y="11950"/>
                  </a:lnTo>
                  <a:lnTo>
                    <a:pt x="485367" y="0"/>
                  </a:lnTo>
                  <a:lnTo>
                    <a:pt x="0" y="0"/>
                  </a:lnTo>
                  <a:lnTo>
                    <a:pt x="0" y="11950"/>
                  </a:lnTo>
                  <a:close/>
                </a:path>
              </a:pathLst>
            </a:custGeom>
            <a:solidFill>
              <a:srgbClr val="757B7F"/>
            </a:solidFill>
          </p:spPr>
          <p:txBody>
            <a:bodyPr wrap="square" lIns="0" tIns="0" rIns="0" bIns="0" rtlCol="0"/>
            <a:lstStyle/>
            <a:p>
              <a:endParaRPr/>
            </a:p>
          </p:txBody>
        </p:sp>
        <p:sp>
          <p:nvSpPr>
            <p:cNvPr id="128" name="object 128"/>
            <p:cNvSpPr/>
            <p:nvPr/>
          </p:nvSpPr>
          <p:spPr>
            <a:xfrm>
              <a:off x="1438440" y="4699520"/>
              <a:ext cx="485775" cy="25400"/>
            </a:xfrm>
            <a:custGeom>
              <a:avLst/>
              <a:gdLst/>
              <a:ahLst/>
              <a:cxnLst/>
              <a:rect l="l" t="t" r="r" b="b"/>
              <a:pathLst>
                <a:path w="485775" h="25400">
                  <a:moveTo>
                    <a:pt x="0" y="24879"/>
                  </a:moveTo>
                  <a:lnTo>
                    <a:pt x="485355" y="24879"/>
                  </a:lnTo>
                  <a:lnTo>
                    <a:pt x="485355" y="0"/>
                  </a:lnTo>
                  <a:lnTo>
                    <a:pt x="0" y="0"/>
                  </a:lnTo>
                  <a:lnTo>
                    <a:pt x="0" y="24879"/>
                  </a:lnTo>
                  <a:close/>
                </a:path>
              </a:pathLst>
            </a:custGeom>
            <a:solidFill>
              <a:srgbClr val="9BA0A3"/>
            </a:solidFill>
          </p:spPr>
          <p:txBody>
            <a:bodyPr wrap="square" lIns="0" tIns="0" rIns="0" bIns="0" rtlCol="0"/>
            <a:lstStyle/>
            <a:p>
              <a:endParaRPr/>
            </a:p>
          </p:txBody>
        </p:sp>
        <p:sp>
          <p:nvSpPr>
            <p:cNvPr id="129" name="object 129"/>
            <p:cNvSpPr/>
            <p:nvPr/>
          </p:nvSpPr>
          <p:spPr>
            <a:xfrm>
              <a:off x="1492498" y="4606063"/>
              <a:ext cx="143510" cy="320040"/>
            </a:xfrm>
            <a:custGeom>
              <a:avLst/>
              <a:gdLst/>
              <a:ahLst/>
              <a:cxnLst/>
              <a:rect l="l" t="t" r="r" b="b"/>
              <a:pathLst>
                <a:path w="143510" h="320039">
                  <a:moveTo>
                    <a:pt x="77177" y="0"/>
                  </a:moveTo>
                  <a:lnTo>
                    <a:pt x="71678" y="0"/>
                  </a:lnTo>
                  <a:lnTo>
                    <a:pt x="57210" y="1451"/>
                  </a:lnTo>
                  <a:lnTo>
                    <a:pt x="20993" y="20993"/>
                  </a:lnTo>
                  <a:lnTo>
                    <a:pt x="1451" y="57210"/>
                  </a:lnTo>
                  <a:lnTo>
                    <a:pt x="0" y="71678"/>
                  </a:lnTo>
                  <a:lnTo>
                    <a:pt x="0" y="319874"/>
                  </a:lnTo>
                  <a:lnTo>
                    <a:pt x="143357" y="319874"/>
                  </a:lnTo>
                  <a:lnTo>
                    <a:pt x="143357" y="71678"/>
                  </a:lnTo>
                  <a:lnTo>
                    <a:pt x="127476" y="26689"/>
                  </a:lnTo>
                  <a:lnTo>
                    <a:pt x="87706" y="1816"/>
                  </a:lnTo>
                  <a:lnTo>
                    <a:pt x="77177" y="0"/>
                  </a:lnTo>
                  <a:close/>
                </a:path>
              </a:pathLst>
            </a:custGeom>
            <a:solidFill>
              <a:srgbClr val="C6CACB"/>
            </a:solidFill>
          </p:spPr>
          <p:txBody>
            <a:bodyPr wrap="square" lIns="0" tIns="0" rIns="0" bIns="0" rtlCol="0"/>
            <a:lstStyle/>
            <a:p>
              <a:endParaRPr/>
            </a:p>
          </p:txBody>
        </p:sp>
        <p:sp>
          <p:nvSpPr>
            <p:cNvPr id="130" name="object 130"/>
            <p:cNvSpPr/>
            <p:nvPr/>
          </p:nvSpPr>
          <p:spPr>
            <a:xfrm>
              <a:off x="1548088" y="4606068"/>
              <a:ext cx="88265" cy="320040"/>
            </a:xfrm>
            <a:custGeom>
              <a:avLst/>
              <a:gdLst/>
              <a:ahLst/>
              <a:cxnLst/>
              <a:rect l="l" t="t" r="r" b="b"/>
              <a:pathLst>
                <a:path w="88264" h="320039">
                  <a:moveTo>
                    <a:pt x="16090" y="0"/>
                  </a:moveTo>
                  <a:lnTo>
                    <a:pt x="10579" y="0"/>
                  </a:lnTo>
                  <a:lnTo>
                    <a:pt x="5168" y="596"/>
                  </a:lnTo>
                  <a:lnTo>
                    <a:pt x="0" y="1816"/>
                  </a:lnTo>
                  <a:lnTo>
                    <a:pt x="22130" y="11005"/>
                  </a:lnTo>
                  <a:lnTo>
                    <a:pt x="39763" y="26684"/>
                  </a:lnTo>
                  <a:lnTo>
                    <a:pt x="51424" y="47395"/>
                  </a:lnTo>
                  <a:lnTo>
                    <a:pt x="55638" y="71678"/>
                  </a:lnTo>
                  <a:lnTo>
                    <a:pt x="55638" y="319874"/>
                  </a:lnTo>
                  <a:lnTo>
                    <a:pt x="87757" y="319874"/>
                  </a:lnTo>
                  <a:lnTo>
                    <a:pt x="87757" y="71678"/>
                  </a:lnTo>
                  <a:lnTo>
                    <a:pt x="82120" y="43767"/>
                  </a:lnTo>
                  <a:lnTo>
                    <a:pt x="66754" y="20985"/>
                  </a:lnTo>
                  <a:lnTo>
                    <a:pt x="43972" y="5629"/>
                  </a:lnTo>
                  <a:lnTo>
                    <a:pt x="16090" y="0"/>
                  </a:lnTo>
                  <a:close/>
                </a:path>
              </a:pathLst>
            </a:custGeom>
            <a:solidFill>
              <a:srgbClr val="18171C">
                <a:alpha val="9999"/>
              </a:srgbClr>
            </a:solidFill>
          </p:spPr>
          <p:txBody>
            <a:bodyPr wrap="square" lIns="0" tIns="0" rIns="0" bIns="0" rtlCol="0"/>
            <a:lstStyle/>
            <a:p>
              <a:endParaRPr/>
            </a:p>
          </p:txBody>
        </p:sp>
        <p:sp>
          <p:nvSpPr>
            <p:cNvPr id="131" name="object 131"/>
            <p:cNvSpPr/>
            <p:nvPr/>
          </p:nvSpPr>
          <p:spPr>
            <a:xfrm>
              <a:off x="1389070" y="4606063"/>
              <a:ext cx="143510" cy="320040"/>
            </a:xfrm>
            <a:custGeom>
              <a:avLst/>
              <a:gdLst/>
              <a:ahLst/>
              <a:cxnLst/>
              <a:rect l="l" t="t" r="r" b="b"/>
              <a:pathLst>
                <a:path w="143509" h="320039">
                  <a:moveTo>
                    <a:pt x="77177" y="0"/>
                  </a:moveTo>
                  <a:lnTo>
                    <a:pt x="71678" y="0"/>
                  </a:lnTo>
                  <a:lnTo>
                    <a:pt x="57210" y="1451"/>
                  </a:lnTo>
                  <a:lnTo>
                    <a:pt x="20993" y="20993"/>
                  </a:lnTo>
                  <a:lnTo>
                    <a:pt x="1451" y="57210"/>
                  </a:lnTo>
                  <a:lnTo>
                    <a:pt x="0" y="71678"/>
                  </a:lnTo>
                  <a:lnTo>
                    <a:pt x="0" y="319874"/>
                  </a:lnTo>
                  <a:lnTo>
                    <a:pt x="143357" y="319874"/>
                  </a:lnTo>
                  <a:lnTo>
                    <a:pt x="143357" y="71678"/>
                  </a:lnTo>
                  <a:lnTo>
                    <a:pt x="127476" y="26689"/>
                  </a:lnTo>
                  <a:lnTo>
                    <a:pt x="87706" y="1816"/>
                  </a:lnTo>
                  <a:lnTo>
                    <a:pt x="77177" y="0"/>
                  </a:lnTo>
                  <a:close/>
                </a:path>
              </a:pathLst>
            </a:custGeom>
            <a:solidFill>
              <a:srgbClr val="C6CACB"/>
            </a:solidFill>
          </p:spPr>
          <p:txBody>
            <a:bodyPr wrap="square" lIns="0" tIns="0" rIns="0" bIns="0" rtlCol="0"/>
            <a:lstStyle/>
            <a:p>
              <a:endParaRPr/>
            </a:p>
          </p:txBody>
        </p:sp>
        <p:sp>
          <p:nvSpPr>
            <p:cNvPr id="132" name="object 132"/>
            <p:cNvSpPr/>
            <p:nvPr/>
          </p:nvSpPr>
          <p:spPr>
            <a:xfrm>
              <a:off x="1444659" y="4606068"/>
              <a:ext cx="88265" cy="320040"/>
            </a:xfrm>
            <a:custGeom>
              <a:avLst/>
              <a:gdLst/>
              <a:ahLst/>
              <a:cxnLst/>
              <a:rect l="l" t="t" r="r" b="b"/>
              <a:pathLst>
                <a:path w="88265" h="320039">
                  <a:moveTo>
                    <a:pt x="16090" y="0"/>
                  </a:moveTo>
                  <a:lnTo>
                    <a:pt x="10579" y="0"/>
                  </a:lnTo>
                  <a:lnTo>
                    <a:pt x="5168" y="596"/>
                  </a:lnTo>
                  <a:lnTo>
                    <a:pt x="0" y="1816"/>
                  </a:lnTo>
                  <a:lnTo>
                    <a:pt x="22130" y="11005"/>
                  </a:lnTo>
                  <a:lnTo>
                    <a:pt x="39763" y="26684"/>
                  </a:lnTo>
                  <a:lnTo>
                    <a:pt x="51424" y="47395"/>
                  </a:lnTo>
                  <a:lnTo>
                    <a:pt x="55638" y="71678"/>
                  </a:lnTo>
                  <a:lnTo>
                    <a:pt x="55638" y="319874"/>
                  </a:lnTo>
                  <a:lnTo>
                    <a:pt x="87757" y="319874"/>
                  </a:lnTo>
                  <a:lnTo>
                    <a:pt x="87757" y="71678"/>
                  </a:lnTo>
                  <a:lnTo>
                    <a:pt x="82120" y="43767"/>
                  </a:lnTo>
                  <a:lnTo>
                    <a:pt x="66754" y="20985"/>
                  </a:lnTo>
                  <a:lnTo>
                    <a:pt x="43972" y="5629"/>
                  </a:lnTo>
                  <a:lnTo>
                    <a:pt x="16090" y="0"/>
                  </a:lnTo>
                  <a:close/>
                </a:path>
              </a:pathLst>
            </a:custGeom>
            <a:solidFill>
              <a:srgbClr val="18171C">
                <a:alpha val="9999"/>
              </a:srgbClr>
            </a:solidFill>
          </p:spPr>
          <p:txBody>
            <a:bodyPr wrap="square" lIns="0" tIns="0" rIns="0" bIns="0" rtlCol="0"/>
            <a:lstStyle/>
            <a:p>
              <a:endParaRPr/>
            </a:p>
          </p:txBody>
        </p:sp>
        <p:sp>
          <p:nvSpPr>
            <p:cNvPr id="133" name="object 133"/>
            <p:cNvSpPr/>
            <p:nvPr/>
          </p:nvSpPr>
          <p:spPr>
            <a:xfrm>
              <a:off x="2658201" y="4530215"/>
              <a:ext cx="218440" cy="474345"/>
            </a:xfrm>
            <a:custGeom>
              <a:avLst/>
              <a:gdLst/>
              <a:ahLst/>
              <a:cxnLst/>
              <a:rect l="l" t="t" r="r" b="b"/>
              <a:pathLst>
                <a:path w="218439" h="474345">
                  <a:moveTo>
                    <a:pt x="142989" y="0"/>
                  </a:moveTo>
                  <a:lnTo>
                    <a:pt x="81445" y="0"/>
                  </a:lnTo>
                  <a:lnTo>
                    <a:pt x="81445" y="14173"/>
                  </a:lnTo>
                  <a:lnTo>
                    <a:pt x="0" y="14173"/>
                  </a:lnTo>
                  <a:lnTo>
                    <a:pt x="9740" y="29222"/>
                  </a:lnTo>
                  <a:lnTo>
                    <a:pt x="84988" y="62864"/>
                  </a:lnTo>
                  <a:lnTo>
                    <a:pt x="84988" y="473989"/>
                  </a:lnTo>
                  <a:lnTo>
                    <a:pt x="146075" y="473989"/>
                  </a:lnTo>
                  <a:lnTo>
                    <a:pt x="146075" y="65087"/>
                  </a:lnTo>
                  <a:lnTo>
                    <a:pt x="218236" y="25679"/>
                  </a:lnTo>
                  <a:lnTo>
                    <a:pt x="213804" y="15062"/>
                  </a:lnTo>
                  <a:lnTo>
                    <a:pt x="142989" y="15062"/>
                  </a:lnTo>
                  <a:lnTo>
                    <a:pt x="142989" y="0"/>
                  </a:lnTo>
                  <a:close/>
                </a:path>
              </a:pathLst>
            </a:custGeom>
            <a:solidFill>
              <a:srgbClr val="ABAEAE"/>
            </a:solidFill>
          </p:spPr>
          <p:txBody>
            <a:bodyPr wrap="square" lIns="0" tIns="0" rIns="0" bIns="0" rtlCol="0"/>
            <a:lstStyle/>
            <a:p>
              <a:endParaRPr/>
            </a:p>
          </p:txBody>
        </p:sp>
        <p:sp>
          <p:nvSpPr>
            <p:cNvPr id="134" name="object 134"/>
            <p:cNvSpPr/>
            <p:nvPr/>
          </p:nvSpPr>
          <p:spPr>
            <a:xfrm>
              <a:off x="2688221" y="4569142"/>
              <a:ext cx="160020" cy="24130"/>
            </a:xfrm>
            <a:custGeom>
              <a:avLst/>
              <a:gdLst/>
              <a:ahLst/>
              <a:cxnLst/>
              <a:rect l="l" t="t" r="r" b="b"/>
              <a:pathLst>
                <a:path w="160019" h="24129">
                  <a:moveTo>
                    <a:pt x="159588" y="0"/>
                  </a:moveTo>
                  <a:lnTo>
                    <a:pt x="0" y="0"/>
                  </a:lnTo>
                  <a:lnTo>
                    <a:pt x="54978" y="23939"/>
                  </a:lnTo>
                  <a:lnTo>
                    <a:pt x="116471" y="23939"/>
                  </a:lnTo>
                  <a:lnTo>
                    <a:pt x="159588" y="0"/>
                  </a:lnTo>
                  <a:close/>
                </a:path>
              </a:pathLst>
            </a:custGeom>
            <a:solidFill>
              <a:srgbClr val="4D5051"/>
            </a:solidFill>
          </p:spPr>
          <p:txBody>
            <a:bodyPr wrap="square" lIns="0" tIns="0" rIns="0" bIns="0" rtlCol="0"/>
            <a:lstStyle/>
            <a:p>
              <a:endParaRPr/>
            </a:p>
          </p:txBody>
        </p:sp>
        <p:sp>
          <p:nvSpPr>
            <p:cNvPr id="135" name="object 135"/>
            <p:cNvSpPr/>
            <p:nvPr/>
          </p:nvSpPr>
          <p:spPr>
            <a:xfrm>
              <a:off x="2688221" y="4569142"/>
              <a:ext cx="160020" cy="24130"/>
            </a:xfrm>
            <a:custGeom>
              <a:avLst/>
              <a:gdLst/>
              <a:ahLst/>
              <a:cxnLst/>
              <a:rect l="l" t="t" r="r" b="b"/>
              <a:pathLst>
                <a:path w="160019" h="24129">
                  <a:moveTo>
                    <a:pt x="159588" y="0"/>
                  </a:moveTo>
                  <a:lnTo>
                    <a:pt x="0" y="0"/>
                  </a:lnTo>
                  <a:lnTo>
                    <a:pt x="19863" y="8530"/>
                  </a:lnTo>
                  <a:lnTo>
                    <a:pt x="37509" y="16227"/>
                  </a:lnTo>
                  <a:lnTo>
                    <a:pt x="50145" y="21795"/>
                  </a:lnTo>
                  <a:lnTo>
                    <a:pt x="54978" y="23939"/>
                  </a:lnTo>
                  <a:lnTo>
                    <a:pt x="116471" y="23939"/>
                  </a:lnTo>
                  <a:lnTo>
                    <a:pt x="159588" y="0"/>
                  </a:lnTo>
                  <a:close/>
                </a:path>
              </a:pathLst>
            </a:custGeom>
            <a:ln w="4826">
              <a:solidFill>
                <a:srgbClr val="FFFFFF"/>
              </a:solidFill>
            </a:ln>
          </p:spPr>
          <p:txBody>
            <a:bodyPr wrap="square" lIns="0" tIns="0" rIns="0" bIns="0" rtlCol="0"/>
            <a:lstStyle/>
            <a:p>
              <a:endParaRPr/>
            </a:p>
          </p:txBody>
        </p:sp>
        <p:sp>
          <p:nvSpPr>
            <p:cNvPr id="136" name="object 136"/>
            <p:cNvSpPr/>
            <p:nvPr/>
          </p:nvSpPr>
          <p:spPr>
            <a:xfrm>
              <a:off x="2282285" y="4430964"/>
              <a:ext cx="307340" cy="467995"/>
            </a:xfrm>
            <a:custGeom>
              <a:avLst/>
              <a:gdLst/>
              <a:ahLst/>
              <a:cxnLst/>
              <a:rect l="l" t="t" r="r" b="b"/>
              <a:pathLst>
                <a:path w="307339" h="467995">
                  <a:moveTo>
                    <a:pt x="201091" y="0"/>
                  </a:moveTo>
                  <a:lnTo>
                    <a:pt x="114541" y="0"/>
                  </a:lnTo>
                  <a:lnTo>
                    <a:pt x="114541" y="19913"/>
                  </a:lnTo>
                  <a:lnTo>
                    <a:pt x="0" y="19913"/>
                  </a:lnTo>
                  <a:lnTo>
                    <a:pt x="13690" y="41084"/>
                  </a:lnTo>
                  <a:lnTo>
                    <a:pt x="119532" y="88404"/>
                  </a:lnTo>
                  <a:lnTo>
                    <a:pt x="119532" y="467741"/>
                  </a:lnTo>
                  <a:lnTo>
                    <a:pt x="205447" y="467741"/>
                  </a:lnTo>
                  <a:lnTo>
                    <a:pt x="205447" y="91516"/>
                  </a:lnTo>
                  <a:lnTo>
                    <a:pt x="306920" y="36106"/>
                  </a:lnTo>
                  <a:lnTo>
                    <a:pt x="300697" y="21170"/>
                  </a:lnTo>
                  <a:lnTo>
                    <a:pt x="201091" y="21170"/>
                  </a:lnTo>
                  <a:lnTo>
                    <a:pt x="201091" y="0"/>
                  </a:lnTo>
                  <a:close/>
                </a:path>
              </a:pathLst>
            </a:custGeom>
            <a:solidFill>
              <a:srgbClr val="ABAEAE"/>
            </a:solidFill>
          </p:spPr>
          <p:txBody>
            <a:bodyPr wrap="square" lIns="0" tIns="0" rIns="0" bIns="0" rtlCol="0"/>
            <a:lstStyle/>
            <a:p>
              <a:endParaRPr/>
            </a:p>
          </p:txBody>
        </p:sp>
        <p:sp>
          <p:nvSpPr>
            <p:cNvPr id="137" name="object 137"/>
            <p:cNvSpPr/>
            <p:nvPr/>
          </p:nvSpPr>
          <p:spPr>
            <a:xfrm>
              <a:off x="2324492" y="4485694"/>
              <a:ext cx="224790" cy="34290"/>
            </a:xfrm>
            <a:custGeom>
              <a:avLst/>
              <a:gdLst/>
              <a:ahLst/>
              <a:cxnLst/>
              <a:rect l="l" t="t" r="r" b="b"/>
              <a:pathLst>
                <a:path w="224789" h="34289">
                  <a:moveTo>
                    <a:pt x="224459" y="0"/>
                  </a:moveTo>
                  <a:lnTo>
                    <a:pt x="0" y="0"/>
                  </a:lnTo>
                  <a:lnTo>
                    <a:pt x="77330" y="33667"/>
                  </a:lnTo>
                  <a:lnTo>
                    <a:pt x="163804" y="33667"/>
                  </a:lnTo>
                  <a:lnTo>
                    <a:pt x="224459" y="0"/>
                  </a:lnTo>
                  <a:close/>
                </a:path>
              </a:pathLst>
            </a:custGeom>
            <a:solidFill>
              <a:srgbClr val="4D5051"/>
            </a:solidFill>
          </p:spPr>
          <p:txBody>
            <a:bodyPr wrap="square" lIns="0" tIns="0" rIns="0" bIns="0" rtlCol="0"/>
            <a:lstStyle/>
            <a:p>
              <a:endParaRPr/>
            </a:p>
          </p:txBody>
        </p:sp>
        <p:sp>
          <p:nvSpPr>
            <p:cNvPr id="138" name="object 138"/>
            <p:cNvSpPr/>
            <p:nvPr/>
          </p:nvSpPr>
          <p:spPr>
            <a:xfrm>
              <a:off x="2324492" y="4485694"/>
              <a:ext cx="224790" cy="34290"/>
            </a:xfrm>
            <a:custGeom>
              <a:avLst/>
              <a:gdLst/>
              <a:ahLst/>
              <a:cxnLst/>
              <a:rect l="l" t="t" r="r" b="b"/>
              <a:pathLst>
                <a:path w="224789" h="34289">
                  <a:moveTo>
                    <a:pt x="224459" y="0"/>
                  </a:moveTo>
                  <a:lnTo>
                    <a:pt x="0" y="0"/>
                  </a:lnTo>
                  <a:lnTo>
                    <a:pt x="27941" y="12000"/>
                  </a:lnTo>
                  <a:lnTo>
                    <a:pt x="52762" y="22825"/>
                  </a:lnTo>
                  <a:lnTo>
                    <a:pt x="70533" y="30653"/>
                  </a:lnTo>
                  <a:lnTo>
                    <a:pt x="77330" y="33667"/>
                  </a:lnTo>
                  <a:lnTo>
                    <a:pt x="163804" y="33667"/>
                  </a:lnTo>
                  <a:lnTo>
                    <a:pt x="224459" y="0"/>
                  </a:lnTo>
                  <a:close/>
                </a:path>
              </a:pathLst>
            </a:custGeom>
            <a:ln w="6769">
              <a:solidFill>
                <a:srgbClr val="FFFFFF"/>
              </a:solidFill>
            </a:ln>
          </p:spPr>
          <p:txBody>
            <a:bodyPr wrap="square" lIns="0" tIns="0" rIns="0" bIns="0" rtlCol="0"/>
            <a:lstStyle/>
            <a:p>
              <a:endParaRPr/>
            </a:p>
          </p:txBody>
        </p:sp>
        <p:pic>
          <p:nvPicPr>
            <p:cNvPr id="139" name="object 139"/>
            <p:cNvPicPr/>
            <p:nvPr/>
          </p:nvPicPr>
          <p:blipFill>
            <a:blip r:embed="rId9" cstate="print"/>
            <a:stretch>
              <a:fillRect/>
            </a:stretch>
          </p:blipFill>
          <p:spPr>
            <a:xfrm>
              <a:off x="818337" y="4186669"/>
              <a:ext cx="131025" cy="714514"/>
            </a:xfrm>
            <a:prstGeom prst="rect">
              <a:avLst/>
            </a:prstGeom>
          </p:spPr>
        </p:pic>
        <p:sp>
          <p:nvSpPr>
            <p:cNvPr id="140" name="object 140"/>
            <p:cNvSpPr/>
            <p:nvPr/>
          </p:nvSpPr>
          <p:spPr>
            <a:xfrm>
              <a:off x="141989" y="4676527"/>
              <a:ext cx="1237615" cy="209550"/>
            </a:xfrm>
            <a:custGeom>
              <a:avLst/>
              <a:gdLst/>
              <a:ahLst/>
              <a:cxnLst/>
              <a:rect l="l" t="t" r="r" b="b"/>
              <a:pathLst>
                <a:path w="1237615" h="209550">
                  <a:moveTo>
                    <a:pt x="1237246" y="61391"/>
                  </a:moveTo>
                  <a:lnTo>
                    <a:pt x="1040612" y="0"/>
                  </a:lnTo>
                  <a:lnTo>
                    <a:pt x="628853" y="0"/>
                  </a:lnTo>
                  <a:lnTo>
                    <a:pt x="588429" y="31445"/>
                  </a:lnTo>
                  <a:lnTo>
                    <a:pt x="0" y="31445"/>
                  </a:lnTo>
                  <a:lnTo>
                    <a:pt x="0" y="209499"/>
                  </a:lnTo>
                </a:path>
              </a:pathLst>
            </a:custGeom>
            <a:ln w="4508">
              <a:solidFill>
                <a:srgbClr val="FFFFFF"/>
              </a:solidFill>
            </a:ln>
          </p:spPr>
          <p:txBody>
            <a:bodyPr wrap="square" lIns="0" tIns="0" rIns="0" bIns="0" rtlCol="0"/>
            <a:lstStyle/>
            <a:p>
              <a:endParaRPr/>
            </a:p>
          </p:txBody>
        </p:sp>
        <p:sp>
          <p:nvSpPr>
            <p:cNvPr id="141" name="object 141"/>
            <p:cNvSpPr/>
            <p:nvPr/>
          </p:nvSpPr>
          <p:spPr>
            <a:xfrm>
              <a:off x="888466" y="4292803"/>
              <a:ext cx="131445" cy="608330"/>
            </a:xfrm>
            <a:custGeom>
              <a:avLst/>
              <a:gdLst/>
              <a:ahLst/>
              <a:cxnLst/>
              <a:rect l="l" t="t" r="r" b="b"/>
              <a:pathLst>
                <a:path w="131444" h="608329">
                  <a:moveTo>
                    <a:pt x="131051" y="1270"/>
                  </a:moveTo>
                  <a:lnTo>
                    <a:pt x="5092" y="1270"/>
                  </a:lnTo>
                  <a:lnTo>
                    <a:pt x="5092" y="0"/>
                  </a:lnTo>
                  <a:lnTo>
                    <a:pt x="0" y="0"/>
                  </a:lnTo>
                  <a:lnTo>
                    <a:pt x="0" y="1270"/>
                  </a:lnTo>
                  <a:lnTo>
                    <a:pt x="0" y="608330"/>
                  </a:lnTo>
                  <a:lnTo>
                    <a:pt x="131051" y="608330"/>
                  </a:lnTo>
                  <a:lnTo>
                    <a:pt x="131051" y="1270"/>
                  </a:lnTo>
                  <a:close/>
                </a:path>
              </a:pathLst>
            </a:custGeom>
            <a:solidFill>
              <a:srgbClr val="001E1A"/>
            </a:solidFill>
          </p:spPr>
          <p:txBody>
            <a:bodyPr wrap="square" lIns="0" tIns="0" rIns="0" bIns="0" rtlCol="0"/>
            <a:lstStyle/>
            <a:p>
              <a:endParaRPr/>
            </a:p>
          </p:txBody>
        </p:sp>
        <p:pic>
          <p:nvPicPr>
            <p:cNvPr id="142" name="object 142"/>
            <p:cNvPicPr/>
            <p:nvPr/>
          </p:nvPicPr>
          <p:blipFill>
            <a:blip r:embed="rId10" cstate="print"/>
            <a:stretch>
              <a:fillRect/>
            </a:stretch>
          </p:blipFill>
          <p:spPr>
            <a:xfrm>
              <a:off x="5442330" y="4248721"/>
              <a:ext cx="119685" cy="547497"/>
            </a:xfrm>
            <a:prstGeom prst="rect">
              <a:avLst/>
            </a:prstGeom>
          </p:spPr>
        </p:pic>
        <p:sp>
          <p:nvSpPr>
            <p:cNvPr id="143" name="object 143"/>
            <p:cNvSpPr/>
            <p:nvPr/>
          </p:nvSpPr>
          <p:spPr>
            <a:xfrm>
              <a:off x="5442897" y="4248717"/>
              <a:ext cx="119380" cy="24130"/>
            </a:xfrm>
            <a:custGeom>
              <a:avLst/>
              <a:gdLst/>
              <a:ahLst/>
              <a:cxnLst/>
              <a:rect l="l" t="t" r="r" b="b"/>
              <a:pathLst>
                <a:path w="119379" h="24129">
                  <a:moveTo>
                    <a:pt x="81165" y="0"/>
                  </a:moveTo>
                  <a:lnTo>
                    <a:pt x="38481" y="0"/>
                  </a:lnTo>
                  <a:lnTo>
                    <a:pt x="38481" y="11595"/>
                  </a:lnTo>
                  <a:lnTo>
                    <a:pt x="0" y="11595"/>
                  </a:lnTo>
                  <a:lnTo>
                    <a:pt x="0" y="23736"/>
                  </a:lnTo>
                  <a:lnTo>
                    <a:pt x="117589" y="23736"/>
                  </a:lnTo>
                  <a:lnTo>
                    <a:pt x="116725" y="22872"/>
                  </a:lnTo>
                  <a:lnTo>
                    <a:pt x="119126" y="11036"/>
                  </a:lnTo>
                  <a:lnTo>
                    <a:pt x="81165" y="11036"/>
                  </a:lnTo>
                  <a:lnTo>
                    <a:pt x="81165" y="0"/>
                  </a:lnTo>
                  <a:close/>
                </a:path>
              </a:pathLst>
            </a:custGeom>
            <a:solidFill>
              <a:srgbClr val="ABAEAE"/>
            </a:solidFill>
          </p:spPr>
          <p:txBody>
            <a:bodyPr wrap="square" lIns="0" tIns="0" rIns="0" bIns="0" rtlCol="0"/>
            <a:lstStyle/>
            <a:p>
              <a:endParaRPr/>
            </a:p>
          </p:txBody>
        </p:sp>
        <p:sp>
          <p:nvSpPr>
            <p:cNvPr id="144" name="object 144"/>
            <p:cNvSpPr/>
            <p:nvPr/>
          </p:nvSpPr>
          <p:spPr>
            <a:xfrm>
              <a:off x="5442897" y="4248717"/>
              <a:ext cx="119380" cy="24130"/>
            </a:xfrm>
            <a:custGeom>
              <a:avLst/>
              <a:gdLst/>
              <a:ahLst/>
              <a:cxnLst/>
              <a:rect l="l" t="t" r="r" b="b"/>
              <a:pathLst>
                <a:path w="119379" h="24129">
                  <a:moveTo>
                    <a:pt x="117589" y="23736"/>
                  </a:moveTo>
                  <a:lnTo>
                    <a:pt x="0" y="23736"/>
                  </a:lnTo>
                  <a:lnTo>
                    <a:pt x="0" y="11595"/>
                  </a:lnTo>
                  <a:lnTo>
                    <a:pt x="38481" y="11595"/>
                  </a:lnTo>
                  <a:lnTo>
                    <a:pt x="38481" y="0"/>
                  </a:lnTo>
                  <a:lnTo>
                    <a:pt x="81165" y="0"/>
                  </a:lnTo>
                  <a:lnTo>
                    <a:pt x="81165" y="11036"/>
                  </a:lnTo>
                  <a:lnTo>
                    <a:pt x="119126" y="11036"/>
                  </a:lnTo>
                  <a:lnTo>
                    <a:pt x="116725" y="22872"/>
                  </a:lnTo>
                  <a:lnTo>
                    <a:pt x="117589" y="23736"/>
                  </a:lnTo>
                  <a:close/>
                </a:path>
              </a:pathLst>
            </a:custGeom>
            <a:ln w="4826">
              <a:solidFill>
                <a:srgbClr val="FFFFFF"/>
              </a:solidFill>
            </a:ln>
          </p:spPr>
          <p:txBody>
            <a:bodyPr wrap="square" lIns="0" tIns="0" rIns="0" bIns="0" rtlCol="0"/>
            <a:lstStyle/>
            <a:p>
              <a:endParaRPr/>
            </a:p>
          </p:txBody>
        </p:sp>
        <p:sp>
          <p:nvSpPr>
            <p:cNvPr id="145" name="object 145"/>
            <p:cNvSpPr/>
            <p:nvPr/>
          </p:nvSpPr>
          <p:spPr>
            <a:xfrm>
              <a:off x="3482200" y="4944897"/>
              <a:ext cx="362585" cy="124460"/>
            </a:xfrm>
            <a:custGeom>
              <a:avLst/>
              <a:gdLst/>
              <a:ahLst/>
              <a:cxnLst/>
              <a:rect l="l" t="t" r="r" b="b"/>
              <a:pathLst>
                <a:path w="362585" h="124460">
                  <a:moveTo>
                    <a:pt x="362127" y="0"/>
                  </a:moveTo>
                  <a:lnTo>
                    <a:pt x="0" y="0"/>
                  </a:lnTo>
                  <a:lnTo>
                    <a:pt x="0" y="74942"/>
                  </a:lnTo>
                  <a:lnTo>
                    <a:pt x="0" y="123837"/>
                  </a:lnTo>
                  <a:lnTo>
                    <a:pt x="362127" y="123837"/>
                  </a:lnTo>
                  <a:lnTo>
                    <a:pt x="362127" y="74942"/>
                  </a:lnTo>
                  <a:lnTo>
                    <a:pt x="362127" y="0"/>
                  </a:lnTo>
                  <a:close/>
                </a:path>
              </a:pathLst>
            </a:custGeom>
            <a:solidFill>
              <a:srgbClr val="CFD1D0"/>
            </a:solidFill>
          </p:spPr>
          <p:txBody>
            <a:bodyPr wrap="square" lIns="0" tIns="0" rIns="0" bIns="0" rtlCol="0"/>
            <a:lstStyle/>
            <a:p>
              <a:endParaRPr/>
            </a:p>
          </p:txBody>
        </p:sp>
        <p:sp>
          <p:nvSpPr>
            <p:cNvPr id="146" name="object 146"/>
            <p:cNvSpPr/>
            <p:nvPr/>
          </p:nvSpPr>
          <p:spPr>
            <a:xfrm>
              <a:off x="3508286" y="4974577"/>
              <a:ext cx="1270" cy="30480"/>
            </a:xfrm>
            <a:custGeom>
              <a:avLst/>
              <a:gdLst/>
              <a:ahLst/>
              <a:cxnLst/>
              <a:rect l="l" t="t" r="r" b="b"/>
              <a:pathLst>
                <a:path w="1270" h="30479">
                  <a:moveTo>
                    <a:pt x="0" y="30251"/>
                  </a:moveTo>
                  <a:lnTo>
                    <a:pt x="1079" y="30251"/>
                  </a:lnTo>
                  <a:lnTo>
                    <a:pt x="1079" y="0"/>
                  </a:lnTo>
                  <a:lnTo>
                    <a:pt x="0" y="0"/>
                  </a:lnTo>
                  <a:lnTo>
                    <a:pt x="0" y="30251"/>
                  </a:lnTo>
                  <a:close/>
                </a:path>
              </a:pathLst>
            </a:custGeom>
            <a:solidFill>
              <a:srgbClr val="8F9293"/>
            </a:solidFill>
          </p:spPr>
          <p:txBody>
            <a:bodyPr wrap="square" lIns="0" tIns="0" rIns="0" bIns="0" rtlCol="0"/>
            <a:lstStyle/>
            <a:p>
              <a:endParaRPr/>
            </a:p>
          </p:txBody>
        </p:sp>
        <p:sp>
          <p:nvSpPr>
            <p:cNvPr id="147" name="object 147"/>
            <p:cNvSpPr/>
            <p:nvPr/>
          </p:nvSpPr>
          <p:spPr>
            <a:xfrm>
              <a:off x="3482200" y="4944884"/>
              <a:ext cx="27305" cy="10795"/>
            </a:xfrm>
            <a:custGeom>
              <a:avLst/>
              <a:gdLst/>
              <a:ahLst/>
              <a:cxnLst/>
              <a:rect l="l" t="t" r="r" b="b"/>
              <a:pathLst>
                <a:path w="27304" h="10795">
                  <a:moveTo>
                    <a:pt x="0" y="10388"/>
                  </a:moveTo>
                  <a:lnTo>
                    <a:pt x="27165" y="10388"/>
                  </a:lnTo>
                  <a:lnTo>
                    <a:pt x="27165" y="0"/>
                  </a:lnTo>
                  <a:lnTo>
                    <a:pt x="0" y="0"/>
                  </a:lnTo>
                  <a:lnTo>
                    <a:pt x="0" y="10388"/>
                  </a:lnTo>
                  <a:close/>
                </a:path>
              </a:pathLst>
            </a:custGeom>
            <a:solidFill>
              <a:srgbClr val="A5A592"/>
            </a:solidFill>
          </p:spPr>
          <p:txBody>
            <a:bodyPr wrap="square" lIns="0" tIns="0" rIns="0" bIns="0" rtlCol="0"/>
            <a:lstStyle/>
            <a:p>
              <a:endParaRPr/>
            </a:p>
          </p:txBody>
        </p:sp>
        <p:pic>
          <p:nvPicPr>
            <p:cNvPr id="148" name="object 148"/>
            <p:cNvPicPr/>
            <p:nvPr/>
          </p:nvPicPr>
          <p:blipFill>
            <a:blip r:embed="rId11" cstate="print"/>
            <a:stretch>
              <a:fillRect/>
            </a:stretch>
          </p:blipFill>
          <p:spPr>
            <a:xfrm>
              <a:off x="2383663" y="4882299"/>
              <a:ext cx="1112989" cy="186435"/>
            </a:xfrm>
            <a:prstGeom prst="rect">
              <a:avLst/>
            </a:prstGeom>
          </p:spPr>
        </p:pic>
        <p:sp>
          <p:nvSpPr>
            <p:cNvPr id="149" name="object 149"/>
            <p:cNvSpPr/>
            <p:nvPr/>
          </p:nvSpPr>
          <p:spPr>
            <a:xfrm>
              <a:off x="2435136" y="4910200"/>
              <a:ext cx="1010285" cy="114935"/>
            </a:xfrm>
            <a:custGeom>
              <a:avLst/>
              <a:gdLst/>
              <a:ahLst/>
              <a:cxnLst/>
              <a:rect l="l" t="t" r="r" b="b"/>
              <a:pathLst>
                <a:path w="1010285" h="114935">
                  <a:moveTo>
                    <a:pt x="1010056" y="90919"/>
                  </a:moveTo>
                  <a:lnTo>
                    <a:pt x="0" y="90919"/>
                  </a:lnTo>
                  <a:lnTo>
                    <a:pt x="0" y="114477"/>
                  </a:lnTo>
                  <a:lnTo>
                    <a:pt x="1010056" y="114477"/>
                  </a:lnTo>
                  <a:lnTo>
                    <a:pt x="1010056" y="90919"/>
                  </a:lnTo>
                  <a:close/>
                </a:path>
                <a:path w="1010285" h="114935">
                  <a:moveTo>
                    <a:pt x="1010056" y="45466"/>
                  </a:moveTo>
                  <a:lnTo>
                    <a:pt x="0" y="45466"/>
                  </a:lnTo>
                  <a:lnTo>
                    <a:pt x="0" y="69024"/>
                  </a:lnTo>
                  <a:lnTo>
                    <a:pt x="1010056" y="69024"/>
                  </a:lnTo>
                  <a:lnTo>
                    <a:pt x="1010056" y="45466"/>
                  </a:lnTo>
                  <a:close/>
                </a:path>
                <a:path w="1010285" h="114935">
                  <a:moveTo>
                    <a:pt x="1010056" y="0"/>
                  </a:moveTo>
                  <a:lnTo>
                    <a:pt x="0" y="0"/>
                  </a:lnTo>
                  <a:lnTo>
                    <a:pt x="0" y="23558"/>
                  </a:lnTo>
                  <a:lnTo>
                    <a:pt x="1010056" y="23558"/>
                  </a:lnTo>
                  <a:lnTo>
                    <a:pt x="1010056" y="0"/>
                  </a:lnTo>
                  <a:close/>
                </a:path>
              </a:pathLst>
            </a:custGeom>
            <a:solidFill>
              <a:srgbClr val="C6CACB"/>
            </a:solidFill>
          </p:spPr>
          <p:txBody>
            <a:bodyPr wrap="square" lIns="0" tIns="0" rIns="0" bIns="0" rtlCol="0"/>
            <a:lstStyle/>
            <a:p>
              <a:endParaRPr/>
            </a:p>
          </p:txBody>
        </p:sp>
        <p:sp>
          <p:nvSpPr>
            <p:cNvPr id="150" name="object 150"/>
            <p:cNvSpPr/>
            <p:nvPr/>
          </p:nvSpPr>
          <p:spPr>
            <a:xfrm>
              <a:off x="2399652" y="4869535"/>
              <a:ext cx="1108710" cy="18415"/>
            </a:xfrm>
            <a:custGeom>
              <a:avLst/>
              <a:gdLst/>
              <a:ahLst/>
              <a:cxnLst/>
              <a:rect l="l" t="t" r="r" b="b"/>
              <a:pathLst>
                <a:path w="1108710" h="18414">
                  <a:moveTo>
                    <a:pt x="0" y="18148"/>
                  </a:moveTo>
                  <a:lnTo>
                    <a:pt x="1108341" y="18148"/>
                  </a:lnTo>
                  <a:lnTo>
                    <a:pt x="1108341" y="0"/>
                  </a:lnTo>
                  <a:lnTo>
                    <a:pt x="0" y="0"/>
                  </a:lnTo>
                  <a:lnTo>
                    <a:pt x="0" y="18148"/>
                  </a:lnTo>
                  <a:close/>
                </a:path>
              </a:pathLst>
            </a:custGeom>
            <a:solidFill>
              <a:srgbClr val="A5A592"/>
            </a:solidFill>
          </p:spPr>
          <p:txBody>
            <a:bodyPr wrap="square" lIns="0" tIns="0" rIns="0" bIns="0" rtlCol="0"/>
            <a:lstStyle/>
            <a:p>
              <a:endParaRPr/>
            </a:p>
          </p:txBody>
        </p:sp>
        <p:sp>
          <p:nvSpPr>
            <p:cNvPr id="151" name="object 151"/>
            <p:cNvSpPr/>
            <p:nvPr/>
          </p:nvSpPr>
          <p:spPr>
            <a:xfrm>
              <a:off x="1923795" y="4678730"/>
              <a:ext cx="356870" cy="71755"/>
            </a:xfrm>
            <a:custGeom>
              <a:avLst/>
              <a:gdLst/>
              <a:ahLst/>
              <a:cxnLst/>
              <a:rect l="l" t="t" r="r" b="b"/>
              <a:pathLst>
                <a:path w="356869" h="71754">
                  <a:moveTo>
                    <a:pt x="356692" y="0"/>
                  </a:moveTo>
                  <a:lnTo>
                    <a:pt x="0" y="0"/>
                  </a:lnTo>
                  <a:lnTo>
                    <a:pt x="0" y="71742"/>
                  </a:lnTo>
                  <a:lnTo>
                    <a:pt x="356692" y="71742"/>
                  </a:lnTo>
                  <a:lnTo>
                    <a:pt x="356692" y="0"/>
                  </a:lnTo>
                  <a:close/>
                </a:path>
              </a:pathLst>
            </a:custGeom>
            <a:solidFill>
              <a:srgbClr val="CFD1D0"/>
            </a:solidFill>
          </p:spPr>
          <p:txBody>
            <a:bodyPr wrap="square" lIns="0" tIns="0" rIns="0" bIns="0" rtlCol="0"/>
            <a:lstStyle/>
            <a:p>
              <a:endParaRPr/>
            </a:p>
          </p:txBody>
        </p:sp>
        <p:sp>
          <p:nvSpPr>
            <p:cNvPr id="152" name="object 152"/>
            <p:cNvSpPr/>
            <p:nvPr/>
          </p:nvSpPr>
          <p:spPr>
            <a:xfrm>
              <a:off x="1923797" y="4678734"/>
              <a:ext cx="356870" cy="71755"/>
            </a:xfrm>
            <a:custGeom>
              <a:avLst/>
              <a:gdLst/>
              <a:ahLst/>
              <a:cxnLst/>
              <a:rect l="l" t="t" r="r" b="b"/>
              <a:pathLst>
                <a:path w="356869" h="71754">
                  <a:moveTo>
                    <a:pt x="0" y="71742"/>
                  </a:moveTo>
                  <a:lnTo>
                    <a:pt x="356692" y="71742"/>
                  </a:lnTo>
                  <a:lnTo>
                    <a:pt x="356692" y="0"/>
                  </a:lnTo>
                  <a:lnTo>
                    <a:pt x="0" y="0"/>
                  </a:lnTo>
                  <a:lnTo>
                    <a:pt x="0" y="71742"/>
                  </a:lnTo>
                  <a:close/>
                </a:path>
              </a:pathLst>
            </a:custGeom>
            <a:ln w="8470">
              <a:solidFill>
                <a:srgbClr val="FFFFFF"/>
              </a:solidFill>
            </a:ln>
          </p:spPr>
          <p:txBody>
            <a:bodyPr wrap="square" lIns="0" tIns="0" rIns="0" bIns="0" rtlCol="0"/>
            <a:lstStyle/>
            <a:p>
              <a:endParaRPr/>
            </a:p>
          </p:txBody>
        </p:sp>
        <p:sp>
          <p:nvSpPr>
            <p:cNvPr id="153" name="object 153"/>
            <p:cNvSpPr/>
            <p:nvPr/>
          </p:nvSpPr>
          <p:spPr>
            <a:xfrm>
              <a:off x="1792516" y="4750485"/>
              <a:ext cx="607695" cy="318770"/>
            </a:xfrm>
            <a:custGeom>
              <a:avLst/>
              <a:gdLst/>
              <a:ahLst/>
              <a:cxnLst/>
              <a:rect l="l" t="t" r="r" b="b"/>
              <a:pathLst>
                <a:path w="607694" h="318770">
                  <a:moveTo>
                    <a:pt x="607136" y="0"/>
                  </a:moveTo>
                  <a:lnTo>
                    <a:pt x="0" y="0"/>
                  </a:lnTo>
                  <a:lnTo>
                    <a:pt x="0" y="318249"/>
                  </a:lnTo>
                  <a:lnTo>
                    <a:pt x="607136" y="318249"/>
                  </a:lnTo>
                  <a:lnTo>
                    <a:pt x="607136" y="0"/>
                  </a:lnTo>
                  <a:close/>
                </a:path>
              </a:pathLst>
            </a:custGeom>
            <a:solidFill>
              <a:srgbClr val="001E1A"/>
            </a:solidFill>
          </p:spPr>
          <p:txBody>
            <a:bodyPr wrap="square" lIns="0" tIns="0" rIns="0" bIns="0" rtlCol="0"/>
            <a:lstStyle/>
            <a:p>
              <a:endParaRPr/>
            </a:p>
          </p:txBody>
        </p:sp>
        <p:sp>
          <p:nvSpPr>
            <p:cNvPr id="154" name="object 154"/>
            <p:cNvSpPr/>
            <p:nvPr/>
          </p:nvSpPr>
          <p:spPr>
            <a:xfrm>
              <a:off x="1854568" y="4851145"/>
              <a:ext cx="480695" cy="197485"/>
            </a:xfrm>
            <a:custGeom>
              <a:avLst/>
              <a:gdLst/>
              <a:ahLst/>
              <a:cxnLst/>
              <a:rect l="l" t="t" r="r" b="b"/>
              <a:pathLst>
                <a:path w="480694" h="197485">
                  <a:moveTo>
                    <a:pt x="84848" y="147485"/>
                  </a:moveTo>
                  <a:lnTo>
                    <a:pt x="0" y="147485"/>
                  </a:lnTo>
                  <a:lnTo>
                    <a:pt x="0" y="197396"/>
                  </a:lnTo>
                  <a:lnTo>
                    <a:pt x="84848" y="197396"/>
                  </a:lnTo>
                  <a:lnTo>
                    <a:pt x="84848" y="147485"/>
                  </a:lnTo>
                  <a:close/>
                </a:path>
                <a:path w="480694" h="197485">
                  <a:moveTo>
                    <a:pt x="84848" y="73723"/>
                  </a:moveTo>
                  <a:lnTo>
                    <a:pt x="0" y="73723"/>
                  </a:lnTo>
                  <a:lnTo>
                    <a:pt x="0" y="123647"/>
                  </a:lnTo>
                  <a:lnTo>
                    <a:pt x="84848" y="123647"/>
                  </a:lnTo>
                  <a:lnTo>
                    <a:pt x="84848" y="73723"/>
                  </a:lnTo>
                  <a:close/>
                </a:path>
                <a:path w="480694" h="197485">
                  <a:moveTo>
                    <a:pt x="84848" y="0"/>
                  </a:moveTo>
                  <a:lnTo>
                    <a:pt x="0" y="0"/>
                  </a:lnTo>
                  <a:lnTo>
                    <a:pt x="0" y="49911"/>
                  </a:lnTo>
                  <a:lnTo>
                    <a:pt x="84848" y="49911"/>
                  </a:lnTo>
                  <a:lnTo>
                    <a:pt x="84848" y="0"/>
                  </a:lnTo>
                  <a:close/>
                </a:path>
                <a:path w="480694" h="197485">
                  <a:moveTo>
                    <a:pt x="216649" y="147485"/>
                  </a:moveTo>
                  <a:lnTo>
                    <a:pt x="131800" y="147485"/>
                  </a:lnTo>
                  <a:lnTo>
                    <a:pt x="131800" y="197396"/>
                  </a:lnTo>
                  <a:lnTo>
                    <a:pt x="216649" y="197396"/>
                  </a:lnTo>
                  <a:lnTo>
                    <a:pt x="216649" y="147485"/>
                  </a:lnTo>
                  <a:close/>
                </a:path>
                <a:path w="480694" h="197485">
                  <a:moveTo>
                    <a:pt x="216649" y="73723"/>
                  </a:moveTo>
                  <a:lnTo>
                    <a:pt x="131800" y="73723"/>
                  </a:lnTo>
                  <a:lnTo>
                    <a:pt x="131800" y="123647"/>
                  </a:lnTo>
                  <a:lnTo>
                    <a:pt x="216649" y="123647"/>
                  </a:lnTo>
                  <a:lnTo>
                    <a:pt x="216649" y="73723"/>
                  </a:lnTo>
                  <a:close/>
                </a:path>
                <a:path w="480694" h="197485">
                  <a:moveTo>
                    <a:pt x="216649" y="0"/>
                  </a:moveTo>
                  <a:lnTo>
                    <a:pt x="131800" y="0"/>
                  </a:lnTo>
                  <a:lnTo>
                    <a:pt x="131800" y="49911"/>
                  </a:lnTo>
                  <a:lnTo>
                    <a:pt x="216649" y="49911"/>
                  </a:lnTo>
                  <a:lnTo>
                    <a:pt x="216649" y="0"/>
                  </a:lnTo>
                  <a:close/>
                </a:path>
                <a:path w="480694" h="197485">
                  <a:moveTo>
                    <a:pt x="348449" y="147485"/>
                  </a:moveTo>
                  <a:lnTo>
                    <a:pt x="263601" y="147485"/>
                  </a:lnTo>
                  <a:lnTo>
                    <a:pt x="263601" y="197396"/>
                  </a:lnTo>
                  <a:lnTo>
                    <a:pt x="348449" y="197396"/>
                  </a:lnTo>
                  <a:lnTo>
                    <a:pt x="348449" y="147485"/>
                  </a:lnTo>
                  <a:close/>
                </a:path>
                <a:path w="480694" h="197485">
                  <a:moveTo>
                    <a:pt x="348449" y="73723"/>
                  </a:moveTo>
                  <a:lnTo>
                    <a:pt x="263601" y="73723"/>
                  </a:lnTo>
                  <a:lnTo>
                    <a:pt x="263601" y="123647"/>
                  </a:lnTo>
                  <a:lnTo>
                    <a:pt x="348449" y="123647"/>
                  </a:lnTo>
                  <a:lnTo>
                    <a:pt x="348449" y="73723"/>
                  </a:lnTo>
                  <a:close/>
                </a:path>
                <a:path w="480694" h="197485">
                  <a:moveTo>
                    <a:pt x="348449" y="0"/>
                  </a:moveTo>
                  <a:lnTo>
                    <a:pt x="263601" y="0"/>
                  </a:lnTo>
                  <a:lnTo>
                    <a:pt x="263601" y="49911"/>
                  </a:lnTo>
                  <a:lnTo>
                    <a:pt x="348449" y="49911"/>
                  </a:lnTo>
                  <a:lnTo>
                    <a:pt x="348449" y="0"/>
                  </a:lnTo>
                  <a:close/>
                </a:path>
                <a:path w="480694" h="197485">
                  <a:moveTo>
                    <a:pt x="480250" y="147485"/>
                  </a:moveTo>
                  <a:lnTo>
                    <a:pt x="395401" y="147485"/>
                  </a:lnTo>
                  <a:lnTo>
                    <a:pt x="395401" y="197396"/>
                  </a:lnTo>
                  <a:lnTo>
                    <a:pt x="480250" y="197396"/>
                  </a:lnTo>
                  <a:lnTo>
                    <a:pt x="480250" y="147485"/>
                  </a:lnTo>
                  <a:close/>
                </a:path>
                <a:path w="480694" h="197485">
                  <a:moveTo>
                    <a:pt x="480250" y="73723"/>
                  </a:moveTo>
                  <a:lnTo>
                    <a:pt x="395401" y="73723"/>
                  </a:lnTo>
                  <a:lnTo>
                    <a:pt x="395401" y="123647"/>
                  </a:lnTo>
                  <a:lnTo>
                    <a:pt x="480250" y="123647"/>
                  </a:lnTo>
                  <a:lnTo>
                    <a:pt x="480250" y="73723"/>
                  </a:lnTo>
                  <a:close/>
                </a:path>
                <a:path w="480694" h="197485">
                  <a:moveTo>
                    <a:pt x="480250" y="0"/>
                  </a:moveTo>
                  <a:lnTo>
                    <a:pt x="395401" y="0"/>
                  </a:lnTo>
                  <a:lnTo>
                    <a:pt x="395401" y="49911"/>
                  </a:lnTo>
                  <a:lnTo>
                    <a:pt x="480250" y="49911"/>
                  </a:lnTo>
                  <a:lnTo>
                    <a:pt x="480250" y="0"/>
                  </a:lnTo>
                  <a:close/>
                </a:path>
              </a:pathLst>
            </a:custGeom>
            <a:solidFill>
              <a:srgbClr val="C6CACB"/>
            </a:solidFill>
          </p:spPr>
          <p:txBody>
            <a:bodyPr wrap="square" lIns="0" tIns="0" rIns="0" bIns="0" rtlCol="0"/>
            <a:lstStyle/>
            <a:p>
              <a:endParaRPr/>
            </a:p>
          </p:txBody>
        </p:sp>
        <p:sp>
          <p:nvSpPr>
            <p:cNvPr id="155" name="object 155"/>
            <p:cNvSpPr/>
            <p:nvPr/>
          </p:nvSpPr>
          <p:spPr>
            <a:xfrm>
              <a:off x="1781479" y="4666627"/>
              <a:ext cx="631190" cy="92075"/>
            </a:xfrm>
            <a:custGeom>
              <a:avLst/>
              <a:gdLst/>
              <a:ahLst/>
              <a:cxnLst/>
              <a:rect l="l" t="t" r="r" b="b"/>
              <a:pathLst>
                <a:path w="631189" h="92075">
                  <a:moveTo>
                    <a:pt x="513003" y="0"/>
                  </a:moveTo>
                  <a:lnTo>
                    <a:pt x="129476" y="0"/>
                  </a:lnTo>
                  <a:lnTo>
                    <a:pt x="129476" y="12128"/>
                  </a:lnTo>
                  <a:lnTo>
                    <a:pt x="513003" y="12128"/>
                  </a:lnTo>
                  <a:lnTo>
                    <a:pt x="513003" y="0"/>
                  </a:lnTo>
                  <a:close/>
                </a:path>
                <a:path w="631189" h="92075">
                  <a:moveTo>
                    <a:pt x="630567" y="75641"/>
                  </a:moveTo>
                  <a:lnTo>
                    <a:pt x="0" y="75641"/>
                  </a:lnTo>
                  <a:lnTo>
                    <a:pt x="0" y="92062"/>
                  </a:lnTo>
                  <a:lnTo>
                    <a:pt x="630567" y="92062"/>
                  </a:lnTo>
                  <a:lnTo>
                    <a:pt x="630567" y="75641"/>
                  </a:lnTo>
                  <a:close/>
                </a:path>
              </a:pathLst>
            </a:custGeom>
            <a:solidFill>
              <a:srgbClr val="505457"/>
            </a:solidFill>
          </p:spPr>
          <p:txBody>
            <a:bodyPr wrap="square" lIns="0" tIns="0" rIns="0" bIns="0" rtlCol="0"/>
            <a:lstStyle/>
            <a:p>
              <a:endParaRPr/>
            </a:p>
          </p:txBody>
        </p:sp>
        <p:sp>
          <p:nvSpPr>
            <p:cNvPr id="156" name="object 156"/>
            <p:cNvSpPr/>
            <p:nvPr/>
          </p:nvSpPr>
          <p:spPr>
            <a:xfrm>
              <a:off x="4883670" y="4919116"/>
              <a:ext cx="294640" cy="100965"/>
            </a:xfrm>
            <a:custGeom>
              <a:avLst/>
              <a:gdLst/>
              <a:ahLst/>
              <a:cxnLst/>
              <a:rect l="l" t="t" r="r" b="b"/>
              <a:pathLst>
                <a:path w="294639" h="100964">
                  <a:moveTo>
                    <a:pt x="294525" y="0"/>
                  </a:moveTo>
                  <a:lnTo>
                    <a:pt x="0" y="0"/>
                  </a:lnTo>
                  <a:lnTo>
                    <a:pt x="0" y="100723"/>
                  </a:lnTo>
                  <a:lnTo>
                    <a:pt x="294525" y="100723"/>
                  </a:lnTo>
                  <a:lnTo>
                    <a:pt x="294525" y="0"/>
                  </a:lnTo>
                  <a:close/>
                </a:path>
              </a:pathLst>
            </a:custGeom>
            <a:solidFill>
              <a:srgbClr val="CFD1D0"/>
            </a:solidFill>
          </p:spPr>
          <p:txBody>
            <a:bodyPr wrap="square" lIns="0" tIns="0" rIns="0" bIns="0" rtlCol="0"/>
            <a:lstStyle/>
            <a:p>
              <a:endParaRPr/>
            </a:p>
          </p:txBody>
        </p:sp>
        <p:sp>
          <p:nvSpPr>
            <p:cNvPr id="157" name="object 157"/>
            <p:cNvSpPr/>
            <p:nvPr/>
          </p:nvSpPr>
          <p:spPr>
            <a:xfrm>
              <a:off x="4904892" y="4943259"/>
              <a:ext cx="255270" cy="24765"/>
            </a:xfrm>
            <a:custGeom>
              <a:avLst/>
              <a:gdLst/>
              <a:ahLst/>
              <a:cxnLst/>
              <a:rect l="l" t="t" r="r" b="b"/>
              <a:pathLst>
                <a:path w="255270" h="24764">
                  <a:moveTo>
                    <a:pt x="254850" y="0"/>
                  </a:moveTo>
                  <a:lnTo>
                    <a:pt x="0" y="0"/>
                  </a:lnTo>
                  <a:lnTo>
                    <a:pt x="0" y="24599"/>
                  </a:lnTo>
                  <a:lnTo>
                    <a:pt x="254850" y="24599"/>
                  </a:lnTo>
                  <a:lnTo>
                    <a:pt x="254850" y="0"/>
                  </a:lnTo>
                  <a:close/>
                </a:path>
              </a:pathLst>
            </a:custGeom>
            <a:solidFill>
              <a:srgbClr val="C6CACB"/>
            </a:solidFill>
          </p:spPr>
          <p:txBody>
            <a:bodyPr wrap="square" lIns="0" tIns="0" rIns="0" bIns="0" rtlCol="0"/>
            <a:lstStyle/>
            <a:p>
              <a:endParaRPr/>
            </a:p>
          </p:txBody>
        </p:sp>
        <p:sp>
          <p:nvSpPr>
            <p:cNvPr id="158" name="object 158"/>
            <p:cNvSpPr/>
            <p:nvPr/>
          </p:nvSpPr>
          <p:spPr>
            <a:xfrm>
              <a:off x="4904892" y="4943246"/>
              <a:ext cx="255270" cy="24765"/>
            </a:xfrm>
            <a:custGeom>
              <a:avLst/>
              <a:gdLst/>
              <a:ahLst/>
              <a:cxnLst/>
              <a:rect l="l" t="t" r="r" b="b"/>
              <a:pathLst>
                <a:path w="255270" h="24764">
                  <a:moveTo>
                    <a:pt x="4064" y="0"/>
                  </a:moveTo>
                  <a:lnTo>
                    <a:pt x="0" y="0"/>
                  </a:lnTo>
                  <a:lnTo>
                    <a:pt x="0" y="24599"/>
                  </a:lnTo>
                  <a:lnTo>
                    <a:pt x="4064" y="24599"/>
                  </a:lnTo>
                  <a:lnTo>
                    <a:pt x="4064" y="0"/>
                  </a:lnTo>
                  <a:close/>
                </a:path>
                <a:path w="255270" h="24764">
                  <a:moveTo>
                    <a:pt x="54229" y="0"/>
                  </a:moveTo>
                  <a:lnTo>
                    <a:pt x="50152" y="0"/>
                  </a:lnTo>
                  <a:lnTo>
                    <a:pt x="50152" y="24599"/>
                  </a:lnTo>
                  <a:lnTo>
                    <a:pt x="54229" y="24599"/>
                  </a:lnTo>
                  <a:lnTo>
                    <a:pt x="54229" y="0"/>
                  </a:lnTo>
                  <a:close/>
                </a:path>
                <a:path w="255270" h="24764">
                  <a:moveTo>
                    <a:pt x="104368" y="0"/>
                  </a:moveTo>
                  <a:lnTo>
                    <a:pt x="100291" y="0"/>
                  </a:lnTo>
                  <a:lnTo>
                    <a:pt x="100291" y="24599"/>
                  </a:lnTo>
                  <a:lnTo>
                    <a:pt x="104368" y="24599"/>
                  </a:lnTo>
                  <a:lnTo>
                    <a:pt x="104368" y="0"/>
                  </a:lnTo>
                  <a:close/>
                </a:path>
                <a:path w="255270" h="24764">
                  <a:moveTo>
                    <a:pt x="154520" y="0"/>
                  </a:moveTo>
                  <a:lnTo>
                    <a:pt x="150456" y="0"/>
                  </a:lnTo>
                  <a:lnTo>
                    <a:pt x="150456" y="24599"/>
                  </a:lnTo>
                  <a:lnTo>
                    <a:pt x="154520" y="24599"/>
                  </a:lnTo>
                  <a:lnTo>
                    <a:pt x="154520" y="0"/>
                  </a:lnTo>
                  <a:close/>
                </a:path>
                <a:path w="255270" h="24764">
                  <a:moveTo>
                    <a:pt x="204673" y="0"/>
                  </a:moveTo>
                  <a:lnTo>
                    <a:pt x="200609" y="0"/>
                  </a:lnTo>
                  <a:lnTo>
                    <a:pt x="200609" y="24599"/>
                  </a:lnTo>
                  <a:lnTo>
                    <a:pt x="204673" y="24599"/>
                  </a:lnTo>
                  <a:lnTo>
                    <a:pt x="204673" y="0"/>
                  </a:lnTo>
                  <a:close/>
                </a:path>
                <a:path w="255270" h="24764">
                  <a:moveTo>
                    <a:pt x="254825" y="0"/>
                  </a:moveTo>
                  <a:lnTo>
                    <a:pt x="250761" y="0"/>
                  </a:lnTo>
                  <a:lnTo>
                    <a:pt x="250761" y="24599"/>
                  </a:lnTo>
                  <a:lnTo>
                    <a:pt x="254825" y="24599"/>
                  </a:lnTo>
                  <a:lnTo>
                    <a:pt x="254825" y="0"/>
                  </a:lnTo>
                  <a:close/>
                </a:path>
              </a:pathLst>
            </a:custGeom>
            <a:solidFill>
              <a:srgbClr val="8F9293"/>
            </a:solidFill>
          </p:spPr>
          <p:txBody>
            <a:bodyPr wrap="square" lIns="0" tIns="0" rIns="0" bIns="0" rtlCol="0"/>
            <a:lstStyle/>
            <a:p>
              <a:endParaRPr/>
            </a:p>
          </p:txBody>
        </p:sp>
        <p:sp>
          <p:nvSpPr>
            <p:cNvPr id="159" name="object 159"/>
            <p:cNvSpPr/>
            <p:nvPr/>
          </p:nvSpPr>
          <p:spPr>
            <a:xfrm>
              <a:off x="4895418" y="4919116"/>
              <a:ext cx="283210" cy="8890"/>
            </a:xfrm>
            <a:custGeom>
              <a:avLst/>
              <a:gdLst/>
              <a:ahLst/>
              <a:cxnLst/>
              <a:rect l="l" t="t" r="r" b="b"/>
              <a:pathLst>
                <a:path w="283210" h="8889">
                  <a:moveTo>
                    <a:pt x="0" y="8445"/>
                  </a:moveTo>
                  <a:lnTo>
                    <a:pt x="282790" y="8445"/>
                  </a:lnTo>
                  <a:lnTo>
                    <a:pt x="282790" y="0"/>
                  </a:lnTo>
                  <a:lnTo>
                    <a:pt x="0" y="0"/>
                  </a:lnTo>
                  <a:lnTo>
                    <a:pt x="0" y="8445"/>
                  </a:lnTo>
                  <a:close/>
                </a:path>
              </a:pathLst>
            </a:custGeom>
            <a:solidFill>
              <a:srgbClr val="A5A592"/>
            </a:solidFill>
          </p:spPr>
          <p:txBody>
            <a:bodyPr wrap="square" lIns="0" tIns="0" rIns="0" bIns="0" rtlCol="0"/>
            <a:lstStyle/>
            <a:p>
              <a:endParaRPr/>
            </a:p>
          </p:txBody>
        </p:sp>
        <p:sp>
          <p:nvSpPr>
            <p:cNvPr id="160" name="object 160"/>
            <p:cNvSpPr/>
            <p:nvPr/>
          </p:nvSpPr>
          <p:spPr>
            <a:xfrm>
              <a:off x="4003166" y="4868202"/>
              <a:ext cx="892810" cy="151765"/>
            </a:xfrm>
            <a:custGeom>
              <a:avLst/>
              <a:gdLst/>
              <a:ahLst/>
              <a:cxnLst/>
              <a:rect l="l" t="t" r="r" b="b"/>
              <a:pathLst>
                <a:path w="892810" h="151764">
                  <a:moveTo>
                    <a:pt x="0" y="151637"/>
                  </a:moveTo>
                  <a:lnTo>
                    <a:pt x="892251" y="151637"/>
                  </a:lnTo>
                  <a:lnTo>
                    <a:pt x="892251" y="0"/>
                  </a:lnTo>
                  <a:lnTo>
                    <a:pt x="0" y="0"/>
                  </a:lnTo>
                  <a:lnTo>
                    <a:pt x="0" y="151637"/>
                  </a:lnTo>
                  <a:close/>
                </a:path>
              </a:pathLst>
            </a:custGeom>
            <a:solidFill>
              <a:srgbClr val="CFD1D0"/>
            </a:solidFill>
          </p:spPr>
          <p:txBody>
            <a:bodyPr wrap="square" lIns="0" tIns="0" rIns="0" bIns="0" rtlCol="0"/>
            <a:lstStyle/>
            <a:p>
              <a:endParaRPr/>
            </a:p>
          </p:txBody>
        </p:sp>
        <p:sp>
          <p:nvSpPr>
            <p:cNvPr id="161" name="object 161"/>
            <p:cNvSpPr/>
            <p:nvPr/>
          </p:nvSpPr>
          <p:spPr>
            <a:xfrm>
              <a:off x="3990175" y="4868202"/>
              <a:ext cx="905510" cy="151765"/>
            </a:xfrm>
            <a:custGeom>
              <a:avLst/>
              <a:gdLst/>
              <a:ahLst/>
              <a:cxnLst/>
              <a:rect l="l" t="t" r="r" b="b"/>
              <a:pathLst>
                <a:path w="905510" h="151764">
                  <a:moveTo>
                    <a:pt x="0" y="151637"/>
                  </a:moveTo>
                  <a:lnTo>
                    <a:pt x="905243" y="151637"/>
                  </a:lnTo>
                  <a:lnTo>
                    <a:pt x="905243" y="0"/>
                  </a:lnTo>
                  <a:lnTo>
                    <a:pt x="0" y="0"/>
                  </a:lnTo>
                  <a:lnTo>
                    <a:pt x="0" y="151637"/>
                  </a:lnTo>
                  <a:close/>
                </a:path>
              </a:pathLst>
            </a:custGeom>
            <a:ln w="6883">
              <a:solidFill>
                <a:srgbClr val="FFFFFF"/>
              </a:solidFill>
            </a:ln>
          </p:spPr>
          <p:txBody>
            <a:bodyPr wrap="square" lIns="0" tIns="0" rIns="0" bIns="0" rtlCol="0"/>
            <a:lstStyle/>
            <a:p>
              <a:endParaRPr/>
            </a:p>
          </p:txBody>
        </p:sp>
        <p:sp>
          <p:nvSpPr>
            <p:cNvPr id="162" name="object 162"/>
            <p:cNvSpPr/>
            <p:nvPr/>
          </p:nvSpPr>
          <p:spPr>
            <a:xfrm>
              <a:off x="4032034" y="4890909"/>
              <a:ext cx="821690" cy="93345"/>
            </a:xfrm>
            <a:custGeom>
              <a:avLst/>
              <a:gdLst/>
              <a:ahLst/>
              <a:cxnLst/>
              <a:rect l="l" t="t" r="r" b="b"/>
              <a:pathLst>
                <a:path w="821689" h="93345">
                  <a:moveTo>
                    <a:pt x="821537" y="73939"/>
                  </a:moveTo>
                  <a:lnTo>
                    <a:pt x="0" y="73939"/>
                  </a:lnTo>
                  <a:lnTo>
                    <a:pt x="0" y="93103"/>
                  </a:lnTo>
                  <a:lnTo>
                    <a:pt x="821537" y="93103"/>
                  </a:lnTo>
                  <a:lnTo>
                    <a:pt x="821537" y="73939"/>
                  </a:lnTo>
                  <a:close/>
                </a:path>
                <a:path w="821689" h="93345">
                  <a:moveTo>
                    <a:pt x="821537" y="36969"/>
                  </a:moveTo>
                  <a:lnTo>
                    <a:pt x="0" y="36969"/>
                  </a:lnTo>
                  <a:lnTo>
                    <a:pt x="0" y="56134"/>
                  </a:lnTo>
                  <a:lnTo>
                    <a:pt x="821537" y="56134"/>
                  </a:lnTo>
                  <a:lnTo>
                    <a:pt x="821537" y="36969"/>
                  </a:lnTo>
                  <a:close/>
                </a:path>
                <a:path w="821689" h="93345">
                  <a:moveTo>
                    <a:pt x="821537" y="0"/>
                  </a:moveTo>
                  <a:lnTo>
                    <a:pt x="0" y="0"/>
                  </a:lnTo>
                  <a:lnTo>
                    <a:pt x="0" y="19164"/>
                  </a:lnTo>
                  <a:lnTo>
                    <a:pt x="821537" y="19164"/>
                  </a:lnTo>
                  <a:lnTo>
                    <a:pt x="821537" y="0"/>
                  </a:lnTo>
                  <a:close/>
                </a:path>
              </a:pathLst>
            </a:custGeom>
            <a:solidFill>
              <a:srgbClr val="C6CACB"/>
            </a:solidFill>
          </p:spPr>
          <p:txBody>
            <a:bodyPr wrap="square" lIns="0" tIns="0" rIns="0" bIns="0" rtlCol="0"/>
            <a:lstStyle/>
            <a:p>
              <a:endParaRPr/>
            </a:p>
          </p:txBody>
        </p:sp>
        <p:sp>
          <p:nvSpPr>
            <p:cNvPr id="163" name="object 163"/>
            <p:cNvSpPr/>
            <p:nvPr/>
          </p:nvSpPr>
          <p:spPr>
            <a:xfrm>
              <a:off x="4003166" y="4857826"/>
              <a:ext cx="901700" cy="15240"/>
            </a:xfrm>
            <a:custGeom>
              <a:avLst/>
              <a:gdLst/>
              <a:ahLst/>
              <a:cxnLst/>
              <a:rect l="l" t="t" r="r" b="b"/>
              <a:pathLst>
                <a:path w="901700" h="15239">
                  <a:moveTo>
                    <a:pt x="0" y="14770"/>
                  </a:moveTo>
                  <a:lnTo>
                    <a:pt x="901484" y="14770"/>
                  </a:lnTo>
                  <a:lnTo>
                    <a:pt x="901484" y="0"/>
                  </a:lnTo>
                  <a:lnTo>
                    <a:pt x="0" y="0"/>
                  </a:lnTo>
                  <a:lnTo>
                    <a:pt x="0" y="14770"/>
                  </a:lnTo>
                  <a:close/>
                </a:path>
              </a:pathLst>
            </a:custGeom>
            <a:solidFill>
              <a:srgbClr val="A5A592"/>
            </a:solidFill>
          </p:spPr>
          <p:txBody>
            <a:bodyPr wrap="square" lIns="0" tIns="0" rIns="0" bIns="0" rtlCol="0"/>
            <a:lstStyle/>
            <a:p>
              <a:endParaRPr/>
            </a:p>
          </p:txBody>
        </p:sp>
        <p:sp>
          <p:nvSpPr>
            <p:cNvPr id="164" name="object 164"/>
            <p:cNvSpPr/>
            <p:nvPr/>
          </p:nvSpPr>
          <p:spPr>
            <a:xfrm>
              <a:off x="3616134" y="4702644"/>
              <a:ext cx="290195" cy="58419"/>
            </a:xfrm>
            <a:custGeom>
              <a:avLst/>
              <a:gdLst/>
              <a:ahLst/>
              <a:cxnLst/>
              <a:rect l="l" t="t" r="r" b="b"/>
              <a:pathLst>
                <a:path w="290195" h="58420">
                  <a:moveTo>
                    <a:pt x="290118" y="0"/>
                  </a:moveTo>
                  <a:lnTo>
                    <a:pt x="0" y="0"/>
                  </a:lnTo>
                  <a:lnTo>
                    <a:pt x="0" y="58343"/>
                  </a:lnTo>
                  <a:lnTo>
                    <a:pt x="290118" y="58343"/>
                  </a:lnTo>
                  <a:lnTo>
                    <a:pt x="290118" y="0"/>
                  </a:lnTo>
                  <a:close/>
                </a:path>
              </a:pathLst>
            </a:custGeom>
            <a:solidFill>
              <a:srgbClr val="CFD1D0"/>
            </a:solidFill>
          </p:spPr>
          <p:txBody>
            <a:bodyPr wrap="square" lIns="0" tIns="0" rIns="0" bIns="0" rtlCol="0"/>
            <a:lstStyle/>
            <a:p>
              <a:endParaRPr/>
            </a:p>
          </p:txBody>
        </p:sp>
        <p:sp>
          <p:nvSpPr>
            <p:cNvPr id="165" name="object 165"/>
            <p:cNvSpPr/>
            <p:nvPr/>
          </p:nvSpPr>
          <p:spPr>
            <a:xfrm>
              <a:off x="3616133" y="4702648"/>
              <a:ext cx="290195" cy="58419"/>
            </a:xfrm>
            <a:custGeom>
              <a:avLst/>
              <a:gdLst/>
              <a:ahLst/>
              <a:cxnLst/>
              <a:rect l="l" t="t" r="r" b="b"/>
              <a:pathLst>
                <a:path w="290195" h="58420">
                  <a:moveTo>
                    <a:pt x="0" y="58343"/>
                  </a:moveTo>
                  <a:lnTo>
                    <a:pt x="290118" y="58343"/>
                  </a:lnTo>
                  <a:lnTo>
                    <a:pt x="290118" y="0"/>
                  </a:lnTo>
                  <a:lnTo>
                    <a:pt x="0" y="0"/>
                  </a:lnTo>
                  <a:lnTo>
                    <a:pt x="0" y="58343"/>
                  </a:lnTo>
                  <a:close/>
                </a:path>
              </a:pathLst>
            </a:custGeom>
            <a:ln w="6883">
              <a:solidFill>
                <a:srgbClr val="FFFFFF"/>
              </a:solidFill>
            </a:ln>
          </p:spPr>
          <p:txBody>
            <a:bodyPr wrap="square" lIns="0" tIns="0" rIns="0" bIns="0" rtlCol="0"/>
            <a:lstStyle/>
            <a:p>
              <a:endParaRPr/>
            </a:p>
          </p:txBody>
        </p:sp>
        <p:sp>
          <p:nvSpPr>
            <p:cNvPr id="166" name="object 166"/>
            <p:cNvSpPr/>
            <p:nvPr/>
          </p:nvSpPr>
          <p:spPr>
            <a:xfrm>
              <a:off x="3509365" y="4760988"/>
              <a:ext cx="494030" cy="259079"/>
            </a:xfrm>
            <a:custGeom>
              <a:avLst/>
              <a:gdLst/>
              <a:ahLst/>
              <a:cxnLst/>
              <a:rect l="l" t="t" r="r" b="b"/>
              <a:pathLst>
                <a:path w="494029" h="259079">
                  <a:moveTo>
                    <a:pt x="493801" y="0"/>
                  </a:moveTo>
                  <a:lnTo>
                    <a:pt x="0" y="0"/>
                  </a:lnTo>
                  <a:lnTo>
                    <a:pt x="0" y="258851"/>
                  </a:lnTo>
                  <a:lnTo>
                    <a:pt x="493801" y="258851"/>
                  </a:lnTo>
                  <a:lnTo>
                    <a:pt x="493801" y="0"/>
                  </a:lnTo>
                  <a:close/>
                </a:path>
              </a:pathLst>
            </a:custGeom>
            <a:solidFill>
              <a:srgbClr val="001E1A"/>
            </a:solidFill>
          </p:spPr>
          <p:txBody>
            <a:bodyPr wrap="square" lIns="0" tIns="0" rIns="0" bIns="0" rtlCol="0"/>
            <a:lstStyle/>
            <a:p>
              <a:endParaRPr/>
            </a:p>
          </p:txBody>
        </p:sp>
        <p:sp>
          <p:nvSpPr>
            <p:cNvPr id="167" name="object 167"/>
            <p:cNvSpPr/>
            <p:nvPr/>
          </p:nvSpPr>
          <p:spPr>
            <a:xfrm>
              <a:off x="3559835" y="4842852"/>
              <a:ext cx="391160" cy="160655"/>
            </a:xfrm>
            <a:custGeom>
              <a:avLst/>
              <a:gdLst/>
              <a:ahLst/>
              <a:cxnLst/>
              <a:rect l="l" t="t" r="r" b="b"/>
              <a:pathLst>
                <a:path w="391160" h="160654">
                  <a:moveTo>
                    <a:pt x="69011" y="119964"/>
                  </a:moveTo>
                  <a:lnTo>
                    <a:pt x="0" y="119964"/>
                  </a:lnTo>
                  <a:lnTo>
                    <a:pt x="0" y="160566"/>
                  </a:lnTo>
                  <a:lnTo>
                    <a:pt x="69011" y="160566"/>
                  </a:lnTo>
                  <a:lnTo>
                    <a:pt x="69011" y="119964"/>
                  </a:lnTo>
                  <a:close/>
                </a:path>
                <a:path w="391160" h="160654">
                  <a:moveTo>
                    <a:pt x="69011" y="59982"/>
                  </a:moveTo>
                  <a:lnTo>
                    <a:pt x="0" y="59982"/>
                  </a:lnTo>
                  <a:lnTo>
                    <a:pt x="0" y="100584"/>
                  </a:lnTo>
                  <a:lnTo>
                    <a:pt x="69011" y="100584"/>
                  </a:lnTo>
                  <a:lnTo>
                    <a:pt x="69011" y="59982"/>
                  </a:lnTo>
                  <a:close/>
                </a:path>
                <a:path w="391160" h="160654">
                  <a:moveTo>
                    <a:pt x="69011" y="0"/>
                  </a:moveTo>
                  <a:lnTo>
                    <a:pt x="0" y="0"/>
                  </a:lnTo>
                  <a:lnTo>
                    <a:pt x="0" y="40601"/>
                  </a:lnTo>
                  <a:lnTo>
                    <a:pt x="69011" y="40601"/>
                  </a:lnTo>
                  <a:lnTo>
                    <a:pt x="69011" y="0"/>
                  </a:lnTo>
                  <a:close/>
                </a:path>
                <a:path w="391160" h="160654">
                  <a:moveTo>
                    <a:pt x="176199" y="119964"/>
                  </a:moveTo>
                  <a:lnTo>
                    <a:pt x="107188" y="119964"/>
                  </a:lnTo>
                  <a:lnTo>
                    <a:pt x="107188" y="160566"/>
                  </a:lnTo>
                  <a:lnTo>
                    <a:pt x="176199" y="160566"/>
                  </a:lnTo>
                  <a:lnTo>
                    <a:pt x="176199" y="119964"/>
                  </a:lnTo>
                  <a:close/>
                </a:path>
                <a:path w="391160" h="160654">
                  <a:moveTo>
                    <a:pt x="176199" y="59982"/>
                  </a:moveTo>
                  <a:lnTo>
                    <a:pt x="107188" y="59982"/>
                  </a:lnTo>
                  <a:lnTo>
                    <a:pt x="107188" y="100584"/>
                  </a:lnTo>
                  <a:lnTo>
                    <a:pt x="176199" y="100584"/>
                  </a:lnTo>
                  <a:lnTo>
                    <a:pt x="176199" y="59982"/>
                  </a:lnTo>
                  <a:close/>
                </a:path>
                <a:path w="391160" h="160654">
                  <a:moveTo>
                    <a:pt x="176199" y="0"/>
                  </a:moveTo>
                  <a:lnTo>
                    <a:pt x="107188" y="0"/>
                  </a:lnTo>
                  <a:lnTo>
                    <a:pt x="107188" y="40601"/>
                  </a:lnTo>
                  <a:lnTo>
                    <a:pt x="176199" y="40601"/>
                  </a:lnTo>
                  <a:lnTo>
                    <a:pt x="176199" y="0"/>
                  </a:lnTo>
                  <a:close/>
                </a:path>
                <a:path w="391160" h="160654">
                  <a:moveTo>
                    <a:pt x="283413" y="119964"/>
                  </a:moveTo>
                  <a:lnTo>
                    <a:pt x="214401" y="119964"/>
                  </a:lnTo>
                  <a:lnTo>
                    <a:pt x="214401" y="160566"/>
                  </a:lnTo>
                  <a:lnTo>
                    <a:pt x="283413" y="160566"/>
                  </a:lnTo>
                  <a:lnTo>
                    <a:pt x="283413" y="119964"/>
                  </a:lnTo>
                  <a:close/>
                </a:path>
                <a:path w="391160" h="160654">
                  <a:moveTo>
                    <a:pt x="283413" y="59982"/>
                  </a:moveTo>
                  <a:lnTo>
                    <a:pt x="214401" y="59982"/>
                  </a:lnTo>
                  <a:lnTo>
                    <a:pt x="214401" y="100584"/>
                  </a:lnTo>
                  <a:lnTo>
                    <a:pt x="283413" y="100584"/>
                  </a:lnTo>
                  <a:lnTo>
                    <a:pt x="283413" y="59982"/>
                  </a:lnTo>
                  <a:close/>
                </a:path>
                <a:path w="391160" h="160654">
                  <a:moveTo>
                    <a:pt x="283413" y="0"/>
                  </a:moveTo>
                  <a:lnTo>
                    <a:pt x="214401" y="0"/>
                  </a:lnTo>
                  <a:lnTo>
                    <a:pt x="214401" y="40601"/>
                  </a:lnTo>
                  <a:lnTo>
                    <a:pt x="283413" y="40601"/>
                  </a:lnTo>
                  <a:lnTo>
                    <a:pt x="283413" y="0"/>
                  </a:lnTo>
                  <a:close/>
                </a:path>
                <a:path w="391160" h="160654">
                  <a:moveTo>
                    <a:pt x="390613" y="119964"/>
                  </a:moveTo>
                  <a:lnTo>
                    <a:pt x="321602" y="119964"/>
                  </a:lnTo>
                  <a:lnTo>
                    <a:pt x="321602" y="160566"/>
                  </a:lnTo>
                  <a:lnTo>
                    <a:pt x="390613" y="160566"/>
                  </a:lnTo>
                  <a:lnTo>
                    <a:pt x="390613" y="119964"/>
                  </a:lnTo>
                  <a:close/>
                </a:path>
                <a:path w="391160" h="160654">
                  <a:moveTo>
                    <a:pt x="390613" y="59982"/>
                  </a:moveTo>
                  <a:lnTo>
                    <a:pt x="321602" y="59982"/>
                  </a:lnTo>
                  <a:lnTo>
                    <a:pt x="321602" y="100584"/>
                  </a:lnTo>
                  <a:lnTo>
                    <a:pt x="390613" y="100584"/>
                  </a:lnTo>
                  <a:lnTo>
                    <a:pt x="390613" y="59982"/>
                  </a:lnTo>
                  <a:close/>
                </a:path>
                <a:path w="391160" h="160654">
                  <a:moveTo>
                    <a:pt x="390613" y="0"/>
                  </a:moveTo>
                  <a:lnTo>
                    <a:pt x="321602" y="0"/>
                  </a:lnTo>
                  <a:lnTo>
                    <a:pt x="321602" y="40601"/>
                  </a:lnTo>
                  <a:lnTo>
                    <a:pt x="390613" y="40601"/>
                  </a:lnTo>
                  <a:lnTo>
                    <a:pt x="390613" y="0"/>
                  </a:lnTo>
                  <a:close/>
                </a:path>
              </a:pathLst>
            </a:custGeom>
            <a:solidFill>
              <a:srgbClr val="C6CACB"/>
            </a:solidFill>
          </p:spPr>
          <p:txBody>
            <a:bodyPr wrap="square" lIns="0" tIns="0" rIns="0" bIns="0" rtlCol="0"/>
            <a:lstStyle/>
            <a:p>
              <a:endParaRPr/>
            </a:p>
          </p:txBody>
        </p:sp>
        <p:sp>
          <p:nvSpPr>
            <p:cNvPr id="168" name="object 168"/>
            <p:cNvSpPr/>
            <p:nvPr/>
          </p:nvSpPr>
          <p:spPr>
            <a:xfrm>
              <a:off x="3500386" y="4692776"/>
              <a:ext cx="513080" cy="74930"/>
            </a:xfrm>
            <a:custGeom>
              <a:avLst/>
              <a:gdLst/>
              <a:ahLst/>
              <a:cxnLst/>
              <a:rect l="l" t="t" r="r" b="b"/>
              <a:pathLst>
                <a:path w="513079" h="74929">
                  <a:moveTo>
                    <a:pt x="417271" y="0"/>
                  </a:moveTo>
                  <a:lnTo>
                    <a:pt x="105308" y="0"/>
                  </a:lnTo>
                  <a:lnTo>
                    <a:pt x="105308" y="9880"/>
                  </a:lnTo>
                  <a:lnTo>
                    <a:pt x="417271" y="9880"/>
                  </a:lnTo>
                  <a:lnTo>
                    <a:pt x="417271" y="0"/>
                  </a:lnTo>
                  <a:close/>
                </a:path>
                <a:path w="513079" h="74929">
                  <a:moveTo>
                    <a:pt x="512889" y="61544"/>
                  </a:moveTo>
                  <a:lnTo>
                    <a:pt x="0" y="61544"/>
                  </a:lnTo>
                  <a:lnTo>
                    <a:pt x="0" y="74891"/>
                  </a:lnTo>
                  <a:lnTo>
                    <a:pt x="512889" y="74891"/>
                  </a:lnTo>
                  <a:lnTo>
                    <a:pt x="512889" y="61544"/>
                  </a:lnTo>
                  <a:close/>
                </a:path>
              </a:pathLst>
            </a:custGeom>
            <a:solidFill>
              <a:srgbClr val="505457"/>
            </a:solidFill>
          </p:spPr>
          <p:txBody>
            <a:bodyPr wrap="square" lIns="0" tIns="0" rIns="0" bIns="0" rtlCol="0"/>
            <a:lstStyle/>
            <a:p>
              <a:endParaRPr/>
            </a:p>
          </p:txBody>
        </p:sp>
        <p:pic>
          <p:nvPicPr>
            <p:cNvPr id="169" name="object 169"/>
            <p:cNvPicPr/>
            <p:nvPr/>
          </p:nvPicPr>
          <p:blipFill>
            <a:blip r:embed="rId12" cstate="print"/>
            <a:stretch>
              <a:fillRect/>
            </a:stretch>
          </p:blipFill>
          <p:spPr>
            <a:xfrm>
              <a:off x="0" y="4699927"/>
              <a:ext cx="425335" cy="197548"/>
            </a:xfrm>
            <a:prstGeom prst="rect">
              <a:avLst/>
            </a:prstGeom>
          </p:spPr>
        </p:pic>
        <p:pic>
          <p:nvPicPr>
            <p:cNvPr id="170" name="object 170"/>
            <p:cNvPicPr/>
            <p:nvPr/>
          </p:nvPicPr>
          <p:blipFill>
            <a:blip r:embed="rId13" cstate="print"/>
            <a:stretch>
              <a:fillRect/>
            </a:stretch>
          </p:blipFill>
          <p:spPr>
            <a:xfrm>
              <a:off x="0" y="4494100"/>
              <a:ext cx="5759996" cy="726166"/>
            </a:xfrm>
            <a:prstGeom prst="rect">
              <a:avLst/>
            </a:prstGeom>
          </p:spPr>
        </p:pic>
        <p:sp>
          <p:nvSpPr>
            <p:cNvPr id="171" name="object 171"/>
            <p:cNvSpPr/>
            <p:nvPr/>
          </p:nvSpPr>
          <p:spPr>
            <a:xfrm>
              <a:off x="0" y="3030232"/>
              <a:ext cx="5553075" cy="772795"/>
            </a:xfrm>
            <a:custGeom>
              <a:avLst/>
              <a:gdLst/>
              <a:ahLst/>
              <a:cxnLst/>
              <a:rect l="l" t="t" r="r" b="b"/>
              <a:pathLst>
                <a:path w="5553075" h="772795">
                  <a:moveTo>
                    <a:pt x="48031" y="693305"/>
                  </a:moveTo>
                  <a:lnTo>
                    <a:pt x="44780" y="686600"/>
                  </a:lnTo>
                  <a:lnTo>
                    <a:pt x="37807" y="681596"/>
                  </a:lnTo>
                  <a:lnTo>
                    <a:pt x="32854" y="678040"/>
                  </a:lnTo>
                  <a:lnTo>
                    <a:pt x="27774" y="677278"/>
                  </a:lnTo>
                  <a:lnTo>
                    <a:pt x="21018" y="680008"/>
                  </a:lnTo>
                  <a:lnTo>
                    <a:pt x="15773" y="681799"/>
                  </a:lnTo>
                  <a:lnTo>
                    <a:pt x="14732" y="678954"/>
                  </a:lnTo>
                  <a:lnTo>
                    <a:pt x="11836" y="680554"/>
                  </a:lnTo>
                  <a:lnTo>
                    <a:pt x="7950" y="682447"/>
                  </a:lnTo>
                  <a:lnTo>
                    <a:pt x="3708" y="679653"/>
                  </a:lnTo>
                  <a:lnTo>
                    <a:pt x="0" y="675144"/>
                  </a:lnTo>
                  <a:lnTo>
                    <a:pt x="0" y="683171"/>
                  </a:lnTo>
                  <a:lnTo>
                    <a:pt x="2197" y="685368"/>
                  </a:lnTo>
                  <a:lnTo>
                    <a:pt x="2540" y="687336"/>
                  </a:lnTo>
                  <a:lnTo>
                    <a:pt x="0" y="689927"/>
                  </a:lnTo>
                  <a:lnTo>
                    <a:pt x="0" y="693572"/>
                  </a:lnTo>
                  <a:lnTo>
                    <a:pt x="7137" y="693356"/>
                  </a:lnTo>
                  <a:lnTo>
                    <a:pt x="10756" y="689457"/>
                  </a:lnTo>
                  <a:lnTo>
                    <a:pt x="14160" y="685977"/>
                  </a:lnTo>
                  <a:lnTo>
                    <a:pt x="17081" y="685431"/>
                  </a:lnTo>
                  <a:lnTo>
                    <a:pt x="25742" y="682447"/>
                  </a:lnTo>
                  <a:lnTo>
                    <a:pt x="27622" y="681799"/>
                  </a:lnTo>
                  <a:lnTo>
                    <a:pt x="28206" y="681596"/>
                  </a:lnTo>
                  <a:lnTo>
                    <a:pt x="32550" y="684657"/>
                  </a:lnTo>
                  <a:lnTo>
                    <a:pt x="44577" y="689140"/>
                  </a:lnTo>
                  <a:lnTo>
                    <a:pt x="48031" y="693305"/>
                  </a:lnTo>
                  <a:close/>
                </a:path>
                <a:path w="5553075" h="772795">
                  <a:moveTo>
                    <a:pt x="219443" y="483666"/>
                  </a:moveTo>
                  <a:lnTo>
                    <a:pt x="217398" y="478777"/>
                  </a:lnTo>
                  <a:lnTo>
                    <a:pt x="215239" y="478193"/>
                  </a:lnTo>
                  <a:lnTo>
                    <a:pt x="207492" y="480834"/>
                  </a:lnTo>
                  <a:lnTo>
                    <a:pt x="204241" y="482663"/>
                  </a:lnTo>
                  <a:lnTo>
                    <a:pt x="197116" y="482663"/>
                  </a:lnTo>
                  <a:lnTo>
                    <a:pt x="195592" y="480225"/>
                  </a:lnTo>
                  <a:lnTo>
                    <a:pt x="192125" y="470852"/>
                  </a:lnTo>
                  <a:lnTo>
                    <a:pt x="194919" y="466775"/>
                  </a:lnTo>
                  <a:lnTo>
                    <a:pt x="181635" y="469074"/>
                  </a:lnTo>
                  <a:lnTo>
                    <a:pt x="172783" y="470966"/>
                  </a:lnTo>
                  <a:lnTo>
                    <a:pt x="166573" y="472909"/>
                  </a:lnTo>
                  <a:lnTo>
                    <a:pt x="163703" y="474421"/>
                  </a:lnTo>
                  <a:lnTo>
                    <a:pt x="164833" y="475030"/>
                  </a:lnTo>
                  <a:lnTo>
                    <a:pt x="167779" y="475030"/>
                  </a:lnTo>
                  <a:lnTo>
                    <a:pt x="175526" y="472833"/>
                  </a:lnTo>
                  <a:lnTo>
                    <a:pt x="186156" y="472744"/>
                  </a:lnTo>
                  <a:lnTo>
                    <a:pt x="186626" y="474218"/>
                  </a:lnTo>
                  <a:lnTo>
                    <a:pt x="192328" y="485419"/>
                  </a:lnTo>
                  <a:lnTo>
                    <a:pt x="194716" y="483425"/>
                  </a:lnTo>
                  <a:lnTo>
                    <a:pt x="190550" y="487603"/>
                  </a:lnTo>
                  <a:lnTo>
                    <a:pt x="188531" y="487730"/>
                  </a:lnTo>
                  <a:lnTo>
                    <a:pt x="184683" y="488848"/>
                  </a:lnTo>
                  <a:lnTo>
                    <a:pt x="187185" y="491172"/>
                  </a:lnTo>
                  <a:lnTo>
                    <a:pt x="189522" y="488835"/>
                  </a:lnTo>
                  <a:lnTo>
                    <a:pt x="191922" y="488569"/>
                  </a:lnTo>
                  <a:lnTo>
                    <a:pt x="200685" y="489585"/>
                  </a:lnTo>
                  <a:lnTo>
                    <a:pt x="201701" y="486943"/>
                  </a:lnTo>
                  <a:lnTo>
                    <a:pt x="207200" y="483895"/>
                  </a:lnTo>
                  <a:lnTo>
                    <a:pt x="212636" y="481876"/>
                  </a:lnTo>
                  <a:lnTo>
                    <a:pt x="213702" y="482549"/>
                  </a:lnTo>
                  <a:lnTo>
                    <a:pt x="215557" y="483958"/>
                  </a:lnTo>
                  <a:lnTo>
                    <a:pt x="213842" y="495414"/>
                  </a:lnTo>
                  <a:lnTo>
                    <a:pt x="216281" y="495414"/>
                  </a:lnTo>
                  <a:lnTo>
                    <a:pt x="216865" y="493356"/>
                  </a:lnTo>
                  <a:lnTo>
                    <a:pt x="218503" y="489902"/>
                  </a:lnTo>
                  <a:lnTo>
                    <a:pt x="219443" y="483666"/>
                  </a:lnTo>
                  <a:close/>
                </a:path>
                <a:path w="5553075" h="772795">
                  <a:moveTo>
                    <a:pt x="248183" y="697039"/>
                  </a:moveTo>
                  <a:lnTo>
                    <a:pt x="245211" y="698690"/>
                  </a:lnTo>
                  <a:lnTo>
                    <a:pt x="242900" y="698195"/>
                  </a:lnTo>
                  <a:lnTo>
                    <a:pt x="238810" y="697306"/>
                  </a:lnTo>
                  <a:lnTo>
                    <a:pt x="237896" y="696912"/>
                  </a:lnTo>
                  <a:lnTo>
                    <a:pt x="234988" y="695655"/>
                  </a:lnTo>
                  <a:lnTo>
                    <a:pt x="233565" y="695718"/>
                  </a:lnTo>
                  <a:lnTo>
                    <a:pt x="230212" y="696912"/>
                  </a:lnTo>
                  <a:lnTo>
                    <a:pt x="229577" y="696912"/>
                  </a:lnTo>
                  <a:lnTo>
                    <a:pt x="225577" y="696226"/>
                  </a:lnTo>
                  <a:lnTo>
                    <a:pt x="223608" y="698195"/>
                  </a:lnTo>
                  <a:lnTo>
                    <a:pt x="220738" y="698106"/>
                  </a:lnTo>
                  <a:lnTo>
                    <a:pt x="217170" y="697306"/>
                  </a:lnTo>
                  <a:lnTo>
                    <a:pt x="215125" y="696036"/>
                  </a:lnTo>
                  <a:lnTo>
                    <a:pt x="212674" y="699300"/>
                  </a:lnTo>
                  <a:lnTo>
                    <a:pt x="209550" y="699528"/>
                  </a:lnTo>
                  <a:lnTo>
                    <a:pt x="211302" y="700278"/>
                  </a:lnTo>
                  <a:lnTo>
                    <a:pt x="214287" y="700659"/>
                  </a:lnTo>
                  <a:lnTo>
                    <a:pt x="217170" y="699973"/>
                  </a:lnTo>
                  <a:lnTo>
                    <a:pt x="220611" y="700671"/>
                  </a:lnTo>
                  <a:lnTo>
                    <a:pt x="214998" y="702576"/>
                  </a:lnTo>
                  <a:lnTo>
                    <a:pt x="205930" y="713346"/>
                  </a:lnTo>
                  <a:lnTo>
                    <a:pt x="202399" y="715581"/>
                  </a:lnTo>
                  <a:lnTo>
                    <a:pt x="207149" y="715721"/>
                  </a:lnTo>
                  <a:lnTo>
                    <a:pt x="217551" y="709091"/>
                  </a:lnTo>
                  <a:lnTo>
                    <a:pt x="222097" y="707313"/>
                  </a:lnTo>
                  <a:lnTo>
                    <a:pt x="226669" y="705192"/>
                  </a:lnTo>
                  <a:lnTo>
                    <a:pt x="232956" y="706196"/>
                  </a:lnTo>
                  <a:lnTo>
                    <a:pt x="235724" y="705192"/>
                  </a:lnTo>
                  <a:lnTo>
                    <a:pt x="238074" y="704342"/>
                  </a:lnTo>
                  <a:lnTo>
                    <a:pt x="239141" y="704951"/>
                  </a:lnTo>
                  <a:lnTo>
                    <a:pt x="244525" y="704532"/>
                  </a:lnTo>
                  <a:lnTo>
                    <a:pt x="244652" y="704342"/>
                  </a:lnTo>
                  <a:lnTo>
                    <a:pt x="246494" y="701649"/>
                  </a:lnTo>
                  <a:lnTo>
                    <a:pt x="246761" y="701255"/>
                  </a:lnTo>
                  <a:lnTo>
                    <a:pt x="245173" y="701649"/>
                  </a:lnTo>
                  <a:lnTo>
                    <a:pt x="240068" y="700125"/>
                  </a:lnTo>
                  <a:lnTo>
                    <a:pt x="244729" y="700544"/>
                  </a:lnTo>
                  <a:lnTo>
                    <a:pt x="245135" y="700125"/>
                  </a:lnTo>
                  <a:lnTo>
                    <a:pt x="245287" y="699973"/>
                  </a:lnTo>
                  <a:lnTo>
                    <a:pt x="246557" y="698690"/>
                  </a:lnTo>
                  <a:lnTo>
                    <a:pt x="248183" y="697039"/>
                  </a:lnTo>
                  <a:close/>
                </a:path>
                <a:path w="5553075" h="772795">
                  <a:moveTo>
                    <a:pt x="875042" y="746975"/>
                  </a:moveTo>
                  <a:lnTo>
                    <a:pt x="870800" y="747255"/>
                  </a:lnTo>
                  <a:lnTo>
                    <a:pt x="856424" y="749515"/>
                  </a:lnTo>
                  <a:lnTo>
                    <a:pt x="842314" y="752894"/>
                  </a:lnTo>
                  <a:lnTo>
                    <a:pt x="834986" y="762635"/>
                  </a:lnTo>
                  <a:lnTo>
                    <a:pt x="831596" y="763473"/>
                  </a:lnTo>
                  <a:lnTo>
                    <a:pt x="823417" y="762482"/>
                  </a:lnTo>
                  <a:lnTo>
                    <a:pt x="809320" y="761365"/>
                  </a:lnTo>
                  <a:lnTo>
                    <a:pt x="795782" y="769112"/>
                  </a:lnTo>
                  <a:lnTo>
                    <a:pt x="795782" y="772071"/>
                  </a:lnTo>
                  <a:lnTo>
                    <a:pt x="809459" y="767562"/>
                  </a:lnTo>
                  <a:lnTo>
                    <a:pt x="819048" y="767003"/>
                  </a:lnTo>
                  <a:lnTo>
                    <a:pt x="826528" y="768553"/>
                  </a:lnTo>
                  <a:lnTo>
                    <a:pt x="829627" y="771093"/>
                  </a:lnTo>
                  <a:lnTo>
                    <a:pt x="832586" y="772782"/>
                  </a:lnTo>
                  <a:lnTo>
                    <a:pt x="837666" y="772502"/>
                  </a:lnTo>
                  <a:lnTo>
                    <a:pt x="844854" y="767422"/>
                  </a:lnTo>
                  <a:lnTo>
                    <a:pt x="845159" y="767003"/>
                  </a:lnTo>
                  <a:lnTo>
                    <a:pt x="846264" y="765441"/>
                  </a:lnTo>
                  <a:lnTo>
                    <a:pt x="842606" y="765035"/>
                  </a:lnTo>
                  <a:lnTo>
                    <a:pt x="843851" y="763473"/>
                  </a:lnTo>
                  <a:lnTo>
                    <a:pt x="849363" y="756564"/>
                  </a:lnTo>
                  <a:lnTo>
                    <a:pt x="866724" y="752055"/>
                  </a:lnTo>
                  <a:lnTo>
                    <a:pt x="875042" y="746975"/>
                  </a:lnTo>
                  <a:close/>
                </a:path>
                <a:path w="5553075" h="772795">
                  <a:moveTo>
                    <a:pt x="1097343" y="753122"/>
                  </a:moveTo>
                  <a:lnTo>
                    <a:pt x="1093558" y="751116"/>
                  </a:lnTo>
                  <a:lnTo>
                    <a:pt x="1090650" y="749566"/>
                  </a:lnTo>
                  <a:lnTo>
                    <a:pt x="1083132" y="746772"/>
                  </a:lnTo>
                  <a:lnTo>
                    <a:pt x="1077480" y="745439"/>
                  </a:lnTo>
                  <a:lnTo>
                    <a:pt x="1075740" y="745032"/>
                  </a:lnTo>
                  <a:lnTo>
                    <a:pt x="1069403" y="744664"/>
                  </a:lnTo>
                  <a:lnTo>
                    <a:pt x="1065314" y="744982"/>
                  </a:lnTo>
                  <a:lnTo>
                    <a:pt x="1062050" y="745439"/>
                  </a:lnTo>
                  <a:lnTo>
                    <a:pt x="1058392" y="744296"/>
                  </a:lnTo>
                  <a:lnTo>
                    <a:pt x="1058887" y="742403"/>
                  </a:lnTo>
                  <a:lnTo>
                    <a:pt x="1059649" y="739432"/>
                  </a:lnTo>
                  <a:lnTo>
                    <a:pt x="1061491" y="733844"/>
                  </a:lnTo>
                  <a:lnTo>
                    <a:pt x="1055751" y="731164"/>
                  </a:lnTo>
                  <a:lnTo>
                    <a:pt x="1053566" y="733145"/>
                  </a:lnTo>
                  <a:lnTo>
                    <a:pt x="1054023" y="738949"/>
                  </a:lnTo>
                  <a:lnTo>
                    <a:pt x="1054227" y="740765"/>
                  </a:lnTo>
                  <a:lnTo>
                    <a:pt x="1054290" y="742403"/>
                  </a:lnTo>
                  <a:lnTo>
                    <a:pt x="1052512" y="741324"/>
                  </a:lnTo>
                  <a:lnTo>
                    <a:pt x="1050582" y="739825"/>
                  </a:lnTo>
                  <a:lnTo>
                    <a:pt x="1048385" y="737768"/>
                  </a:lnTo>
                  <a:lnTo>
                    <a:pt x="1040269" y="732028"/>
                  </a:lnTo>
                  <a:lnTo>
                    <a:pt x="1031252" y="727671"/>
                  </a:lnTo>
                  <a:lnTo>
                    <a:pt x="1023924" y="724916"/>
                  </a:lnTo>
                  <a:lnTo>
                    <a:pt x="1020902" y="723950"/>
                  </a:lnTo>
                  <a:lnTo>
                    <a:pt x="1025893" y="727100"/>
                  </a:lnTo>
                  <a:lnTo>
                    <a:pt x="1032954" y="732574"/>
                  </a:lnTo>
                  <a:lnTo>
                    <a:pt x="1039977" y="738949"/>
                  </a:lnTo>
                  <a:lnTo>
                    <a:pt x="1044892" y="744804"/>
                  </a:lnTo>
                  <a:lnTo>
                    <a:pt x="1046962" y="748182"/>
                  </a:lnTo>
                  <a:lnTo>
                    <a:pt x="1048778" y="750633"/>
                  </a:lnTo>
                  <a:lnTo>
                    <a:pt x="1051140" y="752094"/>
                  </a:lnTo>
                  <a:lnTo>
                    <a:pt x="1050150" y="753186"/>
                  </a:lnTo>
                  <a:lnTo>
                    <a:pt x="1049261" y="753567"/>
                  </a:lnTo>
                  <a:lnTo>
                    <a:pt x="1048677" y="753783"/>
                  </a:lnTo>
                  <a:lnTo>
                    <a:pt x="1050391" y="757478"/>
                  </a:lnTo>
                  <a:lnTo>
                    <a:pt x="1054963" y="758964"/>
                  </a:lnTo>
                  <a:lnTo>
                    <a:pt x="1059751" y="757199"/>
                  </a:lnTo>
                  <a:lnTo>
                    <a:pt x="1058799" y="755789"/>
                  </a:lnTo>
                  <a:lnTo>
                    <a:pt x="1058125" y="753567"/>
                  </a:lnTo>
                  <a:lnTo>
                    <a:pt x="1060411" y="753440"/>
                  </a:lnTo>
                  <a:lnTo>
                    <a:pt x="1063142" y="752894"/>
                  </a:lnTo>
                  <a:lnTo>
                    <a:pt x="1066507" y="751890"/>
                  </a:lnTo>
                  <a:lnTo>
                    <a:pt x="1074648" y="751116"/>
                  </a:lnTo>
                  <a:lnTo>
                    <a:pt x="1084884" y="751649"/>
                  </a:lnTo>
                  <a:lnTo>
                    <a:pt x="1093635" y="752614"/>
                  </a:lnTo>
                  <a:lnTo>
                    <a:pt x="1097343" y="753122"/>
                  </a:lnTo>
                  <a:close/>
                </a:path>
                <a:path w="5553075" h="772795">
                  <a:moveTo>
                    <a:pt x="4707128" y="696620"/>
                  </a:moveTo>
                  <a:lnTo>
                    <a:pt x="4691545" y="689864"/>
                  </a:lnTo>
                  <a:lnTo>
                    <a:pt x="4686033" y="687044"/>
                  </a:lnTo>
                  <a:lnTo>
                    <a:pt x="4685512" y="686777"/>
                  </a:lnTo>
                  <a:lnTo>
                    <a:pt x="4678261" y="683501"/>
                  </a:lnTo>
                  <a:lnTo>
                    <a:pt x="4678464" y="682536"/>
                  </a:lnTo>
                  <a:lnTo>
                    <a:pt x="4678527" y="681240"/>
                  </a:lnTo>
                  <a:lnTo>
                    <a:pt x="4676470" y="679970"/>
                  </a:lnTo>
                  <a:lnTo>
                    <a:pt x="4674463" y="680758"/>
                  </a:lnTo>
                  <a:lnTo>
                    <a:pt x="4673117" y="681228"/>
                  </a:lnTo>
                  <a:lnTo>
                    <a:pt x="4671796" y="680669"/>
                  </a:lnTo>
                  <a:lnTo>
                    <a:pt x="4652442" y="673049"/>
                  </a:lnTo>
                  <a:lnTo>
                    <a:pt x="4643539" y="669251"/>
                  </a:lnTo>
                  <a:lnTo>
                    <a:pt x="4638345" y="666178"/>
                  </a:lnTo>
                  <a:lnTo>
                    <a:pt x="4641596" y="672846"/>
                  </a:lnTo>
                  <a:lnTo>
                    <a:pt x="4666450" y="680529"/>
                  </a:lnTo>
                  <a:lnTo>
                    <a:pt x="4665142" y="684961"/>
                  </a:lnTo>
                  <a:lnTo>
                    <a:pt x="4664126" y="686866"/>
                  </a:lnTo>
                  <a:lnTo>
                    <a:pt x="4666767" y="689254"/>
                  </a:lnTo>
                  <a:lnTo>
                    <a:pt x="4673155" y="689267"/>
                  </a:lnTo>
                  <a:lnTo>
                    <a:pt x="4674832" y="687044"/>
                  </a:lnTo>
                  <a:lnTo>
                    <a:pt x="4677461" y="687501"/>
                  </a:lnTo>
                  <a:lnTo>
                    <a:pt x="4681956" y="689267"/>
                  </a:lnTo>
                  <a:lnTo>
                    <a:pt x="4688814" y="692200"/>
                  </a:lnTo>
                  <a:lnTo>
                    <a:pt x="4697412" y="695223"/>
                  </a:lnTo>
                  <a:lnTo>
                    <a:pt x="4705578" y="696607"/>
                  </a:lnTo>
                  <a:lnTo>
                    <a:pt x="4707128" y="696620"/>
                  </a:lnTo>
                  <a:close/>
                </a:path>
                <a:path w="5553075" h="772795">
                  <a:moveTo>
                    <a:pt x="4708918" y="696633"/>
                  </a:moveTo>
                  <a:lnTo>
                    <a:pt x="4707128" y="696620"/>
                  </a:lnTo>
                  <a:lnTo>
                    <a:pt x="4707712" y="696874"/>
                  </a:lnTo>
                  <a:lnTo>
                    <a:pt x="4708918" y="696633"/>
                  </a:lnTo>
                  <a:close/>
                </a:path>
                <a:path w="5553075" h="772795">
                  <a:moveTo>
                    <a:pt x="4715408" y="696683"/>
                  </a:moveTo>
                  <a:lnTo>
                    <a:pt x="4713605" y="695693"/>
                  </a:lnTo>
                  <a:lnTo>
                    <a:pt x="4708918" y="696633"/>
                  </a:lnTo>
                  <a:lnTo>
                    <a:pt x="4715408" y="696683"/>
                  </a:lnTo>
                  <a:close/>
                </a:path>
                <a:path w="5553075" h="772795">
                  <a:moveTo>
                    <a:pt x="5393791" y="587857"/>
                  </a:moveTo>
                  <a:lnTo>
                    <a:pt x="5393601" y="587197"/>
                  </a:lnTo>
                  <a:lnTo>
                    <a:pt x="5393410" y="586536"/>
                  </a:lnTo>
                  <a:lnTo>
                    <a:pt x="5379161" y="598004"/>
                  </a:lnTo>
                  <a:lnTo>
                    <a:pt x="5374398" y="604901"/>
                  </a:lnTo>
                  <a:lnTo>
                    <a:pt x="5367883" y="610425"/>
                  </a:lnTo>
                  <a:lnTo>
                    <a:pt x="5365966" y="609396"/>
                  </a:lnTo>
                  <a:lnTo>
                    <a:pt x="5364048" y="610095"/>
                  </a:lnTo>
                  <a:lnTo>
                    <a:pt x="5363108" y="611339"/>
                  </a:lnTo>
                  <a:lnTo>
                    <a:pt x="5362753" y="611657"/>
                  </a:lnTo>
                  <a:lnTo>
                    <a:pt x="5360822" y="612089"/>
                  </a:lnTo>
                  <a:lnTo>
                    <a:pt x="5361165" y="612482"/>
                  </a:lnTo>
                  <a:lnTo>
                    <a:pt x="5362816" y="612432"/>
                  </a:lnTo>
                  <a:lnTo>
                    <a:pt x="5364429" y="612813"/>
                  </a:lnTo>
                  <a:lnTo>
                    <a:pt x="5360657" y="615111"/>
                  </a:lnTo>
                  <a:lnTo>
                    <a:pt x="5351564" y="621030"/>
                  </a:lnTo>
                  <a:lnTo>
                    <a:pt x="5347068" y="623214"/>
                  </a:lnTo>
                  <a:lnTo>
                    <a:pt x="5345912" y="625386"/>
                  </a:lnTo>
                  <a:lnTo>
                    <a:pt x="5360263" y="619455"/>
                  </a:lnTo>
                  <a:lnTo>
                    <a:pt x="5367502" y="616661"/>
                  </a:lnTo>
                  <a:lnTo>
                    <a:pt x="5372468" y="614324"/>
                  </a:lnTo>
                  <a:lnTo>
                    <a:pt x="5375681" y="614095"/>
                  </a:lnTo>
                  <a:lnTo>
                    <a:pt x="5377294" y="614502"/>
                  </a:lnTo>
                  <a:lnTo>
                    <a:pt x="5377205" y="616419"/>
                  </a:lnTo>
                  <a:lnTo>
                    <a:pt x="5381510" y="615022"/>
                  </a:lnTo>
                  <a:lnTo>
                    <a:pt x="5384330" y="612546"/>
                  </a:lnTo>
                  <a:lnTo>
                    <a:pt x="5385168" y="609561"/>
                  </a:lnTo>
                  <a:lnTo>
                    <a:pt x="5383860" y="609282"/>
                  </a:lnTo>
                  <a:lnTo>
                    <a:pt x="5382514" y="609104"/>
                  </a:lnTo>
                  <a:lnTo>
                    <a:pt x="5378920" y="609663"/>
                  </a:lnTo>
                  <a:lnTo>
                    <a:pt x="5381498" y="606132"/>
                  </a:lnTo>
                  <a:lnTo>
                    <a:pt x="5385333" y="599440"/>
                  </a:lnTo>
                  <a:lnTo>
                    <a:pt x="5390616" y="591947"/>
                  </a:lnTo>
                  <a:lnTo>
                    <a:pt x="5393791" y="587857"/>
                  </a:lnTo>
                  <a:close/>
                </a:path>
                <a:path w="5553075" h="772795">
                  <a:moveTo>
                    <a:pt x="5552897" y="58928"/>
                  </a:moveTo>
                  <a:lnTo>
                    <a:pt x="5536908" y="23355"/>
                  </a:lnTo>
                  <a:lnTo>
                    <a:pt x="5524424" y="13538"/>
                  </a:lnTo>
                  <a:lnTo>
                    <a:pt x="5525605" y="11506"/>
                  </a:lnTo>
                  <a:lnTo>
                    <a:pt x="5525973" y="9474"/>
                  </a:lnTo>
                  <a:lnTo>
                    <a:pt x="5522747" y="7480"/>
                  </a:lnTo>
                  <a:lnTo>
                    <a:pt x="5519013" y="6629"/>
                  </a:lnTo>
                  <a:lnTo>
                    <a:pt x="5515445" y="7683"/>
                  </a:lnTo>
                  <a:lnTo>
                    <a:pt x="5509780" y="4292"/>
                  </a:lnTo>
                  <a:lnTo>
                    <a:pt x="5504662" y="1790"/>
                  </a:lnTo>
                  <a:lnTo>
                    <a:pt x="5501602" y="736"/>
                  </a:lnTo>
                  <a:lnTo>
                    <a:pt x="5491416" y="0"/>
                  </a:lnTo>
                  <a:lnTo>
                    <a:pt x="5476811" y="1079"/>
                  </a:lnTo>
                  <a:lnTo>
                    <a:pt x="5458028" y="3492"/>
                  </a:lnTo>
                  <a:lnTo>
                    <a:pt x="5462956" y="4648"/>
                  </a:lnTo>
                  <a:lnTo>
                    <a:pt x="5487695" y="4356"/>
                  </a:lnTo>
                  <a:lnTo>
                    <a:pt x="5497741" y="4876"/>
                  </a:lnTo>
                  <a:lnTo>
                    <a:pt x="5500776" y="5422"/>
                  </a:lnTo>
                  <a:lnTo>
                    <a:pt x="5505132" y="7785"/>
                  </a:lnTo>
                  <a:lnTo>
                    <a:pt x="5509844" y="10883"/>
                  </a:lnTo>
                  <a:lnTo>
                    <a:pt x="5507012" y="13169"/>
                  </a:lnTo>
                  <a:lnTo>
                    <a:pt x="5504739" y="15849"/>
                  </a:lnTo>
                  <a:lnTo>
                    <a:pt x="5506504" y="17627"/>
                  </a:lnTo>
                  <a:lnTo>
                    <a:pt x="5511812" y="20027"/>
                  </a:lnTo>
                  <a:lnTo>
                    <a:pt x="5519280" y="18364"/>
                  </a:lnTo>
                  <a:lnTo>
                    <a:pt x="5519775" y="18110"/>
                  </a:lnTo>
                  <a:lnTo>
                    <a:pt x="5525960" y="22974"/>
                  </a:lnTo>
                  <a:lnTo>
                    <a:pt x="5531599" y="27965"/>
                  </a:lnTo>
                  <a:lnTo>
                    <a:pt x="5534418" y="30784"/>
                  </a:lnTo>
                  <a:lnTo>
                    <a:pt x="5539778" y="37973"/>
                  </a:lnTo>
                  <a:lnTo>
                    <a:pt x="5550827" y="56286"/>
                  </a:lnTo>
                  <a:lnTo>
                    <a:pt x="5552897" y="58928"/>
                  </a:lnTo>
                  <a:close/>
                </a:path>
              </a:pathLst>
            </a:custGeom>
            <a:solidFill>
              <a:srgbClr val="001E1A"/>
            </a:solidFill>
          </p:spPr>
          <p:txBody>
            <a:bodyPr wrap="square" lIns="0" tIns="0" rIns="0" bIns="0" rtlCol="0"/>
            <a:lstStyle/>
            <a:p>
              <a:endParaRPr/>
            </a:p>
          </p:txBody>
        </p:sp>
        <p:pic>
          <p:nvPicPr>
            <p:cNvPr id="172" name="object 172"/>
            <p:cNvPicPr/>
            <p:nvPr/>
          </p:nvPicPr>
          <p:blipFill>
            <a:blip r:embed="rId14" cstate="print"/>
            <a:stretch>
              <a:fillRect/>
            </a:stretch>
          </p:blipFill>
          <p:spPr>
            <a:xfrm>
              <a:off x="2259736" y="1108649"/>
              <a:ext cx="242276" cy="282393"/>
            </a:xfrm>
            <a:prstGeom prst="rect">
              <a:avLst/>
            </a:prstGeom>
          </p:spPr>
        </p:pic>
        <p:sp>
          <p:nvSpPr>
            <p:cNvPr id="173" name="object 173"/>
            <p:cNvSpPr/>
            <p:nvPr/>
          </p:nvSpPr>
          <p:spPr>
            <a:xfrm>
              <a:off x="2649385" y="1038211"/>
              <a:ext cx="963930" cy="415925"/>
            </a:xfrm>
            <a:custGeom>
              <a:avLst/>
              <a:gdLst/>
              <a:ahLst/>
              <a:cxnLst/>
              <a:rect l="l" t="t" r="r" b="b"/>
              <a:pathLst>
                <a:path w="963929" h="415925">
                  <a:moveTo>
                    <a:pt x="68122" y="113411"/>
                  </a:moveTo>
                  <a:lnTo>
                    <a:pt x="0" y="113411"/>
                  </a:lnTo>
                  <a:lnTo>
                    <a:pt x="0" y="408381"/>
                  </a:lnTo>
                  <a:lnTo>
                    <a:pt x="68122" y="408381"/>
                  </a:lnTo>
                  <a:lnTo>
                    <a:pt x="68122" y="113411"/>
                  </a:lnTo>
                  <a:close/>
                </a:path>
                <a:path w="963929" h="415925">
                  <a:moveTo>
                    <a:pt x="320268" y="7785"/>
                  </a:moveTo>
                  <a:lnTo>
                    <a:pt x="308698" y="4686"/>
                  </a:lnTo>
                  <a:lnTo>
                    <a:pt x="296151" y="2222"/>
                  </a:lnTo>
                  <a:lnTo>
                    <a:pt x="282041" y="584"/>
                  </a:lnTo>
                  <a:lnTo>
                    <a:pt x="265798" y="0"/>
                  </a:lnTo>
                  <a:lnTo>
                    <a:pt x="227342" y="5956"/>
                  </a:lnTo>
                  <a:lnTo>
                    <a:pt x="199097" y="23901"/>
                  </a:lnTo>
                  <a:lnTo>
                    <a:pt x="181686" y="53924"/>
                  </a:lnTo>
                  <a:lnTo>
                    <a:pt x="175755" y="96151"/>
                  </a:lnTo>
                  <a:lnTo>
                    <a:pt x="175755" y="117271"/>
                  </a:lnTo>
                  <a:lnTo>
                    <a:pt x="138518" y="117271"/>
                  </a:lnTo>
                  <a:lnTo>
                    <a:pt x="138518" y="173405"/>
                  </a:lnTo>
                  <a:lnTo>
                    <a:pt x="175755" y="173405"/>
                  </a:lnTo>
                  <a:lnTo>
                    <a:pt x="175755" y="409067"/>
                  </a:lnTo>
                  <a:lnTo>
                    <a:pt x="243014" y="409067"/>
                  </a:lnTo>
                  <a:lnTo>
                    <a:pt x="243014" y="173405"/>
                  </a:lnTo>
                  <a:lnTo>
                    <a:pt x="319709" y="173405"/>
                  </a:lnTo>
                  <a:lnTo>
                    <a:pt x="319709" y="117830"/>
                  </a:lnTo>
                  <a:lnTo>
                    <a:pt x="241896" y="117830"/>
                  </a:lnTo>
                  <a:lnTo>
                    <a:pt x="241896" y="101714"/>
                  </a:lnTo>
                  <a:lnTo>
                    <a:pt x="244373" y="81864"/>
                  </a:lnTo>
                  <a:lnTo>
                    <a:pt x="251752" y="68021"/>
                  </a:lnTo>
                  <a:lnTo>
                    <a:pt x="263931" y="59893"/>
                  </a:lnTo>
                  <a:lnTo>
                    <a:pt x="280809" y="57251"/>
                  </a:lnTo>
                  <a:lnTo>
                    <a:pt x="291185" y="57746"/>
                  </a:lnTo>
                  <a:lnTo>
                    <a:pt x="300939" y="59194"/>
                  </a:lnTo>
                  <a:lnTo>
                    <a:pt x="310502" y="61468"/>
                  </a:lnTo>
                  <a:lnTo>
                    <a:pt x="320268" y="64477"/>
                  </a:lnTo>
                  <a:lnTo>
                    <a:pt x="320268" y="7785"/>
                  </a:lnTo>
                  <a:close/>
                </a:path>
                <a:path w="963929" h="415925">
                  <a:moveTo>
                    <a:pt x="632066" y="267893"/>
                  </a:moveTo>
                  <a:lnTo>
                    <a:pt x="626402" y="218770"/>
                  </a:lnTo>
                  <a:lnTo>
                    <a:pt x="609460" y="175399"/>
                  </a:lnTo>
                  <a:lnTo>
                    <a:pt x="581291" y="140766"/>
                  </a:lnTo>
                  <a:lnTo>
                    <a:pt x="565365" y="131483"/>
                  </a:lnTo>
                  <a:lnTo>
                    <a:pt x="565365" y="241782"/>
                  </a:lnTo>
                  <a:lnTo>
                    <a:pt x="414743" y="241782"/>
                  </a:lnTo>
                  <a:lnTo>
                    <a:pt x="423443" y="210477"/>
                  </a:lnTo>
                  <a:lnTo>
                    <a:pt x="439686" y="186055"/>
                  </a:lnTo>
                  <a:lnTo>
                    <a:pt x="462508" y="170180"/>
                  </a:lnTo>
                  <a:lnTo>
                    <a:pt x="490893" y="164515"/>
                  </a:lnTo>
                  <a:lnTo>
                    <a:pt x="520661" y="170484"/>
                  </a:lnTo>
                  <a:lnTo>
                    <a:pt x="543140" y="186880"/>
                  </a:lnTo>
                  <a:lnTo>
                    <a:pt x="558114" y="211416"/>
                  </a:lnTo>
                  <a:lnTo>
                    <a:pt x="565365" y="241782"/>
                  </a:lnTo>
                  <a:lnTo>
                    <a:pt x="565365" y="131483"/>
                  </a:lnTo>
                  <a:lnTo>
                    <a:pt x="541934" y="117805"/>
                  </a:lnTo>
                  <a:lnTo>
                    <a:pt x="491451" y="109499"/>
                  </a:lnTo>
                  <a:lnTo>
                    <a:pt x="444309" y="117335"/>
                  </a:lnTo>
                  <a:lnTo>
                    <a:pt x="404723" y="139166"/>
                  </a:lnTo>
                  <a:lnTo>
                    <a:pt x="374357" y="172402"/>
                  </a:lnTo>
                  <a:lnTo>
                    <a:pt x="354914" y="214503"/>
                  </a:lnTo>
                  <a:lnTo>
                    <a:pt x="348056" y="262902"/>
                  </a:lnTo>
                  <a:lnTo>
                    <a:pt x="355561" y="313791"/>
                  </a:lnTo>
                  <a:lnTo>
                    <a:pt x="376580" y="356069"/>
                  </a:lnTo>
                  <a:lnTo>
                    <a:pt x="408927" y="388188"/>
                  </a:lnTo>
                  <a:lnTo>
                    <a:pt x="450354" y="408597"/>
                  </a:lnTo>
                  <a:lnTo>
                    <a:pt x="498678" y="415747"/>
                  </a:lnTo>
                  <a:lnTo>
                    <a:pt x="536270" y="411835"/>
                  </a:lnTo>
                  <a:lnTo>
                    <a:pt x="568490" y="400735"/>
                  </a:lnTo>
                  <a:lnTo>
                    <a:pt x="595820" y="383374"/>
                  </a:lnTo>
                  <a:lnTo>
                    <a:pt x="618718" y="360718"/>
                  </a:lnTo>
                  <a:lnTo>
                    <a:pt x="579259" y="325704"/>
                  </a:lnTo>
                  <a:lnTo>
                    <a:pt x="561606" y="340779"/>
                  </a:lnTo>
                  <a:lnTo>
                    <a:pt x="543064" y="351751"/>
                  </a:lnTo>
                  <a:lnTo>
                    <a:pt x="522757" y="358444"/>
                  </a:lnTo>
                  <a:lnTo>
                    <a:pt x="499783" y="360718"/>
                  </a:lnTo>
                  <a:lnTo>
                    <a:pt x="469392" y="355803"/>
                  </a:lnTo>
                  <a:lnTo>
                    <a:pt x="444207" y="341401"/>
                  </a:lnTo>
                  <a:lnTo>
                    <a:pt x="425691" y="318033"/>
                  </a:lnTo>
                  <a:lnTo>
                    <a:pt x="415302" y="286245"/>
                  </a:lnTo>
                  <a:lnTo>
                    <a:pt x="630948" y="286245"/>
                  </a:lnTo>
                  <a:lnTo>
                    <a:pt x="631507" y="279565"/>
                  </a:lnTo>
                  <a:lnTo>
                    <a:pt x="632066" y="274015"/>
                  </a:lnTo>
                  <a:lnTo>
                    <a:pt x="632066" y="267893"/>
                  </a:lnTo>
                  <a:close/>
                </a:path>
                <a:path w="963929" h="415925">
                  <a:moveTo>
                    <a:pt x="963320" y="222313"/>
                  </a:moveTo>
                  <a:lnTo>
                    <a:pt x="956297" y="175844"/>
                  </a:lnTo>
                  <a:lnTo>
                    <a:pt x="935875" y="140258"/>
                  </a:lnTo>
                  <a:lnTo>
                    <a:pt x="903058" y="117500"/>
                  </a:lnTo>
                  <a:lnTo>
                    <a:pt x="858824" y="109486"/>
                  </a:lnTo>
                  <a:lnTo>
                    <a:pt x="827925" y="113652"/>
                  </a:lnTo>
                  <a:lnTo>
                    <a:pt x="802970" y="124904"/>
                  </a:lnTo>
                  <a:lnTo>
                    <a:pt x="783005" y="141376"/>
                  </a:lnTo>
                  <a:lnTo>
                    <a:pt x="767118" y="161175"/>
                  </a:lnTo>
                  <a:lnTo>
                    <a:pt x="767118" y="115608"/>
                  </a:lnTo>
                  <a:lnTo>
                    <a:pt x="699871" y="115608"/>
                  </a:lnTo>
                  <a:lnTo>
                    <a:pt x="699871" y="409067"/>
                  </a:lnTo>
                  <a:lnTo>
                    <a:pt x="767118" y="409067"/>
                  </a:lnTo>
                  <a:lnTo>
                    <a:pt x="767118" y="243433"/>
                  </a:lnTo>
                  <a:lnTo>
                    <a:pt x="771982" y="212839"/>
                  </a:lnTo>
                  <a:lnTo>
                    <a:pt x="785596" y="189941"/>
                  </a:lnTo>
                  <a:lnTo>
                    <a:pt x="806513" y="175590"/>
                  </a:lnTo>
                  <a:lnTo>
                    <a:pt x="833259" y="170624"/>
                  </a:lnTo>
                  <a:lnTo>
                    <a:pt x="859955" y="175412"/>
                  </a:lnTo>
                  <a:lnTo>
                    <a:pt x="879665" y="189382"/>
                  </a:lnTo>
                  <a:lnTo>
                    <a:pt x="891870" y="211899"/>
                  </a:lnTo>
                  <a:lnTo>
                    <a:pt x="896061" y="242328"/>
                  </a:lnTo>
                  <a:lnTo>
                    <a:pt x="896061" y="409067"/>
                  </a:lnTo>
                  <a:lnTo>
                    <a:pt x="963320" y="409067"/>
                  </a:lnTo>
                  <a:lnTo>
                    <a:pt x="963320" y="222313"/>
                  </a:lnTo>
                  <a:close/>
                </a:path>
              </a:pathLst>
            </a:custGeom>
            <a:solidFill>
              <a:srgbClr val="FFFFFF"/>
            </a:solidFill>
          </p:spPr>
          <p:txBody>
            <a:bodyPr wrap="square" lIns="0" tIns="0" rIns="0" bIns="0" rtlCol="0"/>
            <a:lstStyle/>
            <a:p>
              <a:endParaRPr/>
            </a:p>
          </p:txBody>
        </p:sp>
        <p:pic>
          <p:nvPicPr>
            <p:cNvPr id="174" name="object 174"/>
            <p:cNvPicPr/>
            <p:nvPr/>
          </p:nvPicPr>
          <p:blipFill>
            <a:blip r:embed="rId15" cstate="print"/>
            <a:stretch>
              <a:fillRect/>
            </a:stretch>
          </p:blipFill>
          <p:spPr>
            <a:xfrm>
              <a:off x="2644923" y="1037494"/>
              <a:ext cx="80759" cy="80771"/>
            </a:xfrm>
            <a:prstGeom prst="rect">
              <a:avLst/>
            </a:prstGeom>
          </p:spPr>
        </p:pic>
        <p:sp>
          <p:nvSpPr>
            <p:cNvPr id="175" name="object 175"/>
            <p:cNvSpPr/>
            <p:nvPr/>
          </p:nvSpPr>
          <p:spPr>
            <a:xfrm>
              <a:off x="2147290" y="1026007"/>
              <a:ext cx="441959" cy="441959"/>
            </a:xfrm>
            <a:custGeom>
              <a:avLst/>
              <a:gdLst/>
              <a:ahLst/>
              <a:cxnLst/>
              <a:rect l="l" t="t" r="r" b="b"/>
              <a:pathLst>
                <a:path w="441960" h="441959">
                  <a:moveTo>
                    <a:pt x="371589" y="59550"/>
                  </a:moveTo>
                  <a:lnTo>
                    <a:pt x="339585" y="34671"/>
                  </a:lnTo>
                  <a:lnTo>
                    <a:pt x="303276" y="15938"/>
                  </a:lnTo>
                  <a:lnTo>
                    <a:pt x="263423" y="4114"/>
                  </a:lnTo>
                  <a:lnTo>
                    <a:pt x="220814" y="0"/>
                  </a:lnTo>
                  <a:lnTo>
                    <a:pt x="170891" y="5676"/>
                  </a:lnTo>
                  <a:lnTo>
                    <a:pt x="124980" y="21818"/>
                  </a:lnTo>
                  <a:lnTo>
                    <a:pt x="84353" y="47193"/>
                  </a:lnTo>
                  <a:lnTo>
                    <a:pt x="50266" y="80518"/>
                  </a:lnTo>
                  <a:lnTo>
                    <a:pt x="24015" y="120523"/>
                  </a:lnTo>
                  <a:lnTo>
                    <a:pt x="6832" y="165950"/>
                  </a:lnTo>
                  <a:lnTo>
                    <a:pt x="0" y="215519"/>
                  </a:lnTo>
                  <a:lnTo>
                    <a:pt x="117729" y="215519"/>
                  </a:lnTo>
                  <a:lnTo>
                    <a:pt x="127266" y="177253"/>
                  </a:lnTo>
                  <a:lnTo>
                    <a:pt x="149631" y="146189"/>
                  </a:lnTo>
                  <a:lnTo>
                    <a:pt x="181813" y="125336"/>
                  </a:lnTo>
                  <a:lnTo>
                    <a:pt x="220814" y="117716"/>
                  </a:lnTo>
                  <a:lnTo>
                    <a:pt x="239699" y="119443"/>
                  </a:lnTo>
                  <a:lnTo>
                    <a:pt x="257441" y="124421"/>
                  </a:lnTo>
                  <a:lnTo>
                    <a:pt x="273735" y="132321"/>
                  </a:lnTo>
                  <a:lnTo>
                    <a:pt x="288290" y="142849"/>
                  </a:lnTo>
                  <a:lnTo>
                    <a:pt x="371589" y="59550"/>
                  </a:lnTo>
                  <a:close/>
                </a:path>
                <a:path w="441960" h="441959">
                  <a:moveTo>
                    <a:pt x="441769" y="220954"/>
                  </a:moveTo>
                  <a:lnTo>
                    <a:pt x="441629" y="215468"/>
                  </a:lnTo>
                  <a:lnTo>
                    <a:pt x="218097" y="215468"/>
                  </a:lnTo>
                  <a:lnTo>
                    <a:pt x="218097" y="260438"/>
                  </a:lnTo>
                  <a:lnTo>
                    <a:pt x="316204" y="260438"/>
                  </a:lnTo>
                  <a:lnTo>
                    <a:pt x="300812" y="286194"/>
                  </a:lnTo>
                  <a:lnTo>
                    <a:pt x="278828" y="306349"/>
                  </a:lnTo>
                  <a:lnTo>
                    <a:pt x="251688" y="319493"/>
                  </a:lnTo>
                  <a:lnTo>
                    <a:pt x="220814" y="324192"/>
                  </a:lnTo>
                  <a:lnTo>
                    <a:pt x="198107" y="321678"/>
                  </a:lnTo>
                  <a:lnTo>
                    <a:pt x="177152" y="314515"/>
                  </a:lnTo>
                  <a:lnTo>
                    <a:pt x="158508" y="303237"/>
                  </a:lnTo>
                  <a:lnTo>
                    <a:pt x="142709" y="288417"/>
                  </a:lnTo>
                  <a:lnTo>
                    <a:pt x="59372" y="371754"/>
                  </a:lnTo>
                  <a:lnTo>
                    <a:pt x="92659" y="400926"/>
                  </a:lnTo>
                  <a:lnTo>
                    <a:pt x="131318" y="423024"/>
                  </a:lnTo>
                  <a:lnTo>
                    <a:pt x="174383" y="437019"/>
                  </a:lnTo>
                  <a:lnTo>
                    <a:pt x="220814" y="441921"/>
                  </a:lnTo>
                  <a:lnTo>
                    <a:pt x="265353" y="437426"/>
                  </a:lnTo>
                  <a:lnTo>
                    <a:pt x="306819" y="424561"/>
                  </a:lnTo>
                  <a:lnTo>
                    <a:pt x="344360" y="404177"/>
                  </a:lnTo>
                  <a:lnTo>
                    <a:pt x="377063" y="377202"/>
                  </a:lnTo>
                  <a:lnTo>
                    <a:pt x="404037" y="344500"/>
                  </a:lnTo>
                  <a:lnTo>
                    <a:pt x="424408" y="306959"/>
                  </a:lnTo>
                  <a:lnTo>
                    <a:pt x="437286" y="265480"/>
                  </a:lnTo>
                  <a:lnTo>
                    <a:pt x="441769" y="220954"/>
                  </a:lnTo>
                  <a:close/>
                </a:path>
              </a:pathLst>
            </a:custGeom>
            <a:solidFill>
              <a:srgbClr val="FFFFFF"/>
            </a:solidFill>
          </p:spPr>
          <p:txBody>
            <a:bodyPr wrap="square" lIns="0" tIns="0" rIns="0" bIns="0" rtlCol="0"/>
            <a:lstStyle/>
            <a:p>
              <a:endParaRPr/>
            </a:p>
          </p:txBody>
        </p:sp>
      </p:grpSp>
      <p:sp>
        <p:nvSpPr>
          <p:cNvPr id="176" name="object 176"/>
          <p:cNvSpPr txBox="1"/>
          <p:nvPr/>
        </p:nvSpPr>
        <p:spPr>
          <a:xfrm>
            <a:off x="1546636" y="6730962"/>
            <a:ext cx="2667635" cy="197490"/>
          </a:xfrm>
          <a:prstGeom prst="rect">
            <a:avLst/>
          </a:prstGeom>
        </p:spPr>
        <p:txBody>
          <a:bodyPr vert="horz" wrap="square" lIns="0" tIns="12700" rIns="0" bIns="0" rtlCol="0">
            <a:spAutoFit/>
          </a:bodyPr>
          <a:lstStyle/>
          <a:p>
            <a:pPr marL="12700">
              <a:lnSpc>
                <a:spcPct val="100000"/>
              </a:lnSpc>
              <a:spcBef>
                <a:spcPts val="100"/>
              </a:spcBef>
            </a:pPr>
            <a:r>
              <a:rPr sz="1200" b="1" dirty="0">
                <a:solidFill>
                  <a:srgbClr val="EF3A47"/>
                </a:solidFill>
                <a:latin typeface="Century Gothic"/>
                <a:cs typeface="Century Gothic"/>
              </a:rPr>
              <a:t>Focus</a:t>
            </a:r>
            <a:r>
              <a:rPr sz="1200" b="1" spc="-20" dirty="0">
                <a:solidFill>
                  <a:srgbClr val="EF3A47"/>
                </a:solidFill>
                <a:latin typeface="Century Gothic"/>
                <a:cs typeface="Century Gothic"/>
              </a:rPr>
              <a:t> </a:t>
            </a:r>
            <a:r>
              <a:rPr sz="1200" b="1" spc="-5" dirty="0">
                <a:solidFill>
                  <a:srgbClr val="EF3A47"/>
                </a:solidFill>
                <a:latin typeface="Century Gothic"/>
                <a:cs typeface="Century Gothic"/>
              </a:rPr>
              <a:t>on</a:t>
            </a:r>
            <a:r>
              <a:rPr sz="1200" b="1" spc="-25" dirty="0">
                <a:solidFill>
                  <a:srgbClr val="EF3A47"/>
                </a:solidFill>
                <a:latin typeface="Century Gothic"/>
                <a:cs typeface="Century Gothic"/>
              </a:rPr>
              <a:t> </a:t>
            </a:r>
            <a:r>
              <a:rPr lang="fr-FR" sz="1200" b="1" spc="-25" dirty="0">
                <a:solidFill>
                  <a:srgbClr val="EF3A47"/>
                </a:solidFill>
                <a:latin typeface="Century Gothic"/>
                <a:cs typeface="Century Gothic"/>
              </a:rPr>
              <a:t>FUSION </a:t>
            </a:r>
            <a:endParaRPr sz="1200" dirty="0">
              <a:latin typeface="Century Gothic"/>
              <a:cs typeface="Century Gothic"/>
            </a:endParaRPr>
          </a:p>
        </p:txBody>
      </p:sp>
      <p:sp>
        <p:nvSpPr>
          <p:cNvPr id="177" name="object 177"/>
          <p:cNvSpPr txBox="1"/>
          <p:nvPr/>
        </p:nvSpPr>
        <p:spPr>
          <a:xfrm>
            <a:off x="1110950" y="5618188"/>
            <a:ext cx="3540125" cy="863600"/>
          </a:xfrm>
          <a:prstGeom prst="rect">
            <a:avLst/>
          </a:prstGeom>
        </p:spPr>
        <p:txBody>
          <a:bodyPr vert="horz" wrap="square" lIns="0" tIns="88900" rIns="0" bIns="0" rtlCol="0">
            <a:spAutoFit/>
          </a:bodyPr>
          <a:lstStyle/>
          <a:p>
            <a:pPr marL="12700" marR="5080" indent="674370">
              <a:lnSpc>
                <a:spcPts val="3000"/>
              </a:lnSpc>
              <a:spcBef>
                <a:spcPts val="700"/>
              </a:spcBef>
            </a:pPr>
            <a:r>
              <a:rPr sz="3000" b="1" dirty="0">
                <a:solidFill>
                  <a:srgbClr val="FFFFFF"/>
                </a:solidFill>
                <a:latin typeface="Century Gothic"/>
                <a:cs typeface="Century Gothic"/>
              </a:rPr>
              <a:t>THE FRENCH </a:t>
            </a:r>
            <a:r>
              <a:rPr sz="3000" b="1" spc="5" dirty="0">
                <a:solidFill>
                  <a:srgbClr val="FFFFFF"/>
                </a:solidFill>
                <a:latin typeface="Century Gothic"/>
                <a:cs typeface="Century Gothic"/>
              </a:rPr>
              <a:t> </a:t>
            </a:r>
            <a:r>
              <a:rPr sz="3000" b="1" dirty="0">
                <a:solidFill>
                  <a:srgbClr val="FFFFFF"/>
                </a:solidFill>
                <a:latin typeface="Century Gothic"/>
                <a:cs typeface="Century Gothic"/>
              </a:rPr>
              <a:t>NUCLEAR</a:t>
            </a:r>
            <a:r>
              <a:rPr sz="3000" b="1" spc="-100" dirty="0">
                <a:solidFill>
                  <a:srgbClr val="FFFFFF"/>
                </a:solidFill>
                <a:latin typeface="Century Gothic"/>
                <a:cs typeface="Century Gothic"/>
              </a:rPr>
              <a:t> </a:t>
            </a:r>
            <a:r>
              <a:rPr sz="3000" b="1" dirty="0">
                <a:solidFill>
                  <a:srgbClr val="FFFFFF"/>
                </a:solidFill>
                <a:latin typeface="Century Gothic"/>
                <a:cs typeface="Century Gothic"/>
              </a:rPr>
              <a:t>INDUSTRY</a:t>
            </a:r>
            <a:endParaRPr sz="3000">
              <a:latin typeface="Century Gothic"/>
              <a:cs typeface="Century Gothic"/>
            </a:endParaRPr>
          </a:p>
        </p:txBody>
      </p:sp>
      <p:sp>
        <p:nvSpPr>
          <p:cNvPr id="178" name="object 178"/>
          <p:cNvSpPr/>
          <p:nvPr/>
        </p:nvSpPr>
        <p:spPr>
          <a:xfrm>
            <a:off x="929994" y="6566025"/>
            <a:ext cx="3900170" cy="0"/>
          </a:xfrm>
          <a:custGeom>
            <a:avLst/>
            <a:gdLst/>
            <a:ahLst/>
            <a:cxnLst/>
            <a:rect l="l" t="t" r="r" b="b"/>
            <a:pathLst>
              <a:path w="3900170">
                <a:moveTo>
                  <a:pt x="3900004" y="0"/>
                </a:moveTo>
                <a:lnTo>
                  <a:pt x="0" y="0"/>
                </a:lnTo>
              </a:path>
            </a:pathLst>
          </a:custGeom>
          <a:ln w="12700">
            <a:solidFill>
              <a:srgbClr val="DC2945"/>
            </a:solidFill>
          </a:ln>
        </p:spPr>
        <p:txBody>
          <a:bodyPr wrap="square" lIns="0" tIns="0" rIns="0" bIns="0" rtlCol="0"/>
          <a:lstStyle/>
          <a:p>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622" imgH="623" progId="TCLayout.ActiveDocument.1">
                  <p:embed/>
                </p:oleObj>
              </mc:Choice>
              <mc:Fallback>
                <p:oleObj name="Diapositive think-cell" r:id="rId3" imgW="622" imgH="623" progId="TCLayout.ActiveDocument.1">
                  <p:embed/>
                  <p:pic>
                    <p:nvPicPr>
                      <p:cNvPr id="7" name="Obje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object 3"/>
          <p:cNvSpPr/>
          <p:nvPr/>
        </p:nvSpPr>
        <p:spPr>
          <a:xfrm>
            <a:off x="1871865" y="1773948"/>
            <a:ext cx="3882390" cy="12700"/>
          </a:xfrm>
          <a:custGeom>
            <a:avLst/>
            <a:gdLst/>
            <a:ahLst/>
            <a:cxnLst/>
            <a:rect l="l" t="t" r="r" b="b"/>
            <a:pathLst>
              <a:path w="3882390" h="12700">
                <a:moveTo>
                  <a:pt x="0" y="12700"/>
                </a:moveTo>
                <a:lnTo>
                  <a:pt x="3881780" y="12700"/>
                </a:lnTo>
                <a:lnTo>
                  <a:pt x="3881780" y="0"/>
                </a:lnTo>
                <a:lnTo>
                  <a:pt x="0" y="0"/>
                </a:lnTo>
                <a:lnTo>
                  <a:pt x="0" y="12700"/>
                </a:lnTo>
                <a:close/>
              </a:path>
            </a:pathLst>
          </a:custGeom>
          <a:ln w="12700">
            <a:solidFill>
              <a:srgbClr val="214182"/>
            </a:solidFill>
          </a:ln>
        </p:spPr>
        <p:txBody>
          <a:bodyPr wrap="square" lIns="0" tIns="0" rIns="0" bIns="0" rtlCol="0"/>
          <a:lstStyle/>
          <a:p>
            <a:endParaRPr lang="en-US" dirty="0"/>
          </a:p>
        </p:txBody>
      </p:sp>
      <p:sp>
        <p:nvSpPr>
          <p:cNvPr id="6" name="object 6"/>
          <p:cNvSpPr txBox="1"/>
          <p:nvPr/>
        </p:nvSpPr>
        <p:spPr>
          <a:xfrm>
            <a:off x="4163300" y="1521138"/>
            <a:ext cx="1227850" cy="120546"/>
          </a:xfrm>
          <a:prstGeom prst="rect">
            <a:avLst/>
          </a:prstGeom>
        </p:spPr>
        <p:txBody>
          <a:bodyPr vert="horz" wrap="square" lIns="0" tIns="12700" rIns="0" bIns="0" rtlCol="0">
            <a:spAutoFit/>
          </a:bodyPr>
          <a:lstStyle/>
          <a:p>
            <a:pPr marL="12700">
              <a:lnSpc>
                <a:spcPct val="100000"/>
              </a:lnSpc>
              <a:spcBef>
                <a:spcPts val="100"/>
              </a:spcBef>
            </a:pPr>
            <a:r>
              <a:rPr lang="en-US" sz="700" b="1" u="sng" dirty="0">
                <a:solidFill>
                  <a:srgbClr val="FFFFFF"/>
                </a:solidFill>
                <a:uFill>
                  <a:solidFill>
                    <a:srgbClr val="FFFFFF"/>
                  </a:solidFill>
                </a:uFill>
                <a:latin typeface="Century Gothic"/>
                <a:cs typeface="Century Gothic"/>
              </a:rPr>
              <a:t>www.assystem.com</a:t>
            </a:r>
            <a:endParaRPr lang="en-US" sz="700" dirty="0">
              <a:latin typeface="Century Gothic"/>
              <a:cs typeface="Century Gothic"/>
            </a:endParaRPr>
          </a:p>
        </p:txBody>
      </p:sp>
      <p:sp>
        <p:nvSpPr>
          <p:cNvPr id="13" name="object 13"/>
          <p:cNvSpPr txBox="1"/>
          <p:nvPr/>
        </p:nvSpPr>
        <p:spPr>
          <a:xfrm>
            <a:off x="2309300" y="455576"/>
            <a:ext cx="985519" cy="166712"/>
          </a:xfrm>
          <a:prstGeom prst="rect">
            <a:avLst/>
          </a:prstGeom>
        </p:spPr>
        <p:txBody>
          <a:bodyPr vert="horz" wrap="square" lIns="0" tIns="12700" rIns="0" bIns="0" rtlCol="0" anchor="t">
            <a:spAutoFit/>
          </a:bodyPr>
          <a:lstStyle/>
          <a:p>
            <a:pPr marL="12700">
              <a:lnSpc>
                <a:spcPct val="100000"/>
              </a:lnSpc>
              <a:spcBef>
                <a:spcPts val="100"/>
              </a:spcBef>
            </a:pPr>
            <a:r>
              <a:rPr lang="en-US" sz="1000" b="1" spc="-5" dirty="0">
                <a:solidFill>
                  <a:srgbClr val="FFFFFF"/>
                </a:solidFill>
                <a:latin typeface="Century Gothic"/>
                <a:cs typeface="Century Gothic"/>
              </a:rPr>
              <a:t>500 M€</a:t>
            </a:r>
            <a:endParaRPr lang="en-US" sz="1000" dirty="0">
              <a:latin typeface="Century Gothic"/>
              <a:cs typeface="Century Gothic"/>
            </a:endParaRPr>
          </a:p>
        </p:txBody>
      </p:sp>
      <p:sp>
        <p:nvSpPr>
          <p:cNvPr id="14" name="object 14"/>
          <p:cNvSpPr txBox="1"/>
          <p:nvPr/>
        </p:nvSpPr>
        <p:spPr>
          <a:xfrm>
            <a:off x="2309300" y="1151457"/>
            <a:ext cx="1233170" cy="135935"/>
          </a:xfrm>
          <a:prstGeom prst="rect">
            <a:avLst/>
          </a:prstGeom>
        </p:spPr>
        <p:txBody>
          <a:bodyPr vert="horz" wrap="square" lIns="0" tIns="12700" rIns="0" bIns="0" rtlCol="0" anchor="ctr">
            <a:spAutoFit/>
          </a:bodyPr>
          <a:lstStyle/>
          <a:p>
            <a:pPr marL="12700">
              <a:lnSpc>
                <a:spcPct val="100000"/>
              </a:lnSpc>
              <a:spcBef>
                <a:spcPts val="100"/>
              </a:spcBef>
            </a:pPr>
            <a:r>
              <a:rPr lang="en-US" sz="800" b="1" dirty="0">
                <a:solidFill>
                  <a:srgbClr val="FFFFFF"/>
                </a:solidFill>
                <a:latin typeface="Century Gothic"/>
                <a:cs typeface="Century Gothic"/>
              </a:rPr>
              <a:t>Large</a:t>
            </a:r>
            <a:r>
              <a:rPr lang="en-US" sz="800" b="1" spc="-70" dirty="0">
                <a:solidFill>
                  <a:srgbClr val="FFFFFF"/>
                </a:solidFill>
                <a:latin typeface="Century Gothic"/>
                <a:cs typeface="Century Gothic"/>
              </a:rPr>
              <a:t> </a:t>
            </a:r>
            <a:r>
              <a:rPr lang="en-US" sz="800" b="1" dirty="0">
                <a:solidFill>
                  <a:srgbClr val="FFFFFF"/>
                </a:solidFill>
                <a:latin typeface="Century Gothic"/>
                <a:cs typeface="Century Gothic"/>
              </a:rPr>
              <a:t>Enterprise</a:t>
            </a:r>
            <a:endParaRPr lang="en-US" sz="800" dirty="0">
              <a:latin typeface="Century Gothic"/>
              <a:cs typeface="Century Gothic"/>
            </a:endParaRPr>
          </a:p>
        </p:txBody>
      </p:sp>
      <p:sp>
        <p:nvSpPr>
          <p:cNvPr id="15" name="object 15"/>
          <p:cNvSpPr txBox="1"/>
          <p:nvPr/>
        </p:nvSpPr>
        <p:spPr>
          <a:xfrm>
            <a:off x="4167767" y="369028"/>
            <a:ext cx="1292225" cy="346249"/>
          </a:xfrm>
          <a:prstGeom prst="rect">
            <a:avLst/>
          </a:prstGeom>
        </p:spPr>
        <p:txBody>
          <a:bodyPr vert="horz" wrap="square" lIns="0" tIns="12700" rIns="0" bIns="0" rtlCol="0">
            <a:spAutoFit/>
          </a:bodyPr>
          <a:lstStyle/>
          <a:p>
            <a:pPr marL="12700">
              <a:lnSpc>
                <a:spcPts val="950"/>
              </a:lnSpc>
              <a:spcBef>
                <a:spcPts val="100"/>
              </a:spcBef>
            </a:pPr>
            <a:r>
              <a:rPr lang="en-US" sz="800" b="1" dirty="0">
                <a:solidFill>
                  <a:srgbClr val="FFFFFF"/>
                </a:solidFill>
                <a:latin typeface="Century Gothic"/>
                <a:cs typeface="Century Gothic"/>
              </a:rPr>
              <a:t>Bernard BLANC</a:t>
            </a:r>
            <a:endParaRPr lang="en-US" sz="800" dirty="0">
              <a:latin typeface="Century Gothic"/>
              <a:cs typeface="Century Gothic"/>
            </a:endParaRPr>
          </a:p>
          <a:p>
            <a:pPr marL="12700">
              <a:lnSpc>
                <a:spcPts val="830"/>
              </a:lnSpc>
            </a:pPr>
            <a:r>
              <a:rPr lang="en-US" sz="700" dirty="0">
                <a:solidFill>
                  <a:srgbClr val="FFFFFF"/>
                </a:solidFill>
                <a:latin typeface="Century Gothic"/>
                <a:cs typeface="Century Gothic"/>
              </a:rPr>
              <a:t>VP Nuclear business development</a:t>
            </a:r>
            <a:endParaRPr lang="en-US" sz="700" dirty="0">
              <a:latin typeface="Century Gothic"/>
              <a:cs typeface="Century Gothic"/>
            </a:endParaRPr>
          </a:p>
        </p:txBody>
      </p:sp>
      <p:sp>
        <p:nvSpPr>
          <p:cNvPr id="16" name="object 16"/>
          <p:cNvSpPr txBox="1"/>
          <p:nvPr/>
        </p:nvSpPr>
        <p:spPr>
          <a:xfrm>
            <a:off x="7040" y="1826724"/>
            <a:ext cx="5747216" cy="166712"/>
          </a:xfrm>
          <a:prstGeom prst="rect">
            <a:avLst/>
          </a:prstGeom>
        </p:spPr>
        <p:txBody>
          <a:bodyPr vert="horz" wrap="square" lIns="0" tIns="12700" rIns="0" bIns="0" rtlCol="0">
            <a:spAutoFit/>
          </a:bodyPr>
          <a:lstStyle/>
          <a:p>
            <a:pPr marL="12700" algn="ctr">
              <a:lnSpc>
                <a:spcPct val="100000"/>
              </a:lnSpc>
              <a:spcBef>
                <a:spcPts val="100"/>
              </a:spcBef>
            </a:pPr>
            <a:r>
              <a:rPr lang="en-US" sz="1000" b="1" dirty="0">
                <a:solidFill>
                  <a:srgbClr val="FFFFFF"/>
                </a:solidFill>
                <a:latin typeface="Century Gothic"/>
                <a:cs typeface="Century Gothic"/>
              </a:rPr>
              <a:t>PROJECT MANAGEMENT AND ENGINEERING – DIGITAL – COMPLIANCE, SAFETY, SECURITY, QHSE</a:t>
            </a:r>
            <a:endParaRPr lang="en-US" sz="1000" dirty="0">
              <a:latin typeface="Century Gothic"/>
              <a:cs typeface="Century Gothic"/>
            </a:endParaRPr>
          </a:p>
        </p:txBody>
      </p:sp>
      <p:sp>
        <p:nvSpPr>
          <p:cNvPr id="24" name="object 24"/>
          <p:cNvSpPr txBox="1"/>
          <p:nvPr/>
        </p:nvSpPr>
        <p:spPr>
          <a:xfrm>
            <a:off x="4166299" y="1157237"/>
            <a:ext cx="1304290" cy="120546"/>
          </a:xfrm>
          <a:prstGeom prst="rect">
            <a:avLst/>
          </a:prstGeom>
        </p:spPr>
        <p:txBody>
          <a:bodyPr vert="horz" wrap="square" lIns="0" tIns="12700" rIns="0" bIns="0" rtlCol="0">
            <a:spAutoFit/>
          </a:bodyPr>
          <a:lstStyle/>
          <a:p>
            <a:pPr marL="12700">
              <a:lnSpc>
                <a:spcPct val="100000"/>
              </a:lnSpc>
              <a:spcBef>
                <a:spcPts val="100"/>
              </a:spcBef>
            </a:pPr>
            <a:r>
              <a:rPr lang="en-US" sz="700" b="1" u="sng" dirty="0">
                <a:solidFill>
                  <a:srgbClr val="FFFFFF"/>
                </a:solidFill>
                <a:uFill>
                  <a:solidFill>
                    <a:srgbClr val="FFFFFF"/>
                  </a:solidFill>
                </a:uFill>
                <a:latin typeface="Century Gothic"/>
                <a:cs typeface="Century Gothic"/>
              </a:rPr>
              <a:t>bblanc@assystem.com</a:t>
            </a:r>
            <a:endParaRPr lang="en-US" sz="700" dirty="0">
              <a:latin typeface="Century Gothic"/>
              <a:cs typeface="Century Gothic"/>
            </a:endParaRPr>
          </a:p>
        </p:txBody>
      </p:sp>
      <p:sp>
        <p:nvSpPr>
          <p:cNvPr id="25" name="object 25"/>
          <p:cNvSpPr txBox="1"/>
          <p:nvPr/>
        </p:nvSpPr>
        <p:spPr>
          <a:xfrm>
            <a:off x="4163276" y="808305"/>
            <a:ext cx="1145323" cy="120546"/>
          </a:xfrm>
          <a:prstGeom prst="rect">
            <a:avLst/>
          </a:prstGeom>
        </p:spPr>
        <p:txBody>
          <a:bodyPr vert="horz" wrap="square" lIns="0" tIns="12700" rIns="0" bIns="0" rtlCol="0">
            <a:spAutoFit/>
          </a:bodyPr>
          <a:lstStyle/>
          <a:p>
            <a:pPr marL="12700">
              <a:lnSpc>
                <a:spcPct val="100000"/>
              </a:lnSpc>
              <a:spcBef>
                <a:spcPts val="100"/>
              </a:spcBef>
            </a:pPr>
            <a:r>
              <a:rPr lang="en-US" sz="700" dirty="0">
                <a:solidFill>
                  <a:srgbClr val="FFFFFF"/>
                </a:solidFill>
                <a:latin typeface="Century Gothic"/>
                <a:cs typeface="Century Gothic"/>
              </a:rPr>
              <a:t>+33 (0) 6 08 75 12 02</a:t>
            </a:r>
            <a:endParaRPr lang="en-US" sz="700" dirty="0">
              <a:latin typeface="Century Gothic"/>
              <a:cs typeface="Century Gothic"/>
            </a:endParaRPr>
          </a:p>
        </p:txBody>
      </p:sp>
      <p:grpSp>
        <p:nvGrpSpPr>
          <p:cNvPr id="57" name="Groupe 56">
            <a:extLst>
              <a:ext uri="{FF2B5EF4-FFF2-40B4-BE49-F238E27FC236}">
                <a16:creationId xmlns:a16="http://schemas.microsoft.com/office/drawing/2014/main" id="{087D283E-2ABD-D44B-928D-CE53E7A46364}"/>
              </a:ext>
            </a:extLst>
          </p:cNvPr>
          <p:cNvGrpSpPr/>
          <p:nvPr/>
        </p:nvGrpSpPr>
        <p:grpSpPr>
          <a:xfrm>
            <a:off x="2177051" y="2165701"/>
            <a:ext cx="3463856" cy="1675293"/>
            <a:chOff x="2177051" y="2165701"/>
            <a:chExt cx="3463856" cy="1675293"/>
          </a:xfrm>
        </p:grpSpPr>
        <p:sp>
          <p:nvSpPr>
            <p:cNvPr id="45" name="Rectangle 44">
              <a:extLst>
                <a:ext uri="{FF2B5EF4-FFF2-40B4-BE49-F238E27FC236}">
                  <a16:creationId xmlns:a16="http://schemas.microsoft.com/office/drawing/2014/main" id="{7337EB87-D52B-E54C-8A77-0C9125518EE4}"/>
                </a:ext>
              </a:extLst>
            </p:cNvPr>
            <p:cNvSpPr/>
            <p:nvPr/>
          </p:nvSpPr>
          <p:spPr>
            <a:xfrm>
              <a:off x="2177051" y="2363666"/>
              <a:ext cx="3463856" cy="1477328"/>
            </a:xfrm>
            <a:prstGeom prst="rect">
              <a:avLst/>
            </a:prstGeom>
          </p:spPr>
          <p:txBody>
            <a:bodyPr wrap="square">
              <a:spAutoFit/>
            </a:bodyPr>
            <a:lstStyle/>
            <a:p>
              <a:pPr marL="6350" marR="55880">
                <a:lnSpc>
                  <a:spcPts val="850"/>
                </a:lnSpc>
                <a:spcBef>
                  <a:spcPts val="135"/>
                </a:spcBef>
              </a:pPr>
              <a:r>
                <a:rPr lang="en-US" sz="800" dirty="0">
                  <a:solidFill>
                    <a:srgbClr val="231F20"/>
                  </a:solidFill>
                  <a:latin typeface="Century Gothic"/>
                  <a:cs typeface="Century Gothic"/>
                </a:rPr>
                <a:t>Assystem is ranked as a 2nd international independent engineering company in the world that was founded in France in 1966 to commission nuclear facilities.</a:t>
              </a:r>
              <a:br>
                <a:rPr lang="en-US" sz="800" dirty="0">
                  <a:solidFill>
                    <a:srgbClr val="231F20"/>
                  </a:solidFill>
                  <a:latin typeface="Century Gothic"/>
                  <a:cs typeface="Century Gothic"/>
                </a:rPr>
              </a:br>
              <a:br>
                <a:rPr lang="en-US" sz="800" dirty="0">
                  <a:solidFill>
                    <a:srgbClr val="231F20"/>
                  </a:solidFill>
                  <a:latin typeface="Century Gothic"/>
                  <a:cs typeface="Century Gothic"/>
                </a:rPr>
              </a:br>
              <a:r>
                <a:rPr lang="en-US" sz="800" dirty="0">
                  <a:solidFill>
                    <a:srgbClr val="231F20"/>
                  </a:solidFill>
                  <a:latin typeface="Century Gothic"/>
                  <a:cs typeface="Century Gothic"/>
                </a:rPr>
                <a:t>We work alongside governments, operators, contracting authorities and technology suppliers in order to support them in management, design, and performance improvement from earliest project stages and construction up to commissioning and dismantling of the nuclear power plants (PWR, BWR, SMR, GEN4, etc.), research facilities (particle accelerators, production of isotopes, or fusion), while also working with nuclear fuel and waste.</a:t>
              </a:r>
              <a:endParaRPr lang="en-US" sz="800" dirty="0">
                <a:latin typeface="Century Gothic"/>
                <a:cs typeface="Century Gothic"/>
              </a:endParaRPr>
            </a:p>
          </p:txBody>
        </p:sp>
        <p:pic>
          <p:nvPicPr>
            <p:cNvPr id="56" name="Image 55">
              <a:extLst>
                <a:ext uri="{FF2B5EF4-FFF2-40B4-BE49-F238E27FC236}">
                  <a16:creationId xmlns:a16="http://schemas.microsoft.com/office/drawing/2014/main" id="{C1C980BD-CF63-7E48-9E55-4AB67A48FA4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375" t="14689" r="10979" b="25644"/>
            <a:stretch/>
          </p:blipFill>
          <p:spPr>
            <a:xfrm>
              <a:off x="2267876" y="2165701"/>
              <a:ext cx="891049" cy="166712"/>
            </a:xfrm>
            <a:prstGeom prst="rect">
              <a:avLst/>
            </a:prstGeom>
          </p:spPr>
        </p:pic>
      </p:grpSp>
      <p:grpSp>
        <p:nvGrpSpPr>
          <p:cNvPr id="61" name="Groupe 60">
            <a:extLst>
              <a:ext uri="{FF2B5EF4-FFF2-40B4-BE49-F238E27FC236}">
                <a16:creationId xmlns:a16="http://schemas.microsoft.com/office/drawing/2014/main" id="{293BBACE-2A6F-274F-BF65-CC051D80EEE5}"/>
              </a:ext>
            </a:extLst>
          </p:cNvPr>
          <p:cNvGrpSpPr/>
          <p:nvPr/>
        </p:nvGrpSpPr>
        <p:grpSpPr>
          <a:xfrm>
            <a:off x="2177051" y="3806200"/>
            <a:ext cx="3463856" cy="1542986"/>
            <a:chOff x="2177051" y="3254375"/>
            <a:chExt cx="3463856" cy="1542986"/>
          </a:xfrm>
        </p:grpSpPr>
        <p:sp>
          <p:nvSpPr>
            <p:cNvPr id="51" name="Rectangle 50">
              <a:extLst>
                <a:ext uri="{FF2B5EF4-FFF2-40B4-BE49-F238E27FC236}">
                  <a16:creationId xmlns:a16="http://schemas.microsoft.com/office/drawing/2014/main" id="{A03879AA-32EF-BB4B-B6AF-C96A5F50BD94}"/>
                </a:ext>
              </a:extLst>
            </p:cNvPr>
            <p:cNvSpPr/>
            <p:nvPr/>
          </p:nvSpPr>
          <p:spPr>
            <a:xfrm>
              <a:off x="2177051" y="3486746"/>
              <a:ext cx="3463856" cy="1310615"/>
            </a:xfrm>
            <a:prstGeom prst="rect">
              <a:avLst/>
            </a:prstGeom>
          </p:spPr>
          <p:txBody>
            <a:bodyPr wrap="square">
              <a:spAutoFit/>
            </a:bodyPr>
            <a:lstStyle/>
            <a:p>
              <a:pPr marL="6350" marR="55880" algn="just">
                <a:lnSpc>
                  <a:spcPts val="850"/>
                </a:lnSpc>
                <a:spcBef>
                  <a:spcPts val="135"/>
                </a:spcBef>
              </a:pPr>
              <a:r>
                <a:rPr lang="en-US" sz="800" b="1" dirty="0">
                  <a:solidFill>
                    <a:srgbClr val="6C92A8"/>
                  </a:solidFill>
                  <a:latin typeface="Century Gothic"/>
                  <a:cs typeface="Century Gothic"/>
                </a:rPr>
                <a:t>•</a:t>
              </a:r>
              <a:r>
                <a:rPr lang="en-US" sz="800" b="1" dirty="0">
                  <a:solidFill>
                    <a:srgbClr val="231F20"/>
                  </a:solidFill>
                  <a:latin typeface="Century Gothic"/>
                  <a:cs typeface="Century Gothic"/>
                </a:rPr>
                <a:t> Owner engineer: </a:t>
              </a:r>
              <a:r>
                <a:rPr lang="en-US" sz="800" dirty="0">
                  <a:solidFill>
                    <a:srgbClr val="231F20"/>
                  </a:solidFill>
                  <a:latin typeface="Century Gothic"/>
                  <a:cs typeface="Century Gothic"/>
                </a:rPr>
                <a:t>Support Owners in the development of their nuclear program</a:t>
              </a:r>
            </a:p>
            <a:p>
              <a:pPr marL="6350" marR="55880" algn="just">
                <a:lnSpc>
                  <a:spcPts val="850"/>
                </a:lnSpc>
                <a:spcBef>
                  <a:spcPts val="135"/>
                </a:spcBef>
              </a:pPr>
              <a:r>
                <a:rPr lang="en-US" sz="800" b="1" dirty="0">
                  <a:solidFill>
                    <a:srgbClr val="6C92A8"/>
                  </a:solidFill>
                  <a:latin typeface="Century Gothic"/>
                  <a:cs typeface="Century Gothic"/>
                </a:rPr>
                <a:t>•</a:t>
              </a:r>
              <a:r>
                <a:rPr lang="en-US" sz="800" b="1" dirty="0">
                  <a:solidFill>
                    <a:srgbClr val="231F20"/>
                  </a:solidFill>
                  <a:latin typeface="Century Gothic"/>
                  <a:cs typeface="Century Gothic"/>
                </a:rPr>
                <a:t> Architect engineer: </a:t>
              </a:r>
              <a:r>
                <a:rPr lang="en-US" sz="800" dirty="0">
                  <a:solidFill>
                    <a:srgbClr val="231F20"/>
                  </a:solidFill>
                  <a:latin typeface="Century Gothic"/>
                  <a:cs typeface="Century Gothic"/>
                </a:rPr>
                <a:t>deliver Independent Engineering Services for the technical development of new build projects</a:t>
              </a:r>
            </a:p>
            <a:p>
              <a:pPr marL="6350" marR="55880" algn="just">
                <a:lnSpc>
                  <a:spcPts val="850"/>
                </a:lnSpc>
                <a:spcBef>
                  <a:spcPts val="135"/>
                </a:spcBef>
              </a:pPr>
              <a:r>
                <a:rPr lang="en-US" sz="800" b="1" dirty="0">
                  <a:solidFill>
                    <a:srgbClr val="6C92A8"/>
                  </a:solidFill>
                  <a:latin typeface="Century Gothic"/>
                  <a:cs typeface="Century Gothic"/>
                </a:rPr>
                <a:t>•</a:t>
              </a:r>
              <a:r>
                <a:rPr lang="en-US" sz="800" b="1" dirty="0">
                  <a:solidFill>
                    <a:srgbClr val="231F20"/>
                  </a:solidFill>
                  <a:latin typeface="Century Gothic"/>
                  <a:cs typeface="Century Gothic"/>
                </a:rPr>
                <a:t> Engineer of choice: </a:t>
              </a:r>
              <a:r>
                <a:rPr lang="en-US" sz="800" dirty="0">
                  <a:solidFill>
                    <a:srgbClr val="231F20"/>
                  </a:solidFill>
                  <a:latin typeface="Century Gothic"/>
                  <a:cs typeface="Century Gothic"/>
                </a:rPr>
                <a:t>Support Owners in their operational, maintenance and upgrades activities</a:t>
              </a:r>
            </a:p>
            <a:p>
              <a:pPr marL="6350" marR="55880" algn="just">
                <a:lnSpc>
                  <a:spcPts val="850"/>
                </a:lnSpc>
                <a:spcBef>
                  <a:spcPts val="135"/>
                </a:spcBef>
              </a:pPr>
              <a:r>
                <a:rPr lang="en-US" sz="800" b="1" dirty="0">
                  <a:solidFill>
                    <a:srgbClr val="6C92A8"/>
                  </a:solidFill>
                  <a:latin typeface="Century Gothic"/>
                  <a:cs typeface="Century Gothic"/>
                </a:rPr>
                <a:t>•</a:t>
              </a:r>
              <a:r>
                <a:rPr lang="en-US" sz="800" b="1" dirty="0">
                  <a:solidFill>
                    <a:srgbClr val="231F20"/>
                  </a:solidFill>
                  <a:latin typeface="Century Gothic"/>
                  <a:cs typeface="Century Gothic"/>
                </a:rPr>
                <a:t> Dismantling &amp; waste engineer: </a:t>
              </a:r>
              <a:r>
                <a:rPr lang="en-US" sz="800" dirty="0">
                  <a:solidFill>
                    <a:srgbClr val="231F20"/>
                  </a:solidFill>
                  <a:latin typeface="Century Gothic"/>
                  <a:cs typeface="Century Gothic"/>
                </a:rPr>
                <a:t>Work alongside Operators throughout the end of life of their nuclear assets in all engineering aspects</a:t>
              </a:r>
            </a:p>
            <a:p>
              <a:pPr marL="6350" marR="55880" algn="just">
                <a:lnSpc>
                  <a:spcPts val="850"/>
                </a:lnSpc>
                <a:spcBef>
                  <a:spcPts val="135"/>
                </a:spcBef>
              </a:pPr>
              <a:endParaRPr lang="en-US" sz="800" dirty="0">
                <a:latin typeface="Century Gothic"/>
                <a:cs typeface="Century Gothic"/>
              </a:endParaRPr>
            </a:p>
          </p:txBody>
        </p:sp>
        <p:pic>
          <p:nvPicPr>
            <p:cNvPr id="60" name="Image 59">
              <a:extLst>
                <a:ext uri="{FF2B5EF4-FFF2-40B4-BE49-F238E27FC236}">
                  <a16:creationId xmlns:a16="http://schemas.microsoft.com/office/drawing/2014/main" id="{069AFE8E-D943-384B-880A-1F67D234AD0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5857" t="18019" r="5941" b="25644"/>
            <a:stretch/>
          </p:blipFill>
          <p:spPr>
            <a:xfrm>
              <a:off x="2267876" y="3254375"/>
              <a:ext cx="1478624" cy="157408"/>
            </a:xfrm>
            <a:prstGeom prst="rect">
              <a:avLst/>
            </a:prstGeom>
          </p:spPr>
        </p:pic>
      </p:grpSp>
      <p:pic>
        <p:nvPicPr>
          <p:cNvPr id="74" name="Image 73">
            <a:extLst>
              <a:ext uri="{FF2B5EF4-FFF2-40B4-BE49-F238E27FC236}">
                <a16:creationId xmlns:a16="http://schemas.microsoft.com/office/drawing/2014/main" id="{9DEB5F82-99AB-C940-B0B4-3E37960A0FE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7450" t="14952" r="8319" b="17050"/>
          <a:stretch/>
        </p:blipFill>
        <p:spPr>
          <a:xfrm>
            <a:off x="2267876" y="5359404"/>
            <a:ext cx="1026944" cy="189987"/>
          </a:xfrm>
          <a:prstGeom prst="rect">
            <a:avLst/>
          </a:prstGeom>
        </p:spPr>
      </p:pic>
      <p:sp>
        <p:nvSpPr>
          <p:cNvPr id="81" name="object 13">
            <a:extLst>
              <a:ext uri="{FF2B5EF4-FFF2-40B4-BE49-F238E27FC236}">
                <a16:creationId xmlns:a16="http://schemas.microsoft.com/office/drawing/2014/main" id="{FD1B6A5D-BB1F-9D4F-9BBC-F632B67A6F04}"/>
              </a:ext>
            </a:extLst>
          </p:cNvPr>
          <p:cNvSpPr txBox="1"/>
          <p:nvPr/>
        </p:nvSpPr>
        <p:spPr>
          <a:xfrm>
            <a:off x="2309300" y="847462"/>
            <a:ext cx="985519" cy="166712"/>
          </a:xfrm>
          <a:prstGeom prst="rect">
            <a:avLst/>
          </a:prstGeom>
        </p:spPr>
        <p:txBody>
          <a:bodyPr vert="horz" wrap="square" lIns="0" tIns="12700" rIns="0" bIns="0" rtlCol="0" anchor="t">
            <a:spAutoFit/>
          </a:bodyPr>
          <a:lstStyle/>
          <a:p>
            <a:pPr marL="12700">
              <a:lnSpc>
                <a:spcPct val="100000"/>
              </a:lnSpc>
              <a:spcBef>
                <a:spcPts val="100"/>
              </a:spcBef>
            </a:pPr>
            <a:r>
              <a:rPr lang="en-US" sz="1000" b="1" spc="-5" dirty="0">
                <a:solidFill>
                  <a:srgbClr val="FFFFFF"/>
                </a:solidFill>
                <a:latin typeface="Century Gothic"/>
                <a:cs typeface="Century Gothic"/>
              </a:rPr>
              <a:t>7000</a:t>
            </a:r>
            <a:endParaRPr lang="en-US" sz="1000" dirty="0">
              <a:latin typeface="Century Gothic"/>
              <a:cs typeface="Century Gothic"/>
            </a:endParaRPr>
          </a:p>
        </p:txBody>
      </p:sp>
      <p:sp>
        <p:nvSpPr>
          <p:cNvPr id="83" name="object 10">
            <a:extLst>
              <a:ext uri="{FF2B5EF4-FFF2-40B4-BE49-F238E27FC236}">
                <a16:creationId xmlns:a16="http://schemas.microsoft.com/office/drawing/2014/main" id="{AA4B0085-7941-5846-A79D-ACF1D355A153}"/>
              </a:ext>
            </a:extLst>
          </p:cNvPr>
          <p:cNvSpPr txBox="1"/>
          <p:nvPr/>
        </p:nvSpPr>
        <p:spPr>
          <a:xfrm>
            <a:off x="2309300" y="1472263"/>
            <a:ext cx="1411800" cy="259045"/>
          </a:xfrm>
          <a:prstGeom prst="rect">
            <a:avLst/>
          </a:prstGeom>
        </p:spPr>
        <p:txBody>
          <a:bodyPr vert="horz" wrap="square" lIns="0" tIns="12700" rIns="0" bIns="0" rtlCol="0" anchor="ctr">
            <a:spAutoFit/>
          </a:bodyPr>
          <a:lstStyle/>
          <a:p>
            <a:pPr marL="12700">
              <a:spcBef>
                <a:spcPts val="100"/>
              </a:spcBef>
            </a:pPr>
            <a:r>
              <a:rPr lang="en-US" sz="800" b="1" dirty="0">
                <a:solidFill>
                  <a:srgbClr val="FFFFFF"/>
                </a:solidFill>
                <a:latin typeface="Century Gothic"/>
                <a:cs typeface="Century Gothic"/>
              </a:rPr>
              <a:t>Export </a:t>
            </a:r>
            <a:r>
              <a:rPr lang="en-US" sz="800" b="1" spc="-5" dirty="0">
                <a:solidFill>
                  <a:srgbClr val="FFFFFF"/>
                </a:solidFill>
                <a:latin typeface="Century Gothic"/>
                <a:cs typeface="Century Gothic"/>
              </a:rPr>
              <a:t>areas: </a:t>
            </a:r>
            <a:r>
              <a:rPr lang="en-US" sz="800" dirty="0">
                <a:solidFill>
                  <a:srgbClr val="FFFFFF"/>
                </a:solidFill>
                <a:latin typeface="Century Gothic"/>
                <a:cs typeface="Century Gothic"/>
              </a:rPr>
              <a:t>Middle East, Eastern and Western Europe</a:t>
            </a:r>
            <a:endParaRPr lang="en-US" sz="800" dirty="0"/>
          </a:p>
        </p:txBody>
      </p:sp>
      <p:sp>
        <p:nvSpPr>
          <p:cNvPr id="58" name="Rectangle 57">
            <a:extLst>
              <a:ext uri="{FF2B5EF4-FFF2-40B4-BE49-F238E27FC236}">
                <a16:creationId xmlns:a16="http://schemas.microsoft.com/office/drawing/2014/main" id="{010C1C23-53A9-9149-B1B6-D34996C18C34}"/>
              </a:ext>
            </a:extLst>
          </p:cNvPr>
          <p:cNvSpPr/>
          <p:nvPr/>
        </p:nvSpPr>
        <p:spPr>
          <a:xfrm>
            <a:off x="17421" y="4998804"/>
            <a:ext cx="1878448" cy="3208571"/>
          </a:xfrm>
          <a:prstGeom prst="rect">
            <a:avLst/>
          </a:prstGeom>
        </p:spPr>
        <p:txBody>
          <a:bodyPr wrap="square">
            <a:spAutoFit/>
          </a:bodyPr>
          <a:lstStyle/>
          <a:p>
            <a:pPr marL="12700" marR="5080" algn="just">
              <a:lnSpc>
                <a:spcPts val="900"/>
              </a:lnSpc>
              <a:spcBef>
                <a:spcPts val="850"/>
              </a:spcBef>
            </a:pPr>
            <a:r>
              <a:rPr lang="en-US" sz="800" dirty="0">
                <a:latin typeface="Century Gothic"/>
                <a:cs typeface="Century Gothic"/>
              </a:rPr>
              <a:t>Assystem has been involved in Fusion projects for more than 20 years. We believe </a:t>
            </a:r>
            <a:r>
              <a:rPr lang="en-GB" sz="800" dirty="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that nuclear fusion is a potential game-changer in addressing growing energy demand globally and in tackling climate change at source. </a:t>
            </a:r>
            <a:br>
              <a:rPr lang="en-GB" sz="800" dirty="0">
                <a:solidFill>
                  <a:srgbClr val="000000"/>
                </a:solidFill>
                <a:latin typeface="Calibri" panose="020F0502020204030204" pitchFamily="34" charset="0"/>
                <a:ea typeface="Calibri" panose="020F0502020204030204" pitchFamily="34" charset="0"/>
                <a:cs typeface="Times New Roman" panose="02020603050405020304" pitchFamily="18" charset="0"/>
              </a:rPr>
            </a:br>
            <a:br>
              <a:rPr lang="en-GB" sz="800" dirty="0">
                <a:solidFill>
                  <a:srgbClr val="000000"/>
                </a:solidFill>
                <a:latin typeface="Calibri" panose="020F0502020204030204" pitchFamily="34" charset="0"/>
                <a:ea typeface="Calibri" panose="020F0502020204030204" pitchFamily="34" charset="0"/>
                <a:cs typeface="Times New Roman" panose="02020603050405020304" pitchFamily="18" charset="0"/>
              </a:rPr>
            </a:br>
            <a:r>
              <a:rPr lang="en-GB" sz="800" dirty="0">
                <a:effectLst/>
                <a:latin typeface="Segoe UI" panose="020B0502040204020203" pitchFamily="34" charset="0"/>
                <a:ea typeface="Calibri" panose="020F0502020204030204" pitchFamily="34" charset="0"/>
                <a:cs typeface="Times New Roman" panose="02020603050405020304" pitchFamily="18" charset="0"/>
              </a:rPr>
              <a:t>Assystem is a key player in global fusion initiatives internationally and is supporting the construction of the ground-breaking nuclear fusion ITER project in France. ITER will be the world’s largest experimental fusion reactor upon completion. </a:t>
            </a:r>
          </a:p>
          <a:p>
            <a:pPr marL="12700" marR="5080" algn="just">
              <a:lnSpc>
                <a:spcPts val="900"/>
              </a:lnSpc>
              <a:spcBef>
                <a:spcPts val="850"/>
              </a:spcBef>
            </a:pPr>
            <a:r>
              <a:rPr lang="en-GB" sz="800" dirty="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Assystem is a key player in the UK’s fusion initiatives and is actively involved in work to support UKAEA (UK Atomic Energy Authority) </a:t>
            </a:r>
            <a:r>
              <a:rPr lang="en-GB" sz="800" dirty="0" err="1">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Culham</a:t>
            </a:r>
            <a:r>
              <a:rPr lang="en-GB" sz="800" dirty="0">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 Centre for Fusion, the UK’s national nuclear fusion laboratory. Assystem supports the operation of the JET, the world’s largest and most powerful tokamak and the </a:t>
            </a:r>
            <a:r>
              <a:rPr lang="en-GB" sz="800" dirty="0" err="1">
                <a:solidFill>
                  <a:srgbClr val="000000"/>
                </a:solidFill>
                <a:effectLst/>
                <a:latin typeface="Segoe UI" panose="020B0502040204020203" pitchFamily="34" charset="0"/>
                <a:ea typeface="Calibri" panose="020F0502020204030204" pitchFamily="34" charset="0"/>
                <a:cs typeface="Times New Roman" panose="02020603050405020304" pitchFamily="18" charset="0"/>
              </a:rPr>
              <a:t>fo</a:t>
            </a:r>
            <a:endParaRPr lang="en-GB" sz="800" dirty="0">
              <a:effectLst/>
              <a:latin typeface="Calibri" panose="020F0502020204030204" pitchFamily="34" charset="0"/>
              <a:ea typeface="Calibri" panose="020F0502020204030204" pitchFamily="34" charset="0"/>
              <a:cs typeface="Times New Roman" panose="02020603050405020304" pitchFamily="18" charset="0"/>
            </a:endParaRPr>
          </a:p>
          <a:p>
            <a:pPr marL="12700" marR="5080" algn="just">
              <a:lnSpc>
                <a:spcPts val="900"/>
              </a:lnSpc>
              <a:spcBef>
                <a:spcPts val="850"/>
              </a:spcBef>
            </a:pPr>
            <a:endParaRPr lang="en-GB" sz="800" dirty="0">
              <a:solidFill>
                <a:srgbClr val="000000"/>
              </a:solidFill>
              <a:effectLst/>
              <a:latin typeface="Segoe UI" panose="020B0502040204020203" pitchFamily="34" charset="0"/>
              <a:ea typeface="Calibri" panose="020F0502020204030204" pitchFamily="34" charset="0"/>
              <a:cs typeface="Times New Roman" panose="02020603050405020304" pitchFamily="18" charset="0"/>
            </a:endParaRPr>
          </a:p>
        </p:txBody>
      </p:sp>
      <p:grpSp>
        <p:nvGrpSpPr>
          <p:cNvPr id="37" name="Groupe 36">
            <a:extLst>
              <a:ext uri="{FF2B5EF4-FFF2-40B4-BE49-F238E27FC236}">
                <a16:creationId xmlns:a16="http://schemas.microsoft.com/office/drawing/2014/main" id="{168DB73E-6F94-9845-94BE-504F8EE566A8}"/>
              </a:ext>
            </a:extLst>
          </p:cNvPr>
          <p:cNvGrpSpPr/>
          <p:nvPr/>
        </p:nvGrpSpPr>
        <p:grpSpPr>
          <a:xfrm>
            <a:off x="2234370" y="6241415"/>
            <a:ext cx="3391711" cy="524902"/>
            <a:chOff x="2234370" y="4405525"/>
            <a:chExt cx="3391711" cy="524902"/>
          </a:xfrm>
        </p:grpSpPr>
        <p:pic>
          <p:nvPicPr>
            <p:cNvPr id="78" name="Image 77" descr="Une image contenant texte&#10;&#10;Description générée automatiquement">
              <a:extLst>
                <a:ext uri="{FF2B5EF4-FFF2-40B4-BE49-F238E27FC236}">
                  <a16:creationId xmlns:a16="http://schemas.microsoft.com/office/drawing/2014/main" id="{5F0C30C4-4E56-1947-87C6-596EBC59BFA3}"/>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7054" t="21798" r="11873" b="27282"/>
            <a:stretch/>
          </p:blipFill>
          <p:spPr>
            <a:xfrm>
              <a:off x="2273371" y="4405525"/>
              <a:ext cx="761929" cy="142271"/>
            </a:xfrm>
            <a:prstGeom prst="rect">
              <a:avLst/>
            </a:prstGeom>
          </p:spPr>
        </p:pic>
        <p:grpSp>
          <p:nvGrpSpPr>
            <p:cNvPr id="36" name="Groupe 35">
              <a:extLst>
                <a:ext uri="{FF2B5EF4-FFF2-40B4-BE49-F238E27FC236}">
                  <a16:creationId xmlns:a16="http://schemas.microsoft.com/office/drawing/2014/main" id="{92D6D75F-55EE-FE45-814F-2DA49DA976D9}"/>
                </a:ext>
              </a:extLst>
            </p:cNvPr>
            <p:cNvGrpSpPr/>
            <p:nvPr/>
          </p:nvGrpSpPr>
          <p:grpSpPr>
            <a:xfrm>
              <a:off x="2234370" y="4530282"/>
              <a:ext cx="3391711" cy="400145"/>
              <a:chOff x="2234370" y="4466798"/>
              <a:chExt cx="3391711" cy="400145"/>
            </a:xfrm>
          </p:grpSpPr>
          <p:pic>
            <p:nvPicPr>
              <p:cNvPr id="29" name="Image 28">
                <a:extLst>
                  <a:ext uri="{FF2B5EF4-FFF2-40B4-BE49-F238E27FC236}">
                    <a16:creationId xmlns:a16="http://schemas.microsoft.com/office/drawing/2014/main" id="{6E99BAB4-0CA8-3940-B6BE-468EC2AC86A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234370" y="4466798"/>
                <a:ext cx="1308100" cy="279400"/>
              </a:xfrm>
              <a:prstGeom prst="rect">
                <a:avLst/>
              </a:prstGeom>
            </p:spPr>
          </p:pic>
          <p:sp>
            <p:nvSpPr>
              <p:cNvPr id="69" name="Rectangle 68">
                <a:extLst>
                  <a:ext uri="{FF2B5EF4-FFF2-40B4-BE49-F238E27FC236}">
                    <a16:creationId xmlns:a16="http://schemas.microsoft.com/office/drawing/2014/main" id="{77DE93A1-01B5-0B48-B914-67D5E74FD62F}"/>
                  </a:ext>
                </a:extLst>
              </p:cNvPr>
              <p:cNvSpPr/>
              <p:nvPr/>
            </p:nvSpPr>
            <p:spPr>
              <a:xfrm>
                <a:off x="2355594" y="4659194"/>
                <a:ext cx="3270487" cy="207749"/>
              </a:xfrm>
              <a:prstGeom prst="rect">
                <a:avLst/>
              </a:prstGeom>
            </p:spPr>
            <p:txBody>
              <a:bodyPr wrap="square">
                <a:spAutoFit/>
              </a:bodyPr>
              <a:lstStyle/>
              <a:p>
                <a:pPr marL="12700" marR="5080" algn="just">
                  <a:lnSpc>
                    <a:spcPts val="900"/>
                  </a:lnSpc>
                  <a:spcBef>
                    <a:spcPts val="850"/>
                  </a:spcBef>
                </a:pPr>
                <a:r>
                  <a:rPr lang="en-US" sz="800" dirty="0">
                    <a:latin typeface="Century Gothic"/>
                    <a:cs typeface="Century Gothic"/>
                  </a:rPr>
                  <a:t>ISO 9001:2015, ISO45001:2018, ISO19443: 2021</a:t>
                </a:r>
                <a:endParaRPr lang="en-US" sz="800" dirty="0"/>
              </a:p>
            </p:txBody>
          </p:sp>
        </p:grpSp>
      </p:grpSp>
      <p:grpSp>
        <p:nvGrpSpPr>
          <p:cNvPr id="34" name="Groupe 33">
            <a:extLst>
              <a:ext uri="{FF2B5EF4-FFF2-40B4-BE49-F238E27FC236}">
                <a16:creationId xmlns:a16="http://schemas.microsoft.com/office/drawing/2014/main" id="{E74E81B6-CECB-1B43-BA80-9D83351179D2}"/>
              </a:ext>
            </a:extLst>
          </p:cNvPr>
          <p:cNvGrpSpPr/>
          <p:nvPr/>
        </p:nvGrpSpPr>
        <p:grpSpPr>
          <a:xfrm>
            <a:off x="2228850" y="6758661"/>
            <a:ext cx="3397231" cy="425138"/>
            <a:chOff x="2228850" y="5135488"/>
            <a:chExt cx="3397231" cy="425138"/>
          </a:xfrm>
        </p:grpSpPr>
        <p:pic>
          <p:nvPicPr>
            <p:cNvPr id="31" name="Image 30">
              <a:extLst>
                <a:ext uri="{FF2B5EF4-FFF2-40B4-BE49-F238E27FC236}">
                  <a16:creationId xmlns:a16="http://schemas.microsoft.com/office/drawing/2014/main" id="{503923B4-B1CB-7740-8F67-93F04171C2A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228850" y="5135488"/>
              <a:ext cx="1651000" cy="266700"/>
            </a:xfrm>
            <a:prstGeom prst="rect">
              <a:avLst/>
            </a:prstGeom>
          </p:spPr>
        </p:pic>
        <p:sp>
          <p:nvSpPr>
            <p:cNvPr id="70" name="Rectangle 69">
              <a:extLst>
                <a:ext uri="{FF2B5EF4-FFF2-40B4-BE49-F238E27FC236}">
                  <a16:creationId xmlns:a16="http://schemas.microsoft.com/office/drawing/2014/main" id="{F3CBC4D4-AB7B-AF43-A4EB-AF0E84BE95FC}"/>
                </a:ext>
              </a:extLst>
            </p:cNvPr>
            <p:cNvSpPr/>
            <p:nvPr/>
          </p:nvSpPr>
          <p:spPr>
            <a:xfrm>
              <a:off x="2355594" y="5352877"/>
              <a:ext cx="3270487" cy="207749"/>
            </a:xfrm>
            <a:prstGeom prst="rect">
              <a:avLst/>
            </a:prstGeom>
          </p:spPr>
          <p:txBody>
            <a:bodyPr wrap="square">
              <a:spAutoFit/>
            </a:bodyPr>
            <a:lstStyle/>
            <a:p>
              <a:pPr marL="12700" marR="5080" algn="just">
                <a:lnSpc>
                  <a:spcPts val="900"/>
                </a:lnSpc>
                <a:spcBef>
                  <a:spcPts val="850"/>
                </a:spcBef>
              </a:pPr>
              <a:r>
                <a:rPr lang="en-US" sz="800" dirty="0">
                  <a:latin typeface="Century Gothic"/>
                  <a:cs typeface="Century Gothic"/>
                </a:rPr>
                <a:t>EDF, CEA, ITER, UKAEA, KA.CARE, ENEC, ANDRA, NDA</a:t>
              </a:r>
              <a:endParaRPr lang="en-US" sz="800" dirty="0"/>
            </a:p>
          </p:txBody>
        </p:sp>
      </p:grpSp>
      <p:grpSp>
        <p:nvGrpSpPr>
          <p:cNvPr id="2" name="Groupe 1">
            <a:extLst>
              <a:ext uri="{FF2B5EF4-FFF2-40B4-BE49-F238E27FC236}">
                <a16:creationId xmlns:a16="http://schemas.microsoft.com/office/drawing/2014/main" id="{5E91F640-5A6A-4ECA-AACE-534FD970D55A}"/>
              </a:ext>
            </a:extLst>
          </p:cNvPr>
          <p:cNvGrpSpPr/>
          <p:nvPr/>
        </p:nvGrpSpPr>
        <p:grpSpPr>
          <a:xfrm>
            <a:off x="2062741" y="7179612"/>
            <a:ext cx="3802542" cy="1414249"/>
            <a:chOff x="2062741" y="7179612"/>
            <a:chExt cx="3802542" cy="1414249"/>
          </a:xfrm>
        </p:grpSpPr>
        <p:pic>
          <p:nvPicPr>
            <p:cNvPr id="33" name="Image 32" descr="Une image contenant texte&#10;&#10;Description générée automatiquement">
              <a:extLst>
                <a:ext uri="{FF2B5EF4-FFF2-40B4-BE49-F238E27FC236}">
                  <a16:creationId xmlns:a16="http://schemas.microsoft.com/office/drawing/2014/main" id="{C3C72E74-962A-304E-94C1-1036E6F3B3C0}"/>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228850" y="7179612"/>
              <a:ext cx="2178050" cy="266700"/>
            </a:xfrm>
            <a:prstGeom prst="rect">
              <a:avLst/>
            </a:prstGeom>
          </p:spPr>
        </p:pic>
        <p:sp>
          <p:nvSpPr>
            <p:cNvPr id="75" name="Rectangle 74">
              <a:extLst>
                <a:ext uri="{FF2B5EF4-FFF2-40B4-BE49-F238E27FC236}">
                  <a16:creationId xmlns:a16="http://schemas.microsoft.com/office/drawing/2014/main" id="{C2155A27-D3D5-A84D-B471-6204D2A4ADF3}"/>
                </a:ext>
              </a:extLst>
            </p:cNvPr>
            <p:cNvSpPr/>
            <p:nvPr/>
          </p:nvSpPr>
          <p:spPr>
            <a:xfrm>
              <a:off x="2062741" y="7393532"/>
              <a:ext cx="3802542" cy="1200329"/>
            </a:xfrm>
            <a:prstGeom prst="rect">
              <a:avLst/>
            </a:prstGeom>
          </p:spPr>
          <p:txBody>
            <a:bodyPr wrap="square">
              <a:spAutoFit/>
            </a:bodyPr>
            <a:lstStyle/>
            <a:p>
              <a:r>
                <a:rPr lang="en-US" sz="800" dirty="0">
                  <a:solidFill>
                    <a:prstClr val="black"/>
                  </a:solidFill>
                  <a:latin typeface="Segoe UI" panose="020B0502040204020203" pitchFamily="34" charset="0"/>
                  <a:cs typeface="Segoe UI" panose="020B0502040204020203" pitchFamily="34" charset="0"/>
                </a:rPr>
                <a:t>         - S</a:t>
              </a:r>
              <a:r>
                <a:rPr kumimoji="0" lang="en-US" sz="800" b="0" i="0" u="none" strike="noStrike" kern="1200" cap="none" spc="0" normalizeH="0" baseline="0" noProof="0" dirty="0" err="1">
                  <a:ln>
                    <a:noFill/>
                  </a:ln>
                  <a:solidFill>
                    <a:prstClr val="black"/>
                  </a:solidFill>
                  <a:effectLst/>
                  <a:uLnTx/>
                  <a:uFillTx/>
                  <a:latin typeface="Segoe UI" panose="020B0502040204020203" pitchFamily="34" charset="0"/>
                  <a:ea typeface="+mn-ea"/>
                  <a:cs typeface="Segoe UI" panose="020B0502040204020203" pitchFamily="34" charset="0"/>
                </a:rPr>
                <a:t>ite</a:t>
              </a:r>
              <a:r>
                <a:rPr kumimoji="0" lang="en-US"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a:t>
              </a:r>
              <a:r>
                <a:rPr kumimoji="0" lang="en-GB"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haracterisation</a:t>
              </a:r>
              <a:r>
                <a:rPr kumimoji="0" lang="en-US"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permitting and evaluation studies - </a:t>
              </a:r>
              <a:r>
                <a:rPr lang="en-US" sz="800" dirty="0">
                  <a:latin typeface="Century Gothic"/>
                  <a:cs typeface="Century Gothic"/>
                </a:rPr>
                <a:t>KA.CARE NPP</a:t>
              </a:r>
            </a:p>
            <a:p>
              <a:r>
                <a:rPr kumimoji="0" lang="en-US"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 Architect Engineer for the buildings, services and site infrastructure &amp;      </a:t>
              </a:r>
              <a:br>
                <a:rPr kumimoji="0" lang="en-US"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br>
              <a:r>
                <a:rPr kumimoji="0" lang="en-US"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construction </a:t>
              </a:r>
              <a:r>
                <a:rPr lang="en-US" sz="800" dirty="0">
                  <a:solidFill>
                    <a:prstClr val="black"/>
                  </a:solidFill>
                  <a:latin typeface="Segoe UI" panose="020B0502040204020203" pitchFamily="34" charset="0"/>
                  <a:cs typeface="Segoe UI" panose="020B0502040204020203" pitchFamily="34" charset="0"/>
                </a:rPr>
                <a:t>M</a:t>
              </a:r>
              <a:r>
                <a:rPr kumimoji="0" lang="en-US" sz="800" b="0" i="0" u="none" strike="noStrike" kern="1200" cap="none" spc="0" normalizeH="0" baseline="0" noProof="0" dirty="0" err="1">
                  <a:ln>
                    <a:noFill/>
                  </a:ln>
                  <a:solidFill>
                    <a:prstClr val="black"/>
                  </a:solidFill>
                  <a:effectLst/>
                  <a:uLnTx/>
                  <a:uFillTx/>
                  <a:latin typeface="Segoe UI" panose="020B0502040204020203" pitchFamily="34" charset="0"/>
                  <a:ea typeface="+mn-ea"/>
                  <a:cs typeface="Segoe UI" panose="020B0502040204020203" pitchFamily="34" charset="0"/>
                </a:rPr>
                <a:t>anagement</a:t>
              </a:r>
              <a:r>
                <a:rPr kumimoji="0" lang="en-US"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Agent for all installations – ITER project,</a:t>
              </a:r>
              <a:br>
                <a:rPr kumimoji="0" lang="en-US"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br>
              <a:r>
                <a:rPr kumimoji="0" lang="en-US" sz="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 Nuclear </a:t>
              </a:r>
              <a:r>
                <a:rPr kumimoji="0" lang="en-US"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waste handling system for CIGEO project-ANDRA  </a:t>
              </a:r>
              <a:br>
                <a:rPr kumimoji="0" lang="en-US"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br>
              <a:r>
                <a:rPr kumimoji="0" lang="en-US"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 Mechanical design engineering-CERN</a:t>
              </a:r>
              <a:br>
                <a:rPr kumimoji="0" lang="en-US"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br>
              <a:r>
                <a:rPr kumimoji="0" lang="en-US"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 System engineering &amp; control system specifications for EPRs – </a:t>
              </a:r>
              <a:r>
                <a:rPr lang="en-US" sz="800" dirty="0">
                  <a:solidFill>
                    <a:prstClr val="black"/>
                  </a:solidFill>
                  <a:latin typeface="Segoe UI" panose="020B0502040204020203" pitchFamily="34" charset="0"/>
                  <a:cs typeface="Segoe UI" panose="020B0502040204020203" pitchFamily="34" charset="0"/>
                </a:rPr>
                <a:t>E</a:t>
              </a:r>
              <a:r>
                <a:rPr kumimoji="0" lang="en-US"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DF  </a:t>
              </a:r>
              <a:br>
                <a:rPr kumimoji="0" lang="en-US"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br>
              <a:r>
                <a:rPr kumimoji="0" lang="en-US"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a:t>
              </a:r>
            </a:p>
            <a:p>
              <a:endParaRPr kumimoji="0" lang="en-US"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a:p>
              <a:r>
                <a:rPr lang="en-US" sz="800" dirty="0">
                  <a:latin typeface="Century Gothic"/>
                  <a:cs typeface="Century Gothic"/>
                </a:rPr>
                <a:t> </a:t>
              </a:r>
            </a:p>
          </p:txBody>
        </p:sp>
      </p:grpSp>
      <p:sp>
        <p:nvSpPr>
          <p:cNvPr id="44" name="ZoneTexte 22">
            <a:extLst>
              <a:ext uri="{FF2B5EF4-FFF2-40B4-BE49-F238E27FC236}">
                <a16:creationId xmlns:a16="http://schemas.microsoft.com/office/drawing/2014/main" id="{6484CFD7-FBAB-4B0B-BEFD-C20C7A5FEE62}"/>
              </a:ext>
            </a:extLst>
          </p:cNvPr>
          <p:cNvSpPr txBox="1"/>
          <p:nvPr/>
        </p:nvSpPr>
        <p:spPr>
          <a:xfrm>
            <a:off x="2162225" y="5529285"/>
            <a:ext cx="3603575" cy="614271"/>
          </a:xfrm>
          <a:prstGeom prst="rect">
            <a:avLst/>
          </a:prstGeom>
          <a:noFill/>
          <a:ln>
            <a:noFill/>
          </a:ln>
        </p:spPr>
        <p:txBody>
          <a:bodyPr wrap="square">
            <a:spAutoFit/>
          </a:bodyPr>
          <a:lstStyle/>
          <a:p>
            <a:pPr>
              <a:lnSpc>
                <a:spcPct val="106000"/>
              </a:lnSpc>
            </a:pPr>
            <a:r>
              <a:rPr lang="en-US" sz="8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Nuclear Power Plant Construction (including ESIA, design &amp; licensing)  </a:t>
            </a:r>
            <a:r>
              <a:rPr lang="en-US" sz="800" dirty="0">
                <a:solidFill>
                  <a:srgbClr val="6C92A8"/>
                </a:solidFill>
                <a:latin typeface="Century Gothic"/>
                <a:cs typeface="Century Gothic"/>
              </a:rPr>
              <a:t>• </a:t>
            </a:r>
            <a:r>
              <a:rPr lang="en-US" sz="800" dirty="0">
                <a:solidFill>
                  <a:srgbClr val="000000"/>
                </a:solidFill>
                <a:latin typeface="Century Gothic" panose="020B0502020202020204" pitchFamily="34" charset="0"/>
                <a:cs typeface="Times New Roman" panose="02020603050405020304" pitchFamily="18" charset="0"/>
              </a:rPr>
              <a:t> </a:t>
            </a:r>
            <a:r>
              <a:rPr lang="en-US" sz="8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Nuclear Plant operation &amp; maintenance </a:t>
            </a:r>
            <a:r>
              <a:rPr lang="en-US" sz="800" dirty="0">
                <a:solidFill>
                  <a:srgbClr val="6C92A8"/>
                </a:solidFill>
                <a:latin typeface="Century Gothic"/>
                <a:cs typeface="Century Gothic"/>
              </a:rPr>
              <a:t>•</a:t>
            </a:r>
            <a:r>
              <a:rPr lang="en-US" sz="8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 </a:t>
            </a:r>
            <a:r>
              <a:rPr lang="en-US" sz="800" kern="1200"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Fuel cycle activities </a:t>
            </a:r>
            <a:r>
              <a:rPr lang="en-US" sz="800" dirty="0">
                <a:solidFill>
                  <a:srgbClr val="6C92A8"/>
                </a:solidFill>
                <a:latin typeface="Century Gothic"/>
                <a:cs typeface="Century Gothic"/>
              </a:rPr>
              <a:t>• </a:t>
            </a:r>
            <a:r>
              <a:rPr lang="en-US" sz="8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Decommissioning &amp; dismantling </a:t>
            </a:r>
            <a:r>
              <a:rPr lang="en-US" sz="800" dirty="0">
                <a:solidFill>
                  <a:srgbClr val="6C92A8"/>
                </a:solidFill>
                <a:latin typeface="Century Gothic"/>
                <a:cs typeface="Century Gothic"/>
              </a:rPr>
              <a:t>• </a:t>
            </a:r>
            <a:r>
              <a:rPr lang="en-US" sz="800" dirty="0">
                <a:solidFill>
                  <a:srgbClr val="000000"/>
                </a:solidFill>
                <a:latin typeface="Century Gothic" panose="020B0502020202020204" pitchFamily="34" charset="0"/>
                <a:cs typeface="Times New Roman" panose="02020603050405020304" pitchFamily="18" charset="0"/>
              </a:rPr>
              <a:t>W</a:t>
            </a:r>
            <a:r>
              <a:rPr lang="en-US" sz="8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aste management (inc. NORMS &amp; site remediation)</a:t>
            </a:r>
            <a:r>
              <a:rPr lang="en-US" sz="800" dirty="0">
                <a:solidFill>
                  <a:srgbClr val="6C92A8"/>
                </a:solidFill>
                <a:latin typeface="Century Gothic"/>
                <a:cs typeface="Century Gothic"/>
              </a:rPr>
              <a:t> •</a:t>
            </a:r>
            <a:r>
              <a:rPr lang="en-US" sz="8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  Big Science projects </a:t>
            </a:r>
            <a:r>
              <a:rPr lang="en-US" sz="800" dirty="0">
                <a:solidFill>
                  <a:srgbClr val="6C92A8"/>
                </a:solidFill>
                <a:latin typeface="Century Gothic"/>
                <a:cs typeface="Century Gothic"/>
              </a:rPr>
              <a:t>•</a:t>
            </a:r>
            <a:endParaRPr lang="en-US" sz="800" dirty="0">
              <a:effectLst/>
              <a:latin typeface="Century Gothic" panose="020B0502020202020204" pitchFamily="34" charset="0"/>
              <a:ea typeface="Calibri" panose="020F0502020204030204" pitchFamily="34" charset="0"/>
              <a:cs typeface="Times New Roman" panose="02020603050405020304" pitchFamily="18" charset="0"/>
            </a:endParaRPr>
          </a:p>
        </p:txBody>
      </p:sp>
      <p:sp>
        <p:nvSpPr>
          <p:cNvPr id="55" name="Rectangle 54">
            <a:extLst>
              <a:ext uri="{FF2B5EF4-FFF2-40B4-BE49-F238E27FC236}">
                <a16:creationId xmlns:a16="http://schemas.microsoft.com/office/drawing/2014/main" id="{CDEFE620-92A9-2F4F-8265-A7C2A6160C41}"/>
              </a:ext>
            </a:extLst>
          </p:cNvPr>
          <p:cNvSpPr/>
          <p:nvPr/>
        </p:nvSpPr>
        <p:spPr>
          <a:xfrm>
            <a:off x="0" y="2843847"/>
            <a:ext cx="1878448" cy="1477328"/>
          </a:xfrm>
          <a:prstGeom prst="rect">
            <a:avLst/>
          </a:prstGeom>
        </p:spPr>
        <p:txBody>
          <a:bodyPr wrap="square">
            <a:spAutoFit/>
          </a:bodyPr>
          <a:lstStyle/>
          <a:p>
            <a:pPr marL="12700" marR="5080" algn="just">
              <a:lnSpc>
                <a:spcPts val="900"/>
              </a:lnSpc>
              <a:spcBef>
                <a:spcPts val="850"/>
              </a:spcBef>
            </a:pPr>
            <a:r>
              <a:rPr lang="en-US" sz="800" dirty="0">
                <a:latin typeface="Century Gothic"/>
                <a:cs typeface="Century Gothic"/>
              </a:rPr>
              <a:t>ASSYSTEM operates in more than 15 countries via establishing local engineering platforms &amp; offices with support of with 4,000 nuclear experts in order to support clients in meeting the challenge of decarbonization. We address all types of technologies by providing engineering services on a full nuclear life cycle, as well as trainings and support for human capacity building.</a:t>
            </a:r>
            <a:endParaRPr lang="en-US" sz="800" dirty="0">
              <a:solidFill>
                <a:srgbClr val="0B87B5"/>
              </a:solidFill>
              <a:effectLst/>
              <a:latin typeface="Century Gothic" panose="020B0502020202020204" pitchFamily="34" charset="0"/>
              <a:ea typeface="Calibri" panose="020F0502020204030204" pitchFamily="34" charset="0"/>
              <a:cs typeface="Times New Roman" panose="02020603050405020304" pitchFamily="18" charset="0"/>
            </a:endParaRPr>
          </a:p>
        </p:txBody>
      </p:sp>
      <p:pic>
        <p:nvPicPr>
          <p:cNvPr id="1026" name="Picture 2" descr="Fichier:Logo Assystem.svg — Wikipédia"/>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0510" y="54646"/>
            <a:ext cx="1110621" cy="777435"/>
          </a:xfrm>
          <a:prstGeom prst="rect">
            <a:avLst/>
          </a:prstGeom>
          <a:noFill/>
          <a:extLst>
            <a:ext uri="{909E8E84-426E-40DD-AFC4-6F175D3DCCD1}">
              <a14:hiddenFill xmlns:a14="http://schemas.microsoft.com/office/drawing/2010/main">
                <a:solidFill>
                  <a:srgbClr val="FFFFFF"/>
                </a:solidFill>
              </a14:hiddenFill>
            </a:ext>
          </a:extLst>
        </p:spPr>
      </p:pic>
      <p:sp>
        <p:nvSpPr>
          <p:cNvPr id="46" name="object 4">
            <a:extLst>
              <a:ext uri="{FF2B5EF4-FFF2-40B4-BE49-F238E27FC236}">
                <a16:creationId xmlns:a16="http://schemas.microsoft.com/office/drawing/2014/main" id="{A173E8CE-4A05-4644-A132-E6B281305260}"/>
              </a:ext>
            </a:extLst>
          </p:cNvPr>
          <p:cNvSpPr txBox="1"/>
          <p:nvPr/>
        </p:nvSpPr>
        <p:spPr>
          <a:xfrm>
            <a:off x="930835" y="1277783"/>
            <a:ext cx="656665" cy="197490"/>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1F376B"/>
                </a:solidFill>
                <a:latin typeface="Dancing Script"/>
                <a:cs typeface="Dancing Script"/>
              </a:rPr>
              <a:t>member</a:t>
            </a:r>
            <a:endParaRPr sz="1200" dirty="0">
              <a:latin typeface="Dancing Script"/>
              <a:cs typeface="Dancing Script"/>
            </a:endParaRPr>
          </a:p>
        </p:txBody>
      </p:sp>
      <p:pic>
        <p:nvPicPr>
          <p:cNvPr id="47" name="Picture 2">
            <a:extLst>
              <a:ext uri="{FF2B5EF4-FFF2-40B4-BE49-F238E27FC236}">
                <a16:creationId xmlns:a16="http://schemas.microsoft.com/office/drawing/2014/main" id="{31450C5E-913D-4201-8288-32A506D8867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93507" y="892175"/>
            <a:ext cx="453772" cy="453772"/>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8" descr="Résultat de recherche d'images pour &quot;logo nia uk&quot;">
            <a:extLst>
              <a:ext uri="{FF2B5EF4-FFF2-40B4-BE49-F238E27FC236}">
                <a16:creationId xmlns:a16="http://schemas.microsoft.com/office/drawing/2014/main" id="{C462DDDF-4B06-4932-813B-0AC9B9EB6D7D}"/>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43887" y="1425575"/>
            <a:ext cx="353013" cy="247367"/>
          </a:xfrm>
          <a:prstGeom prst="rect">
            <a:avLst/>
          </a:prstGeom>
          <a:noFill/>
          <a:extLst>
            <a:ext uri="{909E8E84-426E-40DD-AFC4-6F175D3DCCD1}">
              <a14:hiddenFill xmlns:a14="http://schemas.microsoft.com/office/drawing/2010/main">
                <a:solidFill>
                  <a:srgbClr val="FFFFFF"/>
                </a:solidFill>
              </a14:hiddenFill>
            </a:ext>
          </a:extLst>
        </p:spPr>
      </p:pic>
      <p:sp>
        <p:nvSpPr>
          <p:cNvPr id="42" name="object 6">
            <a:extLst>
              <a:ext uri="{FF2B5EF4-FFF2-40B4-BE49-F238E27FC236}">
                <a16:creationId xmlns:a16="http://schemas.microsoft.com/office/drawing/2014/main" id="{61300578-12B7-594E-EB06-BA9DD9006440}"/>
              </a:ext>
            </a:extLst>
          </p:cNvPr>
          <p:cNvSpPr/>
          <p:nvPr/>
        </p:nvSpPr>
        <p:spPr>
          <a:xfrm>
            <a:off x="-16244" y="2492399"/>
            <a:ext cx="483234" cy="289560"/>
          </a:xfrm>
          <a:custGeom>
            <a:avLst/>
            <a:gdLst/>
            <a:ahLst/>
            <a:cxnLst/>
            <a:rect l="l" t="t" r="r" b="b"/>
            <a:pathLst>
              <a:path w="483234" h="289560">
                <a:moveTo>
                  <a:pt x="446998" y="0"/>
                </a:moveTo>
                <a:lnTo>
                  <a:pt x="0" y="0"/>
                </a:lnTo>
                <a:lnTo>
                  <a:pt x="0" y="289140"/>
                </a:lnTo>
                <a:lnTo>
                  <a:pt x="446998" y="289140"/>
                </a:lnTo>
                <a:lnTo>
                  <a:pt x="461014" y="286312"/>
                </a:lnTo>
                <a:lnTo>
                  <a:pt x="472458" y="278598"/>
                </a:lnTo>
                <a:lnTo>
                  <a:pt x="480173" y="267157"/>
                </a:lnTo>
                <a:lnTo>
                  <a:pt x="483002" y="253149"/>
                </a:lnTo>
                <a:lnTo>
                  <a:pt x="483002" y="36004"/>
                </a:lnTo>
                <a:lnTo>
                  <a:pt x="480173" y="21988"/>
                </a:lnTo>
                <a:lnTo>
                  <a:pt x="472458" y="10544"/>
                </a:lnTo>
                <a:lnTo>
                  <a:pt x="461014" y="2828"/>
                </a:lnTo>
                <a:lnTo>
                  <a:pt x="446998" y="0"/>
                </a:lnTo>
                <a:close/>
              </a:path>
            </a:pathLst>
          </a:custGeom>
          <a:solidFill>
            <a:srgbClr val="488C81"/>
          </a:solidFill>
        </p:spPr>
        <p:txBody>
          <a:bodyPr wrap="square" lIns="0" tIns="0" rIns="0" bIns="0" rtlCol="0"/>
          <a:lstStyle/>
          <a:p>
            <a:endParaRPr/>
          </a:p>
        </p:txBody>
      </p:sp>
      <p:sp>
        <p:nvSpPr>
          <p:cNvPr id="43" name="ZoneTexte 42">
            <a:extLst>
              <a:ext uri="{FF2B5EF4-FFF2-40B4-BE49-F238E27FC236}">
                <a16:creationId xmlns:a16="http://schemas.microsoft.com/office/drawing/2014/main" id="{6722B747-A762-1BC7-1DA9-3DC45794DAE3}"/>
              </a:ext>
            </a:extLst>
          </p:cNvPr>
          <p:cNvSpPr txBox="1"/>
          <p:nvPr/>
        </p:nvSpPr>
        <p:spPr>
          <a:xfrm>
            <a:off x="243887" y="2479534"/>
            <a:ext cx="1769715" cy="348813"/>
          </a:xfrm>
          <a:prstGeom prst="rect">
            <a:avLst/>
          </a:prstGeom>
          <a:noFill/>
        </p:spPr>
        <p:txBody>
          <a:bodyPr wrap="none" rtlCol="0">
            <a:spAutoFit/>
          </a:bodyPr>
          <a:lstStyle/>
          <a:p>
            <a:pPr marL="408305" marR="564515">
              <a:lnSpc>
                <a:spcPts val="900"/>
              </a:lnSpc>
              <a:spcBef>
                <a:spcPts val="180"/>
              </a:spcBef>
            </a:pPr>
            <a:r>
              <a:rPr lang="fr-FR" sz="800" b="1" dirty="0">
                <a:solidFill>
                  <a:srgbClr val="498B80"/>
                </a:solidFill>
                <a:latin typeface="Century Gothic"/>
                <a:cs typeface="Century Gothic"/>
              </a:rPr>
              <a:t>ASSYSTEM </a:t>
            </a:r>
          </a:p>
          <a:p>
            <a:pPr marL="408305" marR="564515">
              <a:lnSpc>
                <a:spcPts val="900"/>
              </a:lnSpc>
              <a:spcBef>
                <a:spcPts val="180"/>
              </a:spcBef>
            </a:pPr>
            <a:r>
              <a:rPr lang="fr-FR" sz="800" b="1" dirty="0">
                <a:solidFill>
                  <a:srgbClr val="498B80"/>
                </a:solidFill>
                <a:latin typeface="Century Gothic"/>
                <a:cs typeface="Century Gothic"/>
              </a:rPr>
              <a:t>WORLDWIDE</a:t>
            </a:r>
            <a:endParaRPr lang="en-US" sz="800" b="1" dirty="0">
              <a:solidFill>
                <a:srgbClr val="0B87B5"/>
              </a:solidFill>
              <a:latin typeface="Century Gothic" panose="020B0502020202020204" pitchFamily="34" charset="0"/>
            </a:endParaRPr>
          </a:p>
        </p:txBody>
      </p:sp>
      <p:grpSp>
        <p:nvGrpSpPr>
          <p:cNvPr id="49" name="object 54">
            <a:extLst>
              <a:ext uri="{FF2B5EF4-FFF2-40B4-BE49-F238E27FC236}">
                <a16:creationId xmlns:a16="http://schemas.microsoft.com/office/drawing/2014/main" id="{25D52277-8F99-A8D7-FE75-DD99FF3D7F0B}"/>
              </a:ext>
            </a:extLst>
          </p:cNvPr>
          <p:cNvGrpSpPr/>
          <p:nvPr/>
        </p:nvGrpSpPr>
        <p:grpSpPr>
          <a:xfrm>
            <a:off x="98893" y="4549098"/>
            <a:ext cx="483234" cy="289560"/>
            <a:chOff x="-96562" y="5136940"/>
            <a:chExt cx="483234" cy="289560"/>
          </a:xfrm>
        </p:grpSpPr>
        <p:sp>
          <p:nvSpPr>
            <p:cNvPr id="50" name="object 56">
              <a:extLst>
                <a:ext uri="{FF2B5EF4-FFF2-40B4-BE49-F238E27FC236}">
                  <a16:creationId xmlns:a16="http://schemas.microsoft.com/office/drawing/2014/main" id="{88CF763C-4455-FB6F-1AF7-AB54D64AA74D}"/>
                </a:ext>
              </a:extLst>
            </p:cNvPr>
            <p:cNvSpPr/>
            <p:nvPr/>
          </p:nvSpPr>
          <p:spPr>
            <a:xfrm>
              <a:off x="-96562" y="5136940"/>
              <a:ext cx="483234" cy="289560"/>
            </a:xfrm>
            <a:custGeom>
              <a:avLst/>
              <a:gdLst/>
              <a:ahLst/>
              <a:cxnLst/>
              <a:rect l="l" t="t" r="r" b="b"/>
              <a:pathLst>
                <a:path w="483234" h="289560">
                  <a:moveTo>
                    <a:pt x="482993" y="36004"/>
                  </a:moveTo>
                  <a:lnTo>
                    <a:pt x="480161" y="21983"/>
                  </a:lnTo>
                  <a:lnTo>
                    <a:pt x="472452" y="10541"/>
                  </a:lnTo>
                  <a:lnTo>
                    <a:pt x="461010" y="2819"/>
                  </a:lnTo>
                  <a:lnTo>
                    <a:pt x="446989" y="0"/>
                  </a:lnTo>
                  <a:lnTo>
                    <a:pt x="122402" y="0"/>
                  </a:lnTo>
                  <a:lnTo>
                    <a:pt x="35991" y="0"/>
                  </a:lnTo>
                  <a:lnTo>
                    <a:pt x="0" y="0"/>
                  </a:lnTo>
                  <a:lnTo>
                    <a:pt x="0" y="36004"/>
                  </a:lnTo>
                  <a:lnTo>
                    <a:pt x="0" y="253149"/>
                  </a:lnTo>
                  <a:lnTo>
                    <a:pt x="0" y="289128"/>
                  </a:lnTo>
                  <a:lnTo>
                    <a:pt x="35928" y="289128"/>
                  </a:lnTo>
                  <a:lnTo>
                    <a:pt x="446989" y="289140"/>
                  </a:lnTo>
                  <a:lnTo>
                    <a:pt x="461010" y="286308"/>
                  </a:lnTo>
                  <a:lnTo>
                    <a:pt x="472452" y="278587"/>
                  </a:lnTo>
                  <a:lnTo>
                    <a:pt x="480161" y="267157"/>
                  </a:lnTo>
                  <a:lnTo>
                    <a:pt x="482993" y="253149"/>
                  </a:lnTo>
                  <a:lnTo>
                    <a:pt x="482993" y="36004"/>
                  </a:lnTo>
                  <a:close/>
                </a:path>
              </a:pathLst>
            </a:custGeom>
            <a:solidFill>
              <a:srgbClr val="498B80"/>
            </a:solidFill>
          </p:spPr>
          <p:txBody>
            <a:bodyPr wrap="square" lIns="0" tIns="0" rIns="0" bIns="0" rtlCol="0"/>
            <a:lstStyle/>
            <a:p>
              <a:endParaRPr/>
            </a:p>
          </p:txBody>
        </p:sp>
        <p:pic>
          <p:nvPicPr>
            <p:cNvPr id="52" name="object 57">
              <a:extLst>
                <a:ext uri="{FF2B5EF4-FFF2-40B4-BE49-F238E27FC236}">
                  <a16:creationId xmlns:a16="http://schemas.microsoft.com/office/drawing/2014/main" id="{6A6E918F-5B6A-AE24-6553-9E70E44936C8}"/>
                </a:ext>
              </a:extLst>
            </p:cNvPr>
            <p:cNvPicPr/>
            <p:nvPr/>
          </p:nvPicPr>
          <p:blipFill>
            <a:blip r:embed="rId15" cstate="print"/>
            <a:stretch>
              <a:fillRect/>
            </a:stretch>
          </p:blipFill>
          <p:spPr>
            <a:xfrm>
              <a:off x="54333" y="5190998"/>
              <a:ext cx="181444" cy="181444"/>
            </a:xfrm>
            <a:prstGeom prst="rect">
              <a:avLst/>
            </a:prstGeom>
          </p:spPr>
        </p:pic>
      </p:grpSp>
      <p:sp>
        <p:nvSpPr>
          <p:cNvPr id="53" name="object 26">
            <a:extLst>
              <a:ext uri="{FF2B5EF4-FFF2-40B4-BE49-F238E27FC236}">
                <a16:creationId xmlns:a16="http://schemas.microsoft.com/office/drawing/2014/main" id="{20CD3B71-F8DF-2236-A643-5935BC5504A8}"/>
              </a:ext>
            </a:extLst>
          </p:cNvPr>
          <p:cNvSpPr txBox="1"/>
          <p:nvPr/>
        </p:nvSpPr>
        <p:spPr>
          <a:xfrm>
            <a:off x="308627" y="4579828"/>
            <a:ext cx="1704975" cy="484748"/>
          </a:xfrm>
          <a:prstGeom prst="rect">
            <a:avLst/>
          </a:prstGeom>
        </p:spPr>
        <p:txBody>
          <a:bodyPr vert="horz" wrap="square" lIns="0" tIns="22860" rIns="0" bIns="0" rtlCol="0">
            <a:spAutoFit/>
          </a:bodyPr>
          <a:lstStyle/>
          <a:p>
            <a:pPr marL="408305" marR="564515">
              <a:lnSpc>
                <a:spcPts val="900"/>
              </a:lnSpc>
              <a:spcBef>
                <a:spcPts val="180"/>
              </a:spcBef>
            </a:pPr>
            <a:r>
              <a:rPr sz="800" b="1" dirty="0">
                <a:solidFill>
                  <a:srgbClr val="498B80"/>
                </a:solidFill>
                <a:latin typeface="Century Gothic"/>
                <a:cs typeface="Century Gothic"/>
              </a:rPr>
              <a:t>STRATEGY AND  EXPECTATION</a:t>
            </a:r>
            <a:endParaRPr sz="800" dirty="0">
              <a:latin typeface="Century Gothic"/>
              <a:cs typeface="Century Gothic"/>
            </a:endParaRPr>
          </a:p>
          <a:p>
            <a:pPr marL="12700" marR="5080" algn="just">
              <a:lnSpc>
                <a:spcPts val="900"/>
              </a:lnSpc>
              <a:spcBef>
                <a:spcPts val="850"/>
              </a:spcBef>
            </a:pPr>
            <a:r>
              <a:rPr sz="800" dirty="0">
                <a:latin typeface="Century Gothic"/>
                <a:cs typeface="Century Gothic"/>
              </a:rPr>
              <a:t>.</a:t>
            </a:r>
          </a:p>
        </p:txBody>
      </p:sp>
    </p:spTree>
    <p:extLst>
      <p:ext uri="{BB962C8B-B14F-4D97-AF65-F5344CB8AC3E}">
        <p14:creationId xmlns:p14="http://schemas.microsoft.com/office/powerpoint/2010/main" val="22524403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871865" y="1773948"/>
            <a:ext cx="3882390" cy="12700"/>
          </a:xfrm>
          <a:custGeom>
            <a:avLst/>
            <a:gdLst/>
            <a:ahLst/>
            <a:cxnLst/>
            <a:rect l="l" t="t" r="r" b="b"/>
            <a:pathLst>
              <a:path w="3882390" h="12700">
                <a:moveTo>
                  <a:pt x="0" y="12700"/>
                </a:moveTo>
                <a:lnTo>
                  <a:pt x="3881780" y="12700"/>
                </a:lnTo>
                <a:lnTo>
                  <a:pt x="3881780" y="0"/>
                </a:lnTo>
                <a:lnTo>
                  <a:pt x="0" y="0"/>
                </a:lnTo>
                <a:lnTo>
                  <a:pt x="0" y="12700"/>
                </a:lnTo>
                <a:close/>
              </a:path>
            </a:pathLst>
          </a:custGeom>
          <a:ln w="12700">
            <a:solidFill>
              <a:srgbClr val="214182"/>
            </a:solidFill>
          </a:ln>
        </p:spPr>
        <p:txBody>
          <a:bodyPr wrap="square" lIns="0" tIns="0" rIns="0" bIns="0" rtlCol="0"/>
          <a:lstStyle/>
          <a:p>
            <a:endParaRPr/>
          </a:p>
        </p:txBody>
      </p:sp>
      <p:sp>
        <p:nvSpPr>
          <p:cNvPr id="6" name="object 6"/>
          <p:cNvSpPr txBox="1"/>
          <p:nvPr/>
        </p:nvSpPr>
        <p:spPr>
          <a:xfrm>
            <a:off x="4163300" y="1521138"/>
            <a:ext cx="1714260" cy="105157"/>
          </a:xfrm>
          <a:prstGeom prst="rect">
            <a:avLst/>
          </a:prstGeom>
        </p:spPr>
        <p:txBody>
          <a:bodyPr vert="horz" wrap="square" lIns="0" tIns="12700" rIns="0" bIns="0" rtlCol="0">
            <a:spAutoFit/>
          </a:bodyPr>
          <a:lstStyle/>
          <a:p>
            <a:pPr marL="12700">
              <a:lnSpc>
                <a:spcPct val="100000"/>
              </a:lnSpc>
              <a:spcBef>
                <a:spcPts val="100"/>
              </a:spcBef>
            </a:pPr>
            <a:r>
              <a:rPr lang="fr-FR" sz="600" b="1" u="sng" dirty="0">
                <a:solidFill>
                  <a:srgbClr val="FFFFFF"/>
                </a:solidFill>
                <a:uFill>
                  <a:solidFill>
                    <a:srgbClr val="FFFFFF"/>
                  </a:solidFill>
                </a:uFill>
                <a:latin typeface="Century Gothic"/>
                <a:cs typeface="Century Gothic"/>
              </a:rPr>
              <a:t>www.bureauveritas.</a:t>
            </a:r>
            <a:endParaRPr sz="600" dirty="0">
              <a:latin typeface="Century Gothic"/>
              <a:cs typeface="Century Gothic"/>
            </a:endParaRPr>
          </a:p>
        </p:txBody>
      </p:sp>
      <p:sp>
        <p:nvSpPr>
          <p:cNvPr id="13" name="object 13"/>
          <p:cNvSpPr txBox="1"/>
          <p:nvPr/>
        </p:nvSpPr>
        <p:spPr>
          <a:xfrm>
            <a:off x="2309300" y="455576"/>
            <a:ext cx="1190820" cy="166712"/>
          </a:xfrm>
          <a:prstGeom prst="rect">
            <a:avLst/>
          </a:prstGeom>
        </p:spPr>
        <p:txBody>
          <a:bodyPr vert="horz" wrap="square" lIns="0" tIns="12700" rIns="0" bIns="0" rtlCol="0" anchor="t">
            <a:spAutoFit/>
          </a:bodyPr>
          <a:lstStyle/>
          <a:p>
            <a:pPr marL="12700">
              <a:lnSpc>
                <a:spcPct val="100000"/>
              </a:lnSpc>
              <a:spcBef>
                <a:spcPts val="100"/>
              </a:spcBef>
            </a:pPr>
            <a:r>
              <a:rPr lang="fr-FR" sz="1000" b="1" spc="-5" dirty="0">
                <a:solidFill>
                  <a:srgbClr val="FFFFFF"/>
                </a:solidFill>
                <a:latin typeface="Century Gothic"/>
                <a:cs typeface="Century Gothic"/>
              </a:rPr>
              <a:t>5,0 billion € in 2021</a:t>
            </a:r>
            <a:endParaRPr sz="1000" dirty="0">
              <a:latin typeface="Century Gothic"/>
              <a:cs typeface="Century Gothic"/>
            </a:endParaRPr>
          </a:p>
        </p:txBody>
      </p:sp>
      <p:sp>
        <p:nvSpPr>
          <p:cNvPr id="14" name="object 14"/>
          <p:cNvSpPr txBox="1"/>
          <p:nvPr/>
        </p:nvSpPr>
        <p:spPr>
          <a:xfrm>
            <a:off x="2309300" y="1151457"/>
            <a:ext cx="1531180" cy="135935"/>
          </a:xfrm>
          <a:prstGeom prst="rect">
            <a:avLst/>
          </a:prstGeom>
        </p:spPr>
        <p:txBody>
          <a:bodyPr vert="horz" wrap="square" lIns="0" tIns="12700" rIns="0" bIns="0" rtlCol="0" anchor="ctr">
            <a:spAutoFit/>
          </a:bodyPr>
          <a:lstStyle/>
          <a:p>
            <a:pPr marL="12700">
              <a:lnSpc>
                <a:spcPct val="100000"/>
              </a:lnSpc>
              <a:spcBef>
                <a:spcPts val="100"/>
              </a:spcBef>
            </a:pPr>
            <a:r>
              <a:rPr lang="en-US" sz="800" b="1" dirty="0">
                <a:solidFill>
                  <a:srgbClr val="FFFFFF"/>
                </a:solidFill>
                <a:latin typeface="Century Gothic"/>
                <a:cs typeface="Century Gothic"/>
              </a:rPr>
              <a:t>1,600 offices and laboratories</a:t>
            </a:r>
            <a:endParaRPr sz="800" dirty="0">
              <a:latin typeface="Century Gothic"/>
              <a:cs typeface="Century Gothic"/>
            </a:endParaRPr>
          </a:p>
        </p:txBody>
      </p:sp>
      <p:sp>
        <p:nvSpPr>
          <p:cNvPr id="15" name="object 15"/>
          <p:cNvSpPr txBox="1"/>
          <p:nvPr/>
        </p:nvSpPr>
        <p:spPr>
          <a:xfrm>
            <a:off x="4167767" y="369028"/>
            <a:ext cx="1292225" cy="384721"/>
          </a:xfrm>
          <a:prstGeom prst="rect">
            <a:avLst/>
          </a:prstGeom>
          <a:noFill/>
        </p:spPr>
        <p:txBody>
          <a:bodyPr vert="horz" wrap="square" lIns="0" tIns="12700" rIns="0" bIns="0" rtlCol="0">
            <a:spAutoFit/>
          </a:bodyPr>
          <a:lstStyle/>
          <a:p>
            <a:pPr marL="12700">
              <a:lnSpc>
                <a:spcPts val="950"/>
              </a:lnSpc>
              <a:spcBef>
                <a:spcPts val="100"/>
              </a:spcBef>
            </a:pPr>
            <a:r>
              <a:rPr lang="fr-FR" sz="800" b="1" dirty="0">
                <a:solidFill>
                  <a:srgbClr val="FFFFFF"/>
                </a:solidFill>
                <a:latin typeface="Century Gothic"/>
                <a:cs typeface="Century Gothic"/>
              </a:rPr>
              <a:t>Grégory REY</a:t>
            </a:r>
          </a:p>
          <a:p>
            <a:pPr marL="12700">
              <a:lnSpc>
                <a:spcPts val="950"/>
              </a:lnSpc>
              <a:spcBef>
                <a:spcPts val="100"/>
              </a:spcBef>
            </a:pPr>
            <a:r>
              <a:rPr lang="fr-FR" sz="800" b="1" dirty="0">
                <a:solidFill>
                  <a:srgbClr val="FFFFFF"/>
                </a:solidFill>
                <a:latin typeface="Century Gothic"/>
                <a:cs typeface="Century Gothic"/>
              </a:rPr>
              <a:t>Erik Dagorn</a:t>
            </a:r>
            <a:endParaRPr sz="800" dirty="0">
              <a:latin typeface="Century Gothic"/>
              <a:cs typeface="Century Gothic"/>
            </a:endParaRPr>
          </a:p>
          <a:p>
            <a:pPr marL="12700">
              <a:lnSpc>
                <a:spcPts val="830"/>
              </a:lnSpc>
            </a:pPr>
            <a:endParaRPr lang="fr-FR" sz="700" dirty="0">
              <a:solidFill>
                <a:srgbClr val="FFFFFF"/>
              </a:solidFill>
              <a:latin typeface="Century Gothic"/>
              <a:cs typeface="Century Gothic"/>
            </a:endParaRPr>
          </a:p>
        </p:txBody>
      </p:sp>
      <p:sp>
        <p:nvSpPr>
          <p:cNvPr id="16" name="object 16"/>
          <p:cNvSpPr txBox="1"/>
          <p:nvPr/>
        </p:nvSpPr>
        <p:spPr>
          <a:xfrm>
            <a:off x="7040" y="1826724"/>
            <a:ext cx="5747216" cy="166712"/>
          </a:xfrm>
          <a:prstGeom prst="rect">
            <a:avLst/>
          </a:prstGeom>
        </p:spPr>
        <p:txBody>
          <a:bodyPr vert="horz" wrap="square" lIns="0" tIns="12700" rIns="0" bIns="0" rtlCol="0">
            <a:spAutoFit/>
          </a:bodyPr>
          <a:lstStyle/>
          <a:p>
            <a:pPr marL="12700" algn="ctr">
              <a:lnSpc>
                <a:spcPct val="100000"/>
              </a:lnSpc>
              <a:spcBef>
                <a:spcPts val="100"/>
              </a:spcBef>
            </a:pPr>
            <a:r>
              <a:rPr lang="fr-FR" sz="1000" b="1" dirty="0">
                <a:solidFill>
                  <a:srgbClr val="FFFFFF"/>
                </a:solidFill>
                <a:latin typeface="Century Gothic"/>
                <a:cs typeface="Century Gothic"/>
              </a:rPr>
              <a:t>TESTING – INSPECTION – CERTIFICATION</a:t>
            </a:r>
            <a:endParaRPr lang="fr-FR" sz="1000" dirty="0">
              <a:latin typeface="Century Gothic"/>
              <a:cs typeface="Century Gothic"/>
            </a:endParaRPr>
          </a:p>
        </p:txBody>
      </p:sp>
      <p:sp>
        <p:nvSpPr>
          <p:cNvPr id="24" name="object 24"/>
          <p:cNvSpPr txBox="1"/>
          <p:nvPr/>
        </p:nvSpPr>
        <p:spPr>
          <a:xfrm>
            <a:off x="4166298" y="1157237"/>
            <a:ext cx="1828101" cy="210314"/>
          </a:xfrm>
          <a:prstGeom prst="rect">
            <a:avLst/>
          </a:prstGeom>
        </p:spPr>
        <p:txBody>
          <a:bodyPr vert="horz" wrap="square" lIns="0" tIns="12700" rIns="0" bIns="0" rtlCol="0">
            <a:spAutoFit/>
          </a:bodyPr>
          <a:lstStyle/>
          <a:p>
            <a:pPr marL="12700">
              <a:lnSpc>
                <a:spcPct val="100000"/>
              </a:lnSpc>
              <a:spcBef>
                <a:spcPts val="100"/>
              </a:spcBef>
            </a:pPr>
            <a:r>
              <a:rPr lang="fr-FR" sz="600" b="1" u="sng" dirty="0">
                <a:solidFill>
                  <a:srgbClr val="FFFFFF"/>
                </a:solidFill>
                <a:uFill>
                  <a:solidFill>
                    <a:srgbClr val="FFFFFF"/>
                  </a:solidFill>
                </a:uFill>
                <a:latin typeface="Century Gothic"/>
                <a:cs typeface="Century Gothic"/>
                <a:hlinkClick r:id="rId2"/>
              </a:rPr>
              <a:t>Gregory.rey@bureauveritas.com</a:t>
            </a:r>
            <a:endParaRPr lang="fr-FR" sz="600" b="1" u="sng" dirty="0">
              <a:solidFill>
                <a:srgbClr val="FFFFFF"/>
              </a:solidFill>
              <a:uFill>
                <a:solidFill>
                  <a:srgbClr val="FFFFFF"/>
                </a:solidFill>
              </a:uFill>
              <a:latin typeface="Century Gothic"/>
              <a:cs typeface="Century Gothic"/>
            </a:endParaRPr>
          </a:p>
          <a:p>
            <a:pPr marL="12700">
              <a:lnSpc>
                <a:spcPct val="100000"/>
              </a:lnSpc>
              <a:spcBef>
                <a:spcPts val="100"/>
              </a:spcBef>
            </a:pPr>
            <a:r>
              <a:rPr lang="fr-FR" sz="600" b="1" u="sng" dirty="0">
                <a:solidFill>
                  <a:srgbClr val="FFFFFF"/>
                </a:solidFill>
                <a:uFill>
                  <a:solidFill>
                    <a:srgbClr val="FFFFFF"/>
                  </a:solidFill>
                </a:uFill>
                <a:latin typeface="Century Gothic"/>
                <a:cs typeface="Century Gothic"/>
              </a:rPr>
              <a:t>Erik.dagorn@bureauveritas.com</a:t>
            </a:r>
          </a:p>
        </p:txBody>
      </p:sp>
      <p:grpSp>
        <p:nvGrpSpPr>
          <p:cNvPr id="57" name="Groupe 56">
            <a:extLst>
              <a:ext uri="{FF2B5EF4-FFF2-40B4-BE49-F238E27FC236}">
                <a16:creationId xmlns:a16="http://schemas.microsoft.com/office/drawing/2014/main" id="{087D283E-2ABD-D44B-928D-CE53E7A46364}"/>
              </a:ext>
            </a:extLst>
          </p:cNvPr>
          <p:cNvGrpSpPr/>
          <p:nvPr/>
        </p:nvGrpSpPr>
        <p:grpSpPr>
          <a:xfrm>
            <a:off x="2177051" y="2165701"/>
            <a:ext cx="3463856" cy="982795"/>
            <a:chOff x="2177051" y="2165701"/>
            <a:chExt cx="3463856" cy="982795"/>
          </a:xfrm>
        </p:grpSpPr>
        <p:sp>
          <p:nvSpPr>
            <p:cNvPr id="45" name="Rectangle 44">
              <a:extLst>
                <a:ext uri="{FF2B5EF4-FFF2-40B4-BE49-F238E27FC236}">
                  <a16:creationId xmlns:a16="http://schemas.microsoft.com/office/drawing/2014/main" id="{7337EB87-D52B-E54C-8A77-0C9125518EE4}"/>
                </a:ext>
              </a:extLst>
            </p:cNvPr>
            <p:cNvSpPr/>
            <p:nvPr/>
          </p:nvSpPr>
          <p:spPr>
            <a:xfrm>
              <a:off x="2177051" y="2363666"/>
              <a:ext cx="3463856" cy="784830"/>
            </a:xfrm>
            <a:prstGeom prst="rect">
              <a:avLst/>
            </a:prstGeom>
          </p:spPr>
          <p:txBody>
            <a:bodyPr wrap="square">
              <a:spAutoFit/>
            </a:bodyPr>
            <a:lstStyle/>
            <a:p>
              <a:pPr marL="6350" marR="55880" algn="just">
                <a:lnSpc>
                  <a:spcPts val="850"/>
                </a:lnSpc>
                <a:spcBef>
                  <a:spcPts val="135"/>
                </a:spcBef>
              </a:pPr>
              <a:r>
                <a:rPr lang="en-US" sz="800" dirty="0">
                  <a:solidFill>
                    <a:srgbClr val="231F20"/>
                  </a:solidFill>
                  <a:latin typeface="Century Gothic"/>
                  <a:cs typeface="Century Gothic"/>
                </a:rPr>
                <a:t>Bureau Veritas industry-leading testing, inspection and certification services help clients improve performance and mitigate risk while strengthening their brands. We also support our clients to be more efficient, more methodical and more trustworthy in their journey towards more sustainable business and a more sustainable world.</a:t>
              </a:r>
              <a:endParaRPr lang="fr-FR" sz="800" dirty="0">
                <a:latin typeface="Century Gothic"/>
                <a:cs typeface="Century Gothic"/>
              </a:endParaRPr>
            </a:p>
          </p:txBody>
        </p:sp>
        <p:pic>
          <p:nvPicPr>
            <p:cNvPr id="56" name="Image 55">
              <a:extLst>
                <a:ext uri="{FF2B5EF4-FFF2-40B4-BE49-F238E27FC236}">
                  <a16:creationId xmlns:a16="http://schemas.microsoft.com/office/drawing/2014/main" id="{C1C980BD-CF63-7E48-9E55-4AB67A48FA4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375" t="14689" r="10979" b="25644"/>
            <a:stretch/>
          </p:blipFill>
          <p:spPr>
            <a:xfrm>
              <a:off x="2267876" y="2165701"/>
              <a:ext cx="891049" cy="166712"/>
            </a:xfrm>
            <a:prstGeom prst="rect">
              <a:avLst/>
            </a:prstGeom>
          </p:spPr>
        </p:pic>
      </p:grpSp>
      <p:grpSp>
        <p:nvGrpSpPr>
          <p:cNvPr id="61" name="Groupe 60">
            <a:extLst>
              <a:ext uri="{FF2B5EF4-FFF2-40B4-BE49-F238E27FC236}">
                <a16:creationId xmlns:a16="http://schemas.microsoft.com/office/drawing/2014/main" id="{293BBACE-2A6F-274F-BF65-CC051D80EEE5}"/>
              </a:ext>
            </a:extLst>
          </p:cNvPr>
          <p:cNvGrpSpPr/>
          <p:nvPr/>
        </p:nvGrpSpPr>
        <p:grpSpPr>
          <a:xfrm>
            <a:off x="2177051" y="3119210"/>
            <a:ext cx="3463856" cy="1200544"/>
            <a:chOff x="2177051" y="3254375"/>
            <a:chExt cx="3463856" cy="1200544"/>
          </a:xfrm>
        </p:grpSpPr>
        <p:sp>
          <p:nvSpPr>
            <p:cNvPr id="51" name="Rectangle 50">
              <a:extLst>
                <a:ext uri="{FF2B5EF4-FFF2-40B4-BE49-F238E27FC236}">
                  <a16:creationId xmlns:a16="http://schemas.microsoft.com/office/drawing/2014/main" id="{A03879AA-32EF-BB4B-B6AF-C96A5F50BD94}"/>
                </a:ext>
              </a:extLst>
            </p:cNvPr>
            <p:cNvSpPr/>
            <p:nvPr/>
          </p:nvSpPr>
          <p:spPr>
            <a:xfrm>
              <a:off x="2177051" y="3439256"/>
              <a:ext cx="3463856" cy="1015663"/>
            </a:xfrm>
            <a:prstGeom prst="rect">
              <a:avLst/>
            </a:prstGeom>
          </p:spPr>
          <p:txBody>
            <a:bodyPr wrap="square">
              <a:spAutoFit/>
            </a:bodyPr>
            <a:lstStyle/>
            <a:p>
              <a:pPr marL="6350" marR="55880" algn="just">
                <a:lnSpc>
                  <a:spcPts val="850"/>
                </a:lnSpc>
                <a:spcBef>
                  <a:spcPts val="135"/>
                </a:spcBef>
              </a:pPr>
              <a:r>
                <a:rPr lang="en-US" sz="800" dirty="0">
                  <a:solidFill>
                    <a:srgbClr val="231F20"/>
                  </a:solidFill>
                  <a:latin typeface="Century Gothic"/>
                  <a:cs typeface="Century Gothic"/>
                </a:rPr>
                <a:t>Environmental impact assessment </a:t>
              </a:r>
              <a:r>
                <a:rPr lang="fr-FR" sz="800" dirty="0">
                  <a:solidFill>
                    <a:srgbClr val="6C92A8"/>
                  </a:solidFill>
                  <a:latin typeface="Century Gothic"/>
                  <a:cs typeface="Century Gothic"/>
                </a:rPr>
                <a:t>• </a:t>
              </a:r>
              <a:r>
                <a:rPr lang="en-US" sz="800" dirty="0">
                  <a:solidFill>
                    <a:srgbClr val="231F20"/>
                  </a:solidFill>
                  <a:latin typeface="Century Gothic"/>
                  <a:cs typeface="Century Gothic"/>
                </a:rPr>
                <a:t>Shop inspection, Conformity assessment, Expediting services, Installation follow-up inspection </a:t>
              </a:r>
              <a:r>
                <a:rPr lang="fr-FR" sz="800" dirty="0">
                  <a:solidFill>
                    <a:srgbClr val="6C92A8"/>
                  </a:solidFill>
                  <a:latin typeface="Century Gothic"/>
                  <a:cs typeface="Century Gothic"/>
                </a:rPr>
                <a:t>•</a:t>
              </a:r>
              <a:r>
                <a:rPr lang="en-US" sz="800" dirty="0">
                  <a:solidFill>
                    <a:srgbClr val="231F20"/>
                  </a:solidFill>
                  <a:latin typeface="Century Gothic"/>
                  <a:cs typeface="Century Gothic"/>
                </a:rPr>
                <a:t> Electrical and I&amp;C </a:t>
              </a:r>
              <a:r>
                <a:rPr lang="fr-FR" sz="800" dirty="0">
                  <a:solidFill>
                    <a:srgbClr val="6C92A8"/>
                  </a:solidFill>
                  <a:latin typeface="Century Gothic"/>
                  <a:cs typeface="Century Gothic"/>
                </a:rPr>
                <a:t>•</a:t>
              </a:r>
              <a:r>
                <a:rPr lang="en-US" sz="800" dirty="0">
                  <a:solidFill>
                    <a:srgbClr val="231F20"/>
                  </a:solidFill>
                  <a:latin typeface="Century Gothic"/>
                  <a:cs typeface="Century Gothic"/>
                </a:rPr>
                <a:t> Materials &amp; Corrosion expertise, Non-Destructive Testing (NDT) </a:t>
              </a:r>
              <a:r>
                <a:rPr lang="fr-FR" sz="800" dirty="0">
                  <a:solidFill>
                    <a:srgbClr val="6C92A8"/>
                  </a:solidFill>
                  <a:latin typeface="Century Gothic"/>
                  <a:cs typeface="Century Gothic"/>
                </a:rPr>
                <a:t>•</a:t>
              </a:r>
              <a:r>
                <a:rPr lang="en-US" sz="800" dirty="0">
                  <a:solidFill>
                    <a:srgbClr val="231F20"/>
                  </a:solidFill>
                  <a:latin typeface="Century Gothic"/>
                  <a:cs typeface="Century Gothic"/>
                </a:rPr>
                <a:t> Ageing of NPP, Radiation, safety and fire protection </a:t>
              </a:r>
              <a:r>
                <a:rPr lang="fr-FR" sz="800" dirty="0">
                  <a:solidFill>
                    <a:srgbClr val="6C92A8"/>
                  </a:solidFill>
                  <a:latin typeface="Century Gothic"/>
                  <a:cs typeface="Century Gothic"/>
                </a:rPr>
                <a:t>•</a:t>
              </a:r>
              <a:r>
                <a:rPr lang="en-US" sz="800" dirty="0">
                  <a:solidFill>
                    <a:srgbClr val="231F20"/>
                  </a:solidFill>
                  <a:latin typeface="Century Gothic"/>
                  <a:cs typeface="Century Gothic"/>
                </a:rPr>
                <a:t> Support services for waste management </a:t>
              </a:r>
              <a:r>
                <a:rPr lang="fr-FR" sz="800" dirty="0">
                  <a:solidFill>
                    <a:srgbClr val="6C92A8"/>
                  </a:solidFill>
                  <a:latin typeface="Century Gothic"/>
                  <a:cs typeface="Century Gothic"/>
                </a:rPr>
                <a:t>•</a:t>
              </a:r>
              <a:r>
                <a:rPr lang="en-US" sz="800" dirty="0">
                  <a:solidFill>
                    <a:srgbClr val="231F20"/>
                  </a:solidFill>
                  <a:latin typeface="Century Gothic"/>
                  <a:cs typeface="Century Gothic"/>
                </a:rPr>
                <a:t> HSE and Risk Studies, Process Safety and Asset Integrity Management </a:t>
              </a:r>
              <a:r>
                <a:rPr lang="fr-FR" sz="800" dirty="0">
                  <a:solidFill>
                    <a:srgbClr val="6C92A8"/>
                  </a:solidFill>
                  <a:latin typeface="Century Gothic"/>
                  <a:cs typeface="Century Gothic"/>
                </a:rPr>
                <a:t>•</a:t>
              </a:r>
              <a:r>
                <a:rPr lang="en-US" sz="800" dirty="0">
                  <a:solidFill>
                    <a:srgbClr val="231F20"/>
                  </a:solidFill>
                  <a:latin typeface="Century Gothic"/>
                  <a:cs typeface="Century Gothic"/>
                </a:rPr>
                <a:t> Periodic Inspection (Lifting Equipment, Fire &amp; Safety, MEP ...) </a:t>
              </a:r>
              <a:r>
                <a:rPr lang="fr-FR" sz="800" dirty="0">
                  <a:solidFill>
                    <a:srgbClr val="6C92A8"/>
                  </a:solidFill>
                  <a:latin typeface="Century Gothic"/>
                  <a:cs typeface="Century Gothic"/>
                </a:rPr>
                <a:t>•</a:t>
              </a:r>
              <a:r>
                <a:rPr lang="en-US" sz="800" dirty="0">
                  <a:solidFill>
                    <a:srgbClr val="231F20"/>
                  </a:solidFill>
                  <a:latin typeface="Century Gothic"/>
                  <a:cs typeface="Century Gothic"/>
                </a:rPr>
                <a:t> Trainings &amp; Certification </a:t>
              </a:r>
              <a:r>
                <a:rPr lang="fr-FR" sz="800" dirty="0">
                  <a:solidFill>
                    <a:srgbClr val="6C92A8"/>
                  </a:solidFill>
                  <a:latin typeface="Century Gothic"/>
                  <a:cs typeface="Century Gothic"/>
                </a:rPr>
                <a:t>•</a:t>
              </a:r>
              <a:r>
                <a:rPr lang="en-US" sz="800" dirty="0">
                  <a:solidFill>
                    <a:srgbClr val="231F20"/>
                  </a:solidFill>
                  <a:latin typeface="Century Gothic"/>
                  <a:cs typeface="Century Gothic"/>
                </a:rPr>
                <a:t> Digital solutions</a:t>
              </a:r>
              <a:r>
                <a:rPr lang="fr-FR" sz="800" dirty="0">
                  <a:latin typeface="Century Gothic"/>
                  <a:cs typeface="Century Gothic"/>
                </a:rPr>
                <a:t> </a:t>
              </a:r>
            </a:p>
          </p:txBody>
        </p:sp>
        <p:pic>
          <p:nvPicPr>
            <p:cNvPr id="60" name="Image 59">
              <a:extLst>
                <a:ext uri="{FF2B5EF4-FFF2-40B4-BE49-F238E27FC236}">
                  <a16:creationId xmlns:a16="http://schemas.microsoft.com/office/drawing/2014/main" id="{069AFE8E-D943-384B-880A-1F67D234AD0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857" t="18019" r="5941" b="25644"/>
            <a:stretch/>
          </p:blipFill>
          <p:spPr>
            <a:xfrm>
              <a:off x="2267876" y="3254375"/>
              <a:ext cx="1478624" cy="157408"/>
            </a:xfrm>
            <a:prstGeom prst="rect">
              <a:avLst/>
            </a:prstGeom>
          </p:spPr>
        </p:pic>
      </p:grpSp>
      <p:grpSp>
        <p:nvGrpSpPr>
          <p:cNvPr id="72" name="Groupe 71">
            <a:extLst>
              <a:ext uri="{FF2B5EF4-FFF2-40B4-BE49-F238E27FC236}">
                <a16:creationId xmlns:a16="http://schemas.microsoft.com/office/drawing/2014/main" id="{0428CDAC-38AA-9743-A383-EA7A6C51AD21}"/>
              </a:ext>
            </a:extLst>
          </p:cNvPr>
          <p:cNvGrpSpPr/>
          <p:nvPr/>
        </p:nvGrpSpPr>
        <p:grpSpPr>
          <a:xfrm>
            <a:off x="2177051" y="4359163"/>
            <a:ext cx="3463856" cy="373081"/>
            <a:chOff x="2162225" y="3579649"/>
            <a:chExt cx="3463856" cy="373081"/>
          </a:xfrm>
        </p:grpSpPr>
        <p:sp>
          <p:nvSpPr>
            <p:cNvPr id="73" name="Rectangle 72">
              <a:extLst>
                <a:ext uri="{FF2B5EF4-FFF2-40B4-BE49-F238E27FC236}">
                  <a16:creationId xmlns:a16="http://schemas.microsoft.com/office/drawing/2014/main" id="{D70470E6-9BFF-3F48-B395-1C37F1C28184}"/>
                </a:ext>
              </a:extLst>
            </p:cNvPr>
            <p:cNvSpPr/>
            <p:nvPr/>
          </p:nvSpPr>
          <p:spPr>
            <a:xfrm>
              <a:off x="2162225" y="3744981"/>
              <a:ext cx="3463856" cy="207749"/>
            </a:xfrm>
            <a:prstGeom prst="rect">
              <a:avLst/>
            </a:prstGeom>
          </p:spPr>
          <p:txBody>
            <a:bodyPr wrap="square">
              <a:spAutoFit/>
            </a:bodyPr>
            <a:lstStyle/>
            <a:p>
              <a:pPr marL="6350" marR="55880" algn="just">
                <a:lnSpc>
                  <a:spcPts val="850"/>
                </a:lnSpc>
                <a:spcBef>
                  <a:spcPts val="135"/>
                </a:spcBef>
              </a:pPr>
              <a:endParaRPr lang="fr-FR" sz="800" dirty="0">
                <a:solidFill>
                  <a:srgbClr val="231F20"/>
                </a:solidFill>
                <a:latin typeface="Century Gothic"/>
                <a:cs typeface="Century Gothic"/>
              </a:endParaRPr>
            </a:p>
          </p:txBody>
        </p:sp>
        <p:pic>
          <p:nvPicPr>
            <p:cNvPr id="74" name="Image 73">
              <a:extLst>
                <a:ext uri="{FF2B5EF4-FFF2-40B4-BE49-F238E27FC236}">
                  <a16:creationId xmlns:a16="http://schemas.microsoft.com/office/drawing/2014/main" id="{9DEB5F82-99AB-C940-B0B4-3E37960A0FE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7450" t="14952" r="8319" b="17050"/>
            <a:stretch/>
          </p:blipFill>
          <p:spPr>
            <a:xfrm>
              <a:off x="2267876" y="3579649"/>
              <a:ext cx="1026944" cy="189987"/>
            </a:xfrm>
            <a:prstGeom prst="rect">
              <a:avLst/>
            </a:prstGeom>
          </p:spPr>
        </p:pic>
      </p:grpSp>
      <p:sp>
        <p:nvSpPr>
          <p:cNvPr id="81" name="object 13">
            <a:extLst>
              <a:ext uri="{FF2B5EF4-FFF2-40B4-BE49-F238E27FC236}">
                <a16:creationId xmlns:a16="http://schemas.microsoft.com/office/drawing/2014/main" id="{FD1B6A5D-BB1F-9D4F-9BBC-F632B67A6F04}"/>
              </a:ext>
            </a:extLst>
          </p:cNvPr>
          <p:cNvSpPr txBox="1"/>
          <p:nvPr/>
        </p:nvSpPr>
        <p:spPr>
          <a:xfrm>
            <a:off x="2309300" y="847462"/>
            <a:ext cx="985519" cy="166712"/>
          </a:xfrm>
          <a:prstGeom prst="rect">
            <a:avLst/>
          </a:prstGeom>
        </p:spPr>
        <p:txBody>
          <a:bodyPr vert="horz" wrap="square" lIns="0" tIns="12700" rIns="0" bIns="0" rtlCol="0" anchor="t">
            <a:spAutoFit/>
          </a:bodyPr>
          <a:lstStyle/>
          <a:p>
            <a:pPr marL="12700">
              <a:lnSpc>
                <a:spcPct val="100000"/>
              </a:lnSpc>
              <a:spcBef>
                <a:spcPts val="100"/>
              </a:spcBef>
            </a:pPr>
            <a:r>
              <a:rPr lang="fr-FR" sz="1000" b="1" spc="-5" dirty="0">
                <a:solidFill>
                  <a:srgbClr val="FFFFFF"/>
                </a:solidFill>
                <a:latin typeface="Century Gothic"/>
                <a:cs typeface="Century Gothic"/>
              </a:rPr>
              <a:t>80 000</a:t>
            </a:r>
            <a:endParaRPr sz="1000" dirty="0">
              <a:latin typeface="Century Gothic"/>
              <a:cs typeface="Century Gothic"/>
            </a:endParaRPr>
          </a:p>
        </p:txBody>
      </p:sp>
      <p:sp>
        <p:nvSpPr>
          <p:cNvPr id="83" name="object 10">
            <a:extLst>
              <a:ext uri="{FF2B5EF4-FFF2-40B4-BE49-F238E27FC236}">
                <a16:creationId xmlns:a16="http://schemas.microsoft.com/office/drawing/2014/main" id="{AA4B0085-7941-5846-A79D-ACF1D355A153}"/>
              </a:ext>
            </a:extLst>
          </p:cNvPr>
          <p:cNvSpPr txBox="1"/>
          <p:nvPr/>
        </p:nvSpPr>
        <p:spPr>
          <a:xfrm>
            <a:off x="2309300" y="1533818"/>
            <a:ext cx="1411800" cy="135935"/>
          </a:xfrm>
          <a:prstGeom prst="rect">
            <a:avLst/>
          </a:prstGeom>
        </p:spPr>
        <p:txBody>
          <a:bodyPr vert="horz" wrap="square" lIns="0" tIns="12700" rIns="0" bIns="0" rtlCol="0" anchor="ctr">
            <a:spAutoFit/>
          </a:bodyPr>
          <a:lstStyle/>
          <a:p>
            <a:pPr marL="12700">
              <a:spcBef>
                <a:spcPts val="100"/>
              </a:spcBef>
            </a:pPr>
            <a:r>
              <a:rPr sz="800" b="1" dirty="0">
                <a:solidFill>
                  <a:srgbClr val="FFFFFF"/>
                </a:solidFill>
                <a:latin typeface="Century Gothic"/>
                <a:cs typeface="Century Gothic"/>
              </a:rPr>
              <a:t>Export </a:t>
            </a:r>
            <a:r>
              <a:rPr sz="800" b="1" spc="-5" dirty="0">
                <a:solidFill>
                  <a:srgbClr val="FFFFFF"/>
                </a:solidFill>
                <a:latin typeface="Century Gothic"/>
                <a:cs typeface="Century Gothic"/>
              </a:rPr>
              <a:t>areas:</a:t>
            </a:r>
            <a:r>
              <a:rPr lang="fr-FR" sz="800" b="1" spc="-5" dirty="0">
                <a:solidFill>
                  <a:srgbClr val="FFFFFF"/>
                </a:solidFill>
                <a:latin typeface="Century Gothic"/>
                <a:cs typeface="Century Gothic"/>
              </a:rPr>
              <a:t> </a:t>
            </a:r>
            <a:r>
              <a:rPr lang="fr-FR" sz="800" dirty="0" err="1">
                <a:solidFill>
                  <a:srgbClr val="FFFFFF"/>
                </a:solidFill>
                <a:latin typeface="Century Gothic"/>
                <a:cs typeface="Century Gothic"/>
              </a:rPr>
              <a:t>worldwide</a:t>
            </a:r>
            <a:endParaRPr lang="fr-FR" sz="800" dirty="0"/>
          </a:p>
        </p:txBody>
      </p:sp>
      <p:grpSp>
        <p:nvGrpSpPr>
          <p:cNvPr id="37" name="Groupe 36">
            <a:extLst>
              <a:ext uri="{FF2B5EF4-FFF2-40B4-BE49-F238E27FC236}">
                <a16:creationId xmlns:a16="http://schemas.microsoft.com/office/drawing/2014/main" id="{168DB73E-6F94-9845-94BE-504F8EE566A8}"/>
              </a:ext>
            </a:extLst>
          </p:cNvPr>
          <p:cNvGrpSpPr/>
          <p:nvPr/>
        </p:nvGrpSpPr>
        <p:grpSpPr>
          <a:xfrm>
            <a:off x="2234370" y="5311775"/>
            <a:ext cx="3391711" cy="1448232"/>
            <a:chOff x="2234370" y="4405525"/>
            <a:chExt cx="3391711" cy="1448232"/>
          </a:xfrm>
        </p:grpSpPr>
        <p:pic>
          <p:nvPicPr>
            <p:cNvPr id="78" name="Image 77" descr="Une image contenant texte&#10;&#10;Description générée automatiquement">
              <a:extLst>
                <a:ext uri="{FF2B5EF4-FFF2-40B4-BE49-F238E27FC236}">
                  <a16:creationId xmlns:a16="http://schemas.microsoft.com/office/drawing/2014/main" id="{5F0C30C4-4E56-1947-87C6-596EBC59BFA3}"/>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7054" t="21798" r="11873" b="27282"/>
            <a:stretch/>
          </p:blipFill>
          <p:spPr>
            <a:xfrm>
              <a:off x="2273371" y="4405525"/>
              <a:ext cx="761929" cy="142271"/>
            </a:xfrm>
            <a:prstGeom prst="rect">
              <a:avLst/>
            </a:prstGeom>
          </p:spPr>
        </p:pic>
        <p:grpSp>
          <p:nvGrpSpPr>
            <p:cNvPr id="36" name="Groupe 35">
              <a:extLst>
                <a:ext uri="{FF2B5EF4-FFF2-40B4-BE49-F238E27FC236}">
                  <a16:creationId xmlns:a16="http://schemas.microsoft.com/office/drawing/2014/main" id="{92D6D75F-55EE-FE45-814F-2DA49DA976D9}"/>
                </a:ext>
              </a:extLst>
            </p:cNvPr>
            <p:cNvGrpSpPr/>
            <p:nvPr/>
          </p:nvGrpSpPr>
          <p:grpSpPr>
            <a:xfrm>
              <a:off x="2234370" y="4530282"/>
              <a:ext cx="3391711" cy="1323475"/>
              <a:chOff x="2234370" y="4466798"/>
              <a:chExt cx="3391711" cy="1323475"/>
            </a:xfrm>
          </p:grpSpPr>
          <p:pic>
            <p:nvPicPr>
              <p:cNvPr id="29" name="Image 28">
                <a:extLst>
                  <a:ext uri="{FF2B5EF4-FFF2-40B4-BE49-F238E27FC236}">
                    <a16:creationId xmlns:a16="http://schemas.microsoft.com/office/drawing/2014/main" id="{6E99BAB4-0CA8-3940-B6BE-468EC2AC86A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234370" y="4466798"/>
                <a:ext cx="1308100" cy="279400"/>
              </a:xfrm>
              <a:prstGeom prst="rect">
                <a:avLst/>
              </a:prstGeom>
            </p:spPr>
          </p:pic>
          <p:sp>
            <p:nvSpPr>
              <p:cNvPr id="69" name="Rectangle 68">
                <a:extLst>
                  <a:ext uri="{FF2B5EF4-FFF2-40B4-BE49-F238E27FC236}">
                    <a16:creationId xmlns:a16="http://schemas.microsoft.com/office/drawing/2014/main" id="{77DE93A1-01B5-0B48-B914-67D5E74FD62F}"/>
                  </a:ext>
                </a:extLst>
              </p:cNvPr>
              <p:cNvSpPr/>
              <p:nvPr/>
            </p:nvSpPr>
            <p:spPr>
              <a:xfrm>
                <a:off x="2355594" y="4659194"/>
                <a:ext cx="3270487" cy="1131079"/>
              </a:xfrm>
              <a:prstGeom prst="rect">
                <a:avLst/>
              </a:prstGeom>
            </p:spPr>
            <p:txBody>
              <a:bodyPr wrap="square">
                <a:spAutoFit/>
              </a:bodyPr>
              <a:lstStyle/>
              <a:p>
                <a:pPr marL="12700" marR="5080" algn="just">
                  <a:lnSpc>
                    <a:spcPts val="900"/>
                  </a:lnSpc>
                  <a:spcBef>
                    <a:spcPts val="850"/>
                  </a:spcBef>
                </a:pPr>
                <a:r>
                  <a:rPr lang="fr-FR" sz="800" dirty="0">
                    <a:solidFill>
                      <a:srgbClr val="6C92A8"/>
                    </a:solidFill>
                    <a:latin typeface="Century Gothic"/>
                    <a:cs typeface="Century Gothic"/>
                  </a:rPr>
                  <a:t>• </a:t>
                </a:r>
                <a:r>
                  <a:rPr lang="fr-FR" sz="800" dirty="0">
                    <a:latin typeface="Century Gothic"/>
                    <a:cs typeface="Century Gothic"/>
                  </a:rPr>
                  <a:t>ISO/IEC 17020, 17021 &amp; 17025, EN 17065, ASME/EN/IBR standards…</a:t>
                </a:r>
              </a:p>
              <a:p>
                <a:pPr marL="12700" marR="5080" algn="just">
                  <a:lnSpc>
                    <a:spcPts val="900"/>
                  </a:lnSpc>
                  <a:spcBef>
                    <a:spcPts val="850"/>
                  </a:spcBef>
                </a:pPr>
                <a:r>
                  <a:rPr lang="fr-FR" sz="800" dirty="0">
                    <a:solidFill>
                      <a:srgbClr val="6C92A8"/>
                    </a:solidFill>
                    <a:latin typeface="Century Gothic"/>
                    <a:cs typeface="Century Gothic"/>
                  </a:rPr>
                  <a:t>• </a:t>
                </a:r>
                <a:r>
                  <a:rPr lang="fr-FR" sz="800" dirty="0">
                    <a:latin typeface="Century Gothic"/>
                    <a:cs typeface="Century Gothic"/>
                  </a:rPr>
                  <a:t>IAEA guides GSR-3 / GS-R-Part 2, NQA-1, ISO 19443, YVL guides, ESPN, NPE Policy, GOST, ASME III, RCC-M, RCC-MX/MRX, RCC-E, RCC-CW; EN13445, EN13480, CODAP, CODETI, AD 2000, EMC </a:t>
                </a:r>
                <a:r>
                  <a:rPr lang="fr-FR" sz="800" dirty="0" err="1">
                    <a:latin typeface="Century Gothic"/>
                    <a:cs typeface="Century Gothic"/>
                  </a:rPr>
                  <a:t>conformity</a:t>
                </a:r>
                <a:r>
                  <a:rPr lang="fr-FR" sz="800" dirty="0">
                    <a:latin typeface="Century Gothic"/>
                    <a:cs typeface="Century Gothic"/>
                  </a:rPr>
                  <a:t>, </a:t>
                </a:r>
                <a:r>
                  <a:rPr lang="fr-FR" sz="800" dirty="0" err="1">
                    <a:latin typeface="Century Gothic"/>
                    <a:cs typeface="Century Gothic"/>
                  </a:rPr>
                  <a:t>Licensing</a:t>
                </a:r>
                <a:r>
                  <a:rPr lang="fr-FR" sz="800" dirty="0">
                    <a:latin typeface="Century Gothic"/>
                    <a:cs typeface="Century Gothic"/>
                  </a:rPr>
                  <a:t> of </a:t>
                </a:r>
                <a:r>
                  <a:rPr lang="fr-FR" sz="800" dirty="0" err="1">
                    <a:latin typeface="Century Gothic"/>
                    <a:cs typeface="Century Gothic"/>
                  </a:rPr>
                  <a:t>safety</a:t>
                </a:r>
                <a:r>
                  <a:rPr lang="fr-FR" sz="800" dirty="0">
                    <a:latin typeface="Century Gothic"/>
                    <a:cs typeface="Century Gothic"/>
                  </a:rPr>
                  <a:t> </a:t>
                </a:r>
                <a:r>
                  <a:rPr lang="fr-FR" sz="800" dirty="0" err="1">
                    <a:latin typeface="Century Gothic"/>
                    <a:cs typeface="Century Gothic"/>
                  </a:rPr>
                  <a:t>critical</a:t>
                </a:r>
                <a:r>
                  <a:rPr lang="fr-FR" sz="800" dirty="0">
                    <a:latin typeface="Century Gothic"/>
                    <a:cs typeface="Century Gothic"/>
                  </a:rPr>
                  <a:t> software for </a:t>
                </a:r>
                <a:r>
                  <a:rPr lang="fr-FR" sz="800" dirty="0" err="1">
                    <a:latin typeface="Century Gothic"/>
                    <a:cs typeface="Century Gothic"/>
                  </a:rPr>
                  <a:t>nuclear</a:t>
                </a:r>
                <a:r>
                  <a:rPr lang="fr-FR" sz="800" dirty="0">
                    <a:latin typeface="Century Gothic"/>
                    <a:cs typeface="Century Gothic"/>
                  </a:rPr>
                  <a:t> </a:t>
                </a:r>
                <a:r>
                  <a:rPr lang="fr-FR" sz="800" dirty="0" err="1">
                    <a:latin typeface="Century Gothic"/>
                    <a:cs typeface="Century Gothic"/>
                  </a:rPr>
                  <a:t>reactors</a:t>
                </a:r>
                <a:r>
                  <a:rPr lang="fr-FR" sz="800" dirty="0">
                    <a:latin typeface="Century Gothic"/>
                    <a:cs typeface="Century Gothic"/>
                  </a:rPr>
                  <a:t>, </a:t>
                </a:r>
                <a:r>
                  <a:rPr lang="fr-FR" sz="800" dirty="0" err="1">
                    <a:latin typeface="Century Gothic"/>
                    <a:cs typeface="Century Gothic"/>
                  </a:rPr>
                  <a:t>Cybersecurity</a:t>
                </a:r>
                <a:r>
                  <a:rPr lang="fr-FR" sz="800" dirty="0">
                    <a:latin typeface="Century Gothic"/>
                    <a:cs typeface="Century Gothic"/>
                  </a:rPr>
                  <a:t>, IEC 61513, IEC 62138…</a:t>
                </a:r>
              </a:p>
            </p:txBody>
          </p:sp>
        </p:grpSp>
      </p:grpSp>
      <p:grpSp>
        <p:nvGrpSpPr>
          <p:cNvPr id="34" name="Groupe 33">
            <a:extLst>
              <a:ext uri="{FF2B5EF4-FFF2-40B4-BE49-F238E27FC236}">
                <a16:creationId xmlns:a16="http://schemas.microsoft.com/office/drawing/2014/main" id="{E74E81B6-CECB-1B43-BA80-9D83351179D2}"/>
              </a:ext>
            </a:extLst>
          </p:cNvPr>
          <p:cNvGrpSpPr/>
          <p:nvPr/>
        </p:nvGrpSpPr>
        <p:grpSpPr>
          <a:xfrm>
            <a:off x="2228850" y="6760007"/>
            <a:ext cx="3361852" cy="660666"/>
            <a:chOff x="2228850" y="5135488"/>
            <a:chExt cx="3361852" cy="660666"/>
          </a:xfrm>
          <a:solidFill>
            <a:schemeClr val="bg1"/>
          </a:solidFill>
        </p:grpSpPr>
        <p:pic>
          <p:nvPicPr>
            <p:cNvPr id="31" name="Image 30">
              <a:extLst>
                <a:ext uri="{FF2B5EF4-FFF2-40B4-BE49-F238E27FC236}">
                  <a16:creationId xmlns:a16="http://schemas.microsoft.com/office/drawing/2014/main" id="{503923B4-B1CB-7740-8F67-93F04171C2A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28850" y="5135488"/>
              <a:ext cx="1651000" cy="266700"/>
            </a:xfrm>
            <a:prstGeom prst="rect">
              <a:avLst/>
            </a:prstGeom>
            <a:grpFill/>
          </p:spPr>
        </p:pic>
        <p:sp>
          <p:nvSpPr>
            <p:cNvPr id="70" name="Rectangle 69">
              <a:extLst>
                <a:ext uri="{FF2B5EF4-FFF2-40B4-BE49-F238E27FC236}">
                  <a16:creationId xmlns:a16="http://schemas.microsoft.com/office/drawing/2014/main" id="{F3CBC4D4-AB7B-AF43-A4EB-AF0E84BE95FC}"/>
                </a:ext>
              </a:extLst>
            </p:cNvPr>
            <p:cNvSpPr/>
            <p:nvPr/>
          </p:nvSpPr>
          <p:spPr>
            <a:xfrm>
              <a:off x="2320215" y="5357572"/>
              <a:ext cx="3270487" cy="438582"/>
            </a:xfrm>
            <a:prstGeom prst="rect">
              <a:avLst/>
            </a:prstGeom>
            <a:grpFill/>
          </p:spPr>
          <p:txBody>
            <a:bodyPr wrap="square">
              <a:spAutoFit/>
            </a:bodyPr>
            <a:lstStyle/>
            <a:p>
              <a:pPr marL="12700" marR="5080" algn="just">
                <a:lnSpc>
                  <a:spcPts val="900"/>
                </a:lnSpc>
                <a:spcBef>
                  <a:spcPts val="850"/>
                </a:spcBef>
              </a:pPr>
              <a:r>
                <a:rPr lang="fr-FR" sz="800" dirty="0">
                  <a:latin typeface="Century Gothic"/>
                  <a:cs typeface="Century Gothic"/>
                </a:rPr>
                <a:t>Worldwide: EDF, Framatome, </a:t>
              </a:r>
              <a:r>
                <a:rPr lang="fr-FR" sz="800" dirty="0" err="1">
                  <a:latin typeface="Century Gothic"/>
                  <a:cs typeface="Century Gothic"/>
                </a:rPr>
                <a:t>Orano</a:t>
              </a:r>
              <a:r>
                <a:rPr lang="fr-FR" sz="800" dirty="0">
                  <a:latin typeface="Century Gothic"/>
                  <a:cs typeface="Century Gothic"/>
                </a:rPr>
                <a:t>, Alstom…</a:t>
              </a:r>
            </a:p>
            <a:p>
              <a:pPr marL="12700" marR="5080" algn="just">
                <a:lnSpc>
                  <a:spcPts val="900"/>
                </a:lnSpc>
                <a:spcBef>
                  <a:spcPts val="850"/>
                </a:spcBef>
              </a:pPr>
              <a:r>
                <a:rPr lang="fr-FR" sz="800" dirty="0" err="1">
                  <a:latin typeface="Century Gothic"/>
                  <a:cs typeface="Century Gothic"/>
                </a:rPr>
                <a:t>Poland</a:t>
              </a:r>
              <a:r>
                <a:rPr lang="fr-FR" sz="800" dirty="0">
                  <a:latin typeface="Century Gothic"/>
                  <a:cs typeface="Century Gothic"/>
                </a:rPr>
                <a:t>: ENEA, </a:t>
              </a:r>
              <a:r>
                <a:rPr lang="fr-FR" sz="800" dirty="0" err="1">
                  <a:latin typeface="Century Gothic"/>
                  <a:cs typeface="Century Gothic"/>
                </a:rPr>
                <a:t>EuROPol</a:t>
              </a:r>
              <a:r>
                <a:rPr lang="fr-FR" sz="800" dirty="0">
                  <a:latin typeface="Century Gothic"/>
                  <a:cs typeface="Century Gothic"/>
                </a:rPr>
                <a:t> Gaz, </a:t>
              </a:r>
              <a:r>
                <a:rPr lang="fr-FR" sz="800" dirty="0" err="1">
                  <a:latin typeface="Century Gothic"/>
                  <a:cs typeface="Century Gothic"/>
                </a:rPr>
                <a:t>Grupa</a:t>
              </a:r>
              <a:r>
                <a:rPr lang="fr-FR" sz="800" dirty="0">
                  <a:latin typeface="Century Gothic"/>
                  <a:cs typeface="Century Gothic"/>
                </a:rPr>
                <a:t> Lotos, OLPP, ORLEN …</a:t>
              </a:r>
            </a:p>
          </p:txBody>
        </p:sp>
      </p:grpSp>
      <p:grpSp>
        <p:nvGrpSpPr>
          <p:cNvPr id="35" name="Groupe 34">
            <a:extLst>
              <a:ext uri="{FF2B5EF4-FFF2-40B4-BE49-F238E27FC236}">
                <a16:creationId xmlns:a16="http://schemas.microsoft.com/office/drawing/2014/main" id="{D4570758-D495-AD4A-B305-F577B7630BB8}"/>
              </a:ext>
            </a:extLst>
          </p:cNvPr>
          <p:cNvGrpSpPr/>
          <p:nvPr/>
        </p:nvGrpSpPr>
        <p:grpSpPr>
          <a:xfrm>
            <a:off x="2228850" y="7394836"/>
            <a:ext cx="3195762" cy="634829"/>
            <a:chOff x="2228850" y="5850853"/>
            <a:chExt cx="3195762" cy="634829"/>
          </a:xfrm>
        </p:grpSpPr>
        <p:pic>
          <p:nvPicPr>
            <p:cNvPr id="33" name="Image 32" descr="Une image contenant texte&#10;&#10;Description générée automatiquement">
              <a:extLst>
                <a:ext uri="{FF2B5EF4-FFF2-40B4-BE49-F238E27FC236}">
                  <a16:creationId xmlns:a16="http://schemas.microsoft.com/office/drawing/2014/main" id="{C3C72E74-962A-304E-94C1-1036E6F3B3C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228850" y="5850853"/>
              <a:ext cx="2184400" cy="266700"/>
            </a:xfrm>
            <a:prstGeom prst="rect">
              <a:avLst/>
            </a:prstGeom>
          </p:spPr>
        </p:pic>
        <p:sp>
          <p:nvSpPr>
            <p:cNvPr id="75" name="Rectangle 74">
              <a:extLst>
                <a:ext uri="{FF2B5EF4-FFF2-40B4-BE49-F238E27FC236}">
                  <a16:creationId xmlns:a16="http://schemas.microsoft.com/office/drawing/2014/main" id="{C2155A27-D3D5-A84D-B471-6204D2A4ADF3}"/>
                </a:ext>
              </a:extLst>
            </p:cNvPr>
            <p:cNvSpPr/>
            <p:nvPr/>
          </p:nvSpPr>
          <p:spPr>
            <a:xfrm>
              <a:off x="2320215" y="6047100"/>
              <a:ext cx="3104397" cy="438582"/>
            </a:xfrm>
            <a:prstGeom prst="rect">
              <a:avLst/>
            </a:prstGeom>
            <a:solidFill>
              <a:schemeClr val="bg1"/>
            </a:solidFill>
          </p:spPr>
          <p:txBody>
            <a:bodyPr wrap="square">
              <a:spAutoFit/>
            </a:bodyPr>
            <a:lstStyle/>
            <a:p>
              <a:pPr marL="12700" marR="5080" algn="just">
                <a:lnSpc>
                  <a:spcPts val="900"/>
                </a:lnSpc>
                <a:spcBef>
                  <a:spcPts val="850"/>
                </a:spcBef>
              </a:pPr>
              <a:r>
                <a:rPr lang="fr-FR" sz="800" dirty="0" err="1">
                  <a:latin typeface="Century Gothic"/>
                  <a:cs typeface="Century Gothic"/>
                </a:rPr>
                <a:t>Olkiluoto</a:t>
              </a:r>
              <a:r>
                <a:rPr lang="fr-FR" sz="800" dirty="0">
                  <a:latin typeface="Century Gothic"/>
                  <a:cs typeface="Century Gothic"/>
                </a:rPr>
                <a:t> 3, Flamanville 3, </a:t>
              </a:r>
              <a:r>
                <a:rPr lang="fr-FR" sz="800" dirty="0" err="1">
                  <a:latin typeface="Century Gothic"/>
                  <a:cs typeface="Century Gothic"/>
                </a:rPr>
                <a:t>Hinkley</a:t>
              </a:r>
              <a:r>
                <a:rPr lang="fr-FR" sz="800" dirty="0">
                  <a:latin typeface="Century Gothic"/>
                  <a:cs typeface="Century Gothic"/>
                </a:rPr>
                <a:t> Point C, Sanmen/</a:t>
              </a:r>
              <a:r>
                <a:rPr lang="fr-FR" sz="800" dirty="0" err="1">
                  <a:latin typeface="Century Gothic"/>
                  <a:cs typeface="Century Gothic"/>
                </a:rPr>
                <a:t>Haiyang</a:t>
              </a:r>
              <a:r>
                <a:rPr lang="fr-FR" sz="800" dirty="0">
                  <a:latin typeface="Century Gothic"/>
                  <a:cs typeface="Century Gothic"/>
                </a:rPr>
                <a:t>, ITER, Jules Horowitz </a:t>
              </a:r>
              <a:r>
                <a:rPr lang="fr-FR" sz="800" dirty="0" err="1">
                  <a:latin typeface="Century Gothic"/>
                  <a:cs typeface="Century Gothic"/>
                </a:rPr>
                <a:t>Reactor</a:t>
              </a:r>
              <a:r>
                <a:rPr lang="fr-FR" sz="800" dirty="0">
                  <a:latin typeface="Century Gothic"/>
                  <a:cs typeface="Century Gothic"/>
                </a:rPr>
                <a:t>, EDF French </a:t>
              </a:r>
              <a:r>
                <a:rPr lang="fr-FR" sz="800" dirty="0" err="1">
                  <a:latin typeface="Century Gothic"/>
                  <a:cs typeface="Century Gothic"/>
                </a:rPr>
                <a:t>fleet</a:t>
              </a:r>
              <a:r>
                <a:rPr lang="fr-FR" sz="800" dirty="0">
                  <a:latin typeface="Century Gothic"/>
                  <a:cs typeface="Century Gothic"/>
                </a:rPr>
                <a:t>, Shimane 3, El </a:t>
              </a:r>
              <a:r>
                <a:rPr lang="fr-FR" sz="800" dirty="0" err="1">
                  <a:latin typeface="Century Gothic"/>
                  <a:cs typeface="Century Gothic"/>
                </a:rPr>
                <a:t>Dabaa</a:t>
              </a:r>
              <a:r>
                <a:rPr lang="fr-FR" sz="800" dirty="0">
                  <a:latin typeface="Century Gothic"/>
                  <a:cs typeface="Century Gothic"/>
                </a:rPr>
                <a:t>, </a:t>
              </a:r>
              <a:r>
                <a:rPr lang="fr-FR" sz="800" dirty="0" err="1">
                  <a:latin typeface="Century Gothic"/>
                  <a:cs typeface="Century Gothic"/>
                </a:rPr>
                <a:t>Hanhikivi</a:t>
              </a:r>
              <a:r>
                <a:rPr lang="fr-FR" sz="800" dirty="0">
                  <a:latin typeface="Century Gothic"/>
                  <a:cs typeface="Century Gothic"/>
                </a:rPr>
                <a:t>, Paks II, </a:t>
              </a:r>
              <a:r>
                <a:rPr lang="fr-FR" sz="800" dirty="0" err="1">
                  <a:latin typeface="Century Gothic"/>
                  <a:cs typeface="Century Gothic"/>
                </a:rPr>
                <a:t>Akkuyu</a:t>
              </a:r>
              <a:r>
                <a:rPr lang="fr-FR" sz="800" dirty="0">
                  <a:latin typeface="Century Gothic"/>
                  <a:cs typeface="Century Gothic"/>
                </a:rPr>
                <a:t>…</a:t>
              </a:r>
              <a:endParaRPr lang="fr-FR" sz="800" dirty="0"/>
            </a:p>
          </p:txBody>
        </p:sp>
      </p:grpSp>
      <p:sp>
        <p:nvSpPr>
          <p:cNvPr id="44" name="ZoneTexte 22">
            <a:extLst>
              <a:ext uri="{FF2B5EF4-FFF2-40B4-BE49-F238E27FC236}">
                <a16:creationId xmlns:a16="http://schemas.microsoft.com/office/drawing/2014/main" id="{6484CFD7-FBAB-4B0B-BEFD-C20C7A5FEE62}"/>
              </a:ext>
            </a:extLst>
          </p:cNvPr>
          <p:cNvSpPr txBox="1"/>
          <p:nvPr/>
        </p:nvSpPr>
        <p:spPr>
          <a:xfrm>
            <a:off x="2177051" y="4571479"/>
            <a:ext cx="3517215" cy="483787"/>
          </a:xfrm>
          <a:prstGeom prst="rect">
            <a:avLst/>
          </a:prstGeom>
          <a:noFill/>
          <a:ln>
            <a:noFill/>
          </a:ln>
        </p:spPr>
        <p:txBody>
          <a:bodyPr wrap="square">
            <a:spAutoFit/>
          </a:bodyPr>
          <a:lstStyle/>
          <a:p>
            <a:pPr>
              <a:lnSpc>
                <a:spcPct val="106000"/>
              </a:lnSpc>
            </a:pPr>
            <a:r>
              <a:rPr lang="en-US" sz="8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Nuclear Power Plant Construction </a:t>
            </a:r>
            <a:r>
              <a:rPr lang="fr-FR" sz="800" dirty="0">
                <a:solidFill>
                  <a:srgbClr val="6C92A8"/>
                </a:solidFill>
                <a:latin typeface="Century Gothic"/>
                <a:cs typeface="Century Gothic"/>
              </a:rPr>
              <a:t>• </a:t>
            </a:r>
            <a:r>
              <a:rPr lang="en-US" sz="800" dirty="0">
                <a:solidFill>
                  <a:srgbClr val="000000"/>
                </a:solidFill>
                <a:latin typeface="Century Gothic" panose="020B0502020202020204" pitchFamily="34" charset="0"/>
                <a:cs typeface="Times New Roman" panose="02020603050405020304" pitchFamily="18" charset="0"/>
              </a:rPr>
              <a:t> </a:t>
            </a:r>
            <a:r>
              <a:rPr lang="en-US" sz="8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Nuclear Plant operation &amp; maintenance </a:t>
            </a:r>
            <a:r>
              <a:rPr lang="fr-FR" sz="800" dirty="0">
                <a:solidFill>
                  <a:srgbClr val="6C92A8"/>
                </a:solidFill>
                <a:latin typeface="Century Gothic"/>
                <a:cs typeface="Century Gothic"/>
              </a:rPr>
              <a:t>• </a:t>
            </a:r>
            <a:r>
              <a:rPr lang="fr-FR" sz="800" kern="1200" dirty="0" err="1">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Decommissioning</a:t>
            </a:r>
            <a:r>
              <a:rPr lang="fr-FR" sz="8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 &amp; </a:t>
            </a:r>
            <a:r>
              <a:rPr lang="fr-FR" sz="800" kern="1200" dirty="0" err="1">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dismantling</a:t>
            </a:r>
            <a:r>
              <a:rPr lang="fr-FR" sz="8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 </a:t>
            </a:r>
            <a:r>
              <a:rPr lang="fr-FR" sz="800" dirty="0">
                <a:solidFill>
                  <a:srgbClr val="6C92A8"/>
                </a:solidFill>
                <a:latin typeface="Century Gothic"/>
                <a:cs typeface="Century Gothic"/>
              </a:rPr>
              <a:t>• </a:t>
            </a:r>
            <a:r>
              <a:rPr lang="fr-FR" sz="800" dirty="0" err="1">
                <a:solidFill>
                  <a:srgbClr val="000000"/>
                </a:solidFill>
                <a:latin typeface="Century Gothic" panose="020B0502020202020204" pitchFamily="34" charset="0"/>
                <a:cs typeface="Times New Roman" panose="02020603050405020304" pitchFamily="18" charset="0"/>
              </a:rPr>
              <a:t>W</a:t>
            </a:r>
            <a:r>
              <a:rPr lang="fr-FR" sz="800" kern="1200" dirty="0" err="1">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aste</a:t>
            </a:r>
            <a:r>
              <a:rPr lang="fr-FR" sz="8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 management</a:t>
            </a:r>
            <a:r>
              <a:rPr lang="fr-FR" sz="800" dirty="0">
                <a:solidFill>
                  <a:srgbClr val="6C92A8"/>
                </a:solidFill>
                <a:latin typeface="Century Gothic"/>
                <a:cs typeface="Century Gothic"/>
              </a:rPr>
              <a:t> •</a:t>
            </a:r>
            <a:r>
              <a:rPr lang="fr-FR" sz="8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  </a:t>
            </a:r>
            <a:r>
              <a:rPr lang="fr-FR" sz="800" kern="1200" dirty="0" err="1">
                <a:effectLst/>
                <a:latin typeface="Century Gothic" panose="020B0502020202020204" pitchFamily="34" charset="0"/>
                <a:ea typeface="Times New Roman" panose="02020603050405020304" pitchFamily="18" charset="0"/>
                <a:cs typeface="Times New Roman" panose="02020603050405020304" pitchFamily="18" charset="0"/>
              </a:rPr>
              <a:t>Research</a:t>
            </a:r>
            <a:r>
              <a:rPr lang="fr-FR" sz="800" kern="1200" dirty="0">
                <a:effectLst/>
                <a:latin typeface="Century Gothic" panose="020B0502020202020204" pitchFamily="34" charset="0"/>
                <a:ea typeface="Times New Roman" panose="02020603050405020304" pitchFamily="18" charset="0"/>
                <a:cs typeface="Times New Roman" panose="02020603050405020304" pitchFamily="18" charset="0"/>
              </a:rPr>
              <a:t> </a:t>
            </a:r>
            <a:r>
              <a:rPr lang="fr-FR" sz="800" kern="1200" dirty="0" err="1">
                <a:effectLst/>
                <a:latin typeface="Century Gothic" panose="020B0502020202020204" pitchFamily="34" charset="0"/>
                <a:ea typeface="Times New Roman" panose="02020603050405020304" pitchFamily="18" charset="0"/>
                <a:cs typeface="Times New Roman" panose="02020603050405020304" pitchFamily="18" charset="0"/>
              </a:rPr>
              <a:t>reactor</a:t>
            </a:r>
            <a:r>
              <a:rPr lang="fr-FR" sz="800" kern="1200" dirty="0">
                <a:effectLst/>
                <a:latin typeface="Century Gothic" panose="020B0502020202020204" pitchFamily="34" charset="0"/>
                <a:ea typeface="Times New Roman" panose="02020603050405020304" pitchFamily="18" charset="0"/>
                <a:cs typeface="Times New Roman" panose="02020603050405020304" pitchFamily="18" charset="0"/>
              </a:rPr>
              <a:t> and </a:t>
            </a:r>
            <a:r>
              <a:rPr lang="fr-FR" sz="8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R&amp;D</a:t>
            </a:r>
            <a:endParaRPr lang="fr-FR" sz="800" dirty="0">
              <a:effectLst/>
              <a:latin typeface="Century Gothic" panose="020B0502020202020204" pitchFamily="34" charset="0"/>
              <a:ea typeface="Calibri" panose="020F0502020204030204" pitchFamily="34" charset="0"/>
              <a:cs typeface="Times New Roman" panose="02020603050405020304" pitchFamily="18" charset="0"/>
            </a:endParaRPr>
          </a:p>
        </p:txBody>
      </p:sp>
      <p:sp>
        <p:nvSpPr>
          <p:cNvPr id="55" name="Rectangle 54">
            <a:extLst>
              <a:ext uri="{FF2B5EF4-FFF2-40B4-BE49-F238E27FC236}">
                <a16:creationId xmlns:a16="http://schemas.microsoft.com/office/drawing/2014/main" id="{CDEFE620-92A9-2F4F-8265-A7C2A6160C41}"/>
              </a:ext>
            </a:extLst>
          </p:cNvPr>
          <p:cNvSpPr/>
          <p:nvPr/>
        </p:nvSpPr>
        <p:spPr>
          <a:xfrm>
            <a:off x="7040" y="4065959"/>
            <a:ext cx="1878448" cy="2054409"/>
          </a:xfrm>
          <a:prstGeom prst="rect">
            <a:avLst/>
          </a:prstGeom>
        </p:spPr>
        <p:txBody>
          <a:bodyPr wrap="square">
            <a:spAutoFit/>
          </a:bodyPr>
          <a:lstStyle/>
          <a:p>
            <a:pPr marL="12700" marR="5080">
              <a:lnSpc>
                <a:spcPts val="900"/>
              </a:lnSpc>
              <a:spcBef>
                <a:spcPts val="850"/>
              </a:spcBef>
            </a:pPr>
            <a:r>
              <a:rPr lang="en-US" sz="800" dirty="0">
                <a:latin typeface="Century Gothic"/>
                <a:cs typeface="Century Gothic"/>
              </a:rPr>
              <a:t>Bureau Veritas is a world leader in laboratory testing, inspection and certification services. Created in 1828, the Group has 80,000 employees located in more than 1,600 offices and laboratories around the globe. Bureau Veritas helps its clients improve their performance by offering services and innovative solutions in order to ensure that their assets, products, infrastructure and processes meet standards and regulations in terms of quality, health and safety, environmental protection and social responsibility.</a:t>
            </a:r>
            <a:endParaRPr lang="fr-FR" sz="800" dirty="0">
              <a:solidFill>
                <a:srgbClr val="0B87B5"/>
              </a:solidFill>
              <a:effectLst/>
              <a:latin typeface="Century Gothic" panose="020B0502020202020204" pitchFamily="34" charset="0"/>
              <a:ea typeface="Calibri" panose="020F0502020204030204" pitchFamily="34" charset="0"/>
              <a:cs typeface="Times New Roman" panose="02020603050405020304" pitchFamily="18" charset="0"/>
            </a:endParaRPr>
          </a:p>
        </p:txBody>
      </p:sp>
      <p:sp>
        <p:nvSpPr>
          <p:cNvPr id="43" name="Rectangle 42">
            <a:extLst>
              <a:ext uri="{FF2B5EF4-FFF2-40B4-BE49-F238E27FC236}">
                <a16:creationId xmlns:a16="http://schemas.microsoft.com/office/drawing/2014/main" id="{ABAD7F70-0C81-2E42-A280-C1D72A509AE0}"/>
              </a:ext>
            </a:extLst>
          </p:cNvPr>
          <p:cNvSpPr/>
          <p:nvPr/>
        </p:nvSpPr>
        <p:spPr>
          <a:xfrm>
            <a:off x="-11548" y="2553671"/>
            <a:ext cx="1878448" cy="207749"/>
          </a:xfrm>
          <a:prstGeom prst="rect">
            <a:avLst/>
          </a:prstGeom>
          <a:solidFill>
            <a:srgbClr val="D8D8D8"/>
          </a:solidFill>
        </p:spPr>
        <p:txBody>
          <a:bodyPr wrap="square">
            <a:spAutoFit/>
          </a:bodyPr>
          <a:lstStyle/>
          <a:p>
            <a:pPr marL="12700" marR="5080">
              <a:lnSpc>
                <a:spcPts val="900"/>
              </a:lnSpc>
            </a:pPr>
            <a:endParaRPr lang="en-US" sz="800" dirty="0">
              <a:latin typeface="Century Gothic"/>
              <a:cs typeface="Century Gothic"/>
            </a:endParaRPr>
          </a:p>
        </p:txBody>
      </p:sp>
      <p:pic>
        <p:nvPicPr>
          <p:cNvPr id="7" name="Picture 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98493" y="32674"/>
            <a:ext cx="1327758" cy="1493920"/>
          </a:xfrm>
          <a:prstGeom prst="rect">
            <a:avLst/>
          </a:prstGeom>
        </p:spPr>
      </p:pic>
      <p:sp>
        <p:nvSpPr>
          <p:cNvPr id="46" name="object 6">
            <a:extLst>
              <a:ext uri="{FF2B5EF4-FFF2-40B4-BE49-F238E27FC236}">
                <a16:creationId xmlns:a16="http://schemas.microsoft.com/office/drawing/2014/main" id="{F8A669FE-F4E6-B6AD-D735-0B39B3C6ACB1}"/>
              </a:ext>
            </a:extLst>
          </p:cNvPr>
          <p:cNvSpPr/>
          <p:nvPr/>
        </p:nvSpPr>
        <p:spPr>
          <a:xfrm>
            <a:off x="44036" y="2316915"/>
            <a:ext cx="483234" cy="289560"/>
          </a:xfrm>
          <a:custGeom>
            <a:avLst/>
            <a:gdLst/>
            <a:ahLst/>
            <a:cxnLst/>
            <a:rect l="l" t="t" r="r" b="b"/>
            <a:pathLst>
              <a:path w="483234" h="289560">
                <a:moveTo>
                  <a:pt x="446998" y="0"/>
                </a:moveTo>
                <a:lnTo>
                  <a:pt x="0" y="0"/>
                </a:lnTo>
                <a:lnTo>
                  <a:pt x="0" y="289140"/>
                </a:lnTo>
                <a:lnTo>
                  <a:pt x="446998" y="289140"/>
                </a:lnTo>
                <a:lnTo>
                  <a:pt x="461014" y="286312"/>
                </a:lnTo>
                <a:lnTo>
                  <a:pt x="472458" y="278598"/>
                </a:lnTo>
                <a:lnTo>
                  <a:pt x="480173" y="267157"/>
                </a:lnTo>
                <a:lnTo>
                  <a:pt x="483002" y="253149"/>
                </a:lnTo>
                <a:lnTo>
                  <a:pt x="483002" y="36004"/>
                </a:lnTo>
                <a:lnTo>
                  <a:pt x="480173" y="21988"/>
                </a:lnTo>
                <a:lnTo>
                  <a:pt x="472458" y="10544"/>
                </a:lnTo>
                <a:lnTo>
                  <a:pt x="461014" y="2828"/>
                </a:lnTo>
                <a:lnTo>
                  <a:pt x="446998" y="0"/>
                </a:lnTo>
                <a:close/>
              </a:path>
            </a:pathLst>
          </a:custGeom>
          <a:solidFill>
            <a:srgbClr val="488C81"/>
          </a:solidFill>
        </p:spPr>
        <p:txBody>
          <a:bodyPr wrap="square" lIns="0" tIns="0" rIns="0" bIns="0" rtlCol="0"/>
          <a:lstStyle/>
          <a:p>
            <a:endParaRPr/>
          </a:p>
        </p:txBody>
      </p:sp>
      <p:sp>
        <p:nvSpPr>
          <p:cNvPr id="47" name="object 6">
            <a:extLst>
              <a:ext uri="{FF2B5EF4-FFF2-40B4-BE49-F238E27FC236}">
                <a16:creationId xmlns:a16="http://schemas.microsoft.com/office/drawing/2014/main" id="{AA64CC5A-2A67-0951-BB2C-37F777BD021A}"/>
              </a:ext>
            </a:extLst>
          </p:cNvPr>
          <p:cNvSpPr/>
          <p:nvPr/>
        </p:nvSpPr>
        <p:spPr>
          <a:xfrm>
            <a:off x="56876" y="3716140"/>
            <a:ext cx="483234" cy="289560"/>
          </a:xfrm>
          <a:custGeom>
            <a:avLst/>
            <a:gdLst/>
            <a:ahLst/>
            <a:cxnLst/>
            <a:rect l="l" t="t" r="r" b="b"/>
            <a:pathLst>
              <a:path w="483234" h="289560">
                <a:moveTo>
                  <a:pt x="446998" y="0"/>
                </a:moveTo>
                <a:lnTo>
                  <a:pt x="0" y="0"/>
                </a:lnTo>
                <a:lnTo>
                  <a:pt x="0" y="289140"/>
                </a:lnTo>
                <a:lnTo>
                  <a:pt x="446998" y="289140"/>
                </a:lnTo>
                <a:lnTo>
                  <a:pt x="461014" y="286312"/>
                </a:lnTo>
                <a:lnTo>
                  <a:pt x="472458" y="278598"/>
                </a:lnTo>
                <a:lnTo>
                  <a:pt x="480173" y="267157"/>
                </a:lnTo>
                <a:lnTo>
                  <a:pt x="483002" y="253149"/>
                </a:lnTo>
                <a:lnTo>
                  <a:pt x="483002" y="36004"/>
                </a:lnTo>
                <a:lnTo>
                  <a:pt x="480173" y="21988"/>
                </a:lnTo>
                <a:lnTo>
                  <a:pt x="472458" y="10544"/>
                </a:lnTo>
                <a:lnTo>
                  <a:pt x="461014" y="2828"/>
                </a:lnTo>
                <a:lnTo>
                  <a:pt x="446998" y="0"/>
                </a:lnTo>
                <a:close/>
              </a:path>
            </a:pathLst>
          </a:custGeom>
          <a:solidFill>
            <a:srgbClr val="488C81"/>
          </a:solidFill>
        </p:spPr>
        <p:txBody>
          <a:bodyPr wrap="square" lIns="0" tIns="0" rIns="0" bIns="0" rtlCol="0"/>
          <a:lstStyle/>
          <a:p>
            <a:endParaRPr/>
          </a:p>
        </p:txBody>
      </p:sp>
      <p:grpSp>
        <p:nvGrpSpPr>
          <p:cNvPr id="48" name="object 54">
            <a:extLst>
              <a:ext uri="{FF2B5EF4-FFF2-40B4-BE49-F238E27FC236}">
                <a16:creationId xmlns:a16="http://schemas.microsoft.com/office/drawing/2014/main" id="{F510FD8E-BEF0-C95A-B410-A0EB98B6FF6D}"/>
              </a:ext>
            </a:extLst>
          </p:cNvPr>
          <p:cNvGrpSpPr/>
          <p:nvPr/>
        </p:nvGrpSpPr>
        <p:grpSpPr>
          <a:xfrm>
            <a:off x="44036" y="6760007"/>
            <a:ext cx="483234" cy="289560"/>
            <a:chOff x="-96562" y="5136940"/>
            <a:chExt cx="483234" cy="289560"/>
          </a:xfrm>
        </p:grpSpPr>
        <p:sp>
          <p:nvSpPr>
            <p:cNvPr id="49" name="object 56">
              <a:extLst>
                <a:ext uri="{FF2B5EF4-FFF2-40B4-BE49-F238E27FC236}">
                  <a16:creationId xmlns:a16="http://schemas.microsoft.com/office/drawing/2014/main" id="{D18899B7-218D-CC1D-9668-B88E17CB1509}"/>
                </a:ext>
              </a:extLst>
            </p:cNvPr>
            <p:cNvSpPr/>
            <p:nvPr/>
          </p:nvSpPr>
          <p:spPr>
            <a:xfrm>
              <a:off x="-96562" y="5136940"/>
              <a:ext cx="483234" cy="289560"/>
            </a:xfrm>
            <a:custGeom>
              <a:avLst/>
              <a:gdLst/>
              <a:ahLst/>
              <a:cxnLst/>
              <a:rect l="l" t="t" r="r" b="b"/>
              <a:pathLst>
                <a:path w="483234" h="289560">
                  <a:moveTo>
                    <a:pt x="482993" y="36004"/>
                  </a:moveTo>
                  <a:lnTo>
                    <a:pt x="480161" y="21983"/>
                  </a:lnTo>
                  <a:lnTo>
                    <a:pt x="472452" y="10541"/>
                  </a:lnTo>
                  <a:lnTo>
                    <a:pt x="461010" y="2819"/>
                  </a:lnTo>
                  <a:lnTo>
                    <a:pt x="446989" y="0"/>
                  </a:lnTo>
                  <a:lnTo>
                    <a:pt x="122402" y="0"/>
                  </a:lnTo>
                  <a:lnTo>
                    <a:pt x="35991" y="0"/>
                  </a:lnTo>
                  <a:lnTo>
                    <a:pt x="0" y="0"/>
                  </a:lnTo>
                  <a:lnTo>
                    <a:pt x="0" y="36004"/>
                  </a:lnTo>
                  <a:lnTo>
                    <a:pt x="0" y="253149"/>
                  </a:lnTo>
                  <a:lnTo>
                    <a:pt x="0" y="289128"/>
                  </a:lnTo>
                  <a:lnTo>
                    <a:pt x="35928" y="289128"/>
                  </a:lnTo>
                  <a:lnTo>
                    <a:pt x="446989" y="289140"/>
                  </a:lnTo>
                  <a:lnTo>
                    <a:pt x="461010" y="286308"/>
                  </a:lnTo>
                  <a:lnTo>
                    <a:pt x="472452" y="278587"/>
                  </a:lnTo>
                  <a:lnTo>
                    <a:pt x="480161" y="267157"/>
                  </a:lnTo>
                  <a:lnTo>
                    <a:pt x="482993" y="253149"/>
                  </a:lnTo>
                  <a:lnTo>
                    <a:pt x="482993" y="36004"/>
                  </a:lnTo>
                  <a:close/>
                </a:path>
              </a:pathLst>
            </a:custGeom>
            <a:solidFill>
              <a:srgbClr val="498B80"/>
            </a:solidFill>
          </p:spPr>
          <p:txBody>
            <a:bodyPr wrap="square" lIns="0" tIns="0" rIns="0" bIns="0" rtlCol="0"/>
            <a:lstStyle/>
            <a:p>
              <a:endParaRPr/>
            </a:p>
          </p:txBody>
        </p:sp>
        <p:pic>
          <p:nvPicPr>
            <p:cNvPr id="50" name="object 57">
              <a:extLst>
                <a:ext uri="{FF2B5EF4-FFF2-40B4-BE49-F238E27FC236}">
                  <a16:creationId xmlns:a16="http://schemas.microsoft.com/office/drawing/2014/main" id="{4146117C-D47D-439D-E610-6DA642267A50}"/>
                </a:ext>
              </a:extLst>
            </p:cNvPr>
            <p:cNvPicPr/>
            <p:nvPr/>
          </p:nvPicPr>
          <p:blipFill>
            <a:blip r:embed="rId11" cstate="print"/>
            <a:stretch>
              <a:fillRect/>
            </a:stretch>
          </p:blipFill>
          <p:spPr>
            <a:xfrm>
              <a:off x="54333" y="5190998"/>
              <a:ext cx="181444" cy="181444"/>
            </a:xfrm>
            <a:prstGeom prst="rect">
              <a:avLst/>
            </a:prstGeom>
          </p:spPr>
        </p:pic>
      </p:grpSp>
      <p:sp>
        <p:nvSpPr>
          <p:cNvPr id="52" name="object 26">
            <a:extLst>
              <a:ext uri="{FF2B5EF4-FFF2-40B4-BE49-F238E27FC236}">
                <a16:creationId xmlns:a16="http://schemas.microsoft.com/office/drawing/2014/main" id="{ACF15BCA-8907-C6FF-DEF9-87544ABFABD3}"/>
              </a:ext>
            </a:extLst>
          </p:cNvPr>
          <p:cNvSpPr txBox="1"/>
          <p:nvPr/>
        </p:nvSpPr>
        <p:spPr>
          <a:xfrm>
            <a:off x="175806" y="6784333"/>
            <a:ext cx="1704975" cy="484748"/>
          </a:xfrm>
          <a:prstGeom prst="rect">
            <a:avLst/>
          </a:prstGeom>
        </p:spPr>
        <p:txBody>
          <a:bodyPr vert="horz" wrap="square" lIns="0" tIns="22860" rIns="0" bIns="0" rtlCol="0">
            <a:spAutoFit/>
          </a:bodyPr>
          <a:lstStyle/>
          <a:p>
            <a:pPr marL="408305" marR="564515">
              <a:lnSpc>
                <a:spcPts val="900"/>
              </a:lnSpc>
              <a:spcBef>
                <a:spcPts val="180"/>
              </a:spcBef>
            </a:pPr>
            <a:r>
              <a:rPr sz="800" b="1" dirty="0">
                <a:solidFill>
                  <a:srgbClr val="498B80"/>
                </a:solidFill>
                <a:latin typeface="Century Gothic"/>
                <a:cs typeface="Century Gothic"/>
              </a:rPr>
              <a:t>STRATEGY AND  EXPECTATION</a:t>
            </a:r>
            <a:endParaRPr sz="800" dirty="0">
              <a:latin typeface="Century Gothic"/>
              <a:cs typeface="Century Gothic"/>
            </a:endParaRPr>
          </a:p>
          <a:p>
            <a:pPr marL="12700" marR="5080" algn="just">
              <a:lnSpc>
                <a:spcPts val="900"/>
              </a:lnSpc>
              <a:spcBef>
                <a:spcPts val="850"/>
              </a:spcBef>
            </a:pPr>
            <a:r>
              <a:rPr sz="800" dirty="0">
                <a:latin typeface="Century Gothic"/>
                <a:cs typeface="Century Gothic"/>
              </a:rPr>
              <a:t>.</a:t>
            </a:r>
          </a:p>
        </p:txBody>
      </p:sp>
      <p:sp>
        <p:nvSpPr>
          <p:cNvPr id="53" name="object 26">
            <a:extLst>
              <a:ext uri="{FF2B5EF4-FFF2-40B4-BE49-F238E27FC236}">
                <a16:creationId xmlns:a16="http://schemas.microsoft.com/office/drawing/2014/main" id="{E8321E9E-9A00-2774-7EEF-B08A0EE42762}"/>
              </a:ext>
            </a:extLst>
          </p:cNvPr>
          <p:cNvSpPr txBox="1"/>
          <p:nvPr/>
        </p:nvSpPr>
        <p:spPr>
          <a:xfrm>
            <a:off x="264497" y="3691077"/>
            <a:ext cx="2053045" cy="510396"/>
          </a:xfrm>
          <a:prstGeom prst="rect">
            <a:avLst/>
          </a:prstGeom>
        </p:spPr>
        <p:txBody>
          <a:bodyPr vert="horz" wrap="square" lIns="0" tIns="22860" rIns="0" bIns="0" rtlCol="0">
            <a:spAutoFit/>
          </a:bodyPr>
          <a:lstStyle/>
          <a:p>
            <a:pPr marL="408305" marR="564515">
              <a:lnSpc>
                <a:spcPts val="900"/>
              </a:lnSpc>
              <a:spcBef>
                <a:spcPts val="180"/>
              </a:spcBef>
            </a:pPr>
            <a:r>
              <a:rPr lang="fr-FR" sz="800" b="1" dirty="0">
                <a:solidFill>
                  <a:srgbClr val="498B80"/>
                </a:solidFill>
                <a:latin typeface="Century Gothic"/>
                <a:cs typeface="Century Gothic"/>
              </a:rPr>
              <a:t>BUREAU VERITAS</a:t>
            </a:r>
          </a:p>
          <a:p>
            <a:pPr marL="408305" marR="564515">
              <a:lnSpc>
                <a:spcPts val="900"/>
              </a:lnSpc>
              <a:spcBef>
                <a:spcPts val="180"/>
              </a:spcBef>
            </a:pPr>
            <a:r>
              <a:rPr lang="fr-FR" sz="800" b="1" dirty="0">
                <a:solidFill>
                  <a:srgbClr val="498B80"/>
                </a:solidFill>
                <a:latin typeface="Century Gothic"/>
                <a:cs typeface="Century Gothic"/>
              </a:rPr>
              <a:t>WORLDWIDE</a:t>
            </a:r>
            <a:r>
              <a:rPr sz="800" b="1" dirty="0">
                <a:solidFill>
                  <a:srgbClr val="498B80"/>
                </a:solidFill>
                <a:latin typeface="Century Gothic"/>
                <a:cs typeface="Century Gothic"/>
              </a:rPr>
              <a:t> </a:t>
            </a:r>
            <a:endParaRPr sz="800" dirty="0">
              <a:latin typeface="Century Gothic"/>
              <a:cs typeface="Century Gothic"/>
            </a:endParaRPr>
          </a:p>
          <a:p>
            <a:pPr marL="12700" marR="5080" algn="just">
              <a:lnSpc>
                <a:spcPts val="900"/>
              </a:lnSpc>
              <a:spcBef>
                <a:spcPts val="850"/>
              </a:spcBef>
            </a:pPr>
            <a:r>
              <a:rPr sz="800" dirty="0">
                <a:latin typeface="Century Gothic"/>
                <a:cs typeface="Century Gothic"/>
              </a:rPr>
              <a:t>.</a:t>
            </a:r>
          </a:p>
        </p:txBody>
      </p:sp>
      <p:sp>
        <p:nvSpPr>
          <p:cNvPr id="54" name="object 26">
            <a:extLst>
              <a:ext uri="{FF2B5EF4-FFF2-40B4-BE49-F238E27FC236}">
                <a16:creationId xmlns:a16="http://schemas.microsoft.com/office/drawing/2014/main" id="{BB225699-4F7C-3AF8-DF9E-345925ED710C}"/>
              </a:ext>
            </a:extLst>
          </p:cNvPr>
          <p:cNvSpPr txBox="1"/>
          <p:nvPr/>
        </p:nvSpPr>
        <p:spPr>
          <a:xfrm>
            <a:off x="256255" y="2337990"/>
            <a:ext cx="2053045" cy="510396"/>
          </a:xfrm>
          <a:prstGeom prst="rect">
            <a:avLst/>
          </a:prstGeom>
        </p:spPr>
        <p:txBody>
          <a:bodyPr vert="horz" wrap="square" lIns="0" tIns="22860" rIns="0" bIns="0" rtlCol="0">
            <a:spAutoFit/>
          </a:bodyPr>
          <a:lstStyle/>
          <a:p>
            <a:pPr marL="408305" marR="564515">
              <a:lnSpc>
                <a:spcPts val="900"/>
              </a:lnSpc>
              <a:spcBef>
                <a:spcPts val="180"/>
              </a:spcBef>
            </a:pPr>
            <a:r>
              <a:rPr lang="fr-FR" sz="800" b="1" dirty="0">
                <a:solidFill>
                  <a:srgbClr val="498B80"/>
                </a:solidFill>
                <a:latin typeface="Century Gothic"/>
                <a:cs typeface="Century Gothic"/>
              </a:rPr>
              <a:t>BUREAU VERITAS</a:t>
            </a:r>
          </a:p>
          <a:p>
            <a:pPr marL="408305" marR="564515">
              <a:lnSpc>
                <a:spcPts val="900"/>
              </a:lnSpc>
              <a:spcBef>
                <a:spcPts val="180"/>
              </a:spcBef>
            </a:pPr>
            <a:r>
              <a:rPr lang="fr-FR" sz="800" b="1" dirty="0">
                <a:solidFill>
                  <a:srgbClr val="498B80"/>
                </a:solidFill>
                <a:latin typeface="Century Gothic"/>
                <a:cs typeface="Century Gothic"/>
              </a:rPr>
              <a:t>IN UK</a:t>
            </a:r>
            <a:endParaRPr sz="800" dirty="0">
              <a:latin typeface="Century Gothic"/>
              <a:cs typeface="Century Gothic"/>
            </a:endParaRPr>
          </a:p>
          <a:p>
            <a:pPr marL="12700" marR="5080" algn="just">
              <a:lnSpc>
                <a:spcPts val="900"/>
              </a:lnSpc>
              <a:spcBef>
                <a:spcPts val="850"/>
              </a:spcBef>
            </a:pPr>
            <a:r>
              <a:rPr sz="800" dirty="0">
                <a:latin typeface="Century Gothic"/>
                <a:cs typeface="Century Gothic"/>
              </a:rPr>
              <a:t>.</a:t>
            </a:r>
          </a:p>
        </p:txBody>
      </p:sp>
      <p:pic>
        <p:nvPicPr>
          <p:cNvPr id="58" name="Image 57">
            <a:extLst>
              <a:ext uri="{FF2B5EF4-FFF2-40B4-BE49-F238E27FC236}">
                <a16:creationId xmlns:a16="http://schemas.microsoft.com/office/drawing/2014/main" id="{5474F371-B3DC-14D5-AF2A-50850C62344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35493" y="2370140"/>
            <a:ext cx="284237" cy="189491"/>
          </a:xfrm>
          <a:prstGeom prst="rect">
            <a:avLst/>
          </a:prstGeom>
        </p:spPr>
      </p:pic>
    </p:spTree>
    <p:extLst>
      <p:ext uri="{BB962C8B-B14F-4D97-AF65-F5344CB8AC3E}">
        <p14:creationId xmlns:p14="http://schemas.microsoft.com/office/powerpoint/2010/main" val="17067301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027299" y="140629"/>
            <a:ext cx="1544955" cy="177800"/>
          </a:xfrm>
          <a:prstGeom prst="rect">
            <a:avLst/>
          </a:prstGeom>
        </p:spPr>
        <p:txBody>
          <a:bodyPr vert="horz" wrap="square" lIns="0" tIns="12700" rIns="0" bIns="0" rtlCol="0">
            <a:spAutoFit/>
          </a:bodyPr>
          <a:lstStyle/>
          <a:p>
            <a:pPr marL="12700">
              <a:lnSpc>
                <a:spcPct val="100000"/>
              </a:lnSpc>
              <a:spcBef>
                <a:spcPts val="100"/>
              </a:spcBef>
            </a:pPr>
            <a:r>
              <a:rPr sz="1000" dirty="0">
                <a:solidFill>
                  <a:srgbClr val="FFFFFF"/>
                </a:solidFill>
                <a:latin typeface="Rafale BG"/>
                <a:cs typeface="Rafale BG"/>
              </a:rPr>
              <a:t>ENTREPRISE INFORM</a:t>
            </a:r>
            <a:r>
              <a:rPr sz="1000" spc="-70" dirty="0">
                <a:solidFill>
                  <a:srgbClr val="FFFFFF"/>
                </a:solidFill>
                <a:latin typeface="Rafale BG"/>
                <a:cs typeface="Rafale BG"/>
              </a:rPr>
              <a:t>A</a:t>
            </a:r>
            <a:r>
              <a:rPr sz="1000" spc="-30" dirty="0">
                <a:solidFill>
                  <a:srgbClr val="FFFFFF"/>
                </a:solidFill>
                <a:latin typeface="Rafale BG"/>
                <a:cs typeface="Rafale BG"/>
              </a:rPr>
              <a:t>T</a:t>
            </a:r>
            <a:r>
              <a:rPr sz="1000" dirty="0">
                <a:solidFill>
                  <a:srgbClr val="FFFFFF"/>
                </a:solidFill>
                <a:latin typeface="Rafale BG"/>
                <a:cs typeface="Rafale BG"/>
              </a:rPr>
              <a:t>ON</a:t>
            </a:r>
            <a:endParaRPr sz="1000">
              <a:latin typeface="Rafale BG"/>
              <a:cs typeface="Rafale BG"/>
            </a:endParaRPr>
          </a:p>
        </p:txBody>
      </p:sp>
      <p:sp>
        <p:nvSpPr>
          <p:cNvPr id="3" name="object 3"/>
          <p:cNvSpPr txBox="1"/>
          <p:nvPr/>
        </p:nvSpPr>
        <p:spPr>
          <a:xfrm>
            <a:off x="3887341" y="140629"/>
            <a:ext cx="593725" cy="177800"/>
          </a:xfrm>
          <a:prstGeom prst="rect">
            <a:avLst/>
          </a:prstGeom>
        </p:spPr>
        <p:txBody>
          <a:bodyPr vert="horz" wrap="square" lIns="0" tIns="12700" rIns="0" bIns="0" rtlCol="0">
            <a:spAutoFit/>
          </a:bodyPr>
          <a:lstStyle/>
          <a:p>
            <a:pPr marL="12700">
              <a:lnSpc>
                <a:spcPct val="100000"/>
              </a:lnSpc>
              <a:spcBef>
                <a:spcPts val="100"/>
              </a:spcBef>
            </a:pPr>
            <a:r>
              <a:rPr sz="1000" spc="-20" dirty="0">
                <a:solidFill>
                  <a:srgbClr val="FFFFFF"/>
                </a:solidFill>
                <a:latin typeface="Rafale BG"/>
                <a:cs typeface="Rafale BG"/>
              </a:rPr>
              <a:t>CONTACT</a:t>
            </a:r>
            <a:endParaRPr sz="1000">
              <a:latin typeface="Rafale BG"/>
              <a:cs typeface="Rafale BG"/>
            </a:endParaRPr>
          </a:p>
        </p:txBody>
      </p:sp>
      <p:grpSp>
        <p:nvGrpSpPr>
          <p:cNvPr id="11" name="object 11"/>
          <p:cNvGrpSpPr/>
          <p:nvPr/>
        </p:nvGrpSpPr>
        <p:grpSpPr>
          <a:xfrm>
            <a:off x="0" y="0"/>
            <a:ext cx="5766435" cy="2035175"/>
            <a:chOff x="0" y="0"/>
            <a:chExt cx="5766435" cy="2035175"/>
          </a:xfrm>
        </p:grpSpPr>
        <p:sp>
          <p:nvSpPr>
            <p:cNvPr id="12" name="object 12"/>
            <p:cNvSpPr/>
            <p:nvPr/>
          </p:nvSpPr>
          <p:spPr>
            <a:xfrm>
              <a:off x="1871865" y="1773948"/>
              <a:ext cx="3888740" cy="12700"/>
            </a:xfrm>
            <a:custGeom>
              <a:avLst/>
              <a:gdLst/>
              <a:ahLst/>
              <a:cxnLst/>
              <a:rect l="l" t="t" r="r" b="b"/>
              <a:pathLst>
                <a:path w="3888740" h="12700">
                  <a:moveTo>
                    <a:pt x="0" y="12700"/>
                  </a:moveTo>
                  <a:lnTo>
                    <a:pt x="3888130" y="12700"/>
                  </a:lnTo>
                  <a:lnTo>
                    <a:pt x="3888130" y="0"/>
                  </a:lnTo>
                  <a:lnTo>
                    <a:pt x="0" y="0"/>
                  </a:lnTo>
                  <a:lnTo>
                    <a:pt x="0" y="12700"/>
                  </a:lnTo>
                  <a:close/>
                </a:path>
              </a:pathLst>
            </a:custGeom>
            <a:solidFill>
              <a:srgbClr val="498B80"/>
            </a:solidFill>
          </p:spPr>
          <p:txBody>
            <a:bodyPr wrap="square" lIns="0" tIns="0" rIns="0" bIns="0" rtlCol="0"/>
            <a:lstStyle/>
            <a:p>
              <a:endParaRPr/>
            </a:p>
          </p:txBody>
        </p:sp>
        <p:sp>
          <p:nvSpPr>
            <p:cNvPr id="13" name="object 13"/>
            <p:cNvSpPr/>
            <p:nvPr/>
          </p:nvSpPr>
          <p:spPr>
            <a:xfrm>
              <a:off x="1871865" y="1773948"/>
              <a:ext cx="3888740" cy="12700"/>
            </a:xfrm>
            <a:custGeom>
              <a:avLst/>
              <a:gdLst/>
              <a:ahLst/>
              <a:cxnLst/>
              <a:rect l="l" t="t" r="r" b="b"/>
              <a:pathLst>
                <a:path w="3888740" h="12700">
                  <a:moveTo>
                    <a:pt x="0" y="12700"/>
                  </a:moveTo>
                  <a:lnTo>
                    <a:pt x="3888130" y="12700"/>
                  </a:lnTo>
                  <a:lnTo>
                    <a:pt x="3888130" y="0"/>
                  </a:lnTo>
                  <a:lnTo>
                    <a:pt x="0" y="0"/>
                  </a:lnTo>
                  <a:lnTo>
                    <a:pt x="0" y="12700"/>
                  </a:lnTo>
                </a:path>
              </a:pathLst>
            </a:custGeom>
            <a:ln w="12700">
              <a:solidFill>
                <a:srgbClr val="001D18"/>
              </a:solidFill>
            </a:ln>
          </p:spPr>
          <p:txBody>
            <a:bodyPr wrap="square" lIns="0" tIns="0" rIns="0" bIns="0" rtlCol="0"/>
            <a:lstStyle/>
            <a:p>
              <a:endParaRPr/>
            </a:p>
          </p:txBody>
        </p:sp>
        <p:sp>
          <p:nvSpPr>
            <p:cNvPr id="14" name="object 14"/>
            <p:cNvSpPr/>
            <p:nvPr/>
          </p:nvSpPr>
          <p:spPr>
            <a:xfrm>
              <a:off x="0" y="0"/>
              <a:ext cx="1943100" cy="1793239"/>
            </a:xfrm>
            <a:custGeom>
              <a:avLst/>
              <a:gdLst/>
              <a:ahLst/>
              <a:cxnLst/>
              <a:rect l="l" t="t" r="r" b="b"/>
              <a:pathLst>
                <a:path w="1943100" h="1793239">
                  <a:moveTo>
                    <a:pt x="1943100" y="0"/>
                  </a:moveTo>
                  <a:lnTo>
                    <a:pt x="25196" y="0"/>
                  </a:lnTo>
                  <a:lnTo>
                    <a:pt x="0" y="0"/>
                  </a:lnTo>
                  <a:lnTo>
                    <a:pt x="0" y="25196"/>
                  </a:lnTo>
                  <a:lnTo>
                    <a:pt x="0" y="1792795"/>
                  </a:lnTo>
                  <a:lnTo>
                    <a:pt x="25196" y="1792795"/>
                  </a:lnTo>
                  <a:lnTo>
                    <a:pt x="25196" y="25196"/>
                  </a:lnTo>
                  <a:lnTo>
                    <a:pt x="1943100" y="25196"/>
                  </a:lnTo>
                  <a:lnTo>
                    <a:pt x="1943100" y="0"/>
                  </a:lnTo>
                  <a:close/>
                </a:path>
              </a:pathLst>
            </a:custGeom>
            <a:solidFill>
              <a:srgbClr val="001D18"/>
            </a:solidFill>
          </p:spPr>
          <p:txBody>
            <a:bodyPr wrap="square" lIns="0" tIns="0" rIns="0" bIns="0" rtlCol="0"/>
            <a:lstStyle/>
            <a:p>
              <a:endParaRPr/>
            </a:p>
          </p:txBody>
        </p:sp>
        <p:sp>
          <p:nvSpPr>
            <p:cNvPr id="15" name="object 15"/>
            <p:cNvSpPr/>
            <p:nvPr/>
          </p:nvSpPr>
          <p:spPr>
            <a:xfrm>
              <a:off x="5443194" y="1791893"/>
              <a:ext cx="316865" cy="243204"/>
            </a:xfrm>
            <a:custGeom>
              <a:avLst/>
              <a:gdLst/>
              <a:ahLst/>
              <a:cxnLst/>
              <a:rect l="l" t="t" r="r" b="b"/>
              <a:pathLst>
                <a:path w="316864" h="243205">
                  <a:moveTo>
                    <a:pt x="0" y="243001"/>
                  </a:moveTo>
                  <a:lnTo>
                    <a:pt x="316801" y="243001"/>
                  </a:lnTo>
                  <a:lnTo>
                    <a:pt x="316801" y="0"/>
                  </a:lnTo>
                  <a:lnTo>
                    <a:pt x="0" y="0"/>
                  </a:lnTo>
                  <a:lnTo>
                    <a:pt x="0" y="243001"/>
                  </a:lnTo>
                  <a:close/>
                </a:path>
              </a:pathLst>
            </a:custGeom>
            <a:solidFill>
              <a:srgbClr val="FFFFFF">
                <a:alpha val="59999"/>
              </a:srgbClr>
            </a:solidFill>
          </p:spPr>
          <p:txBody>
            <a:bodyPr wrap="square" lIns="0" tIns="0" rIns="0" bIns="0" rtlCol="0"/>
            <a:lstStyle/>
            <a:p>
              <a:endParaRPr/>
            </a:p>
          </p:txBody>
        </p:sp>
        <p:sp>
          <p:nvSpPr>
            <p:cNvPr id="16" name="object 16"/>
            <p:cNvSpPr/>
            <p:nvPr/>
          </p:nvSpPr>
          <p:spPr>
            <a:xfrm>
              <a:off x="2823330" y="1787400"/>
              <a:ext cx="113664" cy="57150"/>
            </a:xfrm>
            <a:custGeom>
              <a:avLst/>
              <a:gdLst/>
              <a:ahLst/>
              <a:cxnLst/>
              <a:rect l="l" t="t" r="r" b="b"/>
              <a:pathLst>
                <a:path w="113664" h="57150">
                  <a:moveTo>
                    <a:pt x="113334" y="0"/>
                  </a:moveTo>
                  <a:lnTo>
                    <a:pt x="0" y="0"/>
                  </a:lnTo>
                  <a:lnTo>
                    <a:pt x="56667" y="56667"/>
                  </a:lnTo>
                  <a:lnTo>
                    <a:pt x="113334" y="0"/>
                  </a:lnTo>
                  <a:close/>
                </a:path>
              </a:pathLst>
            </a:custGeom>
            <a:solidFill>
              <a:srgbClr val="001D18"/>
            </a:solidFill>
          </p:spPr>
          <p:txBody>
            <a:bodyPr wrap="square" lIns="0" tIns="0" rIns="0" bIns="0" rtlCol="0"/>
            <a:lstStyle/>
            <a:p>
              <a:endParaRPr/>
            </a:p>
          </p:txBody>
        </p:sp>
        <p:pic>
          <p:nvPicPr>
            <p:cNvPr id="17" name="object 17"/>
            <p:cNvPicPr/>
            <p:nvPr/>
          </p:nvPicPr>
          <p:blipFill>
            <a:blip r:embed="rId2" cstate="print"/>
            <a:stretch>
              <a:fillRect/>
            </a:stretch>
          </p:blipFill>
          <p:spPr>
            <a:xfrm>
              <a:off x="477194" y="1554646"/>
              <a:ext cx="403335" cy="123559"/>
            </a:xfrm>
            <a:prstGeom prst="rect">
              <a:avLst/>
            </a:prstGeom>
          </p:spPr>
        </p:pic>
      </p:grpSp>
      <p:sp>
        <p:nvSpPr>
          <p:cNvPr id="18" name="object 18"/>
          <p:cNvSpPr txBox="1"/>
          <p:nvPr/>
        </p:nvSpPr>
        <p:spPr>
          <a:xfrm>
            <a:off x="920362" y="1490708"/>
            <a:ext cx="436880" cy="208279"/>
          </a:xfrm>
          <a:prstGeom prst="rect">
            <a:avLst/>
          </a:prstGeom>
        </p:spPr>
        <p:txBody>
          <a:bodyPr vert="horz" wrap="square" lIns="0" tIns="12700" rIns="0" bIns="0" rtlCol="0">
            <a:spAutoFit/>
          </a:bodyPr>
          <a:lstStyle/>
          <a:p>
            <a:pPr marL="12700">
              <a:lnSpc>
                <a:spcPct val="100000"/>
              </a:lnSpc>
              <a:spcBef>
                <a:spcPts val="100"/>
              </a:spcBef>
            </a:pPr>
            <a:r>
              <a:rPr sz="1200" spc="-120" dirty="0">
                <a:solidFill>
                  <a:srgbClr val="1F376B"/>
                </a:solidFill>
                <a:latin typeface="Times New Roman"/>
                <a:cs typeface="Times New Roman"/>
              </a:rPr>
              <a:t>member</a:t>
            </a:r>
            <a:endParaRPr sz="1200">
              <a:latin typeface="Times New Roman"/>
              <a:cs typeface="Times New Roman"/>
            </a:endParaRPr>
          </a:p>
        </p:txBody>
      </p:sp>
      <p:sp>
        <p:nvSpPr>
          <p:cNvPr id="19" name="object 19"/>
          <p:cNvSpPr txBox="1"/>
          <p:nvPr/>
        </p:nvSpPr>
        <p:spPr>
          <a:xfrm>
            <a:off x="4163300" y="1512137"/>
            <a:ext cx="1005600" cy="120546"/>
          </a:xfrm>
          <a:prstGeom prst="rect">
            <a:avLst/>
          </a:prstGeom>
        </p:spPr>
        <p:txBody>
          <a:bodyPr vert="horz" wrap="square" lIns="0" tIns="12700" rIns="0" bIns="0" rtlCol="0">
            <a:spAutoFit/>
          </a:bodyPr>
          <a:lstStyle/>
          <a:p>
            <a:pPr marL="12700">
              <a:lnSpc>
                <a:spcPct val="100000"/>
              </a:lnSpc>
              <a:spcBef>
                <a:spcPts val="100"/>
              </a:spcBef>
            </a:pPr>
            <a:r>
              <a:rPr sz="700" b="1" u="sng" dirty="0">
                <a:solidFill>
                  <a:srgbClr val="FFFFFF"/>
                </a:solidFill>
                <a:uFill>
                  <a:solidFill>
                    <a:srgbClr val="FFFFFF"/>
                  </a:solidFill>
                </a:uFill>
                <a:latin typeface="Century Gothic"/>
                <a:cs typeface="Century Gothic"/>
                <a:hlinkClick r:id="rId3"/>
              </a:rPr>
              <a:t>www.egis</a:t>
            </a:r>
            <a:r>
              <a:rPr lang="fr-FR" sz="700" b="1" u="sng" dirty="0">
                <a:solidFill>
                  <a:srgbClr val="FFFFFF"/>
                </a:solidFill>
                <a:uFill>
                  <a:solidFill>
                    <a:srgbClr val="FFFFFF"/>
                  </a:solidFill>
                </a:uFill>
                <a:latin typeface="Century Gothic"/>
                <a:cs typeface="Century Gothic"/>
              </a:rPr>
              <a:t>-group.com</a:t>
            </a:r>
            <a:endParaRPr sz="700" dirty="0">
              <a:latin typeface="Century Gothic"/>
              <a:cs typeface="Century Gothic"/>
            </a:endParaRPr>
          </a:p>
        </p:txBody>
      </p:sp>
      <p:grpSp>
        <p:nvGrpSpPr>
          <p:cNvPr id="27" name="object 27"/>
          <p:cNvGrpSpPr/>
          <p:nvPr/>
        </p:nvGrpSpPr>
        <p:grpSpPr>
          <a:xfrm>
            <a:off x="2148000" y="4050300"/>
            <a:ext cx="120014" cy="12700"/>
            <a:chOff x="2148000" y="4050300"/>
            <a:chExt cx="120014" cy="12700"/>
          </a:xfrm>
        </p:grpSpPr>
        <p:sp>
          <p:nvSpPr>
            <p:cNvPr id="28" name="object 28"/>
            <p:cNvSpPr/>
            <p:nvPr/>
          </p:nvSpPr>
          <p:spPr>
            <a:xfrm>
              <a:off x="2190116" y="4056650"/>
              <a:ext cx="53975" cy="0"/>
            </a:xfrm>
            <a:custGeom>
              <a:avLst/>
              <a:gdLst/>
              <a:ahLst/>
              <a:cxnLst/>
              <a:rect l="l" t="t" r="r" b="b"/>
              <a:pathLst>
                <a:path w="53975">
                  <a:moveTo>
                    <a:pt x="0" y="0"/>
                  </a:moveTo>
                  <a:lnTo>
                    <a:pt x="53644" y="0"/>
                  </a:lnTo>
                </a:path>
              </a:pathLst>
            </a:custGeom>
            <a:ln w="12700">
              <a:solidFill>
                <a:srgbClr val="EF3A47"/>
              </a:solidFill>
              <a:prstDash val="dot"/>
            </a:ln>
          </p:spPr>
          <p:txBody>
            <a:bodyPr wrap="square" lIns="0" tIns="0" rIns="0" bIns="0" rtlCol="0"/>
            <a:lstStyle/>
            <a:p>
              <a:endParaRPr/>
            </a:p>
          </p:txBody>
        </p:sp>
        <p:sp>
          <p:nvSpPr>
            <p:cNvPr id="29" name="object 29"/>
            <p:cNvSpPr/>
            <p:nvPr/>
          </p:nvSpPr>
          <p:spPr>
            <a:xfrm>
              <a:off x="2147989" y="4050309"/>
              <a:ext cx="120014" cy="12700"/>
            </a:xfrm>
            <a:custGeom>
              <a:avLst/>
              <a:gdLst/>
              <a:ahLst/>
              <a:cxnLst/>
              <a:rect l="l" t="t" r="r" b="b"/>
              <a:pathLst>
                <a:path w="120014" h="12700">
                  <a:moveTo>
                    <a:pt x="12700" y="6350"/>
                  </a:moveTo>
                  <a:lnTo>
                    <a:pt x="10845" y="1854"/>
                  </a:lnTo>
                  <a:lnTo>
                    <a:pt x="6350" y="0"/>
                  </a:lnTo>
                  <a:lnTo>
                    <a:pt x="1866" y="1854"/>
                  </a:lnTo>
                  <a:lnTo>
                    <a:pt x="0" y="6350"/>
                  </a:lnTo>
                  <a:lnTo>
                    <a:pt x="1866" y="10833"/>
                  </a:lnTo>
                  <a:lnTo>
                    <a:pt x="6350" y="12700"/>
                  </a:lnTo>
                  <a:lnTo>
                    <a:pt x="10845" y="10833"/>
                  </a:lnTo>
                  <a:lnTo>
                    <a:pt x="12700" y="6350"/>
                  </a:lnTo>
                  <a:close/>
                </a:path>
                <a:path w="120014" h="12700">
                  <a:moveTo>
                    <a:pt x="120002" y="6350"/>
                  </a:moveTo>
                  <a:lnTo>
                    <a:pt x="118148" y="1854"/>
                  </a:lnTo>
                  <a:lnTo>
                    <a:pt x="113652" y="0"/>
                  </a:lnTo>
                  <a:lnTo>
                    <a:pt x="109169" y="1854"/>
                  </a:lnTo>
                  <a:lnTo>
                    <a:pt x="107302" y="6350"/>
                  </a:lnTo>
                  <a:lnTo>
                    <a:pt x="109169" y="10833"/>
                  </a:lnTo>
                  <a:lnTo>
                    <a:pt x="113652" y="12700"/>
                  </a:lnTo>
                  <a:lnTo>
                    <a:pt x="118148" y="10833"/>
                  </a:lnTo>
                  <a:lnTo>
                    <a:pt x="120002" y="6350"/>
                  </a:lnTo>
                  <a:close/>
                </a:path>
              </a:pathLst>
            </a:custGeom>
            <a:solidFill>
              <a:srgbClr val="EF3A47"/>
            </a:solidFill>
          </p:spPr>
          <p:txBody>
            <a:bodyPr wrap="square" lIns="0" tIns="0" rIns="0" bIns="0" rtlCol="0"/>
            <a:lstStyle/>
            <a:p>
              <a:endParaRPr/>
            </a:p>
          </p:txBody>
        </p:sp>
      </p:grpSp>
      <p:grpSp>
        <p:nvGrpSpPr>
          <p:cNvPr id="30" name="object 30"/>
          <p:cNvGrpSpPr/>
          <p:nvPr/>
        </p:nvGrpSpPr>
        <p:grpSpPr>
          <a:xfrm>
            <a:off x="2148000" y="4418650"/>
            <a:ext cx="120014" cy="12700"/>
            <a:chOff x="2148000" y="4418650"/>
            <a:chExt cx="120014" cy="12700"/>
          </a:xfrm>
        </p:grpSpPr>
        <p:sp>
          <p:nvSpPr>
            <p:cNvPr id="31" name="object 31"/>
            <p:cNvSpPr/>
            <p:nvPr/>
          </p:nvSpPr>
          <p:spPr>
            <a:xfrm>
              <a:off x="2190116" y="4425000"/>
              <a:ext cx="53975" cy="0"/>
            </a:xfrm>
            <a:custGeom>
              <a:avLst/>
              <a:gdLst/>
              <a:ahLst/>
              <a:cxnLst/>
              <a:rect l="l" t="t" r="r" b="b"/>
              <a:pathLst>
                <a:path w="53975">
                  <a:moveTo>
                    <a:pt x="0" y="0"/>
                  </a:moveTo>
                  <a:lnTo>
                    <a:pt x="53644" y="0"/>
                  </a:lnTo>
                </a:path>
              </a:pathLst>
            </a:custGeom>
            <a:ln w="12700">
              <a:solidFill>
                <a:srgbClr val="EF3A47"/>
              </a:solidFill>
              <a:prstDash val="dot"/>
            </a:ln>
          </p:spPr>
          <p:txBody>
            <a:bodyPr wrap="square" lIns="0" tIns="0" rIns="0" bIns="0" rtlCol="0"/>
            <a:lstStyle/>
            <a:p>
              <a:endParaRPr/>
            </a:p>
          </p:txBody>
        </p:sp>
        <p:sp>
          <p:nvSpPr>
            <p:cNvPr id="32" name="object 32"/>
            <p:cNvSpPr/>
            <p:nvPr/>
          </p:nvSpPr>
          <p:spPr>
            <a:xfrm>
              <a:off x="2147989" y="4418660"/>
              <a:ext cx="120014" cy="12700"/>
            </a:xfrm>
            <a:custGeom>
              <a:avLst/>
              <a:gdLst/>
              <a:ahLst/>
              <a:cxnLst/>
              <a:rect l="l" t="t" r="r" b="b"/>
              <a:pathLst>
                <a:path w="120014" h="12700">
                  <a:moveTo>
                    <a:pt x="12700" y="6350"/>
                  </a:moveTo>
                  <a:lnTo>
                    <a:pt x="10845" y="1854"/>
                  </a:lnTo>
                  <a:lnTo>
                    <a:pt x="6350" y="0"/>
                  </a:lnTo>
                  <a:lnTo>
                    <a:pt x="1866" y="1854"/>
                  </a:lnTo>
                  <a:lnTo>
                    <a:pt x="0" y="6350"/>
                  </a:lnTo>
                  <a:lnTo>
                    <a:pt x="1866" y="10833"/>
                  </a:lnTo>
                  <a:lnTo>
                    <a:pt x="6350" y="12700"/>
                  </a:lnTo>
                  <a:lnTo>
                    <a:pt x="10845" y="10833"/>
                  </a:lnTo>
                  <a:lnTo>
                    <a:pt x="12700" y="6350"/>
                  </a:lnTo>
                  <a:close/>
                </a:path>
                <a:path w="120014" h="12700">
                  <a:moveTo>
                    <a:pt x="120002" y="6350"/>
                  </a:moveTo>
                  <a:lnTo>
                    <a:pt x="118148" y="1854"/>
                  </a:lnTo>
                  <a:lnTo>
                    <a:pt x="113652" y="0"/>
                  </a:lnTo>
                  <a:lnTo>
                    <a:pt x="109169" y="1854"/>
                  </a:lnTo>
                  <a:lnTo>
                    <a:pt x="107302" y="6350"/>
                  </a:lnTo>
                  <a:lnTo>
                    <a:pt x="109169" y="10833"/>
                  </a:lnTo>
                  <a:lnTo>
                    <a:pt x="113652" y="12700"/>
                  </a:lnTo>
                  <a:lnTo>
                    <a:pt x="118148" y="10833"/>
                  </a:lnTo>
                  <a:lnTo>
                    <a:pt x="120002" y="6350"/>
                  </a:lnTo>
                  <a:close/>
                </a:path>
              </a:pathLst>
            </a:custGeom>
            <a:solidFill>
              <a:srgbClr val="EF3A47"/>
            </a:solidFill>
          </p:spPr>
          <p:txBody>
            <a:bodyPr wrap="square" lIns="0" tIns="0" rIns="0" bIns="0" rtlCol="0"/>
            <a:lstStyle/>
            <a:p>
              <a:endParaRPr/>
            </a:p>
          </p:txBody>
        </p:sp>
      </p:grpSp>
      <p:sp>
        <p:nvSpPr>
          <p:cNvPr id="33" name="object 33"/>
          <p:cNvSpPr txBox="1"/>
          <p:nvPr/>
        </p:nvSpPr>
        <p:spPr>
          <a:xfrm>
            <a:off x="2297300" y="2320900"/>
            <a:ext cx="3296285" cy="1586230"/>
          </a:xfrm>
          <a:prstGeom prst="rect">
            <a:avLst/>
          </a:prstGeom>
        </p:spPr>
        <p:txBody>
          <a:bodyPr vert="horz" wrap="square" lIns="0" tIns="27939" rIns="0" bIns="0" rtlCol="0">
            <a:spAutoFit/>
          </a:bodyPr>
          <a:lstStyle/>
          <a:p>
            <a:pPr marL="12700" marR="5080" algn="just">
              <a:lnSpc>
                <a:spcPts val="850"/>
              </a:lnSpc>
              <a:spcBef>
                <a:spcPts val="219"/>
              </a:spcBef>
            </a:pPr>
            <a:r>
              <a:rPr sz="800" dirty="0">
                <a:solidFill>
                  <a:srgbClr val="231F20"/>
                </a:solidFill>
                <a:latin typeface="Century Gothic"/>
                <a:cs typeface="Century Gothic"/>
              </a:rPr>
              <a:t>A major </a:t>
            </a:r>
            <a:r>
              <a:rPr sz="800" spc="-5" dirty="0">
                <a:solidFill>
                  <a:srgbClr val="231F20"/>
                </a:solidFill>
                <a:latin typeface="Century Gothic"/>
                <a:cs typeface="Century Gothic"/>
              </a:rPr>
              <a:t>international </a:t>
            </a:r>
            <a:r>
              <a:rPr sz="800" dirty="0">
                <a:solidFill>
                  <a:srgbClr val="231F20"/>
                </a:solidFill>
                <a:latin typeface="Century Gothic"/>
                <a:cs typeface="Century Gothic"/>
              </a:rPr>
              <a:t>group </a:t>
            </a:r>
            <a:r>
              <a:rPr sz="800" spc="-5" dirty="0">
                <a:solidFill>
                  <a:srgbClr val="231F20"/>
                </a:solidFill>
                <a:latin typeface="Century Gothic"/>
                <a:cs typeface="Century Gothic"/>
              </a:rPr>
              <a:t>in </a:t>
            </a:r>
            <a:r>
              <a:rPr sz="800" dirty="0">
                <a:solidFill>
                  <a:srgbClr val="231F20"/>
                </a:solidFill>
                <a:latin typeface="Century Gothic"/>
                <a:cs typeface="Century Gothic"/>
              </a:rPr>
              <a:t>the construction engineering </a:t>
            </a:r>
            <a:r>
              <a:rPr sz="800" spc="-5" dirty="0">
                <a:solidFill>
                  <a:srgbClr val="231F20"/>
                </a:solidFill>
                <a:latin typeface="Century Gothic"/>
                <a:cs typeface="Century Gothic"/>
              </a:rPr>
              <a:t>and </a:t>
            </a:r>
            <a:r>
              <a:rPr sz="800" dirty="0">
                <a:solidFill>
                  <a:srgbClr val="231F20"/>
                </a:solidFill>
                <a:latin typeface="Century Gothic"/>
                <a:cs typeface="Century Gothic"/>
              </a:rPr>
              <a:t> mobility</a:t>
            </a:r>
            <a:r>
              <a:rPr sz="800" spc="5" dirty="0">
                <a:solidFill>
                  <a:srgbClr val="231F20"/>
                </a:solidFill>
                <a:latin typeface="Century Gothic"/>
                <a:cs typeface="Century Gothic"/>
              </a:rPr>
              <a:t> </a:t>
            </a:r>
            <a:r>
              <a:rPr sz="800" spc="-5" dirty="0">
                <a:solidFill>
                  <a:srgbClr val="231F20"/>
                </a:solidFill>
                <a:latin typeface="Century Gothic"/>
                <a:cs typeface="Century Gothic"/>
              </a:rPr>
              <a:t>services</a:t>
            </a:r>
            <a:r>
              <a:rPr sz="800" dirty="0">
                <a:solidFill>
                  <a:srgbClr val="231F20"/>
                </a:solidFill>
                <a:latin typeface="Century Gothic"/>
                <a:cs typeface="Century Gothic"/>
              </a:rPr>
              <a:t> </a:t>
            </a:r>
            <a:r>
              <a:rPr sz="800" spc="-5" dirty="0">
                <a:solidFill>
                  <a:srgbClr val="231F20"/>
                </a:solidFill>
                <a:latin typeface="Century Gothic"/>
                <a:cs typeface="Century Gothic"/>
              </a:rPr>
              <a:t>sectors,</a:t>
            </a:r>
            <a:r>
              <a:rPr sz="800" dirty="0">
                <a:solidFill>
                  <a:srgbClr val="231F20"/>
                </a:solidFill>
                <a:latin typeface="Century Gothic"/>
                <a:cs typeface="Century Gothic"/>
              </a:rPr>
              <a:t> </a:t>
            </a:r>
            <a:r>
              <a:rPr sz="800" spc="-5" dirty="0">
                <a:solidFill>
                  <a:srgbClr val="231F20"/>
                </a:solidFill>
                <a:latin typeface="Century Gothic"/>
                <a:cs typeface="Century Gothic"/>
              </a:rPr>
              <a:t>Egis</a:t>
            </a:r>
            <a:r>
              <a:rPr sz="800" dirty="0">
                <a:solidFill>
                  <a:srgbClr val="231F20"/>
                </a:solidFill>
                <a:latin typeface="Century Gothic"/>
                <a:cs typeface="Century Gothic"/>
              </a:rPr>
              <a:t> creates</a:t>
            </a:r>
            <a:r>
              <a:rPr sz="800" spc="5" dirty="0">
                <a:solidFill>
                  <a:srgbClr val="231F20"/>
                </a:solidFill>
                <a:latin typeface="Century Gothic"/>
                <a:cs typeface="Century Gothic"/>
              </a:rPr>
              <a:t> </a:t>
            </a:r>
            <a:r>
              <a:rPr sz="800" spc="-5" dirty="0">
                <a:solidFill>
                  <a:srgbClr val="231F20"/>
                </a:solidFill>
                <a:latin typeface="Century Gothic"/>
                <a:cs typeface="Century Gothic"/>
              </a:rPr>
              <a:t>and</a:t>
            </a:r>
            <a:r>
              <a:rPr sz="800" dirty="0">
                <a:solidFill>
                  <a:srgbClr val="231F20"/>
                </a:solidFill>
                <a:latin typeface="Century Gothic"/>
                <a:cs typeface="Century Gothic"/>
              </a:rPr>
              <a:t> operates</a:t>
            </a:r>
            <a:r>
              <a:rPr sz="800" spc="5" dirty="0">
                <a:solidFill>
                  <a:srgbClr val="231F20"/>
                </a:solidFill>
                <a:latin typeface="Century Gothic"/>
                <a:cs typeface="Century Gothic"/>
              </a:rPr>
              <a:t> </a:t>
            </a:r>
            <a:r>
              <a:rPr sz="800" spc="-5" dirty="0">
                <a:solidFill>
                  <a:srgbClr val="231F20"/>
                </a:solidFill>
                <a:latin typeface="Century Gothic"/>
                <a:cs typeface="Century Gothic"/>
              </a:rPr>
              <a:t>intelligent </a:t>
            </a:r>
            <a:r>
              <a:rPr sz="800" dirty="0">
                <a:solidFill>
                  <a:srgbClr val="231F20"/>
                </a:solidFill>
                <a:latin typeface="Century Gothic"/>
                <a:cs typeface="Century Gothic"/>
              </a:rPr>
              <a:t> </a:t>
            </a:r>
            <a:r>
              <a:rPr sz="800" spc="-5" dirty="0">
                <a:solidFill>
                  <a:srgbClr val="231F20"/>
                </a:solidFill>
                <a:latin typeface="Century Gothic"/>
                <a:cs typeface="Century Gothic"/>
              </a:rPr>
              <a:t>infrastructure and buildings </a:t>
            </a:r>
            <a:r>
              <a:rPr sz="800" dirty="0">
                <a:solidFill>
                  <a:srgbClr val="231F20"/>
                </a:solidFill>
                <a:latin typeface="Century Gothic"/>
                <a:cs typeface="Century Gothic"/>
              </a:rPr>
              <a:t>capable of responding to the climate </a:t>
            </a:r>
            <a:r>
              <a:rPr sz="800" spc="5" dirty="0">
                <a:solidFill>
                  <a:srgbClr val="231F20"/>
                </a:solidFill>
                <a:latin typeface="Century Gothic"/>
                <a:cs typeface="Century Gothic"/>
              </a:rPr>
              <a:t> </a:t>
            </a:r>
            <a:r>
              <a:rPr sz="800" dirty="0">
                <a:solidFill>
                  <a:srgbClr val="231F20"/>
                </a:solidFill>
                <a:latin typeface="Century Gothic"/>
                <a:cs typeface="Century Gothic"/>
              </a:rPr>
              <a:t>emergency </a:t>
            </a:r>
            <a:r>
              <a:rPr sz="800" spc="-5" dirty="0">
                <a:solidFill>
                  <a:srgbClr val="231F20"/>
                </a:solidFill>
                <a:latin typeface="Century Gothic"/>
                <a:cs typeface="Century Gothic"/>
              </a:rPr>
              <a:t>and addressing </a:t>
            </a:r>
            <a:r>
              <a:rPr sz="800" dirty="0">
                <a:solidFill>
                  <a:srgbClr val="231F20"/>
                </a:solidFill>
                <a:latin typeface="Century Gothic"/>
                <a:cs typeface="Century Gothic"/>
              </a:rPr>
              <a:t>the major challenges of our time </a:t>
            </a:r>
            <a:r>
              <a:rPr sz="800" spc="-5" dirty="0">
                <a:solidFill>
                  <a:srgbClr val="231F20"/>
                </a:solidFill>
                <a:latin typeface="Century Gothic"/>
                <a:cs typeface="Century Gothic"/>
              </a:rPr>
              <a:t>by </a:t>
            </a:r>
            <a:r>
              <a:rPr sz="800" dirty="0">
                <a:solidFill>
                  <a:srgbClr val="231F20"/>
                </a:solidFill>
                <a:latin typeface="Century Gothic"/>
                <a:cs typeface="Century Gothic"/>
              </a:rPr>
              <a:t> helping</a:t>
            </a:r>
            <a:r>
              <a:rPr sz="800" spc="5" dirty="0">
                <a:solidFill>
                  <a:srgbClr val="231F20"/>
                </a:solidFill>
                <a:latin typeface="Century Gothic"/>
                <a:cs typeface="Century Gothic"/>
              </a:rPr>
              <a:t> </a:t>
            </a:r>
            <a:r>
              <a:rPr sz="800" dirty="0">
                <a:solidFill>
                  <a:srgbClr val="231F20"/>
                </a:solidFill>
                <a:latin typeface="Century Gothic"/>
                <a:cs typeface="Century Gothic"/>
              </a:rPr>
              <a:t>to</a:t>
            </a:r>
            <a:r>
              <a:rPr sz="800" spc="5" dirty="0">
                <a:solidFill>
                  <a:srgbClr val="231F20"/>
                </a:solidFill>
                <a:latin typeface="Century Gothic"/>
                <a:cs typeface="Century Gothic"/>
              </a:rPr>
              <a:t> </a:t>
            </a:r>
            <a:r>
              <a:rPr sz="800" spc="-5" dirty="0">
                <a:solidFill>
                  <a:srgbClr val="231F20"/>
                </a:solidFill>
                <a:latin typeface="Century Gothic"/>
                <a:cs typeface="Century Gothic"/>
              </a:rPr>
              <a:t>achieve</a:t>
            </a:r>
            <a:r>
              <a:rPr sz="800" dirty="0">
                <a:solidFill>
                  <a:srgbClr val="231F20"/>
                </a:solidFill>
                <a:latin typeface="Century Gothic"/>
                <a:cs typeface="Century Gothic"/>
              </a:rPr>
              <a:t> more</a:t>
            </a:r>
            <a:r>
              <a:rPr sz="800" spc="5" dirty="0">
                <a:solidFill>
                  <a:srgbClr val="231F20"/>
                </a:solidFill>
                <a:latin typeface="Century Gothic"/>
                <a:cs typeface="Century Gothic"/>
              </a:rPr>
              <a:t> </a:t>
            </a:r>
            <a:r>
              <a:rPr sz="800" spc="-5" dirty="0">
                <a:solidFill>
                  <a:srgbClr val="231F20"/>
                </a:solidFill>
                <a:latin typeface="Century Gothic"/>
                <a:cs typeface="Century Gothic"/>
              </a:rPr>
              <a:t>balanced,</a:t>
            </a:r>
            <a:r>
              <a:rPr sz="800" dirty="0">
                <a:solidFill>
                  <a:srgbClr val="231F20"/>
                </a:solidFill>
                <a:latin typeface="Century Gothic"/>
                <a:cs typeface="Century Gothic"/>
              </a:rPr>
              <a:t> </a:t>
            </a:r>
            <a:r>
              <a:rPr sz="800" spc="-5" dirty="0">
                <a:solidFill>
                  <a:srgbClr val="231F20"/>
                </a:solidFill>
                <a:latin typeface="Century Gothic"/>
                <a:cs typeface="Century Gothic"/>
              </a:rPr>
              <a:t>sustainable</a:t>
            </a:r>
            <a:r>
              <a:rPr sz="800" dirty="0">
                <a:solidFill>
                  <a:srgbClr val="231F20"/>
                </a:solidFill>
                <a:latin typeface="Century Gothic"/>
                <a:cs typeface="Century Gothic"/>
              </a:rPr>
              <a:t> </a:t>
            </a:r>
            <a:r>
              <a:rPr sz="800" spc="-5" dirty="0">
                <a:solidFill>
                  <a:srgbClr val="231F20"/>
                </a:solidFill>
                <a:latin typeface="Century Gothic"/>
                <a:cs typeface="Century Gothic"/>
              </a:rPr>
              <a:t>and</a:t>
            </a:r>
            <a:r>
              <a:rPr sz="800" dirty="0">
                <a:solidFill>
                  <a:srgbClr val="231F20"/>
                </a:solidFill>
                <a:latin typeface="Century Gothic"/>
                <a:cs typeface="Century Gothic"/>
              </a:rPr>
              <a:t> resilient </a:t>
            </a:r>
            <a:r>
              <a:rPr sz="800" spc="5" dirty="0">
                <a:solidFill>
                  <a:srgbClr val="231F20"/>
                </a:solidFill>
                <a:latin typeface="Century Gothic"/>
                <a:cs typeface="Century Gothic"/>
              </a:rPr>
              <a:t> </a:t>
            </a:r>
            <a:r>
              <a:rPr sz="800" dirty="0">
                <a:solidFill>
                  <a:srgbClr val="231F20"/>
                </a:solidFill>
                <a:latin typeface="Century Gothic"/>
                <a:cs typeface="Century Gothic"/>
              </a:rPr>
              <a:t>territorial</a:t>
            </a:r>
            <a:r>
              <a:rPr sz="800" spc="-5" dirty="0">
                <a:solidFill>
                  <a:srgbClr val="231F20"/>
                </a:solidFill>
                <a:latin typeface="Century Gothic"/>
                <a:cs typeface="Century Gothic"/>
              </a:rPr>
              <a:t> </a:t>
            </a:r>
            <a:r>
              <a:rPr sz="800" dirty="0">
                <a:solidFill>
                  <a:srgbClr val="231F20"/>
                </a:solidFill>
                <a:latin typeface="Century Gothic"/>
                <a:cs typeface="Century Gothic"/>
              </a:rPr>
              <a:t>development.</a:t>
            </a:r>
            <a:endParaRPr sz="800" dirty="0">
              <a:latin typeface="Century Gothic"/>
              <a:cs typeface="Century Gothic"/>
            </a:endParaRPr>
          </a:p>
          <a:p>
            <a:pPr marL="12700" marR="5080" algn="just">
              <a:lnSpc>
                <a:spcPts val="850"/>
              </a:lnSpc>
              <a:spcBef>
                <a:spcPts val="565"/>
              </a:spcBef>
            </a:pPr>
            <a:r>
              <a:rPr sz="800" spc="-5" dirty="0">
                <a:solidFill>
                  <a:srgbClr val="231F20"/>
                </a:solidFill>
                <a:latin typeface="Century Gothic"/>
                <a:cs typeface="Century Gothic"/>
              </a:rPr>
              <a:t>Egis places its </a:t>
            </a:r>
            <a:r>
              <a:rPr sz="800" dirty="0">
                <a:solidFill>
                  <a:srgbClr val="231F20"/>
                </a:solidFill>
                <a:latin typeface="Century Gothic"/>
                <a:cs typeface="Century Gothic"/>
              </a:rPr>
              <a:t>multiple </a:t>
            </a:r>
            <a:r>
              <a:rPr sz="800" spc="-5" dirty="0">
                <a:solidFill>
                  <a:srgbClr val="231F20"/>
                </a:solidFill>
                <a:latin typeface="Century Gothic"/>
                <a:cs typeface="Century Gothic"/>
              </a:rPr>
              <a:t>fields </a:t>
            </a:r>
            <a:r>
              <a:rPr sz="800" dirty="0">
                <a:solidFill>
                  <a:srgbClr val="231F20"/>
                </a:solidFill>
                <a:latin typeface="Century Gothic"/>
                <a:cs typeface="Century Gothic"/>
              </a:rPr>
              <a:t>of expertise </a:t>
            </a:r>
            <a:r>
              <a:rPr sz="800" spc="-5" dirty="0">
                <a:solidFill>
                  <a:srgbClr val="231F20"/>
                </a:solidFill>
                <a:latin typeface="Century Gothic"/>
                <a:cs typeface="Century Gothic"/>
              </a:rPr>
              <a:t>at </a:t>
            </a:r>
            <a:r>
              <a:rPr sz="800" dirty="0">
                <a:solidFill>
                  <a:srgbClr val="231F20"/>
                </a:solidFill>
                <a:latin typeface="Century Gothic"/>
                <a:cs typeface="Century Gothic"/>
              </a:rPr>
              <a:t>the </a:t>
            </a:r>
            <a:r>
              <a:rPr sz="800" spc="-5" dirty="0">
                <a:solidFill>
                  <a:srgbClr val="231F20"/>
                </a:solidFill>
                <a:latin typeface="Century Gothic"/>
                <a:cs typeface="Century Gothic"/>
              </a:rPr>
              <a:t>disposal </a:t>
            </a:r>
            <a:r>
              <a:rPr sz="800" dirty="0">
                <a:solidFill>
                  <a:srgbClr val="231F20"/>
                </a:solidFill>
                <a:latin typeface="Century Gothic"/>
                <a:cs typeface="Century Gothic"/>
              </a:rPr>
              <a:t>of the </a:t>
            </a:r>
            <a:r>
              <a:rPr sz="800" spc="5" dirty="0">
                <a:solidFill>
                  <a:srgbClr val="231F20"/>
                </a:solidFill>
                <a:latin typeface="Century Gothic"/>
                <a:cs typeface="Century Gothic"/>
              </a:rPr>
              <a:t> </a:t>
            </a:r>
            <a:r>
              <a:rPr sz="800" dirty="0">
                <a:solidFill>
                  <a:srgbClr val="231F20"/>
                </a:solidFill>
                <a:latin typeface="Century Gothic"/>
                <a:cs typeface="Century Gothic"/>
              </a:rPr>
              <a:t>community</a:t>
            </a:r>
            <a:r>
              <a:rPr sz="800" spc="220" dirty="0">
                <a:solidFill>
                  <a:srgbClr val="231F20"/>
                </a:solidFill>
                <a:latin typeface="Century Gothic"/>
                <a:cs typeface="Century Gothic"/>
              </a:rPr>
              <a:t> </a:t>
            </a:r>
            <a:r>
              <a:rPr sz="800" spc="-5" dirty="0">
                <a:solidFill>
                  <a:srgbClr val="231F20"/>
                </a:solidFill>
                <a:latin typeface="Century Gothic"/>
                <a:cs typeface="Century Gothic"/>
              </a:rPr>
              <a:t>and</a:t>
            </a:r>
            <a:r>
              <a:rPr sz="800" spc="210" dirty="0">
                <a:solidFill>
                  <a:srgbClr val="231F20"/>
                </a:solidFill>
                <a:latin typeface="Century Gothic"/>
                <a:cs typeface="Century Gothic"/>
              </a:rPr>
              <a:t> </a:t>
            </a:r>
            <a:r>
              <a:rPr sz="800" dirty="0">
                <a:solidFill>
                  <a:srgbClr val="231F20"/>
                </a:solidFill>
                <a:latin typeface="Century Gothic"/>
                <a:cs typeface="Century Gothic"/>
              </a:rPr>
              <a:t>makes</a:t>
            </a:r>
            <a:r>
              <a:rPr sz="800" spc="220" dirty="0">
                <a:solidFill>
                  <a:srgbClr val="231F20"/>
                </a:solidFill>
                <a:latin typeface="Century Gothic"/>
                <a:cs typeface="Century Gothic"/>
              </a:rPr>
              <a:t> </a:t>
            </a:r>
            <a:r>
              <a:rPr sz="800" dirty="0">
                <a:solidFill>
                  <a:srgbClr val="231F20"/>
                </a:solidFill>
                <a:latin typeface="Century Gothic"/>
                <a:cs typeface="Century Gothic"/>
              </a:rPr>
              <a:t>cutting-edge</a:t>
            </a:r>
            <a:r>
              <a:rPr sz="800" spc="225" dirty="0">
                <a:solidFill>
                  <a:srgbClr val="231F20"/>
                </a:solidFill>
                <a:latin typeface="Century Gothic"/>
                <a:cs typeface="Century Gothic"/>
              </a:rPr>
              <a:t> </a:t>
            </a:r>
            <a:r>
              <a:rPr sz="800" spc="-5" dirty="0">
                <a:solidFill>
                  <a:srgbClr val="231F20"/>
                </a:solidFill>
                <a:latin typeface="Century Gothic"/>
                <a:cs typeface="Century Gothic"/>
              </a:rPr>
              <a:t>innovation</a:t>
            </a:r>
            <a:r>
              <a:rPr sz="800" spc="210" dirty="0">
                <a:solidFill>
                  <a:srgbClr val="231F20"/>
                </a:solidFill>
                <a:latin typeface="Century Gothic"/>
                <a:cs typeface="Century Gothic"/>
              </a:rPr>
              <a:t> </a:t>
            </a:r>
            <a:r>
              <a:rPr sz="800" spc="-5" dirty="0">
                <a:solidFill>
                  <a:srgbClr val="231F20"/>
                </a:solidFill>
                <a:latin typeface="Century Gothic"/>
                <a:cs typeface="Century Gothic"/>
              </a:rPr>
              <a:t>accessible</a:t>
            </a:r>
            <a:r>
              <a:rPr sz="800" spc="210" dirty="0">
                <a:solidFill>
                  <a:srgbClr val="231F20"/>
                </a:solidFill>
                <a:latin typeface="Century Gothic"/>
                <a:cs typeface="Century Gothic"/>
              </a:rPr>
              <a:t> </a:t>
            </a:r>
            <a:r>
              <a:rPr sz="800" dirty="0">
                <a:solidFill>
                  <a:srgbClr val="231F20"/>
                </a:solidFill>
                <a:latin typeface="Century Gothic"/>
                <a:cs typeface="Century Gothic"/>
              </a:rPr>
              <a:t>to </a:t>
            </a:r>
            <a:r>
              <a:rPr sz="800" spc="5" dirty="0">
                <a:solidFill>
                  <a:srgbClr val="231F20"/>
                </a:solidFill>
                <a:latin typeface="Century Gothic"/>
                <a:cs typeface="Century Gothic"/>
              </a:rPr>
              <a:t> </a:t>
            </a:r>
            <a:r>
              <a:rPr sz="800" spc="-5" dirty="0">
                <a:solidFill>
                  <a:srgbClr val="231F20"/>
                </a:solidFill>
                <a:latin typeface="Century Gothic"/>
                <a:cs typeface="Century Gothic"/>
              </a:rPr>
              <a:t>all</a:t>
            </a:r>
            <a:r>
              <a:rPr sz="800" dirty="0">
                <a:solidFill>
                  <a:srgbClr val="231F20"/>
                </a:solidFill>
                <a:latin typeface="Century Gothic"/>
                <a:cs typeface="Century Gothic"/>
              </a:rPr>
              <a:t> </a:t>
            </a:r>
            <a:r>
              <a:rPr sz="800" spc="-5" dirty="0">
                <a:solidFill>
                  <a:srgbClr val="231F20"/>
                </a:solidFill>
                <a:latin typeface="Century Gothic"/>
                <a:cs typeface="Century Gothic"/>
              </a:rPr>
              <a:t>projects</a:t>
            </a:r>
            <a:r>
              <a:rPr sz="800" dirty="0">
                <a:solidFill>
                  <a:srgbClr val="231F20"/>
                </a:solidFill>
                <a:latin typeface="Century Gothic"/>
                <a:cs typeface="Century Gothic"/>
              </a:rPr>
              <a:t> </a:t>
            </a:r>
            <a:r>
              <a:rPr sz="800" spc="-5" dirty="0">
                <a:solidFill>
                  <a:srgbClr val="231F20"/>
                </a:solidFill>
                <a:latin typeface="Century Gothic"/>
                <a:cs typeface="Century Gothic"/>
              </a:rPr>
              <a:t>throughout</a:t>
            </a:r>
            <a:r>
              <a:rPr sz="800" dirty="0">
                <a:solidFill>
                  <a:srgbClr val="231F20"/>
                </a:solidFill>
                <a:latin typeface="Century Gothic"/>
                <a:cs typeface="Century Gothic"/>
              </a:rPr>
              <a:t> their</a:t>
            </a:r>
            <a:r>
              <a:rPr sz="800" spc="5" dirty="0">
                <a:solidFill>
                  <a:srgbClr val="231F20"/>
                </a:solidFill>
                <a:latin typeface="Century Gothic"/>
                <a:cs typeface="Century Gothic"/>
              </a:rPr>
              <a:t> </a:t>
            </a:r>
            <a:r>
              <a:rPr sz="800" spc="-5" dirty="0">
                <a:solidFill>
                  <a:srgbClr val="231F20"/>
                </a:solidFill>
                <a:latin typeface="Century Gothic"/>
                <a:cs typeface="Century Gothic"/>
              </a:rPr>
              <a:t>lifecycle:</a:t>
            </a:r>
            <a:r>
              <a:rPr sz="800" dirty="0">
                <a:solidFill>
                  <a:srgbClr val="231F20"/>
                </a:solidFill>
                <a:latin typeface="Century Gothic"/>
                <a:cs typeface="Century Gothic"/>
              </a:rPr>
              <a:t> consulting,</a:t>
            </a:r>
            <a:r>
              <a:rPr sz="800" spc="5" dirty="0">
                <a:solidFill>
                  <a:srgbClr val="231F20"/>
                </a:solidFill>
                <a:latin typeface="Century Gothic"/>
                <a:cs typeface="Century Gothic"/>
              </a:rPr>
              <a:t> </a:t>
            </a:r>
            <a:r>
              <a:rPr sz="800" dirty="0">
                <a:solidFill>
                  <a:srgbClr val="231F20"/>
                </a:solidFill>
                <a:latin typeface="Century Gothic"/>
                <a:cs typeface="Century Gothic"/>
              </a:rPr>
              <a:t>engineering, </a:t>
            </a:r>
            <a:r>
              <a:rPr sz="800" spc="5" dirty="0">
                <a:solidFill>
                  <a:srgbClr val="231F20"/>
                </a:solidFill>
                <a:latin typeface="Century Gothic"/>
                <a:cs typeface="Century Gothic"/>
              </a:rPr>
              <a:t> </a:t>
            </a:r>
            <a:r>
              <a:rPr sz="800" dirty="0">
                <a:solidFill>
                  <a:srgbClr val="231F20"/>
                </a:solidFill>
                <a:latin typeface="Century Gothic"/>
                <a:cs typeface="Century Gothic"/>
              </a:rPr>
              <a:t>operation.</a:t>
            </a:r>
            <a:endParaRPr sz="800" dirty="0">
              <a:latin typeface="Century Gothic"/>
              <a:cs typeface="Century Gothic"/>
            </a:endParaRPr>
          </a:p>
          <a:p>
            <a:pPr marL="12700" marR="5080" algn="just">
              <a:lnSpc>
                <a:spcPts val="850"/>
              </a:lnSpc>
              <a:spcBef>
                <a:spcPts val="565"/>
              </a:spcBef>
            </a:pPr>
            <a:r>
              <a:rPr sz="800" spc="-5" dirty="0">
                <a:solidFill>
                  <a:srgbClr val="231F20"/>
                </a:solidFill>
                <a:latin typeface="Century Gothic"/>
                <a:cs typeface="Century Gothic"/>
              </a:rPr>
              <a:t>I</a:t>
            </a:r>
            <a:r>
              <a:rPr sz="800" dirty="0">
                <a:solidFill>
                  <a:srgbClr val="231F20"/>
                </a:solidFill>
                <a:latin typeface="Century Gothic"/>
                <a:cs typeface="Century Gothic"/>
              </a:rPr>
              <a:t>n</a:t>
            </a:r>
            <a:r>
              <a:rPr sz="800" spc="-45" dirty="0">
                <a:solidFill>
                  <a:srgbClr val="231F20"/>
                </a:solidFill>
                <a:latin typeface="Century Gothic"/>
                <a:cs typeface="Century Gothic"/>
              </a:rPr>
              <a:t> </a:t>
            </a:r>
            <a:r>
              <a:rPr sz="800" dirty="0">
                <a:solidFill>
                  <a:srgbClr val="231F20"/>
                </a:solidFill>
                <a:latin typeface="Century Gothic"/>
                <a:cs typeface="Century Gothic"/>
              </a:rPr>
              <a:t>the</a:t>
            </a:r>
            <a:r>
              <a:rPr sz="800" spc="-45" dirty="0">
                <a:solidFill>
                  <a:srgbClr val="231F20"/>
                </a:solidFill>
                <a:latin typeface="Century Gothic"/>
                <a:cs typeface="Century Gothic"/>
              </a:rPr>
              <a:t> </a:t>
            </a:r>
            <a:r>
              <a:rPr sz="800" dirty="0">
                <a:solidFill>
                  <a:srgbClr val="231F20"/>
                </a:solidFill>
                <a:latin typeface="Century Gothic"/>
                <a:cs typeface="Century Gothic"/>
              </a:rPr>
              <a:t>nuclear</a:t>
            </a:r>
            <a:r>
              <a:rPr sz="800" spc="-45" dirty="0">
                <a:solidFill>
                  <a:srgbClr val="231F20"/>
                </a:solidFill>
                <a:latin typeface="Century Gothic"/>
                <a:cs typeface="Century Gothic"/>
              </a:rPr>
              <a:t> </a:t>
            </a:r>
            <a:r>
              <a:rPr sz="800" spc="-5" dirty="0">
                <a:solidFill>
                  <a:srgbClr val="231F20"/>
                </a:solidFill>
                <a:latin typeface="Century Gothic"/>
                <a:cs typeface="Century Gothic"/>
              </a:rPr>
              <a:t>field,</a:t>
            </a:r>
            <a:r>
              <a:rPr sz="800" spc="-45" dirty="0">
                <a:solidFill>
                  <a:srgbClr val="231F20"/>
                </a:solidFill>
                <a:latin typeface="Century Gothic"/>
                <a:cs typeface="Century Gothic"/>
              </a:rPr>
              <a:t> </a:t>
            </a:r>
            <a:r>
              <a:rPr sz="800" spc="-5" dirty="0">
                <a:solidFill>
                  <a:srgbClr val="231F20"/>
                </a:solidFill>
                <a:latin typeface="Century Gothic"/>
                <a:cs typeface="Century Gothic"/>
              </a:rPr>
              <a:t>Egi</a:t>
            </a:r>
            <a:r>
              <a:rPr sz="800" dirty="0">
                <a:solidFill>
                  <a:srgbClr val="231F20"/>
                </a:solidFill>
                <a:latin typeface="Century Gothic"/>
                <a:cs typeface="Century Gothic"/>
              </a:rPr>
              <a:t>s</a:t>
            </a:r>
            <a:r>
              <a:rPr sz="800" spc="-45" dirty="0">
                <a:solidFill>
                  <a:srgbClr val="231F20"/>
                </a:solidFill>
                <a:latin typeface="Century Gothic"/>
                <a:cs typeface="Century Gothic"/>
              </a:rPr>
              <a:t> </a:t>
            </a:r>
            <a:r>
              <a:rPr sz="800" dirty="0">
                <a:solidFill>
                  <a:srgbClr val="231F20"/>
                </a:solidFill>
                <a:latin typeface="Century Gothic"/>
                <a:cs typeface="Century Gothic"/>
              </a:rPr>
              <a:t>offers</a:t>
            </a:r>
            <a:r>
              <a:rPr sz="800" spc="-45" dirty="0">
                <a:solidFill>
                  <a:srgbClr val="231F20"/>
                </a:solidFill>
                <a:latin typeface="Century Gothic"/>
                <a:cs typeface="Century Gothic"/>
              </a:rPr>
              <a:t> </a:t>
            </a:r>
            <a:r>
              <a:rPr sz="800" spc="-5" dirty="0">
                <a:solidFill>
                  <a:srgbClr val="231F20"/>
                </a:solidFill>
                <a:latin typeface="Century Gothic"/>
                <a:cs typeface="Century Gothic"/>
              </a:rPr>
              <a:t>it</a:t>
            </a:r>
            <a:r>
              <a:rPr sz="800" dirty="0">
                <a:solidFill>
                  <a:srgbClr val="231F20"/>
                </a:solidFill>
                <a:latin typeface="Century Gothic"/>
                <a:cs typeface="Century Gothic"/>
              </a:rPr>
              <a:t>s</a:t>
            </a:r>
            <a:r>
              <a:rPr sz="800" spc="-45" dirty="0">
                <a:solidFill>
                  <a:srgbClr val="231F20"/>
                </a:solidFill>
                <a:latin typeface="Century Gothic"/>
                <a:cs typeface="Century Gothic"/>
              </a:rPr>
              <a:t> </a:t>
            </a:r>
            <a:r>
              <a:rPr sz="800" dirty="0">
                <a:solidFill>
                  <a:srgbClr val="231F20"/>
                </a:solidFill>
                <a:latin typeface="Century Gothic"/>
                <a:cs typeface="Century Gothic"/>
              </a:rPr>
              <a:t>clients</a:t>
            </a:r>
            <a:r>
              <a:rPr sz="800" spc="-45" dirty="0">
                <a:solidFill>
                  <a:srgbClr val="231F20"/>
                </a:solidFill>
                <a:latin typeface="Century Gothic"/>
                <a:cs typeface="Century Gothic"/>
              </a:rPr>
              <a:t> </a:t>
            </a:r>
            <a:r>
              <a:rPr sz="800" dirty="0">
                <a:solidFill>
                  <a:srgbClr val="231F20"/>
                </a:solidFill>
                <a:latin typeface="Century Gothic"/>
                <a:cs typeface="Century Gothic"/>
              </a:rPr>
              <a:t>a</a:t>
            </a:r>
            <a:r>
              <a:rPr sz="800" spc="-45" dirty="0">
                <a:solidFill>
                  <a:srgbClr val="231F20"/>
                </a:solidFill>
                <a:latin typeface="Century Gothic"/>
                <a:cs typeface="Century Gothic"/>
              </a:rPr>
              <a:t> </a:t>
            </a:r>
            <a:r>
              <a:rPr sz="800" dirty="0">
                <a:solidFill>
                  <a:srgbClr val="231F20"/>
                </a:solidFill>
                <a:latin typeface="Century Gothic"/>
                <a:cs typeface="Century Gothic"/>
              </a:rPr>
              <a:t>combination</a:t>
            </a:r>
            <a:r>
              <a:rPr sz="800" spc="-45" dirty="0">
                <a:solidFill>
                  <a:srgbClr val="231F20"/>
                </a:solidFill>
                <a:latin typeface="Century Gothic"/>
                <a:cs typeface="Century Gothic"/>
              </a:rPr>
              <a:t> </a:t>
            </a:r>
            <a:r>
              <a:rPr sz="800" dirty="0">
                <a:solidFill>
                  <a:srgbClr val="231F20"/>
                </a:solidFill>
                <a:latin typeface="Century Gothic"/>
                <a:cs typeface="Century Gothic"/>
              </a:rPr>
              <a:t>of</a:t>
            </a:r>
            <a:r>
              <a:rPr sz="800" spc="-45" dirty="0">
                <a:solidFill>
                  <a:srgbClr val="231F20"/>
                </a:solidFill>
                <a:latin typeface="Century Gothic"/>
                <a:cs typeface="Century Gothic"/>
              </a:rPr>
              <a:t> </a:t>
            </a:r>
            <a:r>
              <a:rPr sz="800" dirty="0">
                <a:solidFill>
                  <a:srgbClr val="231F20"/>
                </a:solidFill>
                <a:latin typeface="Century Gothic"/>
                <a:cs typeface="Century Gothic"/>
              </a:rPr>
              <a:t>more</a:t>
            </a:r>
            <a:r>
              <a:rPr sz="800" spc="-45" dirty="0">
                <a:solidFill>
                  <a:srgbClr val="231F20"/>
                </a:solidFill>
                <a:latin typeface="Century Gothic"/>
                <a:cs typeface="Century Gothic"/>
              </a:rPr>
              <a:t> </a:t>
            </a:r>
            <a:r>
              <a:rPr sz="800" dirty="0">
                <a:solidFill>
                  <a:srgbClr val="231F20"/>
                </a:solidFill>
                <a:latin typeface="Century Gothic"/>
                <a:cs typeface="Century Gothic"/>
              </a:rPr>
              <a:t>than  </a:t>
            </a:r>
            <a:r>
              <a:rPr sz="800" spc="-5" dirty="0">
                <a:solidFill>
                  <a:srgbClr val="231F20"/>
                </a:solidFill>
                <a:latin typeface="Century Gothic"/>
                <a:cs typeface="Century Gothic"/>
              </a:rPr>
              <a:t>70 years </a:t>
            </a:r>
            <a:r>
              <a:rPr sz="800" dirty="0">
                <a:solidFill>
                  <a:srgbClr val="231F20"/>
                </a:solidFill>
                <a:latin typeface="Century Gothic"/>
                <a:cs typeface="Century Gothic"/>
              </a:rPr>
              <a:t>experience </a:t>
            </a:r>
            <a:r>
              <a:rPr sz="800" spc="-5" dirty="0">
                <a:solidFill>
                  <a:srgbClr val="231F20"/>
                </a:solidFill>
                <a:latin typeface="Century Gothic"/>
                <a:cs typeface="Century Gothic"/>
              </a:rPr>
              <a:t>and </a:t>
            </a:r>
            <a:r>
              <a:rPr sz="800" dirty="0">
                <a:solidFill>
                  <a:srgbClr val="231F20"/>
                </a:solidFill>
                <a:latin typeface="Century Gothic"/>
                <a:cs typeface="Century Gothic"/>
              </a:rPr>
              <a:t>the most </a:t>
            </a:r>
            <a:r>
              <a:rPr sz="800" spc="-5" dirty="0">
                <a:solidFill>
                  <a:srgbClr val="231F20"/>
                </a:solidFill>
                <a:latin typeface="Century Gothic"/>
                <a:cs typeface="Century Gothic"/>
              </a:rPr>
              <a:t>innovative </a:t>
            </a:r>
            <a:r>
              <a:rPr sz="800" dirty="0">
                <a:solidFill>
                  <a:srgbClr val="231F20"/>
                </a:solidFill>
                <a:latin typeface="Century Gothic"/>
                <a:cs typeface="Century Gothic"/>
              </a:rPr>
              <a:t>methodologies for </a:t>
            </a:r>
            <a:r>
              <a:rPr sz="800" spc="5" dirty="0">
                <a:solidFill>
                  <a:srgbClr val="231F20"/>
                </a:solidFill>
                <a:latin typeface="Century Gothic"/>
                <a:cs typeface="Century Gothic"/>
              </a:rPr>
              <a:t> </a:t>
            </a:r>
            <a:r>
              <a:rPr sz="800" dirty="0">
                <a:solidFill>
                  <a:srgbClr val="231F20"/>
                </a:solidFill>
                <a:latin typeface="Century Gothic"/>
                <a:cs typeface="Century Gothic"/>
              </a:rPr>
              <a:t>the</a:t>
            </a:r>
            <a:r>
              <a:rPr sz="800" spc="-10" dirty="0">
                <a:solidFill>
                  <a:srgbClr val="231F20"/>
                </a:solidFill>
                <a:latin typeface="Century Gothic"/>
                <a:cs typeface="Century Gothic"/>
              </a:rPr>
              <a:t> </a:t>
            </a:r>
            <a:r>
              <a:rPr sz="800" spc="-5" dirty="0">
                <a:solidFill>
                  <a:srgbClr val="231F20"/>
                </a:solidFill>
                <a:latin typeface="Century Gothic"/>
                <a:cs typeface="Century Gothic"/>
              </a:rPr>
              <a:t>design and</a:t>
            </a:r>
            <a:r>
              <a:rPr sz="800" spc="-10" dirty="0">
                <a:solidFill>
                  <a:srgbClr val="231F20"/>
                </a:solidFill>
                <a:latin typeface="Century Gothic"/>
                <a:cs typeface="Century Gothic"/>
              </a:rPr>
              <a:t> </a:t>
            </a:r>
            <a:r>
              <a:rPr sz="800" dirty="0">
                <a:solidFill>
                  <a:srgbClr val="231F20"/>
                </a:solidFill>
                <a:latin typeface="Century Gothic"/>
                <a:cs typeface="Century Gothic"/>
              </a:rPr>
              <a:t>evaluation</a:t>
            </a:r>
            <a:r>
              <a:rPr sz="800" spc="-5" dirty="0">
                <a:solidFill>
                  <a:srgbClr val="231F20"/>
                </a:solidFill>
                <a:latin typeface="Century Gothic"/>
                <a:cs typeface="Century Gothic"/>
              </a:rPr>
              <a:t> </a:t>
            </a:r>
            <a:r>
              <a:rPr sz="800" dirty="0">
                <a:solidFill>
                  <a:srgbClr val="231F20"/>
                </a:solidFill>
                <a:latin typeface="Century Gothic"/>
                <a:cs typeface="Century Gothic"/>
              </a:rPr>
              <a:t>of</a:t>
            </a:r>
            <a:r>
              <a:rPr sz="800" spc="-5" dirty="0">
                <a:solidFill>
                  <a:srgbClr val="231F20"/>
                </a:solidFill>
                <a:latin typeface="Century Gothic"/>
                <a:cs typeface="Century Gothic"/>
              </a:rPr>
              <a:t> all</a:t>
            </a:r>
            <a:r>
              <a:rPr sz="800" spc="-10" dirty="0">
                <a:solidFill>
                  <a:srgbClr val="231F20"/>
                </a:solidFill>
                <a:latin typeface="Century Gothic"/>
                <a:cs typeface="Century Gothic"/>
              </a:rPr>
              <a:t> </a:t>
            </a:r>
            <a:r>
              <a:rPr sz="800" dirty="0">
                <a:solidFill>
                  <a:srgbClr val="231F20"/>
                </a:solidFill>
                <a:latin typeface="Century Gothic"/>
                <a:cs typeface="Century Gothic"/>
              </a:rPr>
              <a:t>type</a:t>
            </a:r>
            <a:r>
              <a:rPr sz="800" spc="-5" dirty="0">
                <a:solidFill>
                  <a:srgbClr val="231F20"/>
                </a:solidFill>
                <a:latin typeface="Century Gothic"/>
                <a:cs typeface="Century Gothic"/>
              </a:rPr>
              <a:t> </a:t>
            </a:r>
            <a:r>
              <a:rPr sz="800" dirty="0">
                <a:solidFill>
                  <a:srgbClr val="231F20"/>
                </a:solidFill>
                <a:latin typeface="Century Gothic"/>
                <a:cs typeface="Century Gothic"/>
              </a:rPr>
              <a:t>of</a:t>
            </a:r>
            <a:r>
              <a:rPr sz="800" spc="-5" dirty="0">
                <a:solidFill>
                  <a:srgbClr val="231F20"/>
                </a:solidFill>
                <a:latin typeface="Century Gothic"/>
                <a:cs typeface="Century Gothic"/>
              </a:rPr>
              <a:t> </a:t>
            </a:r>
            <a:r>
              <a:rPr sz="800" dirty="0">
                <a:solidFill>
                  <a:srgbClr val="231F20"/>
                </a:solidFill>
                <a:latin typeface="Century Gothic"/>
                <a:cs typeface="Century Gothic"/>
              </a:rPr>
              <a:t>nuclear</a:t>
            </a:r>
            <a:r>
              <a:rPr sz="800" spc="-5" dirty="0">
                <a:solidFill>
                  <a:srgbClr val="231F20"/>
                </a:solidFill>
                <a:latin typeface="Century Gothic"/>
                <a:cs typeface="Century Gothic"/>
              </a:rPr>
              <a:t> infrastructures.</a:t>
            </a:r>
            <a:endParaRPr sz="800" dirty="0">
              <a:latin typeface="Century Gothic"/>
              <a:cs typeface="Century Gothic"/>
            </a:endParaRPr>
          </a:p>
        </p:txBody>
      </p:sp>
      <p:sp>
        <p:nvSpPr>
          <p:cNvPr id="34" name="object 34"/>
          <p:cNvSpPr txBox="1"/>
          <p:nvPr/>
        </p:nvSpPr>
        <p:spPr>
          <a:xfrm>
            <a:off x="1989199" y="4016375"/>
            <a:ext cx="3655695" cy="3754874"/>
          </a:xfrm>
          <a:prstGeom prst="rect">
            <a:avLst/>
          </a:prstGeom>
        </p:spPr>
        <p:txBody>
          <a:bodyPr vert="horz" wrap="square" lIns="0" tIns="0" rIns="0" bIns="0" rtlCol="0">
            <a:spAutoFit/>
          </a:bodyPr>
          <a:lstStyle/>
          <a:p>
            <a:pPr marL="374650" indent="-130810">
              <a:lnSpc>
                <a:spcPts val="1565"/>
              </a:lnSpc>
              <a:buSzPct val="150000"/>
              <a:buFont typeface="Century Gothic"/>
              <a:buChar char="•"/>
              <a:tabLst>
                <a:tab pos="375285" algn="l"/>
              </a:tabLst>
            </a:pPr>
            <a:r>
              <a:rPr sz="1000" dirty="0">
                <a:solidFill>
                  <a:srgbClr val="EF3A47"/>
                </a:solidFill>
                <a:latin typeface="Rafale BG"/>
                <a:cs typeface="Rafale BG"/>
              </a:rPr>
              <a:t>Our</a:t>
            </a:r>
            <a:r>
              <a:rPr sz="1000" spc="-25" dirty="0">
                <a:solidFill>
                  <a:srgbClr val="EF3A47"/>
                </a:solidFill>
                <a:latin typeface="Rafale BG"/>
                <a:cs typeface="Rafale BG"/>
              </a:rPr>
              <a:t> </a:t>
            </a:r>
            <a:r>
              <a:rPr sz="1000" dirty="0">
                <a:solidFill>
                  <a:srgbClr val="EF3A47"/>
                </a:solidFill>
                <a:latin typeface="Rafale BG"/>
                <a:cs typeface="Rafale BG"/>
              </a:rPr>
              <a:t>products</a:t>
            </a:r>
            <a:r>
              <a:rPr sz="1000" spc="-25" dirty="0">
                <a:solidFill>
                  <a:srgbClr val="EF3A47"/>
                </a:solidFill>
                <a:latin typeface="Rafale BG"/>
                <a:cs typeface="Rafale BG"/>
              </a:rPr>
              <a:t> </a:t>
            </a:r>
            <a:r>
              <a:rPr sz="1000" dirty="0">
                <a:solidFill>
                  <a:srgbClr val="EF3A47"/>
                </a:solidFill>
                <a:latin typeface="Rafale BG"/>
                <a:cs typeface="Rafale BG"/>
              </a:rPr>
              <a:t>&amp;</a:t>
            </a:r>
            <a:r>
              <a:rPr sz="1000" spc="-20" dirty="0">
                <a:solidFill>
                  <a:srgbClr val="EF3A47"/>
                </a:solidFill>
                <a:latin typeface="Rafale BG"/>
                <a:cs typeface="Rafale BG"/>
              </a:rPr>
              <a:t> </a:t>
            </a:r>
            <a:r>
              <a:rPr sz="1000" dirty="0">
                <a:solidFill>
                  <a:srgbClr val="EF3A47"/>
                </a:solidFill>
                <a:latin typeface="Rafale BG"/>
                <a:cs typeface="Rafale BG"/>
              </a:rPr>
              <a:t>Services</a:t>
            </a:r>
            <a:endParaRPr sz="1000" dirty="0">
              <a:latin typeface="Rafale BG"/>
              <a:cs typeface="Rafale BG"/>
            </a:endParaRPr>
          </a:p>
          <a:p>
            <a:pPr marL="320675">
              <a:lnSpc>
                <a:spcPct val="100000"/>
              </a:lnSpc>
              <a:spcBef>
                <a:spcPts val="30"/>
              </a:spcBef>
            </a:pPr>
            <a:r>
              <a:rPr sz="800" dirty="0">
                <a:solidFill>
                  <a:srgbClr val="231F20"/>
                </a:solidFill>
                <a:latin typeface="Century Gothic"/>
                <a:cs typeface="Century Gothic"/>
              </a:rPr>
              <a:t>Construction</a:t>
            </a:r>
            <a:r>
              <a:rPr sz="800" spc="-15" dirty="0">
                <a:solidFill>
                  <a:srgbClr val="231F20"/>
                </a:solidFill>
                <a:latin typeface="Century Gothic"/>
                <a:cs typeface="Century Gothic"/>
              </a:rPr>
              <a:t> </a:t>
            </a:r>
            <a:r>
              <a:rPr sz="800" dirty="0">
                <a:solidFill>
                  <a:srgbClr val="231F20"/>
                </a:solidFill>
                <a:latin typeface="Century Gothic"/>
                <a:cs typeface="Century Gothic"/>
              </a:rPr>
              <a:t>engineering</a:t>
            </a:r>
            <a:r>
              <a:rPr sz="800" spc="-15" dirty="0">
                <a:solidFill>
                  <a:srgbClr val="231F20"/>
                </a:solidFill>
                <a:latin typeface="Century Gothic"/>
                <a:cs typeface="Century Gothic"/>
              </a:rPr>
              <a:t> </a:t>
            </a:r>
            <a:r>
              <a:rPr sz="800" dirty="0">
                <a:solidFill>
                  <a:srgbClr val="6C92A8"/>
                </a:solidFill>
                <a:latin typeface="Century Gothic"/>
                <a:cs typeface="Century Gothic"/>
              </a:rPr>
              <a:t>•</a:t>
            </a:r>
            <a:r>
              <a:rPr sz="800" spc="-15" dirty="0">
                <a:solidFill>
                  <a:srgbClr val="6C92A8"/>
                </a:solidFill>
                <a:latin typeface="Century Gothic"/>
                <a:cs typeface="Century Gothic"/>
              </a:rPr>
              <a:t> </a:t>
            </a:r>
            <a:r>
              <a:rPr sz="800" spc="-5" dirty="0">
                <a:solidFill>
                  <a:srgbClr val="231F20"/>
                </a:solidFill>
                <a:latin typeface="Century Gothic"/>
                <a:cs typeface="Century Gothic"/>
              </a:rPr>
              <a:t>intelligent</a:t>
            </a:r>
            <a:r>
              <a:rPr sz="800" spc="-15" dirty="0">
                <a:solidFill>
                  <a:srgbClr val="231F20"/>
                </a:solidFill>
                <a:latin typeface="Century Gothic"/>
                <a:cs typeface="Century Gothic"/>
              </a:rPr>
              <a:t> </a:t>
            </a:r>
            <a:r>
              <a:rPr sz="800" spc="-5" dirty="0">
                <a:solidFill>
                  <a:srgbClr val="231F20"/>
                </a:solidFill>
                <a:latin typeface="Century Gothic"/>
                <a:cs typeface="Century Gothic"/>
              </a:rPr>
              <a:t>infrastructure</a:t>
            </a:r>
            <a:r>
              <a:rPr sz="800" spc="-20" dirty="0">
                <a:solidFill>
                  <a:srgbClr val="231F20"/>
                </a:solidFill>
                <a:latin typeface="Century Gothic"/>
                <a:cs typeface="Century Gothic"/>
              </a:rPr>
              <a:t> </a:t>
            </a:r>
            <a:r>
              <a:rPr sz="800" dirty="0">
                <a:solidFill>
                  <a:srgbClr val="231F20"/>
                </a:solidFill>
                <a:latin typeface="Century Gothic"/>
                <a:cs typeface="Century Gothic"/>
              </a:rPr>
              <a:t>operation</a:t>
            </a:r>
            <a:r>
              <a:rPr sz="800" spc="-10" dirty="0">
                <a:solidFill>
                  <a:srgbClr val="231F20"/>
                </a:solidFill>
                <a:latin typeface="Century Gothic"/>
                <a:cs typeface="Century Gothic"/>
              </a:rPr>
              <a:t> </a:t>
            </a:r>
            <a:r>
              <a:rPr sz="800" dirty="0">
                <a:solidFill>
                  <a:srgbClr val="6C92A8"/>
                </a:solidFill>
                <a:latin typeface="Century Gothic"/>
                <a:cs typeface="Century Gothic"/>
              </a:rPr>
              <a:t>•</a:t>
            </a:r>
            <a:endParaRPr sz="800" dirty="0">
              <a:latin typeface="Century Gothic"/>
              <a:cs typeface="Century Gothic"/>
            </a:endParaRPr>
          </a:p>
          <a:p>
            <a:pPr marL="374650" indent="-130810">
              <a:lnSpc>
                <a:spcPct val="100000"/>
              </a:lnSpc>
              <a:spcBef>
                <a:spcPts val="110"/>
              </a:spcBef>
              <a:buSzPct val="150000"/>
              <a:buFont typeface="Century Gothic"/>
              <a:buChar char="•"/>
              <a:tabLst>
                <a:tab pos="375285" algn="l"/>
              </a:tabLst>
            </a:pPr>
            <a:r>
              <a:rPr sz="1000" spc="-5" dirty="0">
                <a:solidFill>
                  <a:srgbClr val="EF3A47"/>
                </a:solidFill>
                <a:latin typeface="Rafale BG"/>
                <a:cs typeface="Rafale BG"/>
              </a:rPr>
              <a:t>Market</a:t>
            </a:r>
            <a:r>
              <a:rPr sz="1000" spc="-35" dirty="0">
                <a:solidFill>
                  <a:srgbClr val="EF3A47"/>
                </a:solidFill>
                <a:latin typeface="Rafale BG"/>
                <a:cs typeface="Rafale BG"/>
              </a:rPr>
              <a:t> </a:t>
            </a:r>
            <a:r>
              <a:rPr sz="1000" dirty="0">
                <a:solidFill>
                  <a:srgbClr val="EF3A47"/>
                </a:solidFill>
                <a:latin typeface="Rafale BG"/>
                <a:cs typeface="Rafale BG"/>
              </a:rPr>
              <a:t>segment</a:t>
            </a:r>
            <a:endParaRPr sz="1000" dirty="0">
              <a:latin typeface="Rafale BG"/>
              <a:cs typeface="Rafale BG"/>
            </a:endParaRPr>
          </a:p>
          <a:p>
            <a:pPr marL="392430" marR="56515" indent="-635">
              <a:lnSpc>
                <a:spcPts val="850"/>
              </a:lnSpc>
              <a:spcBef>
                <a:spcPts val="150"/>
              </a:spcBef>
            </a:pPr>
            <a:r>
              <a:rPr sz="800" dirty="0">
                <a:solidFill>
                  <a:srgbClr val="231F20"/>
                </a:solidFill>
                <a:latin typeface="Century Gothic"/>
                <a:cs typeface="Century Gothic"/>
              </a:rPr>
              <a:t>Nuclear</a:t>
            </a:r>
            <a:r>
              <a:rPr sz="800" spc="130" dirty="0">
                <a:solidFill>
                  <a:srgbClr val="231F20"/>
                </a:solidFill>
                <a:latin typeface="Century Gothic"/>
                <a:cs typeface="Century Gothic"/>
              </a:rPr>
              <a:t> </a:t>
            </a:r>
            <a:r>
              <a:rPr sz="800" dirty="0">
                <a:solidFill>
                  <a:srgbClr val="231F20"/>
                </a:solidFill>
                <a:latin typeface="Century Gothic"/>
                <a:cs typeface="Century Gothic"/>
              </a:rPr>
              <a:t>Power</a:t>
            </a:r>
            <a:r>
              <a:rPr sz="800" spc="130" dirty="0">
                <a:solidFill>
                  <a:srgbClr val="231F20"/>
                </a:solidFill>
                <a:latin typeface="Century Gothic"/>
                <a:cs typeface="Century Gothic"/>
              </a:rPr>
              <a:t> </a:t>
            </a:r>
            <a:r>
              <a:rPr sz="800" dirty="0">
                <a:solidFill>
                  <a:srgbClr val="231F20"/>
                </a:solidFill>
                <a:latin typeface="Century Gothic"/>
                <a:cs typeface="Century Gothic"/>
              </a:rPr>
              <a:t>Plants</a:t>
            </a:r>
            <a:r>
              <a:rPr sz="800" spc="125" dirty="0">
                <a:solidFill>
                  <a:srgbClr val="231F20"/>
                </a:solidFill>
                <a:latin typeface="Century Gothic"/>
                <a:cs typeface="Century Gothic"/>
              </a:rPr>
              <a:t> </a:t>
            </a:r>
            <a:r>
              <a:rPr sz="800" spc="-5" dirty="0">
                <a:solidFill>
                  <a:srgbClr val="231F20"/>
                </a:solidFill>
                <a:latin typeface="Century Gothic"/>
                <a:cs typeface="Century Gothic"/>
              </a:rPr>
              <a:t>construction</a:t>
            </a:r>
            <a:r>
              <a:rPr lang="fr-FR" sz="800" dirty="0">
                <a:solidFill>
                  <a:srgbClr val="6C92A8"/>
                </a:solidFill>
                <a:latin typeface="Century Gothic"/>
                <a:cs typeface="Century Gothic"/>
              </a:rPr>
              <a:t> • </a:t>
            </a:r>
            <a:r>
              <a:rPr lang="fr-FR" sz="800" spc="-5" dirty="0">
                <a:solidFill>
                  <a:srgbClr val="231F20"/>
                </a:solidFill>
                <a:latin typeface="Century Gothic"/>
              </a:rPr>
              <a:t>Big Science &amp; Fusion</a:t>
            </a:r>
            <a:r>
              <a:rPr sz="800" spc="-5" dirty="0">
                <a:solidFill>
                  <a:srgbClr val="231F20"/>
                </a:solidFill>
                <a:latin typeface="Century Gothic"/>
              </a:rPr>
              <a:t> </a:t>
            </a:r>
            <a:r>
              <a:rPr sz="800" dirty="0">
                <a:solidFill>
                  <a:srgbClr val="6C92A8"/>
                </a:solidFill>
                <a:latin typeface="Century Gothic"/>
                <a:cs typeface="Century Gothic"/>
              </a:rPr>
              <a:t>•</a:t>
            </a:r>
            <a:r>
              <a:rPr sz="800" spc="130" dirty="0">
                <a:solidFill>
                  <a:srgbClr val="6C92A8"/>
                </a:solidFill>
                <a:latin typeface="Century Gothic"/>
                <a:cs typeface="Century Gothic"/>
              </a:rPr>
              <a:t> </a:t>
            </a:r>
            <a:r>
              <a:rPr sz="800" dirty="0">
                <a:solidFill>
                  <a:srgbClr val="231F20"/>
                </a:solidFill>
                <a:latin typeface="Century Gothic"/>
                <a:cs typeface="Century Gothic"/>
              </a:rPr>
              <a:t>Fuel</a:t>
            </a:r>
            <a:r>
              <a:rPr sz="800" spc="130" dirty="0">
                <a:solidFill>
                  <a:srgbClr val="231F20"/>
                </a:solidFill>
                <a:latin typeface="Century Gothic"/>
                <a:cs typeface="Century Gothic"/>
              </a:rPr>
              <a:t> </a:t>
            </a:r>
            <a:r>
              <a:rPr sz="800" dirty="0">
                <a:solidFill>
                  <a:srgbClr val="231F20"/>
                </a:solidFill>
                <a:latin typeface="Century Gothic"/>
                <a:cs typeface="Century Gothic"/>
              </a:rPr>
              <a:t>cycle</a:t>
            </a:r>
            <a:r>
              <a:rPr sz="800" spc="130" dirty="0">
                <a:solidFill>
                  <a:srgbClr val="231F20"/>
                </a:solidFill>
                <a:latin typeface="Century Gothic"/>
                <a:cs typeface="Century Gothic"/>
              </a:rPr>
              <a:t> </a:t>
            </a:r>
            <a:r>
              <a:rPr sz="800" spc="-5" dirty="0">
                <a:solidFill>
                  <a:srgbClr val="231F20"/>
                </a:solidFill>
                <a:latin typeface="Century Gothic"/>
                <a:cs typeface="Century Gothic"/>
              </a:rPr>
              <a:t>activities</a:t>
            </a:r>
            <a:r>
              <a:rPr sz="800" spc="135" dirty="0">
                <a:solidFill>
                  <a:srgbClr val="231F20"/>
                </a:solidFill>
                <a:latin typeface="Century Gothic"/>
                <a:cs typeface="Century Gothic"/>
              </a:rPr>
              <a:t> </a:t>
            </a:r>
            <a:r>
              <a:rPr sz="800" dirty="0">
                <a:solidFill>
                  <a:srgbClr val="6C92A8"/>
                </a:solidFill>
                <a:latin typeface="Century Gothic"/>
                <a:cs typeface="Century Gothic"/>
              </a:rPr>
              <a:t>• </a:t>
            </a:r>
            <a:r>
              <a:rPr sz="800" spc="-210" dirty="0">
                <a:solidFill>
                  <a:srgbClr val="6C92A8"/>
                </a:solidFill>
                <a:latin typeface="Century Gothic"/>
                <a:cs typeface="Century Gothic"/>
              </a:rPr>
              <a:t> </a:t>
            </a:r>
            <a:r>
              <a:rPr sz="800" spc="-5" dirty="0">
                <a:solidFill>
                  <a:srgbClr val="231F20"/>
                </a:solidFill>
                <a:latin typeface="Century Gothic"/>
                <a:cs typeface="Century Gothic"/>
              </a:rPr>
              <a:t>Decommissioning,</a:t>
            </a:r>
            <a:r>
              <a:rPr sz="800" spc="-10" dirty="0">
                <a:solidFill>
                  <a:srgbClr val="231F20"/>
                </a:solidFill>
                <a:latin typeface="Century Gothic"/>
                <a:cs typeface="Century Gothic"/>
              </a:rPr>
              <a:t> </a:t>
            </a:r>
            <a:r>
              <a:rPr sz="800" spc="-5" dirty="0">
                <a:solidFill>
                  <a:srgbClr val="231F20"/>
                </a:solidFill>
                <a:latin typeface="Century Gothic"/>
                <a:cs typeface="Century Gothic"/>
              </a:rPr>
              <a:t>dismantling </a:t>
            </a:r>
            <a:r>
              <a:rPr sz="800" dirty="0">
                <a:solidFill>
                  <a:srgbClr val="231F20"/>
                </a:solidFill>
                <a:latin typeface="Century Gothic"/>
                <a:cs typeface="Century Gothic"/>
              </a:rPr>
              <a:t>&amp;</a:t>
            </a:r>
            <a:r>
              <a:rPr sz="800" spc="-5" dirty="0">
                <a:solidFill>
                  <a:srgbClr val="231F20"/>
                </a:solidFill>
                <a:latin typeface="Century Gothic"/>
                <a:cs typeface="Century Gothic"/>
              </a:rPr>
              <a:t> waste</a:t>
            </a:r>
            <a:r>
              <a:rPr sz="800" dirty="0">
                <a:solidFill>
                  <a:srgbClr val="231F20"/>
                </a:solidFill>
                <a:latin typeface="Century Gothic"/>
                <a:cs typeface="Century Gothic"/>
              </a:rPr>
              <a:t> management</a:t>
            </a:r>
            <a:endParaRPr sz="800" dirty="0">
              <a:latin typeface="Century Gothic"/>
              <a:cs typeface="Century Gothic"/>
            </a:endParaRPr>
          </a:p>
          <a:p>
            <a:pPr marL="302260" indent="-252095">
              <a:lnSpc>
                <a:spcPts val="3030"/>
              </a:lnSpc>
              <a:buSzPct val="300000"/>
              <a:buFont typeface="Century Gothic"/>
              <a:buChar char="•"/>
              <a:tabLst>
                <a:tab pos="302895" algn="l"/>
              </a:tabLst>
            </a:pPr>
            <a:r>
              <a:rPr sz="1000" b="1" spc="-5" dirty="0">
                <a:solidFill>
                  <a:srgbClr val="EF3A47"/>
                </a:solidFill>
                <a:latin typeface="Century Gothic"/>
                <a:cs typeface="Century Gothic"/>
              </a:rPr>
              <a:t>REFERENCES</a:t>
            </a:r>
            <a:endParaRPr sz="1000" dirty="0">
              <a:latin typeface="Century Gothic"/>
              <a:cs typeface="Century Gothic"/>
            </a:endParaRPr>
          </a:p>
          <a:p>
            <a:pPr marL="464184" lvl="1" indent="-144145">
              <a:lnSpc>
                <a:spcPts val="944"/>
              </a:lnSpc>
              <a:buClr>
                <a:srgbClr val="001D18"/>
              </a:buClr>
              <a:buSzPct val="125000"/>
              <a:buFont typeface="Century Gothic"/>
              <a:buChar char="•"/>
              <a:tabLst>
                <a:tab pos="464820" algn="l"/>
              </a:tabLst>
            </a:pPr>
            <a:r>
              <a:rPr sz="800" b="1" dirty="0">
                <a:solidFill>
                  <a:srgbClr val="231F20"/>
                </a:solidFill>
                <a:latin typeface="Century Gothic"/>
                <a:cs typeface="Century Gothic"/>
              </a:rPr>
              <a:t>Nuclear</a:t>
            </a:r>
            <a:r>
              <a:rPr sz="800" b="1" spc="-50" dirty="0">
                <a:solidFill>
                  <a:srgbClr val="231F20"/>
                </a:solidFill>
                <a:latin typeface="Century Gothic"/>
                <a:cs typeface="Century Gothic"/>
              </a:rPr>
              <a:t> </a:t>
            </a:r>
            <a:r>
              <a:rPr sz="800" b="1" spc="-5" dirty="0">
                <a:solidFill>
                  <a:srgbClr val="231F20"/>
                </a:solidFill>
                <a:latin typeface="Century Gothic"/>
                <a:cs typeface="Century Gothic"/>
              </a:rPr>
              <a:t>certifications:</a:t>
            </a:r>
            <a:endParaRPr sz="800" dirty="0">
              <a:latin typeface="Century Gothic"/>
              <a:cs typeface="Century Gothic"/>
            </a:endParaRPr>
          </a:p>
          <a:p>
            <a:pPr marL="464184" marR="57150" algn="just">
              <a:lnSpc>
                <a:spcPts val="850"/>
              </a:lnSpc>
              <a:spcBef>
                <a:spcPts val="295"/>
              </a:spcBef>
            </a:pPr>
            <a:r>
              <a:rPr lang="fr-FR" sz="800" spc="-10" dirty="0">
                <a:solidFill>
                  <a:srgbClr val="231F20"/>
                </a:solidFill>
                <a:latin typeface="Century Gothic"/>
                <a:cs typeface="Century Gothic"/>
              </a:rPr>
              <a:t>ISO 19443, ISO 9001-45001, </a:t>
            </a:r>
            <a:r>
              <a:rPr sz="800" spc="-10" dirty="0">
                <a:solidFill>
                  <a:srgbClr val="231F20"/>
                </a:solidFill>
                <a:latin typeface="Century Gothic"/>
                <a:cs typeface="Century Gothic"/>
              </a:rPr>
              <a:t>Qualification </a:t>
            </a:r>
            <a:r>
              <a:rPr sz="800" spc="-5" dirty="0">
                <a:solidFill>
                  <a:srgbClr val="231F20"/>
                </a:solidFill>
                <a:latin typeface="Century Gothic"/>
                <a:cs typeface="Century Gothic"/>
              </a:rPr>
              <a:t>EDF </a:t>
            </a:r>
            <a:r>
              <a:rPr sz="800" dirty="0">
                <a:solidFill>
                  <a:srgbClr val="231F20"/>
                </a:solidFill>
                <a:latin typeface="Century Gothic"/>
                <a:cs typeface="Century Gothic"/>
              </a:rPr>
              <a:t>UTO, </a:t>
            </a:r>
            <a:r>
              <a:rPr sz="800" spc="-5" dirty="0">
                <a:solidFill>
                  <a:srgbClr val="231F20"/>
                </a:solidFill>
                <a:latin typeface="Century Gothic"/>
                <a:cs typeface="Century Gothic"/>
              </a:rPr>
              <a:t>Qualianior </a:t>
            </a:r>
            <a:r>
              <a:rPr sz="800" dirty="0">
                <a:solidFill>
                  <a:srgbClr val="231F20"/>
                </a:solidFill>
                <a:latin typeface="Century Gothic"/>
                <a:cs typeface="Century Gothic"/>
              </a:rPr>
              <a:t>RP, </a:t>
            </a:r>
            <a:r>
              <a:rPr sz="800" spc="-5" dirty="0" err="1">
                <a:solidFill>
                  <a:srgbClr val="231F20"/>
                </a:solidFill>
                <a:latin typeface="Century Gothic"/>
                <a:cs typeface="Century Gothic"/>
              </a:rPr>
              <a:t>Qualifoudre</a:t>
            </a:r>
            <a:r>
              <a:rPr lang="fr-FR" sz="800" spc="-5" dirty="0">
                <a:solidFill>
                  <a:srgbClr val="231F20"/>
                </a:solidFill>
                <a:latin typeface="Century Gothic"/>
                <a:cs typeface="Century Gothic"/>
              </a:rPr>
              <a:t>, ISO 37001</a:t>
            </a:r>
            <a:endParaRPr lang="en-US" sz="800" dirty="0">
              <a:latin typeface="Century Gothic"/>
              <a:cs typeface="Century Gothic"/>
            </a:endParaRPr>
          </a:p>
          <a:p>
            <a:pPr marL="464184" lvl="1" indent="-144145">
              <a:lnSpc>
                <a:spcPct val="100000"/>
              </a:lnSpc>
              <a:spcBef>
                <a:spcPts val="730"/>
              </a:spcBef>
              <a:buClr>
                <a:srgbClr val="001D18"/>
              </a:buClr>
              <a:buSzPct val="125000"/>
              <a:buFont typeface="Century Gothic"/>
              <a:buChar char="•"/>
              <a:tabLst>
                <a:tab pos="464820" algn="l"/>
              </a:tabLst>
            </a:pPr>
            <a:r>
              <a:rPr lang="en-US" sz="800" b="1" dirty="0">
                <a:solidFill>
                  <a:srgbClr val="231F20"/>
                </a:solidFill>
                <a:latin typeface="Century Gothic"/>
                <a:cs typeface="Century Gothic"/>
              </a:rPr>
              <a:t>Nuclear</a:t>
            </a:r>
            <a:r>
              <a:rPr lang="en-US" sz="800" b="1" spc="-25" dirty="0">
                <a:solidFill>
                  <a:srgbClr val="231F20"/>
                </a:solidFill>
                <a:latin typeface="Century Gothic"/>
                <a:cs typeface="Century Gothic"/>
              </a:rPr>
              <a:t> </a:t>
            </a:r>
            <a:r>
              <a:rPr lang="en-US" sz="800" b="1" spc="-5" dirty="0">
                <a:solidFill>
                  <a:srgbClr val="231F20"/>
                </a:solidFill>
                <a:latin typeface="Century Gothic"/>
                <a:cs typeface="Century Gothic"/>
              </a:rPr>
              <a:t>customer</a:t>
            </a:r>
            <a:r>
              <a:rPr lang="en-US" sz="800" b="1" spc="-25" dirty="0">
                <a:solidFill>
                  <a:srgbClr val="231F20"/>
                </a:solidFill>
                <a:latin typeface="Century Gothic"/>
                <a:cs typeface="Century Gothic"/>
              </a:rPr>
              <a:t> </a:t>
            </a:r>
            <a:r>
              <a:rPr lang="en-US" sz="800" b="1" dirty="0">
                <a:solidFill>
                  <a:srgbClr val="231F20"/>
                </a:solidFill>
                <a:latin typeface="Century Gothic"/>
                <a:cs typeface="Century Gothic"/>
              </a:rPr>
              <a:t>reference</a:t>
            </a:r>
            <a:r>
              <a:rPr lang="en-US" sz="800" b="1" spc="-25" dirty="0">
                <a:solidFill>
                  <a:srgbClr val="231F20"/>
                </a:solidFill>
                <a:latin typeface="Century Gothic"/>
                <a:cs typeface="Century Gothic"/>
              </a:rPr>
              <a:t> </a:t>
            </a:r>
            <a:r>
              <a:rPr lang="en-US" sz="800" spc="-5" dirty="0">
                <a:solidFill>
                  <a:srgbClr val="231F20"/>
                </a:solidFill>
                <a:latin typeface="Century Gothic"/>
                <a:cs typeface="Century Gothic"/>
              </a:rPr>
              <a:t>(worldwide):</a:t>
            </a:r>
            <a:endParaRPr lang="en-US" sz="800" dirty="0">
              <a:latin typeface="Century Gothic"/>
              <a:cs typeface="Century Gothic"/>
            </a:endParaRPr>
          </a:p>
          <a:p>
            <a:pPr marL="464184" marR="55880" algn="just">
              <a:lnSpc>
                <a:spcPts val="850"/>
              </a:lnSpc>
              <a:spcBef>
                <a:spcPts val="295"/>
              </a:spcBef>
            </a:pPr>
            <a:r>
              <a:rPr sz="800" spc="-5" dirty="0">
                <a:solidFill>
                  <a:srgbClr val="231F20"/>
                </a:solidFill>
                <a:latin typeface="Century Gothic"/>
                <a:cs typeface="Century Gothic"/>
              </a:rPr>
              <a:t>EDF,</a:t>
            </a:r>
            <a:r>
              <a:rPr sz="800" dirty="0">
                <a:solidFill>
                  <a:srgbClr val="231F20"/>
                </a:solidFill>
                <a:latin typeface="Century Gothic"/>
                <a:cs typeface="Century Gothic"/>
              </a:rPr>
              <a:t> </a:t>
            </a:r>
            <a:r>
              <a:rPr sz="800" spc="-5" dirty="0">
                <a:solidFill>
                  <a:srgbClr val="231F20"/>
                </a:solidFill>
                <a:latin typeface="Century Gothic"/>
                <a:cs typeface="Century Gothic"/>
              </a:rPr>
              <a:t>Edvance,</a:t>
            </a:r>
            <a:r>
              <a:rPr sz="800" dirty="0">
                <a:solidFill>
                  <a:srgbClr val="231F20"/>
                </a:solidFill>
                <a:latin typeface="Century Gothic"/>
                <a:cs typeface="Century Gothic"/>
              </a:rPr>
              <a:t> CEA,</a:t>
            </a:r>
            <a:r>
              <a:rPr sz="800" spc="5" dirty="0">
                <a:solidFill>
                  <a:srgbClr val="231F20"/>
                </a:solidFill>
                <a:latin typeface="Century Gothic"/>
                <a:cs typeface="Century Gothic"/>
              </a:rPr>
              <a:t> </a:t>
            </a:r>
            <a:r>
              <a:rPr sz="800" spc="-5" dirty="0">
                <a:solidFill>
                  <a:srgbClr val="231F20"/>
                </a:solidFill>
                <a:latin typeface="Century Gothic"/>
                <a:cs typeface="Century Gothic"/>
              </a:rPr>
              <a:t>Framatome,</a:t>
            </a:r>
            <a:r>
              <a:rPr sz="800" dirty="0">
                <a:solidFill>
                  <a:srgbClr val="231F20"/>
                </a:solidFill>
                <a:latin typeface="Century Gothic"/>
                <a:cs typeface="Century Gothic"/>
              </a:rPr>
              <a:t> </a:t>
            </a:r>
            <a:r>
              <a:rPr sz="800" spc="-5" dirty="0">
                <a:solidFill>
                  <a:srgbClr val="231F20"/>
                </a:solidFill>
                <a:latin typeface="Century Gothic"/>
                <a:cs typeface="Century Gothic"/>
              </a:rPr>
              <a:t>Orano,</a:t>
            </a:r>
            <a:r>
              <a:rPr sz="800" dirty="0">
                <a:solidFill>
                  <a:srgbClr val="231F20"/>
                </a:solidFill>
                <a:latin typeface="Century Gothic"/>
                <a:cs typeface="Century Gothic"/>
              </a:rPr>
              <a:t> ANDRA,</a:t>
            </a:r>
            <a:r>
              <a:rPr sz="800" spc="5" dirty="0">
                <a:solidFill>
                  <a:srgbClr val="231F20"/>
                </a:solidFill>
                <a:latin typeface="Century Gothic"/>
                <a:cs typeface="Century Gothic"/>
              </a:rPr>
              <a:t> </a:t>
            </a:r>
            <a:r>
              <a:rPr sz="800" dirty="0">
                <a:solidFill>
                  <a:srgbClr val="231F20"/>
                </a:solidFill>
                <a:latin typeface="Century Gothic"/>
                <a:cs typeface="Century Gothic"/>
              </a:rPr>
              <a:t>Fusion</a:t>
            </a:r>
            <a:r>
              <a:rPr sz="800" spc="5" dirty="0">
                <a:solidFill>
                  <a:srgbClr val="231F20"/>
                </a:solidFill>
                <a:latin typeface="Century Gothic"/>
                <a:cs typeface="Century Gothic"/>
              </a:rPr>
              <a:t> </a:t>
            </a:r>
            <a:r>
              <a:rPr sz="800" dirty="0">
                <a:solidFill>
                  <a:srgbClr val="231F20"/>
                </a:solidFill>
                <a:latin typeface="Century Gothic"/>
                <a:cs typeface="Century Gothic"/>
              </a:rPr>
              <a:t>For </a:t>
            </a:r>
            <a:r>
              <a:rPr sz="800" spc="5" dirty="0">
                <a:solidFill>
                  <a:srgbClr val="231F20"/>
                </a:solidFill>
                <a:latin typeface="Century Gothic"/>
                <a:cs typeface="Century Gothic"/>
              </a:rPr>
              <a:t> </a:t>
            </a:r>
            <a:r>
              <a:rPr sz="800" spc="-5" dirty="0">
                <a:solidFill>
                  <a:srgbClr val="231F20"/>
                </a:solidFill>
                <a:latin typeface="Century Gothic"/>
                <a:cs typeface="Century Gothic"/>
              </a:rPr>
              <a:t>Energy</a:t>
            </a:r>
            <a:r>
              <a:rPr lang="fr-FR" sz="800" spc="-5" dirty="0">
                <a:solidFill>
                  <a:srgbClr val="231F20"/>
                </a:solidFill>
                <a:latin typeface="Century Gothic"/>
                <a:cs typeface="Century Gothic"/>
              </a:rPr>
              <a:t> &amp; </a:t>
            </a:r>
            <a:r>
              <a:rPr lang="fr-FR" sz="800" spc="-5" dirty="0" err="1">
                <a:solidFill>
                  <a:srgbClr val="231F20"/>
                </a:solidFill>
                <a:latin typeface="Century Gothic"/>
                <a:cs typeface="Century Gothic"/>
              </a:rPr>
              <a:t>Iter</a:t>
            </a:r>
            <a:r>
              <a:rPr lang="fr-FR" sz="800" spc="-5" dirty="0">
                <a:solidFill>
                  <a:srgbClr val="231F20"/>
                </a:solidFill>
                <a:latin typeface="Century Gothic"/>
                <a:cs typeface="Century Gothic"/>
              </a:rPr>
              <a:t> </a:t>
            </a:r>
            <a:r>
              <a:rPr lang="fr-FR" sz="800" spc="-5" dirty="0" err="1">
                <a:solidFill>
                  <a:srgbClr val="231F20"/>
                </a:solidFill>
                <a:latin typeface="Century Gothic"/>
                <a:cs typeface="Century Gothic"/>
              </a:rPr>
              <a:t>Organization</a:t>
            </a:r>
            <a:r>
              <a:rPr sz="800" dirty="0">
                <a:solidFill>
                  <a:srgbClr val="231F20"/>
                </a:solidFill>
                <a:latin typeface="Century Gothic"/>
                <a:cs typeface="Century Gothic"/>
              </a:rPr>
              <a:t> </a:t>
            </a:r>
            <a:r>
              <a:rPr sz="800" spc="-5" dirty="0">
                <a:solidFill>
                  <a:srgbClr val="231F20"/>
                </a:solidFill>
                <a:latin typeface="Century Gothic"/>
                <a:cs typeface="Century Gothic"/>
              </a:rPr>
              <a:t>(Iter),</a:t>
            </a:r>
            <a:r>
              <a:rPr sz="800" dirty="0">
                <a:solidFill>
                  <a:srgbClr val="231F20"/>
                </a:solidFill>
                <a:latin typeface="Century Gothic"/>
                <a:cs typeface="Century Gothic"/>
              </a:rPr>
              <a:t> CGNPC,</a:t>
            </a:r>
            <a:r>
              <a:rPr sz="800" spc="5" dirty="0">
                <a:solidFill>
                  <a:srgbClr val="231F20"/>
                </a:solidFill>
                <a:latin typeface="Century Gothic"/>
                <a:cs typeface="Century Gothic"/>
              </a:rPr>
              <a:t> </a:t>
            </a:r>
            <a:r>
              <a:rPr sz="800" dirty="0">
                <a:solidFill>
                  <a:srgbClr val="231F20"/>
                </a:solidFill>
                <a:latin typeface="Century Gothic"/>
                <a:cs typeface="Century Gothic"/>
              </a:rPr>
              <a:t>Kepco</a:t>
            </a:r>
            <a:r>
              <a:rPr sz="800" spc="5" dirty="0">
                <a:solidFill>
                  <a:srgbClr val="231F20"/>
                </a:solidFill>
                <a:latin typeface="Century Gothic"/>
                <a:cs typeface="Century Gothic"/>
              </a:rPr>
              <a:t> </a:t>
            </a:r>
            <a:r>
              <a:rPr sz="800" spc="-5" dirty="0">
                <a:solidFill>
                  <a:srgbClr val="231F20"/>
                </a:solidFill>
                <a:latin typeface="Century Gothic"/>
                <a:cs typeface="Century Gothic"/>
              </a:rPr>
              <a:t>Engineering</a:t>
            </a:r>
            <a:r>
              <a:rPr sz="800" dirty="0">
                <a:solidFill>
                  <a:srgbClr val="231F20"/>
                </a:solidFill>
                <a:latin typeface="Century Gothic"/>
                <a:cs typeface="Century Gothic"/>
              </a:rPr>
              <a:t> &amp;</a:t>
            </a:r>
            <a:r>
              <a:rPr sz="800" spc="5" dirty="0">
                <a:solidFill>
                  <a:srgbClr val="231F20"/>
                </a:solidFill>
                <a:latin typeface="Century Gothic"/>
                <a:cs typeface="Century Gothic"/>
              </a:rPr>
              <a:t> </a:t>
            </a:r>
            <a:r>
              <a:rPr sz="800" dirty="0">
                <a:solidFill>
                  <a:srgbClr val="231F20"/>
                </a:solidFill>
                <a:latin typeface="Century Gothic"/>
                <a:cs typeface="Century Gothic"/>
              </a:rPr>
              <a:t>Construction, </a:t>
            </a:r>
            <a:r>
              <a:rPr sz="800" spc="5" dirty="0">
                <a:solidFill>
                  <a:srgbClr val="231F20"/>
                </a:solidFill>
                <a:latin typeface="Century Gothic"/>
                <a:cs typeface="Century Gothic"/>
              </a:rPr>
              <a:t> </a:t>
            </a:r>
            <a:r>
              <a:rPr sz="800" spc="-5" dirty="0">
                <a:solidFill>
                  <a:srgbClr val="231F20"/>
                </a:solidFill>
                <a:latin typeface="Century Gothic"/>
                <a:cs typeface="Century Gothic"/>
              </a:rPr>
              <a:t>Slovenské </a:t>
            </a:r>
            <a:r>
              <a:rPr sz="800" dirty="0">
                <a:solidFill>
                  <a:srgbClr val="231F20"/>
                </a:solidFill>
                <a:latin typeface="Century Gothic"/>
                <a:cs typeface="Century Gothic"/>
              </a:rPr>
              <a:t>elektrárne...</a:t>
            </a:r>
            <a:endParaRPr sz="800" dirty="0">
              <a:latin typeface="Century Gothic"/>
              <a:cs typeface="Century Gothic"/>
            </a:endParaRPr>
          </a:p>
          <a:p>
            <a:pPr marL="464184" lvl="1" indent="-144145">
              <a:lnSpc>
                <a:spcPct val="100000"/>
              </a:lnSpc>
              <a:spcBef>
                <a:spcPts val="730"/>
              </a:spcBef>
              <a:buClr>
                <a:srgbClr val="001D18"/>
              </a:buClr>
              <a:buSzPct val="125000"/>
              <a:buFont typeface="Century Gothic"/>
              <a:buChar char="•"/>
              <a:tabLst>
                <a:tab pos="464820" algn="l"/>
              </a:tabLst>
            </a:pPr>
            <a:r>
              <a:rPr sz="800" b="1" dirty="0">
                <a:solidFill>
                  <a:srgbClr val="231F20"/>
                </a:solidFill>
                <a:latin typeface="Century Gothic"/>
                <a:cs typeface="Century Gothic"/>
              </a:rPr>
              <a:t>Nuclear</a:t>
            </a:r>
            <a:r>
              <a:rPr sz="800" b="1" spc="-25" dirty="0">
                <a:solidFill>
                  <a:srgbClr val="231F20"/>
                </a:solidFill>
                <a:latin typeface="Century Gothic"/>
                <a:cs typeface="Century Gothic"/>
              </a:rPr>
              <a:t> </a:t>
            </a:r>
            <a:r>
              <a:rPr sz="800" b="1" spc="-5" dirty="0">
                <a:solidFill>
                  <a:srgbClr val="231F20"/>
                </a:solidFill>
                <a:latin typeface="Century Gothic"/>
                <a:cs typeface="Century Gothic"/>
              </a:rPr>
              <a:t>project</a:t>
            </a:r>
            <a:r>
              <a:rPr sz="800" b="1" spc="-30" dirty="0">
                <a:solidFill>
                  <a:srgbClr val="231F20"/>
                </a:solidFill>
                <a:latin typeface="Century Gothic"/>
                <a:cs typeface="Century Gothic"/>
              </a:rPr>
              <a:t> </a:t>
            </a:r>
            <a:r>
              <a:rPr sz="800" b="1" dirty="0">
                <a:solidFill>
                  <a:srgbClr val="231F20"/>
                </a:solidFill>
                <a:latin typeface="Century Gothic"/>
                <a:cs typeface="Century Gothic"/>
              </a:rPr>
              <a:t>references</a:t>
            </a:r>
            <a:r>
              <a:rPr sz="800" b="1" spc="-25" dirty="0">
                <a:solidFill>
                  <a:srgbClr val="231F20"/>
                </a:solidFill>
                <a:latin typeface="Century Gothic"/>
                <a:cs typeface="Century Gothic"/>
              </a:rPr>
              <a:t> </a:t>
            </a:r>
            <a:r>
              <a:rPr sz="800" spc="-5" dirty="0">
                <a:solidFill>
                  <a:srgbClr val="231F20"/>
                </a:solidFill>
                <a:latin typeface="Century Gothic"/>
                <a:cs typeface="Century Gothic"/>
              </a:rPr>
              <a:t>(worldwide):</a:t>
            </a:r>
            <a:endParaRPr sz="800" dirty="0">
              <a:latin typeface="Century Gothic"/>
              <a:cs typeface="Century Gothic"/>
            </a:endParaRPr>
          </a:p>
          <a:p>
            <a:pPr marL="464184" marR="55880" algn="just">
              <a:lnSpc>
                <a:spcPts val="850"/>
              </a:lnSpc>
              <a:spcBef>
                <a:spcPts val="295"/>
              </a:spcBef>
            </a:pPr>
            <a:r>
              <a:rPr sz="800" dirty="0">
                <a:solidFill>
                  <a:srgbClr val="231F20"/>
                </a:solidFill>
                <a:latin typeface="Century Gothic"/>
                <a:cs typeface="Century Gothic"/>
              </a:rPr>
              <a:t>All</a:t>
            </a:r>
            <a:r>
              <a:rPr sz="800" spc="5" dirty="0">
                <a:solidFill>
                  <a:srgbClr val="231F20"/>
                </a:solidFill>
                <a:latin typeface="Century Gothic"/>
                <a:cs typeface="Century Gothic"/>
              </a:rPr>
              <a:t> </a:t>
            </a:r>
            <a:r>
              <a:rPr sz="800" dirty="0">
                <a:solidFill>
                  <a:srgbClr val="231F20"/>
                </a:solidFill>
                <a:latin typeface="Century Gothic"/>
                <a:cs typeface="Century Gothic"/>
              </a:rPr>
              <a:t>French</a:t>
            </a:r>
            <a:r>
              <a:rPr sz="800" spc="5" dirty="0">
                <a:solidFill>
                  <a:srgbClr val="231F20"/>
                </a:solidFill>
                <a:latin typeface="Century Gothic"/>
                <a:cs typeface="Century Gothic"/>
              </a:rPr>
              <a:t> </a:t>
            </a:r>
            <a:r>
              <a:rPr sz="800" dirty="0">
                <a:solidFill>
                  <a:srgbClr val="231F20"/>
                </a:solidFill>
                <a:latin typeface="Century Gothic"/>
                <a:cs typeface="Century Gothic"/>
              </a:rPr>
              <a:t>NPP</a:t>
            </a:r>
            <a:r>
              <a:rPr sz="800" spc="5" dirty="0">
                <a:solidFill>
                  <a:srgbClr val="231F20"/>
                </a:solidFill>
                <a:latin typeface="Century Gothic"/>
                <a:cs typeface="Century Gothic"/>
              </a:rPr>
              <a:t> </a:t>
            </a:r>
            <a:r>
              <a:rPr sz="800" spc="-5" dirty="0">
                <a:solidFill>
                  <a:srgbClr val="231F20"/>
                </a:solidFill>
                <a:latin typeface="Century Gothic"/>
                <a:cs typeface="Century Gothic"/>
              </a:rPr>
              <a:t>projects</a:t>
            </a:r>
            <a:r>
              <a:rPr sz="800" dirty="0">
                <a:solidFill>
                  <a:srgbClr val="231F20"/>
                </a:solidFill>
                <a:latin typeface="Century Gothic"/>
                <a:cs typeface="Century Gothic"/>
              </a:rPr>
              <a:t> </a:t>
            </a:r>
            <a:r>
              <a:rPr sz="800" spc="-5" dirty="0">
                <a:solidFill>
                  <a:srgbClr val="231F20"/>
                </a:solidFill>
                <a:latin typeface="Century Gothic"/>
                <a:cs typeface="Century Gothic"/>
              </a:rPr>
              <a:t>(including</a:t>
            </a:r>
            <a:r>
              <a:rPr sz="800" dirty="0">
                <a:solidFill>
                  <a:srgbClr val="231F20"/>
                </a:solidFill>
                <a:latin typeface="Century Gothic"/>
                <a:cs typeface="Century Gothic"/>
              </a:rPr>
              <a:t> Flamanville</a:t>
            </a:r>
            <a:r>
              <a:rPr sz="800" spc="5" dirty="0">
                <a:solidFill>
                  <a:srgbClr val="231F20"/>
                </a:solidFill>
                <a:latin typeface="Century Gothic"/>
                <a:cs typeface="Century Gothic"/>
              </a:rPr>
              <a:t> </a:t>
            </a:r>
            <a:r>
              <a:rPr sz="800" spc="-5" dirty="0">
                <a:solidFill>
                  <a:srgbClr val="231F20"/>
                </a:solidFill>
                <a:latin typeface="Century Gothic"/>
                <a:cs typeface="Century Gothic"/>
              </a:rPr>
              <a:t>and</a:t>
            </a:r>
            <a:r>
              <a:rPr sz="800" dirty="0">
                <a:solidFill>
                  <a:srgbClr val="231F20"/>
                </a:solidFill>
                <a:latin typeface="Century Gothic"/>
                <a:cs typeface="Century Gothic"/>
              </a:rPr>
              <a:t> </a:t>
            </a:r>
            <a:r>
              <a:rPr sz="800" spc="-5" dirty="0">
                <a:solidFill>
                  <a:srgbClr val="231F20"/>
                </a:solidFill>
                <a:latin typeface="Century Gothic"/>
                <a:cs typeface="Century Gothic"/>
              </a:rPr>
              <a:t>EPR2), </a:t>
            </a:r>
            <a:r>
              <a:rPr sz="800" dirty="0">
                <a:solidFill>
                  <a:srgbClr val="231F20"/>
                </a:solidFill>
                <a:latin typeface="Century Gothic"/>
                <a:cs typeface="Century Gothic"/>
              </a:rPr>
              <a:t> </a:t>
            </a:r>
            <a:r>
              <a:rPr sz="800" spc="-5" dirty="0">
                <a:solidFill>
                  <a:srgbClr val="231F20"/>
                </a:solidFill>
                <a:latin typeface="Century Gothic"/>
                <a:cs typeface="Century Gothic"/>
              </a:rPr>
              <a:t>international </a:t>
            </a:r>
            <a:r>
              <a:rPr sz="800" dirty="0">
                <a:solidFill>
                  <a:srgbClr val="231F20"/>
                </a:solidFill>
                <a:latin typeface="Century Gothic"/>
                <a:cs typeface="Century Gothic"/>
              </a:rPr>
              <a:t>NPP </a:t>
            </a:r>
            <a:r>
              <a:rPr sz="800" spc="-5" dirty="0">
                <a:solidFill>
                  <a:srgbClr val="231F20"/>
                </a:solidFill>
                <a:latin typeface="Century Gothic"/>
                <a:cs typeface="Century Gothic"/>
              </a:rPr>
              <a:t>projects (UK Hinkley </a:t>
            </a:r>
            <a:r>
              <a:rPr sz="800" dirty="0">
                <a:solidFill>
                  <a:srgbClr val="231F20"/>
                </a:solidFill>
                <a:latin typeface="Century Gothic"/>
                <a:cs typeface="Century Gothic"/>
              </a:rPr>
              <a:t>Point </a:t>
            </a:r>
            <a:r>
              <a:rPr sz="800" spc="-5" dirty="0">
                <a:solidFill>
                  <a:srgbClr val="231F20"/>
                </a:solidFill>
                <a:latin typeface="Century Gothic"/>
                <a:cs typeface="Century Gothic"/>
              </a:rPr>
              <a:t>and Sizewell </a:t>
            </a:r>
            <a:r>
              <a:rPr sz="800" dirty="0">
                <a:solidFill>
                  <a:srgbClr val="231F20"/>
                </a:solidFill>
                <a:latin typeface="Century Gothic"/>
                <a:cs typeface="Century Gothic"/>
              </a:rPr>
              <a:t>C </a:t>
            </a:r>
            <a:r>
              <a:rPr sz="800" spc="-5" dirty="0">
                <a:solidFill>
                  <a:srgbClr val="231F20"/>
                </a:solidFill>
                <a:latin typeface="Century Gothic"/>
                <a:cs typeface="Century Gothic"/>
              </a:rPr>
              <a:t>EPR, </a:t>
            </a:r>
            <a:r>
              <a:rPr sz="800" dirty="0">
                <a:solidFill>
                  <a:srgbClr val="231F20"/>
                </a:solidFill>
                <a:latin typeface="Century Gothic"/>
                <a:cs typeface="Century Gothic"/>
              </a:rPr>
              <a:t> Netherlands</a:t>
            </a:r>
            <a:r>
              <a:rPr sz="800" spc="-40" dirty="0">
                <a:solidFill>
                  <a:srgbClr val="231F20"/>
                </a:solidFill>
                <a:latin typeface="Century Gothic"/>
                <a:cs typeface="Century Gothic"/>
              </a:rPr>
              <a:t> </a:t>
            </a:r>
            <a:r>
              <a:rPr sz="800" spc="-5" dirty="0">
                <a:solidFill>
                  <a:srgbClr val="231F20"/>
                </a:solidFill>
                <a:latin typeface="Century Gothic"/>
                <a:cs typeface="Century Gothic"/>
              </a:rPr>
              <a:t>Borselle,</a:t>
            </a:r>
            <a:r>
              <a:rPr sz="800" spc="-40" dirty="0">
                <a:solidFill>
                  <a:srgbClr val="231F20"/>
                </a:solidFill>
                <a:latin typeface="Century Gothic"/>
                <a:cs typeface="Century Gothic"/>
              </a:rPr>
              <a:t> </a:t>
            </a:r>
            <a:r>
              <a:rPr sz="800" dirty="0">
                <a:solidFill>
                  <a:srgbClr val="231F20"/>
                </a:solidFill>
                <a:latin typeface="Century Gothic"/>
                <a:cs typeface="Century Gothic"/>
              </a:rPr>
              <a:t>Finland</a:t>
            </a:r>
            <a:r>
              <a:rPr sz="800" spc="-35" dirty="0">
                <a:solidFill>
                  <a:srgbClr val="231F20"/>
                </a:solidFill>
                <a:latin typeface="Century Gothic"/>
                <a:cs typeface="Century Gothic"/>
              </a:rPr>
              <a:t> </a:t>
            </a:r>
            <a:r>
              <a:rPr sz="800" spc="-5" dirty="0">
                <a:solidFill>
                  <a:srgbClr val="231F20"/>
                </a:solidFill>
                <a:latin typeface="Century Gothic"/>
                <a:cs typeface="Century Gothic"/>
              </a:rPr>
              <a:t>Olkiluoto</a:t>
            </a:r>
            <a:r>
              <a:rPr sz="800" spc="-40" dirty="0">
                <a:solidFill>
                  <a:srgbClr val="231F20"/>
                </a:solidFill>
                <a:latin typeface="Century Gothic"/>
                <a:cs typeface="Century Gothic"/>
              </a:rPr>
              <a:t> </a:t>
            </a:r>
            <a:r>
              <a:rPr sz="800" spc="-5" dirty="0">
                <a:solidFill>
                  <a:srgbClr val="231F20"/>
                </a:solidFill>
                <a:latin typeface="Century Gothic"/>
                <a:cs typeface="Century Gothic"/>
              </a:rPr>
              <a:t>EPR</a:t>
            </a:r>
            <a:r>
              <a:rPr sz="800" spc="-40" dirty="0">
                <a:solidFill>
                  <a:srgbClr val="231F20"/>
                </a:solidFill>
                <a:latin typeface="Century Gothic"/>
                <a:cs typeface="Century Gothic"/>
              </a:rPr>
              <a:t> </a:t>
            </a:r>
            <a:r>
              <a:rPr sz="800" dirty="0">
                <a:solidFill>
                  <a:srgbClr val="231F20"/>
                </a:solidFill>
                <a:latin typeface="Century Gothic"/>
                <a:cs typeface="Century Gothic"/>
              </a:rPr>
              <a:t>,</a:t>
            </a:r>
            <a:r>
              <a:rPr sz="800" spc="-35" dirty="0">
                <a:solidFill>
                  <a:srgbClr val="231F20"/>
                </a:solidFill>
                <a:latin typeface="Century Gothic"/>
                <a:cs typeface="Century Gothic"/>
              </a:rPr>
              <a:t> </a:t>
            </a:r>
            <a:r>
              <a:rPr sz="800" spc="-5" dirty="0">
                <a:solidFill>
                  <a:srgbClr val="231F20"/>
                </a:solidFill>
                <a:latin typeface="Century Gothic"/>
                <a:cs typeface="Century Gothic"/>
              </a:rPr>
              <a:t>Slovakia</a:t>
            </a:r>
            <a:r>
              <a:rPr sz="800" spc="-40" dirty="0">
                <a:solidFill>
                  <a:srgbClr val="231F20"/>
                </a:solidFill>
                <a:latin typeface="Century Gothic"/>
                <a:cs typeface="Century Gothic"/>
              </a:rPr>
              <a:t> </a:t>
            </a:r>
            <a:r>
              <a:rPr sz="800" dirty="0">
                <a:solidFill>
                  <a:srgbClr val="231F20"/>
                </a:solidFill>
                <a:latin typeface="Century Gothic"/>
                <a:cs typeface="Century Gothic"/>
              </a:rPr>
              <a:t>Mochovce, </a:t>
            </a:r>
            <a:r>
              <a:rPr sz="800" spc="-210" dirty="0">
                <a:solidFill>
                  <a:srgbClr val="231F20"/>
                </a:solidFill>
                <a:latin typeface="Century Gothic"/>
                <a:cs typeface="Century Gothic"/>
              </a:rPr>
              <a:t> </a:t>
            </a:r>
            <a:r>
              <a:rPr sz="800" dirty="0">
                <a:solidFill>
                  <a:srgbClr val="231F20"/>
                </a:solidFill>
                <a:latin typeface="Century Gothic"/>
                <a:cs typeface="Century Gothic"/>
              </a:rPr>
              <a:t>Ukrainia</a:t>
            </a:r>
            <a:r>
              <a:rPr sz="800" spc="5" dirty="0">
                <a:solidFill>
                  <a:srgbClr val="231F20"/>
                </a:solidFill>
                <a:latin typeface="Century Gothic"/>
                <a:cs typeface="Century Gothic"/>
              </a:rPr>
              <a:t> </a:t>
            </a:r>
            <a:r>
              <a:rPr sz="800" dirty="0">
                <a:solidFill>
                  <a:srgbClr val="231F20"/>
                </a:solidFill>
                <a:latin typeface="Century Gothic"/>
                <a:cs typeface="Century Gothic"/>
              </a:rPr>
              <a:t>Khmelnitstky,</a:t>
            </a:r>
            <a:r>
              <a:rPr sz="800" spc="5" dirty="0">
                <a:solidFill>
                  <a:srgbClr val="231F20"/>
                </a:solidFill>
                <a:latin typeface="Century Gothic"/>
                <a:cs typeface="Century Gothic"/>
              </a:rPr>
              <a:t> </a:t>
            </a:r>
            <a:r>
              <a:rPr sz="800" spc="-5" dirty="0">
                <a:solidFill>
                  <a:srgbClr val="231F20"/>
                </a:solidFill>
                <a:latin typeface="Century Gothic"/>
                <a:cs typeface="Century Gothic"/>
              </a:rPr>
              <a:t>South</a:t>
            </a:r>
            <a:r>
              <a:rPr sz="800" dirty="0">
                <a:solidFill>
                  <a:srgbClr val="231F20"/>
                </a:solidFill>
                <a:latin typeface="Century Gothic"/>
                <a:cs typeface="Century Gothic"/>
              </a:rPr>
              <a:t> </a:t>
            </a:r>
            <a:r>
              <a:rPr sz="800" spc="-5" dirty="0">
                <a:solidFill>
                  <a:srgbClr val="231F20"/>
                </a:solidFill>
                <a:latin typeface="Century Gothic"/>
                <a:cs typeface="Century Gothic"/>
              </a:rPr>
              <a:t>Korea</a:t>
            </a:r>
            <a:r>
              <a:rPr sz="800" dirty="0">
                <a:solidFill>
                  <a:srgbClr val="231F20"/>
                </a:solidFill>
                <a:latin typeface="Century Gothic"/>
                <a:cs typeface="Century Gothic"/>
              </a:rPr>
              <a:t> Ulchin,</a:t>
            </a:r>
            <a:r>
              <a:rPr sz="800" spc="5" dirty="0">
                <a:solidFill>
                  <a:srgbClr val="231F20"/>
                </a:solidFill>
                <a:latin typeface="Century Gothic"/>
                <a:cs typeface="Century Gothic"/>
              </a:rPr>
              <a:t> </a:t>
            </a:r>
            <a:r>
              <a:rPr sz="800" dirty="0">
                <a:solidFill>
                  <a:srgbClr val="231F20"/>
                </a:solidFill>
                <a:latin typeface="Century Gothic"/>
                <a:cs typeface="Century Gothic"/>
              </a:rPr>
              <a:t>China</a:t>
            </a:r>
            <a:r>
              <a:rPr sz="800" spc="5" dirty="0">
                <a:solidFill>
                  <a:srgbClr val="231F20"/>
                </a:solidFill>
                <a:latin typeface="Century Gothic"/>
                <a:cs typeface="Century Gothic"/>
              </a:rPr>
              <a:t> </a:t>
            </a:r>
            <a:r>
              <a:rPr sz="800" spc="-5" dirty="0">
                <a:solidFill>
                  <a:srgbClr val="231F20"/>
                </a:solidFill>
                <a:latin typeface="Century Gothic"/>
                <a:cs typeface="Century Gothic"/>
              </a:rPr>
              <a:t>Daya</a:t>
            </a:r>
            <a:r>
              <a:rPr sz="800" dirty="0">
                <a:solidFill>
                  <a:srgbClr val="231F20"/>
                </a:solidFill>
                <a:latin typeface="Century Gothic"/>
                <a:cs typeface="Century Gothic"/>
              </a:rPr>
              <a:t> </a:t>
            </a:r>
            <a:r>
              <a:rPr sz="800" spc="-5" dirty="0">
                <a:solidFill>
                  <a:srgbClr val="231F20"/>
                </a:solidFill>
                <a:latin typeface="Century Gothic"/>
                <a:cs typeface="Century Gothic"/>
              </a:rPr>
              <a:t>Bay, </a:t>
            </a:r>
            <a:r>
              <a:rPr sz="800" dirty="0">
                <a:solidFill>
                  <a:srgbClr val="231F20"/>
                </a:solidFill>
                <a:latin typeface="Century Gothic"/>
                <a:cs typeface="Century Gothic"/>
              </a:rPr>
              <a:t> Taishan </a:t>
            </a:r>
            <a:r>
              <a:rPr sz="800" spc="-5" dirty="0">
                <a:solidFill>
                  <a:srgbClr val="231F20"/>
                </a:solidFill>
                <a:latin typeface="Century Gothic"/>
                <a:cs typeface="Century Gothic"/>
              </a:rPr>
              <a:t>EPR, South </a:t>
            </a:r>
            <a:r>
              <a:rPr sz="800" dirty="0">
                <a:solidFill>
                  <a:srgbClr val="231F20"/>
                </a:solidFill>
                <a:latin typeface="Century Gothic"/>
                <a:cs typeface="Century Gothic"/>
              </a:rPr>
              <a:t>Africa </a:t>
            </a:r>
            <a:r>
              <a:rPr sz="800" spc="-5" dirty="0" err="1">
                <a:solidFill>
                  <a:srgbClr val="231F20"/>
                </a:solidFill>
                <a:latin typeface="Century Gothic"/>
                <a:cs typeface="Century Gothic"/>
              </a:rPr>
              <a:t>Koeberg</a:t>
            </a:r>
            <a:r>
              <a:rPr sz="800" spc="-5" dirty="0">
                <a:solidFill>
                  <a:srgbClr val="231F20"/>
                </a:solidFill>
                <a:latin typeface="Century Gothic"/>
                <a:cs typeface="Century Gothic"/>
              </a:rPr>
              <a:t>)</a:t>
            </a:r>
            <a:r>
              <a:rPr lang="fr-FR" sz="800" spc="-5" dirty="0">
                <a:solidFill>
                  <a:srgbClr val="231F20"/>
                </a:solidFill>
                <a:latin typeface="Century Gothic"/>
                <a:cs typeface="Century Gothic"/>
              </a:rPr>
              <a:t>.</a:t>
            </a:r>
          </a:p>
          <a:p>
            <a:pPr marL="464184" marR="55880" algn="just">
              <a:lnSpc>
                <a:spcPts val="850"/>
              </a:lnSpc>
              <a:spcBef>
                <a:spcPts val="295"/>
              </a:spcBef>
            </a:pPr>
            <a:r>
              <a:rPr lang="fr-FR" sz="800" spc="-5" dirty="0">
                <a:solidFill>
                  <a:srgbClr val="231F20"/>
                </a:solidFill>
                <a:latin typeface="Century Gothic"/>
                <a:cs typeface="Century Gothic"/>
              </a:rPr>
              <a:t>Architect </a:t>
            </a:r>
            <a:r>
              <a:rPr lang="fr-FR" sz="800" spc="-5" dirty="0" err="1">
                <a:solidFill>
                  <a:srgbClr val="231F20"/>
                </a:solidFill>
                <a:latin typeface="Century Gothic"/>
                <a:cs typeface="Century Gothic"/>
              </a:rPr>
              <a:t>engineer</a:t>
            </a:r>
            <a:r>
              <a:rPr lang="fr-FR" sz="800" spc="-5" dirty="0">
                <a:solidFill>
                  <a:srgbClr val="231F20"/>
                </a:solidFill>
                <a:latin typeface="Century Gothic"/>
                <a:cs typeface="Century Gothic"/>
              </a:rPr>
              <a:t> of the ITER </a:t>
            </a:r>
            <a:r>
              <a:rPr lang="fr-FR" sz="800" spc="-5" dirty="0" err="1">
                <a:solidFill>
                  <a:srgbClr val="231F20"/>
                </a:solidFill>
                <a:latin typeface="Century Gothic"/>
                <a:cs typeface="Century Gothic"/>
              </a:rPr>
              <a:t>project</a:t>
            </a:r>
            <a:r>
              <a:rPr lang="fr-FR" sz="800" spc="-5" dirty="0">
                <a:solidFill>
                  <a:srgbClr val="231F20"/>
                </a:solidFill>
                <a:latin typeface="Century Gothic"/>
                <a:cs typeface="Century Gothic"/>
              </a:rPr>
              <a:t> in France </a:t>
            </a:r>
            <a:r>
              <a:rPr lang="fr-FR" sz="800" spc="-5" dirty="0" err="1">
                <a:solidFill>
                  <a:srgbClr val="231F20"/>
                </a:solidFill>
                <a:latin typeface="Century Gothic"/>
                <a:cs typeface="Century Gothic"/>
              </a:rPr>
              <a:t>since</a:t>
            </a:r>
            <a:r>
              <a:rPr lang="fr-FR" sz="800" spc="-5" dirty="0">
                <a:solidFill>
                  <a:srgbClr val="231F20"/>
                </a:solidFill>
                <a:latin typeface="Century Gothic"/>
                <a:cs typeface="Century Gothic"/>
              </a:rPr>
              <a:t> 2010.</a:t>
            </a:r>
          </a:p>
          <a:p>
            <a:pPr marL="464184" marR="55880" algn="just">
              <a:lnSpc>
                <a:spcPts val="850"/>
              </a:lnSpc>
              <a:spcBef>
                <a:spcPts val="295"/>
              </a:spcBef>
            </a:pPr>
            <a:r>
              <a:rPr lang="fr-FR" sz="800" spc="-5" dirty="0">
                <a:solidFill>
                  <a:srgbClr val="231F20"/>
                </a:solidFill>
                <a:latin typeface="Century Gothic"/>
                <a:cs typeface="Century Gothic"/>
              </a:rPr>
              <a:t>Assistant to the </a:t>
            </a:r>
            <a:r>
              <a:rPr lang="fr-FR" sz="800" spc="-5" dirty="0" err="1">
                <a:solidFill>
                  <a:srgbClr val="231F20"/>
                </a:solidFill>
                <a:latin typeface="Century Gothic"/>
                <a:cs typeface="Century Gothic"/>
              </a:rPr>
              <a:t>owner</a:t>
            </a:r>
            <a:r>
              <a:rPr lang="fr-FR" sz="800" spc="-5" dirty="0">
                <a:solidFill>
                  <a:srgbClr val="231F20"/>
                </a:solidFill>
                <a:latin typeface="Century Gothic"/>
                <a:cs typeface="Century Gothic"/>
              </a:rPr>
              <a:t> &amp; </a:t>
            </a:r>
            <a:r>
              <a:rPr lang="fr-FR" sz="800" spc="-5" dirty="0" err="1">
                <a:solidFill>
                  <a:srgbClr val="231F20"/>
                </a:solidFill>
                <a:latin typeface="Century Gothic"/>
                <a:cs typeface="Century Gothic"/>
              </a:rPr>
              <a:t>work</a:t>
            </a:r>
            <a:r>
              <a:rPr lang="fr-FR" sz="800" spc="-5" dirty="0">
                <a:solidFill>
                  <a:srgbClr val="231F20"/>
                </a:solidFill>
                <a:latin typeface="Century Gothic"/>
                <a:cs typeface="Century Gothic"/>
              </a:rPr>
              <a:t> supervision for the </a:t>
            </a:r>
            <a:r>
              <a:rPr lang="fr-FR" sz="800" spc="-5" dirty="0" err="1">
                <a:solidFill>
                  <a:srgbClr val="231F20"/>
                </a:solidFill>
                <a:latin typeface="Century Gothic"/>
                <a:cs typeface="Century Gothic"/>
              </a:rPr>
              <a:t>nuclear</a:t>
            </a:r>
            <a:r>
              <a:rPr lang="fr-FR" sz="800" spc="-5" dirty="0">
                <a:solidFill>
                  <a:srgbClr val="231F20"/>
                </a:solidFill>
                <a:latin typeface="Century Gothic"/>
                <a:cs typeface="Century Gothic"/>
              </a:rPr>
              <a:t> fusion </a:t>
            </a:r>
            <a:r>
              <a:rPr lang="fr-FR" sz="800" spc="-5" dirty="0" err="1">
                <a:solidFill>
                  <a:srgbClr val="231F20"/>
                </a:solidFill>
                <a:latin typeface="Century Gothic"/>
                <a:cs typeface="Century Gothic"/>
              </a:rPr>
              <a:t>laboratory</a:t>
            </a:r>
            <a:r>
              <a:rPr lang="fr-FR" sz="800" spc="-5" dirty="0">
                <a:solidFill>
                  <a:srgbClr val="231F20"/>
                </a:solidFill>
                <a:latin typeface="Century Gothic"/>
                <a:cs typeface="Century Gothic"/>
              </a:rPr>
              <a:t> « Laser </a:t>
            </a:r>
            <a:r>
              <a:rPr lang="fr-FR" sz="800" spc="-5" dirty="0" err="1">
                <a:solidFill>
                  <a:srgbClr val="231F20"/>
                </a:solidFill>
                <a:latin typeface="Century Gothic"/>
                <a:cs typeface="Century Gothic"/>
              </a:rPr>
              <a:t>Megajoule</a:t>
            </a:r>
            <a:r>
              <a:rPr lang="fr-FR" sz="800" spc="-5" dirty="0">
                <a:solidFill>
                  <a:srgbClr val="231F20"/>
                </a:solidFill>
                <a:latin typeface="Century Gothic"/>
                <a:cs typeface="Century Gothic"/>
              </a:rPr>
              <a:t> » in France </a:t>
            </a:r>
            <a:r>
              <a:rPr lang="fr-FR" sz="800" spc="-5" dirty="0" err="1">
                <a:solidFill>
                  <a:srgbClr val="231F20"/>
                </a:solidFill>
                <a:latin typeface="Century Gothic"/>
                <a:cs typeface="Century Gothic"/>
              </a:rPr>
              <a:t>since</a:t>
            </a:r>
            <a:r>
              <a:rPr lang="fr-FR" sz="800" spc="-5" dirty="0">
                <a:solidFill>
                  <a:srgbClr val="231F20"/>
                </a:solidFill>
                <a:latin typeface="Century Gothic"/>
                <a:cs typeface="Century Gothic"/>
              </a:rPr>
              <a:t> 2003.</a:t>
            </a:r>
          </a:p>
          <a:p>
            <a:pPr marL="464184" marR="55880" algn="just">
              <a:lnSpc>
                <a:spcPts val="850"/>
              </a:lnSpc>
              <a:spcBef>
                <a:spcPts val="295"/>
              </a:spcBef>
            </a:pPr>
            <a:r>
              <a:rPr lang="fr-FR" sz="800" spc="-5" dirty="0">
                <a:solidFill>
                  <a:srgbClr val="231F20"/>
                </a:solidFill>
                <a:latin typeface="Century Gothic"/>
                <a:cs typeface="Century Gothic"/>
              </a:rPr>
              <a:t>Civil engineering designer &amp; </a:t>
            </a:r>
            <a:r>
              <a:rPr lang="fr-FR" sz="800" spc="-5" dirty="0" err="1">
                <a:solidFill>
                  <a:srgbClr val="231F20"/>
                </a:solidFill>
                <a:latin typeface="Century Gothic"/>
                <a:cs typeface="Century Gothic"/>
              </a:rPr>
              <a:t>work</a:t>
            </a:r>
            <a:r>
              <a:rPr lang="fr-FR" sz="800" spc="-5" dirty="0">
                <a:solidFill>
                  <a:srgbClr val="231F20"/>
                </a:solidFill>
                <a:latin typeface="Century Gothic"/>
                <a:cs typeface="Century Gothic"/>
              </a:rPr>
              <a:t> </a:t>
            </a:r>
            <a:r>
              <a:rPr lang="fr-FR" sz="800" spc="-5" dirty="0" err="1">
                <a:solidFill>
                  <a:srgbClr val="231F20"/>
                </a:solidFill>
                <a:latin typeface="Century Gothic"/>
                <a:cs typeface="Century Gothic"/>
              </a:rPr>
              <a:t>supervisor</a:t>
            </a:r>
            <a:r>
              <a:rPr lang="fr-FR" sz="800" spc="-5" dirty="0">
                <a:solidFill>
                  <a:srgbClr val="231F20"/>
                </a:solidFill>
                <a:latin typeface="Century Gothic"/>
                <a:cs typeface="Century Gothic"/>
              </a:rPr>
              <a:t> of french </a:t>
            </a:r>
            <a:r>
              <a:rPr lang="fr-FR" sz="800" spc="-5" dirty="0" err="1">
                <a:solidFill>
                  <a:srgbClr val="231F20"/>
                </a:solidFill>
                <a:latin typeface="Century Gothic"/>
                <a:cs typeface="Century Gothic"/>
              </a:rPr>
              <a:t>research</a:t>
            </a:r>
            <a:r>
              <a:rPr sz="800" dirty="0">
                <a:solidFill>
                  <a:srgbClr val="231F20"/>
                </a:solidFill>
                <a:latin typeface="Century Gothic"/>
                <a:cs typeface="Century Gothic"/>
              </a:rPr>
              <a:t> reactor</a:t>
            </a:r>
            <a:r>
              <a:rPr lang="fr-FR" sz="800" dirty="0">
                <a:solidFill>
                  <a:srgbClr val="231F20"/>
                </a:solidFill>
                <a:latin typeface="Century Gothic"/>
                <a:cs typeface="Century Gothic"/>
              </a:rPr>
              <a:t> </a:t>
            </a:r>
            <a:r>
              <a:rPr sz="800" dirty="0">
                <a:solidFill>
                  <a:srgbClr val="231F20"/>
                </a:solidFill>
                <a:latin typeface="Century Gothic"/>
                <a:cs typeface="Century Gothic"/>
              </a:rPr>
              <a:t>Jules </a:t>
            </a:r>
            <a:r>
              <a:rPr sz="800" spc="-5" dirty="0" err="1">
                <a:solidFill>
                  <a:srgbClr val="231F20"/>
                </a:solidFill>
                <a:latin typeface="Century Gothic"/>
                <a:cs typeface="Century Gothic"/>
              </a:rPr>
              <a:t>Hor</a:t>
            </a:r>
            <a:r>
              <a:rPr lang="fr-FR" sz="800" spc="-5" dirty="0" err="1">
                <a:solidFill>
                  <a:srgbClr val="231F20"/>
                </a:solidFill>
                <a:latin typeface="Century Gothic"/>
                <a:cs typeface="Century Gothic"/>
              </a:rPr>
              <a:t>owitz</a:t>
            </a:r>
            <a:r>
              <a:rPr lang="fr-FR" sz="800" spc="-5" dirty="0">
                <a:solidFill>
                  <a:srgbClr val="231F20"/>
                </a:solidFill>
                <a:latin typeface="Century Gothic"/>
                <a:cs typeface="Century Gothic"/>
              </a:rPr>
              <a:t> in Cadarache </a:t>
            </a:r>
            <a:r>
              <a:rPr lang="fr-FR" sz="800" spc="-5" dirty="0" err="1">
                <a:solidFill>
                  <a:srgbClr val="231F20"/>
                </a:solidFill>
                <a:latin typeface="Century Gothic"/>
                <a:cs typeface="Century Gothic"/>
              </a:rPr>
              <a:t>since</a:t>
            </a:r>
            <a:r>
              <a:rPr lang="fr-FR" sz="800" spc="-5" dirty="0">
                <a:solidFill>
                  <a:srgbClr val="231F20"/>
                </a:solidFill>
                <a:latin typeface="Century Gothic"/>
                <a:cs typeface="Century Gothic"/>
              </a:rPr>
              <a:t> 2003.</a:t>
            </a:r>
            <a:endParaRPr sz="800" dirty="0">
              <a:latin typeface="Century Gothic"/>
              <a:cs typeface="Century Gothic"/>
            </a:endParaRPr>
          </a:p>
        </p:txBody>
      </p:sp>
      <p:sp>
        <p:nvSpPr>
          <p:cNvPr id="35" name="object 35"/>
          <p:cNvSpPr txBox="1"/>
          <p:nvPr/>
        </p:nvSpPr>
        <p:spPr>
          <a:xfrm>
            <a:off x="2309300" y="369391"/>
            <a:ext cx="985519" cy="629285"/>
          </a:xfrm>
          <a:prstGeom prst="rect">
            <a:avLst/>
          </a:prstGeom>
        </p:spPr>
        <p:txBody>
          <a:bodyPr vert="horz" wrap="square" lIns="0" tIns="17780" rIns="0" bIns="0" rtlCol="0">
            <a:spAutoFit/>
          </a:bodyPr>
          <a:lstStyle/>
          <a:p>
            <a:pPr marL="12700">
              <a:lnSpc>
                <a:spcPct val="100000"/>
              </a:lnSpc>
              <a:spcBef>
                <a:spcPts val="140"/>
              </a:spcBef>
            </a:pPr>
            <a:r>
              <a:rPr sz="700" dirty="0">
                <a:solidFill>
                  <a:srgbClr val="FFFFFF"/>
                </a:solidFill>
                <a:latin typeface="Century Gothic"/>
                <a:cs typeface="Century Gothic"/>
              </a:rPr>
              <a:t>Annual</a:t>
            </a:r>
            <a:r>
              <a:rPr sz="700" spc="-50" dirty="0">
                <a:solidFill>
                  <a:srgbClr val="FFFFFF"/>
                </a:solidFill>
                <a:latin typeface="Century Gothic"/>
                <a:cs typeface="Century Gothic"/>
              </a:rPr>
              <a:t> </a:t>
            </a:r>
            <a:r>
              <a:rPr sz="700" dirty="0">
                <a:solidFill>
                  <a:srgbClr val="FFFFFF"/>
                </a:solidFill>
                <a:latin typeface="Century Gothic"/>
                <a:cs typeface="Century Gothic"/>
              </a:rPr>
              <a:t>turnover</a:t>
            </a:r>
            <a:endParaRPr sz="700" dirty="0">
              <a:latin typeface="Century Gothic"/>
              <a:cs typeface="Century Gothic"/>
            </a:endParaRPr>
          </a:p>
          <a:p>
            <a:pPr marL="12700">
              <a:lnSpc>
                <a:spcPct val="100000"/>
              </a:lnSpc>
              <a:spcBef>
                <a:spcPts val="60"/>
              </a:spcBef>
            </a:pPr>
            <a:r>
              <a:rPr sz="1000" b="1" spc="-5" dirty="0">
                <a:solidFill>
                  <a:srgbClr val="FFFFFF"/>
                </a:solidFill>
                <a:latin typeface="Century Gothic"/>
                <a:cs typeface="Century Gothic"/>
              </a:rPr>
              <a:t>1,</a:t>
            </a:r>
            <a:r>
              <a:rPr lang="fr-FR" sz="1000" b="1" spc="-5" dirty="0">
                <a:solidFill>
                  <a:srgbClr val="FFFFFF"/>
                </a:solidFill>
                <a:latin typeface="Century Gothic"/>
                <a:cs typeface="Century Gothic"/>
              </a:rPr>
              <a:t>16</a:t>
            </a:r>
            <a:r>
              <a:rPr sz="1000" b="1" spc="-30" dirty="0">
                <a:solidFill>
                  <a:srgbClr val="FFFFFF"/>
                </a:solidFill>
                <a:latin typeface="Century Gothic"/>
                <a:cs typeface="Century Gothic"/>
              </a:rPr>
              <a:t> </a:t>
            </a:r>
            <a:r>
              <a:rPr sz="1000" b="1" spc="-5" dirty="0">
                <a:solidFill>
                  <a:srgbClr val="FFFFFF"/>
                </a:solidFill>
                <a:latin typeface="Century Gothic"/>
                <a:cs typeface="Century Gothic"/>
              </a:rPr>
              <a:t>billion</a:t>
            </a:r>
            <a:r>
              <a:rPr sz="1000" b="1" spc="-35" dirty="0">
                <a:solidFill>
                  <a:srgbClr val="FFFFFF"/>
                </a:solidFill>
                <a:latin typeface="Century Gothic"/>
                <a:cs typeface="Century Gothic"/>
              </a:rPr>
              <a:t> </a:t>
            </a:r>
            <a:r>
              <a:rPr sz="1000" b="1" dirty="0">
                <a:solidFill>
                  <a:srgbClr val="FFFFFF"/>
                </a:solidFill>
                <a:latin typeface="Century Gothic"/>
                <a:cs typeface="Century Gothic"/>
              </a:rPr>
              <a:t>€</a:t>
            </a:r>
            <a:endParaRPr sz="1000" dirty="0">
              <a:latin typeface="Century Gothic"/>
              <a:cs typeface="Century Gothic"/>
            </a:endParaRPr>
          </a:p>
          <a:p>
            <a:pPr marL="12700">
              <a:lnSpc>
                <a:spcPct val="100000"/>
              </a:lnSpc>
              <a:spcBef>
                <a:spcPts val="509"/>
              </a:spcBef>
            </a:pPr>
            <a:r>
              <a:rPr sz="700" dirty="0">
                <a:solidFill>
                  <a:srgbClr val="FFFFFF"/>
                </a:solidFill>
                <a:latin typeface="Century Gothic"/>
                <a:cs typeface="Century Gothic"/>
              </a:rPr>
              <a:t>Number</a:t>
            </a:r>
            <a:r>
              <a:rPr sz="700" spc="-40" dirty="0">
                <a:solidFill>
                  <a:srgbClr val="FFFFFF"/>
                </a:solidFill>
                <a:latin typeface="Century Gothic"/>
                <a:cs typeface="Century Gothic"/>
              </a:rPr>
              <a:t> </a:t>
            </a:r>
            <a:r>
              <a:rPr sz="700" dirty="0">
                <a:solidFill>
                  <a:srgbClr val="FFFFFF"/>
                </a:solidFill>
                <a:latin typeface="Century Gothic"/>
                <a:cs typeface="Century Gothic"/>
              </a:rPr>
              <a:t>of</a:t>
            </a:r>
            <a:r>
              <a:rPr sz="700" spc="-40" dirty="0">
                <a:solidFill>
                  <a:srgbClr val="FFFFFF"/>
                </a:solidFill>
                <a:latin typeface="Century Gothic"/>
                <a:cs typeface="Century Gothic"/>
              </a:rPr>
              <a:t> </a:t>
            </a:r>
            <a:r>
              <a:rPr sz="700" dirty="0">
                <a:solidFill>
                  <a:srgbClr val="FFFFFF"/>
                </a:solidFill>
                <a:latin typeface="Century Gothic"/>
                <a:cs typeface="Century Gothic"/>
              </a:rPr>
              <a:t>employees</a:t>
            </a:r>
            <a:endParaRPr sz="700" dirty="0">
              <a:latin typeface="Century Gothic"/>
              <a:cs typeface="Century Gothic"/>
            </a:endParaRPr>
          </a:p>
          <a:p>
            <a:pPr marL="12700">
              <a:lnSpc>
                <a:spcPct val="100000"/>
              </a:lnSpc>
              <a:spcBef>
                <a:spcPts val="60"/>
              </a:spcBef>
            </a:pPr>
            <a:r>
              <a:rPr sz="1000" b="1" spc="-5" dirty="0">
                <a:solidFill>
                  <a:srgbClr val="FFFFFF"/>
                </a:solidFill>
                <a:latin typeface="Century Gothic"/>
                <a:cs typeface="Century Gothic"/>
              </a:rPr>
              <a:t>16,</a:t>
            </a:r>
            <a:r>
              <a:rPr lang="fr-FR" sz="1000" b="1" spc="-5" dirty="0">
                <a:solidFill>
                  <a:srgbClr val="FFFFFF"/>
                </a:solidFill>
                <a:latin typeface="Century Gothic"/>
                <a:cs typeface="Century Gothic"/>
              </a:rPr>
              <a:t>2</a:t>
            </a:r>
            <a:r>
              <a:rPr sz="1000" b="1" spc="-5" dirty="0">
                <a:solidFill>
                  <a:srgbClr val="FFFFFF"/>
                </a:solidFill>
                <a:latin typeface="Century Gothic"/>
                <a:cs typeface="Century Gothic"/>
              </a:rPr>
              <a:t>00</a:t>
            </a:r>
            <a:endParaRPr sz="1000" dirty="0">
              <a:latin typeface="Century Gothic"/>
              <a:cs typeface="Century Gothic"/>
            </a:endParaRPr>
          </a:p>
        </p:txBody>
      </p:sp>
      <p:sp>
        <p:nvSpPr>
          <p:cNvPr id="36" name="object 36"/>
          <p:cNvSpPr txBox="1"/>
          <p:nvPr/>
        </p:nvSpPr>
        <p:spPr>
          <a:xfrm>
            <a:off x="2309299" y="1103551"/>
            <a:ext cx="1327150" cy="664845"/>
          </a:xfrm>
          <a:prstGeom prst="rect">
            <a:avLst/>
          </a:prstGeom>
        </p:spPr>
        <p:txBody>
          <a:bodyPr vert="horz" wrap="square" lIns="0" tIns="57785" rIns="0" bIns="0" rtlCol="0">
            <a:spAutoFit/>
          </a:bodyPr>
          <a:lstStyle/>
          <a:p>
            <a:pPr marL="12700">
              <a:lnSpc>
                <a:spcPct val="100000"/>
              </a:lnSpc>
              <a:spcBef>
                <a:spcPts val="455"/>
              </a:spcBef>
            </a:pPr>
            <a:r>
              <a:rPr sz="800" b="1" dirty="0">
                <a:solidFill>
                  <a:srgbClr val="FFFFFF"/>
                </a:solidFill>
                <a:latin typeface="Century Gothic"/>
                <a:cs typeface="Century Gothic"/>
              </a:rPr>
              <a:t>Large</a:t>
            </a:r>
            <a:r>
              <a:rPr sz="800" b="1" spc="-50" dirty="0">
                <a:solidFill>
                  <a:srgbClr val="FFFFFF"/>
                </a:solidFill>
                <a:latin typeface="Century Gothic"/>
                <a:cs typeface="Century Gothic"/>
              </a:rPr>
              <a:t> </a:t>
            </a:r>
            <a:r>
              <a:rPr sz="800" b="1" spc="-5" dirty="0">
                <a:solidFill>
                  <a:srgbClr val="FFFFFF"/>
                </a:solidFill>
                <a:latin typeface="Century Gothic"/>
                <a:cs typeface="Century Gothic"/>
              </a:rPr>
              <a:t>enterprise</a:t>
            </a:r>
            <a:endParaRPr sz="800">
              <a:latin typeface="Century Gothic"/>
              <a:cs typeface="Century Gothic"/>
            </a:endParaRPr>
          </a:p>
          <a:p>
            <a:pPr marL="15875" marR="5080">
              <a:lnSpc>
                <a:spcPts val="800"/>
              </a:lnSpc>
              <a:spcBef>
                <a:spcPts val="515"/>
              </a:spcBef>
            </a:pPr>
            <a:r>
              <a:rPr sz="800" b="1" dirty="0">
                <a:solidFill>
                  <a:srgbClr val="FFFFFF"/>
                </a:solidFill>
                <a:latin typeface="Century Gothic"/>
                <a:cs typeface="Century Gothic"/>
              </a:rPr>
              <a:t>Export </a:t>
            </a:r>
            <a:r>
              <a:rPr sz="800" b="1" spc="-5" dirty="0">
                <a:solidFill>
                  <a:srgbClr val="FFFFFF"/>
                </a:solidFill>
                <a:latin typeface="Century Gothic"/>
                <a:cs typeface="Century Gothic"/>
              </a:rPr>
              <a:t>areas: </a:t>
            </a:r>
            <a:r>
              <a:rPr sz="800" spc="-5" dirty="0">
                <a:solidFill>
                  <a:srgbClr val="FFFFFF"/>
                </a:solidFill>
                <a:latin typeface="Century Gothic"/>
                <a:cs typeface="Century Gothic"/>
              </a:rPr>
              <a:t>Europe 23%, </a:t>
            </a:r>
            <a:r>
              <a:rPr sz="800" dirty="0">
                <a:solidFill>
                  <a:srgbClr val="FFFFFF"/>
                </a:solidFill>
                <a:latin typeface="Century Gothic"/>
                <a:cs typeface="Century Gothic"/>
              </a:rPr>
              <a:t> Middle-East</a:t>
            </a:r>
            <a:r>
              <a:rPr sz="800" spc="-30" dirty="0">
                <a:solidFill>
                  <a:srgbClr val="FFFFFF"/>
                </a:solidFill>
                <a:latin typeface="Century Gothic"/>
                <a:cs typeface="Century Gothic"/>
              </a:rPr>
              <a:t> </a:t>
            </a:r>
            <a:r>
              <a:rPr sz="800" spc="-5" dirty="0">
                <a:solidFill>
                  <a:srgbClr val="FFFFFF"/>
                </a:solidFill>
                <a:latin typeface="Century Gothic"/>
                <a:cs typeface="Century Gothic"/>
              </a:rPr>
              <a:t>13%,</a:t>
            </a:r>
            <a:r>
              <a:rPr sz="800" spc="-35" dirty="0">
                <a:solidFill>
                  <a:srgbClr val="FFFFFF"/>
                </a:solidFill>
                <a:latin typeface="Century Gothic"/>
                <a:cs typeface="Century Gothic"/>
              </a:rPr>
              <a:t> </a:t>
            </a:r>
            <a:r>
              <a:rPr sz="800" dirty="0">
                <a:solidFill>
                  <a:srgbClr val="FFFFFF"/>
                </a:solidFill>
                <a:latin typeface="Century Gothic"/>
                <a:cs typeface="Century Gothic"/>
              </a:rPr>
              <a:t>Asia</a:t>
            </a:r>
            <a:r>
              <a:rPr sz="800" spc="-30" dirty="0">
                <a:solidFill>
                  <a:srgbClr val="FFFFFF"/>
                </a:solidFill>
                <a:latin typeface="Century Gothic"/>
                <a:cs typeface="Century Gothic"/>
              </a:rPr>
              <a:t> </a:t>
            </a:r>
            <a:r>
              <a:rPr sz="800" spc="-5" dirty="0">
                <a:solidFill>
                  <a:srgbClr val="FFFFFF"/>
                </a:solidFill>
                <a:latin typeface="Century Gothic"/>
                <a:cs typeface="Century Gothic"/>
              </a:rPr>
              <a:t>10%,</a:t>
            </a:r>
            <a:endParaRPr sz="800">
              <a:latin typeface="Century Gothic"/>
              <a:cs typeface="Century Gothic"/>
            </a:endParaRPr>
          </a:p>
          <a:p>
            <a:pPr marL="15875">
              <a:lnSpc>
                <a:spcPts val="720"/>
              </a:lnSpc>
            </a:pPr>
            <a:r>
              <a:rPr sz="800" dirty="0">
                <a:solidFill>
                  <a:srgbClr val="FFFFFF"/>
                </a:solidFill>
                <a:latin typeface="Century Gothic"/>
                <a:cs typeface="Century Gothic"/>
              </a:rPr>
              <a:t>Africa</a:t>
            </a:r>
            <a:r>
              <a:rPr sz="800" spc="-25" dirty="0">
                <a:solidFill>
                  <a:srgbClr val="FFFFFF"/>
                </a:solidFill>
                <a:latin typeface="Century Gothic"/>
                <a:cs typeface="Century Gothic"/>
              </a:rPr>
              <a:t> </a:t>
            </a:r>
            <a:r>
              <a:rPr sz="800" spc="-5" dirty="0">
                <a:solidFill>
                  <a:srgbClr val="FFFFFF"/>
                </a:solidFill>
                <a:latin typeface="Century Gothic"/>
                <a:cs typeface="Century Gothic"/>
              </a:rPr>
              <a:t>7%,</a:t>
            </a:r>
            <a:r>
              <a:rPr sz="800" spc="-25" dirty="0">
                <a:solidFill>
                  <a:srgbClr val="FFFFFF"/>
                </a:solidFill>
                <a:latin typeface="Century Gothic"/>
                <a:cs typeface="Century Gothic"/>
              </a:rPr>
              <a:t> </a:t>
            </a:r>
            <a:r>
              <a:rPr sz="800" dirty="0">
                <a:solidFill>
                  <a:srgbClr val="FFFFFF"/>
                </a:solidFill>
                <a:latin typeface="Century Gothic"/>
                <a:cs typeface="Century Gothic"/>
              </a:rPr>
              <a:t>Americas</a:t>
            </a:r>
            <a:r>
              <a:rPr sz="800" spc="-25" dirty="0">
                <a:solidFill>
                  <a:srgbClr val="FFFFFF"/>
                </a:solidFill>
                <a:latin typeface="Century Gothic"/>
                <a:cs typeface="Century Gothic"/>
              </a:rPr>
              <a:t> </a:t>
            </a:r>
            <a:r>
              <a:rPr sz="800" spc="-5" dirty="0">
                <a:solidFill>
                  <a:srgbClr val="FFFFFF"/>
                </a:solidFill>
                <a:latin typeface="Century Gothic"/>
                <a:cs typeface="Century Gothic"/>
              </a:rPr>
              <a:t>6%,</a:t>
            </a:r>
            <a:endParaRPr sz="800">
              <a:latin typeface="Century Gothic"/>
              <a:cs typeface="Century Gothic"/>
            </a:endParaRPr>
          </a:p>
          <a:p>
            <a:pPr marL="15875">
              <a:lnSpc>
                <a:spcPts val="880"/>
              </a:lnSpc>
            </a:pPr>
            <a:r>
              <a:rPr sz="800" dirty="0">
                <a:solidFill>
                  <a:srgbClr val="FFFFFF"/>
                </a:solidFill>
                <a:latin typeface="Century Gothic"/>
                <a:cs typeface="Century Gothic"/>
              </a:rPr>
              <a:t>Australia-Oceania</a:t>
            </a:r>
            <a:r>
              <a:rPr sz="800" spc="-50" dirty="0">
                <a:solidFill>
                  <a:srgbClr val="FFFFFF"/>
                </a:solidFill>
                <a:latin typeface="Century Gothic"/>
                <a:cs typeface="Century Gothic"/>
              </a:rPr>
              <a:t> </a:t>
            </a:r>
            <a:r>
              <a:rPr sz="800" spc="-5" dirty="0">
                <a:solidFill>
                  <a:srgbClr val="FFFFFF"/>
                </a:solidFill>
                <a:latin typeface="Century Gothic"/>
                <a:cs typeface="Century Gothic"/>
              </a:rPr>
              <a:t>3%</a:t>
            </a:r>
            <a:endParaRPr sz="800">
              <a:latin typeface="Century Gothic"/>
              <a:cs typeface="Century Gothic"/>
            </a:endParaRPr>
          </a:p>
        </p:txBody>
      </p:sp>
      <p:sp>
        <p:nvSpPr>
          <p:cNvPr id="37" name="object 37"/>
          <p:cNvSpPr txBox="1"/>
          <p:nvPr/>
        </p:nvSpPr>
        <p:spPr>
          <a:xfrm>
            <a:off x="4102100" y="416884"/>
            <a:ext cx="1763134" cy="243656"/>
          </a:xfrm>
          <a:prstGeom prst="rect">
            <a:avLst/>
          </a:prstGeom>
        </p:spPr>
        <p:txBody>
          <a:bodyPr vert="horz" wrap="square" lIns="0" tIns="12700" rIns="0" bIns="0" rtlCol="0">
            <a:spAutoFit/>
          </a:bodyPr>
          <a:lstStyle/>
          <a:p>
            <a:pPr marL="12700">
              <a:lnSpc>
                <a:spcPts val="950"/>
              </a:lnSpc>
              <a:spcBef>
                <a:spcPts val="100"/>
              </a:spcBef>
            </a:pPr>
            <a:r>
              <a:rPr sz="800" b="1" dirty="0">
                <a:solidFill>
                  <a:srgbClr val="FFFFFF"/>
                </a:solidFill>
                <a:latin typeface="Century Gothic"/>
                <a:cs typeface="Century Gothic"/>
              </a:rPr>
              <a:t>François MARTIN</a:t>
            </a:r>
            <a:r>
              <a:rPr lang="fr-FR" sz="800" b="1" dirty="0">
                <a:latin typeface="Century Gothic"/>
                <a:cs typeface="Century Gothic"/>
              </a:rPr>
              <a:t> </a:t>
            </a:r>
            <a:r>
              <a:rPr sz="700" dirty="0">
                <a:solidFill>
                  <a:srgbClr val="FFFFFF"/>
                </a:solidFill>
                <a:latin typeface="Century Gothic"/>
                <a:cs typeface="Century Gothic"/>
              </a:rPr>
              <a:t>Managing </a:t>
            </a:r>
            <a:r>
              <a:rPr sz="700" spc="-5" dirty="0">
                <a:solidFill>
                  <a:srgbClr val="FFFFFF"/>
                </a:solidFill>
                <a:latin typeface="Century Gothic"/>
                <a:cs typeface="Century Gothic"/>
              </a:rPr>
              <a:t>Director</a:t>
            </a:r>
            <a:endParaRPr lang="fr-FR" sz="700" spc="-5" dirty="0">
              <a:solidFill>
                <a:srgbClr val="FFFFFF"/>
              </a:solidFill>
              <a:latin typeface="Century Gothic"/>
              <a:cs typeface="Century Gothic"/>
            </a:endParaRPr>
          </a:p>
          <a:p>
            <a:pPr marL="12700">
              <a:lnSpc>
                <a:spcPts val="830"/>
              </a:lnSpc>
            </a:pPr>
            <a:r>
              <a:rPr lang="fr-FR" sz="700" b="1" spc="-5" dirty="0">
                <a:solidFill>
                  <a:srgbClr val="FFFFFF"/>
                </a:solidFill>
                <a:latin typeface="Century Gothic"/>
                <a:cs typeface="Century Gothic"/>
              </a:rPr>
              <a:t>Maxime GROS - </a:t>
            </a:r>
            <a:endParaRPr sz="700" b="1" dirty="0">
              <a:latin typeface="Century Gothic"/>
              <a:cs typeface="Century Gothic"/>
            </a:endParaRPr>
          </a:p>
        </p:txBody>
      </p:sp>
      <p:sp>
        <p:nvSpPr>
          <p:cNvPr id="38" name="object 38"/>
          <p:cNvSpPr txBox="1"/>
          <p:nvPr/>
        </p:nvSpPr>
        <p:spPr>
          <a:xfrm>
            <a:off x="4163265" y="808345"/>
            <a:ext cx="695325" cy="132080"/>
          </a:xfrm>
          <a:prstGeom prst="rect">
            <a:avLst/>
          </a:prstGeom>
        </p:spPr>
        <p:txBody>
          <a:bodyPr vert="horz" wrap="square" lIns="0" tIns="12700" rIns="0" bIns="0" rtlCol="0">
            <a:spAutoFit/>
          </a:bodyPr>
          <a:lstStyle/>
          <a:p>
            <a:pPr marL="12700">
              <a:lnSpc>
                <a:spcPct val="100000"/>
              </a:lnSpc>
              <a:spcBef>
                <a:spcPts val="100"/>
              </a:spcBef>
            </a:pPr>
            <a:r>
              <a:rPr sz="700" dirty="0">
                <a:solidFill>
                  <a:srgbClr val="FFFFFF"/>
                </a:solidFill>
                <a:latin typeface="Century Gothic"/>
                <a:cs typeface="Century Gothic"/>
              </a:rPr>
              <a:t>+33</a:t>
            </a:r>
            <a:r>
              <a:rPr sz="700" spc="-25" dirty="0">
                <a:solidFill>
                  <a:srgbClr val="FFFFFF"/>
                </a:solidFill>
                <a:latin typeface="Century Gothic"/>
                <a:cs typeface="Century Gothic"/>
              </a:rPr>
              <a:t> </a:t>
            </a:r>
            <a:r>
              <a:rPr sz="700" spc="-5" dirty="0">
                <a:solidFill>
                  <a:srgbClr val="FFFFFF"/>
                </a:solidFill>
                <a:latin typeface="Century Gothic"/>
                <a:cs typeface="Century Gothic"/>
              </a:rPr>
              <a:t>149</a:t>
            </a:r>
            <a:r>
              <a:rPr sz="700" spc="-30" dirty="0">
                <a:solidFill>
                  <a:srgbClr val="FFFFFF"/>
                </a:solidFill>
                <a:latin typeface="Century Gothic"/>
                <a:cs typeface="Century Gothic"/>
              </a:rPr>
              <a:t> </a:t>
            </a:r>
            <a:r>
              <a:rPr sz="700" spc="-5" dirty="0">
                <a:solidFill>
                  <a:srgbClr val="FFFFFF"/>
                </a:solidFill>
                <a:latin typeface="Century Gothic"/>
                <a:cs typeface="Century Gothic"/>
              </a:rPr>
              <a:t>201</a:t>
            </a:r>
            <a:r>
              <a:rPr sz="700" spc="-30" dirty="0">
                <a:solidFill>
                  <a:srgbClr val="FFFFFF"/>
                </a:solidFill>
                <a:latin typeface="Century Gothic"/>
                <a:cs typeface="Century Gothic"/>
              </a:rPr>
              <a:t> </a:t>
            </a:r>
            <a:r>
              <a:rPr sz="700" spc="-5" dirty="0">
                <a:solidFill>
                  <a:srgbClr val="FFFFFF"/>
                </a:solidFill>
                <a:latin typeface="Century Gothic"/>
                <a:cs typeface="Century Gothic"/>
              </a:rPr>
              <a:t>670</a:t>
            </a:r>
            <a:endParaRPr sz="700">
              <a:latin typeface="Century Gothic"/>
              <a:cs typeface="Century Gothic"/>
            </a:endParaRPr>
          </a:p>
        </p:txBody>
      </p:sp>
      <p:sp>
        <p:nvSpPr>
          <p:cNvPr id="39" name="object 39"/>
          <p:cNvSpPr txBox="1"/>
          <p:nvPr/>
        </p:nvSpPr>
        <p:spPr>
          <a:xfrm>
            <a:off x="1460433" y="1882775"/>
            <a:ext cx="2840355" cy="523875"/>
          </a:xfrm>
          <a:prstGeom prst="rect">
            <a:avLst/>
          </a:prstGeom>
        </p:spPr>
        <p:txBody>
          <a:bodyPr vert="horz" wrap="square" lIns="0" tIns="12700" rIns="0" bIns="0" rtlCol="0">
            <a:spAutoFit/>
          </a:bodyPr>
          <a:lstStyle/>
          <a:p>
            <a:pPr marL="38100">
              <a:lnSpc>
                <a:spcPts val="760"/>
              </a:lnSpc>
              <a:spcBef>
                <a:spcPts val="100"/>
              </a:spcBef>
            </a:pPr>
            <a:r>
              <a:rPr sz="1000" b="1" dirty="0">
                <a:solidFill>
                  <a:srgbClr val="FFFFFF"/>
                </a:solidFill>
                <a:latin typeface="Century Gothic"/>
                <a:cs typeface="Century Gothic"/>
              </a:rPr>
              <a:t>CONSTRUCTION</a:t>
            </a:r>
            <a:r>
              <a:rPr sz="1000" b="1" spc="240" dirty="0">
                <a:solidFill>
                  <a:srgbClr val="FFFFFF"/>
                </a:solidFill>
                <a:latin typeface="Century Gothic"/>
                <a:cs typeface="Century Gothic"/>
              </a:rPr>
              <a:t> </a:t>
            </a:r>
            <a:r>
              <a:rPr sz="1000" b="1" dirty="0">
                <a:solidFill>
                  <a:srgbClr val="FFFFFF"/>
                </a:solidFill>
                <a:latin typeface="Century Gothic"/>
                <a:cs typeface="Century Gothic"/>
              </a:rPr>
              <a:t>ENGINEERING</a:t>
            </a:r>
            <a:r>
              <a:rPr sz="1000" b="1" spc="-20" dirty="0">
                <a:solidFill>
                  <a:srgbClr val="FFFFFF"/>
                </a:solidFill>
                <a:latin typeface="Century Gothic"/>
                <a:cs typeface="Century Gothic"/>
              </a:rPr>
              <a:t> </a:t>
            </a:r>
            <a:r>
              <a:rPr sz="1000" b="1" dirty="0">
                <a:solidFill>
                  <a:srgbClr val="FFFFFF"/>
                </a:solidFill>
                <a:latin typeface="Century Gothic"/>
                <a:cs typeface="Century Gothic"/>
              </a:rPr>
              <a:t>-</a:t>
            </a:r>
            <a:r>
              <a:rPr sz="1000" b="1" spc="-20" dirty="0">
                <a:solidFill>
                  <a:srgbClr val="FFFFFF"/>
                </a:solidFill>
                <a:latin typeface="Century Gothic"/>
                <a:cs typeface="Century Gothic"/>
              </a:rPr>
              <a:t> </a:t>
            </a:r>
            <a:r>
              <a:rPr sz="1000" b="1" dirty="0">
                <a:solidFill>
                  <a:srgbClr val="FFFFFF"/>
                </a:solidFill>
                <a:latin typeface="Century Gothic"/>
                <a:cs typeface="Century Gothic"/>
              </a:rPr>
              <a:t>OPERATIONS</a:t>
            </a:r>
            <a:endParaRPr sz="1000" dirty="0">
              <a:latin typeface="Century Gothic"/>
              <a:cs typeface="Century Gothic"/>
            </a:endParaRPr>
          </a:p>
          <a:p>
            <a:pPr marL="831215" indent="-252729">
              <a:lnSpc>
                <a:spcPts val="3160"/>
              </a:lnSpc>
              <a:buSzPct val="300000"/>
              <a:buFont typeface="Century Gothic"/>
              <a:buChar char="•"/>
              <a:tabLst>
                <a:tab pos="831850" algn="l"/>
              </a:tabLst>
            </a:pPr>
            <a:r>
              <a:rPr sz="1000" b="1" dirty="0">
                <a:solidFill>
                  <a:srgbClr val="EF3A47"/>
                </a:solidFill>
                <a:latin typeface="Century Gothic"/>
                <a:cs typeface="Century Gothic"/>
              </a:rPr>
              <a:t>SHORT</a:t>
            </a:r>
            <a:r>
              <a:rPr sz="1000" b="1" spc="-50" dirty="0">
                <a:solidFill>
                  <a:srgbClr val="EF3A47"/>
                </a:solidFill>
                <a:latin typeface="Century Gothic"/>
                <a:cs typeface="Century Gothic"/>
              </a:rPr>
              <a:t> </a:t>
            </a:r>
            <a:r>
              <a:rPr sz="1000" b="1" spc="-5" dirty="0">
                <a:solidFill>
                  <a:srgbClr val="EF3A47"/>
                </a:solidFill>
                <a:latin typeface="Century Gothic"/>
                <a:cs typeface="Century Gothic"/>
              </a:rPr>
              <a:t>PROFILE</a:t>
            </a:r>
            <a:endParaRPr sz="1000" dirty="0">
              <a:latin typeface="Century Gothic"/>
              <a:cs typeface="Century Gothic"/>
            </a:endParaRPr>
          </a:p>
        </p:txBody>
      </p:sp>
      <p:grpSp>
        <p:nvGrpSpPr>
          <p:cNvPr id="5" name="Groupe 4">
            <a:extLst>
              <a:ext uri="{FF2B5EF4-FFF2-40B4-BE49-F238E27FC236}">
                <a16:creationId xmlns:a16="http://schemas.microsoft.com/office/drawing/2014/main" id="{D2A8D276-9EB2-4814-9796-E16484533761}"/>
              </a:ext>
            </a:extLst>
          </p:cNvPr>
          <p:cNvGrpSpPr/>
          <p:nvPr/>
        </p:nvGrpSpPr>
        <p:grpSpPr>
          <a:xfrm>
            <a:off x="0" y="6959040"/>
            <a:ext cx="1858709" cy="882294"/>
            <a:chOff x="13528" y="7297278"/>
            <a:chExt cx="1858709" cy="882294"/>
          </a:xfrm>
        </p:grpSpPr>
        <p:sp>
          <p:nvSpPr>
            <p:cNvPr id="26" name="object 26"/>
            <p:cNvSpPr txBox="1"/>
            <p:nvPr/>
          </p:nvSpPr>
          <p:spPr>
            <a:xfrm>
              <a:off x="167262" y="7348575"/>
              <a:ext cx="1704975" cy="830997"/>
            </a:xfrm>
            <a:prstGeom prst="rect">
              <a:avLst/>
            </a:prstGeom>
          </p:spPr>
          <p:txBody>
            <a:bodyPr vert="horz" wrap="square" lIns="0" tIns="22860" rIns="0" bIns="0" rtlCol="0">
              <a:spAutoFit/>
            </a:bodyPr>
            <a:lstStyle/>
            <a:p>
              <a:pPr marL="408305" marR="564515">
                <a:lnSpc>
                  <a:spcPts val="900"/>
                </a:lnSpc>
                <a:spcBef>
                  <a:spcPts val="180"/>
                </a:spcBef>
              </a:pPr>
              <a:r>
                <a:rPr sz="800" b="1" dirty="0">
                  <a:solidFill>
                    <a:srgbClr val="498B80"/>
                  </a:solidFill>
                  <a:latin typeface="Century Gothic"/>
                  <a:cs typeface="Century Gothic"/>
                </a:rPr>
                <a:t>STRATEGY AND  EXPECTATION</a:t>
              </a:r>
              <a:endParaRPr sz="800" dirty="0">
                <a:latin typeface="Century Gothic"/>
                <a:cs typeface="Century Gothic"/>
              </a:endParaRPr>
            </a:p>
            <a:p>
              <a:pPr marL="12700" marR="5080" algn="just">
                <a:lnSpc>
                  <a:spcPts val="900"/>
                </a:lnSpc>
                <a:spcBef>
                  <a:spcPts val="850"/>
                </a:spcBef>
              </a:pPr>
              <a:r>
                <a:rPr sz="800" spc="-5" dirty="0">
                  <a:latin typeface="Century Gothic"/>
                  <a:cs typeface="Century Gothic"/>
                </a:rPr>
                <a:t>Egis strategy aims </a:t>
              </a:r>
              <a:r>
                <a:rPr sz="800" dirty="0">
                  <a:latin typeface="Century Gothic"/>
                  <a:cs typeface="Century Gothic"/>
                </a:rPr>
                <a:t>to </a:t>
              </a:r>
              <a:r>
                <a:rPr sz="800" spc="-5" dirty="0">
                  <a:latin typeface="Century Gothic"/>
                  <a:cs typeface="Century Gothic"/>
                </a:rPr>
                <a:t>participate in </a:t>
              </a:r>
              <a:r>
                <a:rPr sz="800" spc="-210" dirty="0">
                  <a:latin typeface="Century Gothic"/>
                  <a:cs typeface="Century Gothic"/>
                </a:rPr>
                <a:t> </a:t>
              </a:r>
              <a:r>
                <a:rPr sz="800" dirty="0">
                  <a:latin typeface="Century Gothic"/>
                  <a:cs typeface="Century Gothic"/>
                </a:rPr>
                <a:t>the</a:t>
              </a:r>
              <a:r>
                <a:rPr sz="800" spc="-35" dirty="0">
                  <a:latin typeface="Century Gothic"/>
                  <a:cs typeface="Century Gothic"/>
                </a:rPr>
                <a:t> </a:t>
              </a:r>
              <a:r>
                <a:rPr lang="fr-FR" sz="800" spc="-5" dirty="0" err="1">
                  <a:latin typeface="Century Gothic"/>
                  <a:cs typeface="Century Gothic"/>
                </a:rPr>
                <a:t>next</a:t>
              </a:r>
              <a:r>
                <a:rPr lang="fr-FR" sz="800" spc="-5" dirty="0">
                  <a:latin typeface="Century Gothic"/>
                  <a:cs typeface="Century Gothic"/>
                </a:rPr>
                <a:t> STEP of the UK fusion plan </a:t>
              </a:r>
              <a:r>
                <a:rPr sz="800" spc="-5" dirty="0">
                  <a:latin typeface="Century Gothic"/>
                  <a:cs typeface="Century Gothic"/>
                </a:rPr>
                <a:t>with</a:t>
              </a:r>
              <a:r>
                <a:rPr sz="800" spc="-30" dirty="0">
                  <a:latin typeface="Century Gothic"/>
                  <a:cs typeface="Century Gothic"/>
                </a:rPr>
                <a:t> </a:t>
              </a:r>
              <a:r>
                <a:rPr sz="800" dirty="0">
                  <a:latin typeface="Century Gothic"/>
                  <a:cs typeface="Century Gothic"/>
                </a:rPr>
                <a:t>the</a:t>
              </a:r>
              <a:r>
                <a:rPr sz="800" spc="-35" dirty="0">
                  <a:latin typeface="Century Gothic"/>
                  <a:cs typeface="Century Gothic"/>
                </a:rPr>
                <a:t> </a:t>
              </a:r>
              <a:r>
                <a:rPr sz="800" spc="-5" dirty="0">
                  <a:latin typeface="Century Gothic"/>
                  <a:cs typeface="Century Gothic"/>
                </a:rPr>
                <a:t>support</a:t>
              </a:r>
              <a:r>
                <a:rPr sz="800" spc="-30" dirty="0">
                  <a:latin typeface="Century Gothic"/>
                  <a:cs typeface="Century Gothic"/>
                </a:rPr>
                <a:t> </a:t>
              </a:r>
              <a:r>
                <a:rPr sz="800" dirty="0">
                  <a:latin typeface="Century Gothic"/>
                  <a:cs typeface="Century Gothic"/>
                </a:rPr>
                <a:t>of </a:t>
              </a:r>
              <a:r>
                <a:rPr sz="800" spc="-210" dirty="0">
                  <a:latin typeface="Century Gothic"/>
                  <a:cs typeface="Century Gothic"/>
                </a:rPr>
                <a:t> </a:t>
              </a:r>
              <a:r>
                <a:rPr sz="800" spc="-5" dirty="0">
                  <a:latin typeface="Century Gothic"/>
                  <a:cs typeface="Century Gothic"/>
                </a:rPr>
                <a:t>loca</a:t>
              </a:r>
              <a:r>
                <a:rPr sz="800" dirty="0">
                  <a:latin typeface="Century Gothic"/>
                  <a:cs typeface="Century Gothic"/>
                </a:rPr>
                <a:t>l</a:t>
              </a:r>
              <a:r>
                <a:rPr sz="800" spc="-85" dirty="0">
                  <a:latin typeface="Century Gothic"/>
                  <a:cs typeface="Century Gothic"/>
                </a:rPr>
                <a:t> </a:t>
              </a:r>
              <a:r>
                <a:rPr sz="800" spc="-5" dirty="0">
                  <a:latin typeface="Century Gothic"/>
                  <a:cs typeface="Century Gothic"/>
                </a:rPr>
                <a:t>partnershi</a:t>
              </a:r>
              <a:r>
                <a:rPr sz="800" dirty="0">
                  <a:latin typeface="Century Gothic"/>
                  <a:cs typeface="Century Gothic"/>
                </a:rPr>
                <a:t>p</a:t>
              </a:r>
              <a:r>
                <a:rPr sz="800" spc="-85" dirty="0">
                  <a:latin typeface="Century Gothic"/>
                  <a:cs typeface="Century Gothic"/>
                </a:rPr>
                <a:t> </a:t>
              </a:r>
              <a:r>
                <a:rPr sz="800" dirty="0">
                  <a:latin typeface="Century Gothic"/>
                  <a:cs typeface="Century Gothic"/>
                </a:rPr>
                <a:t>to</a:t>
              </a:r>
              <a:r>
                <a:rPr sz="800" spc="-85" dirty="0">
                  <a:latin typeface="Century Gothic"/>
                  <a:cs typeface="Century Gothic"/>
                </a:rPr>
                <a:t> </a:t>
              </a:r>
              <a:r>
                <a:rPr sz="800" spc="-5" dirty="0">
                  <a:latin typeface="Century Gothic"/>
                  <a:cs typeface="Century Gothic"/>
                </a:rPr>
                <a:t>b</a:t>
              </a:r>
              <a:r>
                <a:rPr sz="800" dirty="0">
                  <a:latin typeface="Century Gothic"/>
                  <a:cs typeface="Century Gothic"/>
                </a:rPr>
                <a:t>e</a:t>
              </a:r>
              <a:r>
                <a:rPr sz="800" spc="-85" dirty="0">
                  <a:latin typeface="Century Gothic"/>
                  <a:cs typeface="Century Gothic"/>
                </a:rPr>
                <a:t> </a:t>
              </a:r>
              <a:r>
                <a:rPr sz="800" dirty="0">
                  <a:latin typeface="Century Gothic"/>
                  <a:cs typeface="Century Gothic"/>
                </a:rPr>
                <a:t>developed.</a:t>
              </a:r>
            </a:p>
          </p:txBody>
        </p:sp>
        <p:grpSp>
          <p:nvGrpSpPr>
            <p:cNvPr id="40" name="object 40"/>
            <p:cNvGrpSpPr/>
            <p:nvPr/>
          </p:nvGrpSpPr>
          <p:grpSpPr>
            <a:xfrm>
              <a:off x="13528" y="7297278"/>
              <a:ext cx="483234" cy="289560"/>
              <a:chOff x="-585909" y="7581042"/>
              <a:chExt cx="483234" cy="289560"/>
            </a:xfrm>
          </p:grpSpPr>
          <p:sp>
            <p:nvSpPr>
              <p:cNvPr id="42" name="object 42"/>
              <p:cNvSpPr/>
              <p:nvPr/>
            </p:nvSpPr>
            <p:spPr>
              <a:xfrm>
                <a:off x="-585909" y="7581042"/>
                <a:ext cx="483234" cy="289560"/>
              </a:xfrm>
              <a:custGeom>
                <a:avLst/>
                <a:gdLst/>
                <a:ahLst/>
                <a:cxnLst/>
                <a:rect l="l" t="t" r="r" b="b"/>
                <a:pathLst>
                  <a:path w="483234" h="289559">
                    <a:moveTo>
                      <a:pt x="446996" y="0"/>
                    </a:moveTo>
                    <a:lnTo>
                      <a:pt x="0" y="0"/>
                    </a:lnTo>
                    <a:lnTo>
                      <a:pt x="0" y="289140"/>
                    </a:lnTo>
                    <a:lnTo>
                      <a:pt x="446996" y="289140"/>
                    </a:lnTo>
                    <a:lnTo>
                      <a:pt x="461012" y="286312"/>
                    </a:lnTo>
                    <a:lnTo>
                      <a:pt x="472457" y="278598"/>
                    </a:lnTo>
                    <a:lnTo>
                      <a:pt x="480172" y="267157"/>
                    </a:lnTo>
                    <a:lnTo>
                      <a:pt x="483001" y="253149"/>
                    </a:lnTo>
                    <a:lnTo>
                      <a:pt x="483001" y="36004"/>
                    </a:lnTo>
                    <a:lnTo>
                      <a:pt x="480172" y="21988"/>
                    </a:lnTo>
                    <a:lnTo>
                      <a:pt x="472457" y="10544"/>
                    </a:lnTo>
                    <a:lnTo>
                      <a:pt x="461012" y="2828"/>
                    </a:lnTo>
                    <a:lnTo>
                      <a:pt x="446996" y="0"/>
                    </a:lnTo>
                    <a:close/>
                  </a:path>
                </a:pathLst>
              </a:custGeom>
              <a:solidFill>
                <a:srgbClr val="498B80"/>
              </a:solidFill>
            </p:spPr>
            <p:txBody>
              <a:bodyPr wrap="square" lIns="0" tIns="0" rIns="0" bIns="0" rtlCol="0"/>
              <a:lstStyle/>
              <a:p>
                <a:endParaRPr/>
              </a:p>
            </p:txBody>
          </p:sp>
          <p:pic>
            <p:nvPicPr>
              <p:cNvPr id="43" name="object 43"/>
              <p:cNvPicPr/>
              <p:nvPr/>
            </p:nvPicPr>
            <p:blipFill>
              <a:blip r:embed="rId4" cstate="print"/>
              <a:stretch>
                <a:fillRect/>
              </a:stretch>
            </p:blipFill>
            <p:spPr>
              <a:xfrm>
                <a:off x="-395617" y="7648150"/>
                <a:ext cx="181444" cy="181444"/>
              </a:xfrm>
              <a:prstGeom prst="rect">
                <a:avLst/>
              </a:prstGeom>
            </p:spPr>
          </p:pic>
        </p:grpSp>
      </p:grpSp>
      <p:grpSp>
        <p:nvGrpSpPr>
          <p:cNvPr id="4" name="Groupe 3">
            <a:extLst>
              <a:ext uri="{FF2B5EF4-FFF2-40B4-BE49-F238E27FC236}">
                <a16:creationId xmlns:a16="http://schemas.microsoft.com/office/drawing/2014/main" id="{F288F44B-EA84-45B8-8B81-A385939C1731}"/>
              </a:ext>
            </a:extLst>
          </p:cNvPr>
          <p:cNvGrpSpPr/>
          <p:nvPr/>
        </p:nvGrpSpPr>
        <p:grpSpPr>
          <a:xfrm>
            <a:off x="0" y="4574685"/>
            <a:ext cx="1866522" cy="2138451"/>
            <a:chOff x="6350" y="4991760"/>
            <a:chExt cx="1866522" cy="2138451"/>
          </a:xfrm>
        </p:grpSpPr>
        <p:sp>
          <p:nvSpPr>
            <p:cNvPr id="23" name="object 23"/>
            <p:cNvSpPr txBox="1"/>
            <p:nvPr/>
          </p:nvSpPr>
          <p:spPr>
            <a:xfrm>
              <a:off x="563299" y="5013705"/>
              <a:ext cx="397510" cy="261620"/>
            </a:xfrm>
            <a:prstGeom prst="rect">
              <a:avLst/>
            </a:prstGeom>
          </p:spPr>
          <p:txBody>
            <a:bodyPr vert="horz" wrap="square" lIns="0" tIns="22860" rIns="0" bIns="0" rtlCol="0">
              <a:spAutoFit/>
            </a:bodyPr>
            <a:lstStyle/>
            <a:p>
              <a:pPr marL="12700" marR="5080">
                <a:lnSpc>
                  <a:spcPts val="900"/>
                </a:lnSpc>
                <a:spcBef>
                  <a:spcPts val="180"/>
                </a:spcBef>
              </a:pPr>
              <a:r>
                <a:rPr sz="800" b="1" dirty="0">
                  <a:solidFill>
                    <a:srgbClr val="498B80"/>
                  </a:solidFill>
                  <a:latin typeface="Century Gothic"/>
                  <a:cs typeface="Century Gothic"/>
                </a:rPr>
                <a:t>EGIS IN  EUROPE</a:t>
              </a:r>
              <a:endParaRPr sz="800" dirty="0">
                <a:latin typeface="Century Gothic"/>
                <a:cs typeface="Century Gothic"/>
              </a:endParaRPr>
            </a:p>
          </p:txBody>
        </p:sp>
        <p:sp>
          <p:nvSpPr>
            <p:cNvPr id="24" name="object 24"/>
            <p:cNvSpPr txBox="1"/>
            <p:nvPr/>
          </p:nvSpPr>
          <p:spPr>
            <a:xfrm>
              <a:off x="167262" y="5337606"/>
              <a:ext cx="1705610" cy="147320"/>
            </a:xfrm>
            <a:prstGeom prst="rect">
              <a:avLst/>
            </a:prstGeom>
          </p:spPr>
          <p:txBody>
            <a:bodyPr vert="horz" wrap="square" lIns="0" tIns="12700" rIns="0" bIns="0" rtlCol="0">
              <a:spAutoFit/>
            </a:bodyPr>
            <a:lstStyle/>
            <a:p>
              <a:pPr marL="12700">
                <a:lnSpc>
                  <a:spcPct val="100000"/>
                </a:lnSpc>
                <a:spcBef>
                  <a:spcPts val="100"/>
                </a:spcBef>
              </a:pPr>
              <a:r>
                <a:rPr sz="800" spc="-5" dirty="0">
                  <a:latin typeface="Century Gothic"/>
                  <a:cs typeface="Century Gothic"/>
                </a:rPr>
                <a:t>Egis</a:t>
              </a:r>
              <a:r>
                <a:rPr sz="800" spc="285" dirty="0">
                  <a:latin typeface="Century Gothic"/>
                  <a:cs typeface="Century Gothic"/>
                </a:rPr>
                <a:t> </a:t>
              </a:r>
              <a:r>
                <a:rPr sz="800" spc="-5" dirty="0">
                  <a:latin typeface="Century Gothic"/>
                  <a:cs typeface="Century Gothic"/>
                </a:rPr>
                <a:t>is</a:t>
              </a:r>
              <a:r>
                <a:rPr sz="800" spc="290" dirty="0">
                  <a:latin typeface="Century Gothic"/>
                  <a:cs typeface="Century Gothic"/>
                </a:rPr>
                <a:t> </a:t>
              </a:r>
              <a:r>
                <a:rPr sz="800" spc="-5" dirty="0">
                  <a:latin typeface="Century Gothic"/>
                  <a:cs typeface="Century Gothic"/>
                </a:rPr>
                <a:t>active</a:t>
              </a:r>
              <a:r>
                <a:rPr sz="800" spc="290" dirty="0">
                  <a:latin typeface="Century Gothic"/>
                  <a:cs typeface="Century Gothic"/>
                </a:rPr>
                <a:t> </a:t>
              </a:r>
              <a:r>
                <a:rPr sz="800" spc="-5" dirty="0">
                  <a:latin typeface="Century Gothic"/>
                  <a:cs typeface="Century Gothic"/>
                </a:rPr>
                <a:t>in</a:t>
              </a:r>
              <a:r>
                <a:rPr sz="800" spc="290" dirty="0">
                  <a:latin typeface="Century Gothic"/>
                  <a:cs typeface="Century Gothic"/>
                </a:rPr>
                <a:t> </a:t>
              </a:r>
              <a:r>
                <a:rPr sz="800" spc="-5" dirty="0">
                  <a:latin typeface="Century Gothic"/>
                  <a:cs typeface="Century Gothic"/>
                </a:rPr>
                <a:t>23</a:t>
              </a:r>
              <a:r>
                <a:rPr sz="800" spc="290" dirty="0">
                  <a:latin typeface="Century Gothic"/>
                  <a:cs typeface="Century Gothic"/>
                </a:rPr>
                <a:t> </a:t>
              </a:r>
              <a:r>
                <a:rPr sz="800" dirty="0">
                  <a:latin typeface="Century Gothic"/>
                  <a:cs typeface="Century Gothic"/>
                </a:rPr>
                <a:t>countries</a:t>
              </a:r>
              <a:r>
                <a:rPr sz="800" spc="290" dirty="0">
                  <a:latin typeface="Century Gothic"/>
                  <a:cs typeface="Century Gothic"/>
                </a:rPr>
                <a:t> </a:t>
              </a:r>
              <a:r>
                <a:rPr sz="800" spc="-5" dirty="0">
                  <a:latin typeface="Century Gothic"/>
                  <a:cs typeface="Century Gothic"/>
                </a:rPr>
                <a:t>in</a:t>
              </a:r>
              <a:endParaRPr sz="800">
                <a:latin typeface="Century Gothic"/>
                <a:cs typeface="Century Gothic"/>
              </a:endParaRPr>
            </a:p>
          </p:txBody>
        </p:sp>
        <p:sp>
          <p:nvSpPr>
            <p:cNvPr id="25" name="object 25"/>
            <p:cNvSpPr txBox="1"/>
            <p:nvPr/>
          </p:nvSpPr>
          <p:spPr>
            <a:xfrm>
              <a:off x="167262" y="5439206"/>
              <a:ext cx="1705610" cy="1691005"/>
            </a:xfrm>
            <a:prstGeom prst="rect">
              <a:avLst/>
            </a:prstGeom>
          </p:spPr>
          <p:txBody>
            <a:bodyPr vert="horz" wrap="square" lIns="0" tIns="33019" rIns="0" bIns="0" rtlCol="0">
              <a:spAutoFit/>
            </a:bodyPr>
            <a:lstStyle/>
            <a:p>
              <a:pPr marL="12700" marR="5080" algn="just">
                <a:lnSpc>
                  <a:spcPts val="800"/>
                </a:lnSpc>
                <a:spcBef>
                  <a:spcPts val="259"/>
                </a:spcBef>
              </a:pPr>
              <a:r>
                <a:rPr sz="800" spc="-5" dirty="0">
                  <a:latin typeface="Century Gothic"/>
                  <a:cs typeface="Century Gothic"/>
                </a:rPr>
                <a:t>Europe,</a:t>
              </a:r>
              <a:r>
                <a:rPr sz="800" spc="215" dirty="0">
                  <a:latin typeface="Century Gothic"/>
                  <a:cs typeface="Century Gothic"/>
                </a:rPr>
                <a:t> </a:t>
              </a:r>
              <a:r>
                <a:rPr sz="800" spc="-5" dirty="0">
                  <a:latin typeface="Century Gothic"/>
                  <a:cs typeface="Century Gothic"/>
                </a:rPr>
                <a:t>including</a:t>
              </a:r>
              <a:r>
                <a:rPr sz="800" spc="215" dirty="0">
                  <a:latin typeface="Century Gothic"/>
                  <a:cs typeface="Century Gothic"/>
                </a:rPr>
                <a:t> </a:t>
              </a:r>
              <a:r>
                <a:rPr sz="800" dirty="0">
                  <a:latin typeface="Century Gothic"/>
                  <a:cs typeface="Century Gothic"/>
                </a:rPr>
                <a:t>6  </a:t>
              </a:r>
              <a:r>
                <a:rPr sz="800" spc="5" dirty="0">
                  <a:latin typeface="Century Gothic"/>
                  <a:cs typeface="Century Gothic"/>
                </a:rPr>
                <a:t> </a:t>
              </a:r>
              <a:r>
                <a:rPr sz="800" spc="-5" dirty="0">
                  <a:latin typeface="Century Gothic"/>
                  <a:cs typeface="Century Gothic"/>
                </a:rPr>
                <a:t>locations </a:t>
              </a:r>
              <a:r>
                <a:rPr sz="800" spc="-210" dirty="0">
                  <a:latin typeface="Century Gothic"/>
                  <a:cs typeface="Century Gothic"/>
                </a:rPr>
                <a:t> </a:t>
              </a:r>
              <a:r>
                <a:rPr sz="800" spc="-5" dirty="0">
                  <a:latin typeface="Century Gothic"/>
                  <a:cs typeface="Century Gothic"/>
                </a:rPr>
                <a:t>with</a:t>
              </a:r>
              <a:r>
                <a:rPr sz="800" dirty="0">
                  <a:latin typeface="Century Gothic"/>
                  <a:cs typeface="Century Gothic"/>
                </a:rPr>
                <a:t> more</a:t>
              </a:r>
              <a:r>
                <a:rPr sz="800" spc="5" dirty="0">
                  <a:latin typeface="Century Gothic"/>
                  <a:cs typeface="Century Gothic"/>
                </a:rPr>
                <a:t> </a:t>
              </a:r>
              <a:r>
                <a:rPr sz="800" dirty="0">
                  <a:latin typeface="Century Gothic"/>
                  <a:cs typeface="Century Gothic"/>
                </a:rPr>
                <a:t>than</a:t>
              </a:r>
              <a:r>
                <a:rPr sz="800" spc="5" dirty="0">
                  <a:latin typeface="Century Gothic"/>
                  <a:cs typeface="Century Gothic"/>
                </a:rPr>
                <a:t> </a:t>
              </a:r>
              <a:r>
                <a:rPr sz="800" spc="-5" dirty="0">
                  <a:latin typeface="Century Gothic"/>
                  <a:cs typeface="Century Gothic"/>
                </a:rPr>
                <a:t>200</a:t>
              </a:r>
              <a:r>
                <a:rPr sz="800" dirty="0">
                  <a:latin typeface="Century Gothic"/>
                  <a:cs typeface="Century Gothic"/>
                </a:rPr>
                <a:t> employees </a:t>
              </a:r>
              <a:r>
                <a:rPr sz="800" spc="5" dirty="0">
                  <a:latin typeface="Century Gothic"/>
                  <a:cs typeface="Century Gothic"/>
                </a:rPr>
                <a:t> </a:t>
              </a:r>
              <a:r>
                <a:rPr sz="800" spc="-5" dirty="0">
                  <a:latin typeface="Century Gothic"/>
                  <a:cs typeface="Century Gothic"/>
                </a:rPr>
                <a:t>(France,</a:t>
              </a:r>
              <a:r>
                <a:rPr sz="800" dirty="0">
                  <a:latin typeface="Century Gothic"/>
                  <a:cs typeface="Century Gothic"/>
                </a:rPr>
                <a:t> UK,</a:t>
              </a:r>
              <a:r>
                <a:rPr sz="800" spc="5" dirty="0">
                  <a:latin typeface="Century Gothic"/>
                  <a:cs typeface="Century Gothic"/>
                </a:rPr>
                <a:t> </a:t>
              </a:r>
              <a:r>
                <a:rPr sz="800" spc="-5" dirty="0">
                  <a:latin typeface="Century Gothic"/>
                  <a:cs typeface="Century Gothic"/>
                </a:rPr>
                <a:t>Ireland,</a:t>
              </a:r>
              <a:r>
                <a:rPr sz="800" dirty="0">
                  <a:latin typeface="Century Gothic"/>
                  <a:cs typeface="Century Gothic"/>
                </a:rPr>
                <a:t> Poland, </a:t>
              </a:r>
              <a:r>
                <a:rPr sz="800" spc="5" dirty="0">
                  <a:latin typeface="Century Gothic"/>
                  <a:cs typeface="Century Gothic"/>
                </a:rPr>
                <a:t> </a:t>
              </a:r>
              <a:r>
                <a:rPr sz="800" dirty="0">
                  <a:latin typeface="Century Gothic"/>
                  <a:cs typeface="Century Gothic"/>
                </a:rPr>
                <a:t>Ukraine,</a:t>
              </a:r>
              <a:r>
                <a:rPr sz="800" spc="-5" dirty="0">
                  <a:latin typeface="Century Gothic"/>
                  <a:cs typeface="Century Gothic"/>
                </a:rPr>
                <a:t> </a:t>
              </a:r>
              <a:r>
                <a:rPr sz="800" dirty="0">
                  <a:latin typeface="Century Gothic"/>
                  <a:cs typeface="Century Gothic"/>
                </a:rPr>
                <a:t>Serbia).</a:t>
              </a:r>
            </a:p>
            <a:p>
              <a:pPr marL="120650" marR="293370" indent="-108585">
                <a:lnSpc>
                  <a:spcPts val="800"/>
                </a:lnSpc>
                <a:spcBef>
                  <a:spcPts val="565"/>
                </a:spcBef>
                <a:buClr>
                  <a:srgbClr val="6C92A8"/>
                </a:buClr>
                <a:buFont typeface="Century Gothic"/>
                <a:buChar char="•"/>
                <a:tabLst>
                  <a:tab pos="121285" algn="l"/>
                </a:tabLst>
              </a:pPr>
              <a:r>
                <a:rPr sz="800" b="1" dirty="0">
                  <a:latin typeface="Century Gothic"/>
                  <a:cs typeface="Century Gothic"/>
                </a:rPr>
                <a:t>Areas</a:t>
              </a:r>
              <a:r>
                <a:rPr sz="800" b="1" spc="5" dirty="0">
                  <a:latin typeface="Century Gothic"/>
                  <a:cs typeface="Century Gothic"/>
                </a:rPr>
                <a:t> </a:t>
              </a:r>
              <a:r>
                <a:rPr sz="800" b="1" spc="-5" dirty="0">
                  <a:latin typeface="Century Gothic"/>
                  <a:cs typeface="Century Gothic"/>
                </a:rPr>
                <a:t>of</a:t>
              </a:r>
              <a:r>
                <a:rPr sz="800" b="1" spc="210" dirty="0">
                  <a:latin typeface="Century Gothic"/>
                  <a:cs typeface="Century Gothic"/>
                </a:rPr>
                <a:t> </a:t>
              </a:r>
              <a:r>
                <a:rPr sz="800" b="1" spc="-5" dirty="0">
                  <a:latin typeface="Century Gothic"/>
                  <a:cs typeface="Century Gothic"/>
                </a:rPr>
                <a:t>activity:</a:t>
              </a:r>
              <a:r>
                <a:rPr sz="800" b="1" spc="215" dirty="0">
                  <a:latin typeface="Century Gothic"/>
                  <a:cs typeface="Century Gothic"/>
                </a:rPr>
                <a:t> </a:t>
              </a:r>
              <a:r>
                <a:rPr sz="800" spc="-5" dirty="0">
                  <a:latin typeface="Century Gothic"/>
                  <a:cs typeface="Century Gothic"/>
                </a:rPr>
                <a:t>Energy </a:t>
              </a:r>
              <a:r>
                <a:rPr sz="800" spc="-210" dirty="0">
                  <a:latin typeface="Century Gothic"/>
                  <a:cs typeface="Century Gothic"/>
                </a:rPr>
                <a:t> </a:t>
              </a:r>
              <a:r>
                <a:rPr sz="800" dirty="0">
                  <a:latin typeface="Century Gothic"/>
                  <a:cs typeface="Century Gothic"/>
                </a:rPr>
                <a:t>&amp; </a:t>
              </a:r>
              <a:r>
                <a:rPr sz="800" spc="-5" dirty="0">
                  <a:latin typeface="Century Gothic"/>
                  <a:cs typeface="Century Gothic"/>
                </a:rPr>
                <a:t>Environment, </a:t>
              </a:r>
              <a:r>
                <a:rPr sz="800" dirty="0">
                  <a:latin typeface="Century Gothic"/>
                  <a:cs typeface="Century Gothic"/>
                </a:rPr>
                <a:t>Water &amp; </a:t>
              </a:r>
              <a:r>
                <a:rPr sz="800" spc="5" dirty="0">
                  <a:latin typeface="Century Gothic"/>
                  <a:cs typeface="Century Gothic"/>
                </a:rPr>
                <a:t> </a:t>
              </a:r>
              <a:r>
                <a:rPr sz="800" dirty="0">
                  <a:latin typeface="Century Gothic"/>
                  <a:cs typeface="Century Gothic"/>
                </a:rPr>
                <a:t>Ports,</a:t>
              </a:r>
              <a:r>
                <a:rPr sz="800" spc="-30" dirty="0">
                  <a:latin typeface="Century Gothic"/>
                  <a:cs typeface="Century Gothic"/>
                </a:rPr>
                <a:t> </a:t>
              </a:r>
              <a:r>
                <a:rPr sz="800" spc="-5" dirty="0">
                  <a:latin typeface="Century Gothic"/>
                  <a:cs typeface="Century Gothic"/>
                </a:rPr>
                <a:t>Buildings,</a:t>
              </a:r>
              <a:r>
                <a:rPr sz="800" spc="-35" dirty="0">
                  <a:latin typeface="Century Gothic"/>
                  <a:cs typeface="Century Gothic"/>
                </a:rPr>
                <a:t> </a:t>
              </a:r>
              <a:r>
                <a:rPr sz="800" dirty="0">
                  <a:latin typeface="Century Gothic"/>
                  <a:cs typeface="Century Gothic"/>
                </a:rPr>
                <a:t>Cities,</a:t>
              </a:r>
              <a:r>
                <a:rPr sz="800" spc="-30" dirty="0">
                  <a:latin typeface="Century Gothic"/>
                  <a:cs typeface="Century Gothic"/>
                </a:rPr>
                <a:t> </a:t>
              </a:r>
              <a:r>
                <a:rPr sz="800" dirty="0">
                  <a:latin typeface="Century Gothic"/>
                  <a:cs typeface="Century Gothic"/>
                </a:rPr>
                <a:t>Rail, </a:t>
              </a:r>
              <a:r>
                <a:rPr sz="800" spc="-204" dirty="0">
                  <a:latin typeface="Century Gothic"/>
                  <a:cs typeface="Century Gothic"/>
                </a:rPr>
                <a:t> </a:t>
              </a:r>
              <a:r>
                <a:rPr sz="800" dirty="0">
                  <a:latin typeface="Century Gothic"/>
                  <a:cs typeface="Century Gothic"/>
                </a:rPr>
                <a:t>Roads,</a:t>
              </a:r>
              <a:r>
                <a:rPr sz="800" spc="-30" dirty="0">
                  <a:latin typeface="Century Gothic"/>
                  <a:cs typeface="Century Gothic"/>
                </a:rPr>
                <a:t> </a:t>
              </a:r>
              <a:r>
                <a:rPr sz="800" dirty="0">
                  <a:latin typeface="Century Gothic"/>
                  <a:cs typeface="Century Gothic"/>
                </a:rPr>
                <a:t>Aviation,</a:t>
              </a:r>
              <a:r>
                <a:rPr sz="800" spc="-25" dirty="0">
                  <a:latin typeface="Century Gothic"/>
                  <a:cs typeface="Century Gothic"/>
                </a:rPr>
                <a:t> </a:t>
              </a:r>
              <a:r>
                <a:rPr sz="800" dirty="0">
                  <a:latin typeface="Century Gothic"/>
                  <a:cs typeface="Century Gothic"/>
                </a:rPr>
                <a:t>Mobility.</a:t>
              </a:r>
            </a:p>
            <a:p>
              <a:pPr marL="120650" marR="323850" indent="-108585">
                <a:lnSpc>
                  <a:spcPts val="800"/>
                </a:lnSpc>
                <a:spcBef>
                  <a:spcPts val="285"/>
                </a:spcBef>
                <a:buClr>
                  <a:srgbClr val="6C92A8"/>
                </a:buClr>
                <a:buFont typeface="Century Gothic"/>
                <a:buChar char="•"/>
                <a:tabLst>
                  <a:tab pos="121285" algn="l"/>
                </a:tabLst>
              </a:pPr>
              <a:r>
                <a:rPr sz="800" b="1" dirty="0">
                  <a:latin typeface="Century Gothic"/>
                  <a:cs typeface="Century Gothic"/>
                </a:rPr>
                <a:t>Services: </a:t>
              </a:r>
              <a:r>
                <a:rPr sz="800" dirty="0">
                  <a:latin typeface="Century Gothic"/>
                  <a:cs typeface="Century Gothic"/>
                </a:rPr>
                <a:t>Consultancy, </a:t>
              </a:r>
              <a:r>
                <a:rPr sz="800" spc="5" dirty="0">
                  <a:latin typeface="Century Gothic"/>
                  <a:cs typeface="Century Gothic"/>
                </a:rPr>
                <a:t> </a:t>
              </a:r>
              <a:r>
                <a:rPr sz="800" spc="-5" dirty="0">
                  <a:latin typeface="Century Gothic"/>
                  <a:cs typeface="Century Gothic"/>
                </a:rPr>
                <a:t>Engineering (Design </a:t>
              </a:r>
              <a:r>
                <a:rPr sz="800" dirty="0">
                  <a:latin typeface="Century Gothic"/>
                  <a:cs typeface="Century Gothic"/>
                </a:rPr>
                <a:t>&amp; </a:t>
              </a:r>
              <a:r>
                <a:rPr sz="800" spc="5" dirty="0">
                  <a:latin typeface="Century Gothic"/>
                  <a:cs typeface="Century Gothic"/>
                </a:rPr>
                <a:t> </a:t>
              </a:r>
              <a:r>
                <a:rPr sz="800" dirty="0">
                  <a:latin typeface="Century Gothic"/>
                  <a:cs typeface="Century Gothic"/>
                </a:rPr>
                <a:t>Project</a:t>
              </a:r>
              <a:r>
                <a:rPr sz="800" spc="-50" dirty="0">
                  <a:latin typeface="Century Gothic"/>
                  <a:cs typeface="Century Gothic"/>
                </a:rPr>
                <a:t> </a:t>
              </a:r>
              <a:r>
                <a:rPr sz="800" dirty="0">
                  <a:latin typeface="Century Gothic"/>
                  <a:cs typeface="Century Gothic"/>
                </a:rPr>
                <a:t>Managment</a:t>
              </a:r>
              <a:r>
                <a:rPr sz="800" spc="-50" dirty="0">
                  <a:latin typeface="Century Gothic"/>
                  <a:cs typeface="Century Gothic"/>
                </a:rPr>
                <a:t> </a:t>
              </a:r>
              <a:r>
                <a:rPr sz="800" dirty="0">
                  <a:latin typeface="Century Gothic"/>
                  <a:cs typeface="Century Gothic"/>
                </a:rPr>
                <a:t>etc),</a:t>
              </a:r>
            </a:p>
            <a:p>
              <a:pPr marL="120650" marR="50800">
                <a:lnSpc>
                  <a:spcPts val="800"/>
                </a:lnSpc>
              </a:pPr>
              <a:r>
                <a:rPr sz="800" dirty="0">
                  <a:latin typeface="Century Gothic"/>
                  <a:cs typeface="Century Gothic"/>
                </a:rPr>
                <a:t>Architecture</a:t>
              </a:r>
              <a:r>
                <a:rPr sz="800" spc="-35" dirty="0">
                  <a:latin typeface="Century Gothic"/>
                  <a:cs typeface="Century Gothic"/>
                </a:rPr>
                <a:t> </a:t>
              </a:r>
              <a:r>
                <a:rPr sz="800" dirty="0">
                  <a:latin typeface="Century Gothic"/>
                  <a:cs typeface="Century Gothic"/>
                </a:rPr>
                <a:t>&amp;</a:t>
              </a:r>
              <a:r>
                <a:rPr sz="800" spc="-30" dirty="0">
                  <a:latin typeface="Century Gothic"/>
                  <a:cs typeface="Century Gothic"/>
                </a:rPr>
                <a:t> </a:t>
              </a:r>
              <a:r>
                <a:rPr sz="800" dirty="0">
                  <a:latin typeface="Century Gothic"/>
                  <a:cs typeface="Century Gothic"/>
                </a:rPr>
                <a:t>Urban</a:t>
              </a:r>
              <a:r>
                <a:rPr sz="800" spc="-35" dirty="0">
                  <a:latin typeface="Century Gothic"/>
                  <a:cs typeface="Century Gothic"/>
                </a:rPr>
                <a:t> </a:t>
              </a:r>
              <a:r>
                <a:rPr sz="800" dirty="0">
                  <a:latin typeface="Century Gothic"/>
                  <a:cs typeface="Century Gothic"/>
                </a:rPr>
                <a:t>Planning, </a:t>
              </a:r>
              <a:r>
                <a:rPr sz="800" spc="-204" dirty="0">
                  <a:latin typeface="Century Gothic"/>
                  <a:cs typeface="Century Gothic"/>
                </a:rPr>
                <a:t> </a:t>
              </a:r>
              <a:r>
                <a:rPr sz="800" dirty="0">
                  <a:latin typeface="Century Gothic"/>
                  <a:cs typeface="Century Gothic"/>
                </a:rPr>
                <a:t>Project </a:t>
              </a:r>
              <a:r>
                <a:rPr sz="800" spc="-5" dirty="0">
                  <a:latin typeface="Century Gothic"/>
                  <a:cs typeface="Century Gothic"/>
                </a:rPr>
                <a:t>Structuring, </a:t>
              </a:r>
              <a:r>
                <a:rPr sz="800" dirty="0">
                  <a:latin typeface="Century Gothic"/>
                  <a:cs typeface="Century Gothic"/>
                </a:rPr>
                <a:t>PPP </a:t>
              </a:r>
              <a:r>
                <a:rPr sz="800" spc="5" dirty="0">
                  <a:latin typeface="Century Gothic"/>
                  <a:cs typeface="Century Gothic"/>
                </a:rPr>
                <a:t> </a:t>
              </a:r>
              <a:r>
                <a:rPr sz="800" spc="-5" dirty="0">
                  <a:latin typeface="Century Gothic"/>
                  <a:cs typeface="Century Gothic"/>
                </a:rPr>
                <a:t>Investiment,</a:t>
              </a:r>
              <a:r>
                <a:rPr sz="800" spc="-45" dirty="0">
                  <a:latin typeface="Century Gothic"/>
                  <a:cs typeface="Century Gothic"/>
                </a:rPr>
                <a:t> </a:t>
              </a:r>
              <a:r>
                <a:rPr sz="800" dirty="0">
                  <a:latin typeface="Century Gothic"/>
                  <a:cs typeface="Century Gothic"/>
                </a:rPr>
                <a:t>Turnkey</a:t>
              </a:r>
              <a:r>
                <a:rPr sz="800" spc="-40" dirty="0">
                  <a:latin typeface="Century Gothic"/>
                  <a:cs typeface="Century Gothic"/>
                </a:rPr>
                <a:t> </a:t>
              </a:r>
              <a:r>
                <a:rPr sz="800" dirty="0">
                  <a:latin typeface="Century Gothic"/>
                  <a:cs typeface="Century Gothic"/>
                </a:rPr>
                <a:t>Contracts,</a:t>
              </a:r>
            </a:p>
            <a:p>
              <a:pPr marL="120650">
                <a:lnSpc>
                  <a:spcPts val="900"/>
                </a:lnSpc>
              </a:pPr>
              <a:r>
                <a:rPr sz="800" spc="-5" dirty="0">
                  <a:latin typeface="Century Gothic"/>
                  <a:cs typeface="Century Gothic"/>
                </a:rPr>
                <a:t>Operation,</a:t>
              </a:r>
              <a:r>
                <a:rPr sz="800" spc="-35" dirty="0">
                  <a:latin typeface="Century Gothic"/>
                  <a:cs typeface="Century Gothic"/>
                </a:rPr>
                <a:t> </a:t>
              </a:r>
              <a:r>
                <a:rPr sz="800" dirty="0">
                  <a:latin typeface="Century Gothic"/>
                  <a:cs typeface="Century Gothic"/>
                </a:rPr>
                <a:t>Mobility</a:t>
              </a:r>
              <a:r>
                <a:rPr sz="800" spc="-30" dirty="0">
                  <a:latin typeface="Century Gothic"/>
                  <a:cs typeface="Century Gothic"/>
                </a:rPr>
                <a:t> </a:t>
              </a:r>
              <a:r>
                <a:rPr sz="800" dirty="0">
                  <a:latin typeface="Century Gothic"/>
                  <a:cs typeface="Century Gothic"/>
                </a:rPr>
                <a:t>Services</a:t>
              </a:r>
            </a:p>
          </p:txBody>
        </p:sp>
        <p:grpSp>
          <p:nvGrpSpPr>
            <p:cNvPr id="44" name="object 44"/>
            <p:cNvGrpSpPr/>
            <p:nvPr/>
          </p:nvGrpSpPr>
          <p:grpSpPr>
            <a:xfrm>
              <a:off x="6350" y="4991760"/>
              <a:ext cx="483234" cy="289560"/>
              <a:chOff x="194101" y="5028030"/>
              <a:chExt cx="483234" cy="289560"/>
            </a:xfrm>
          </p:grpSpPr>
          <p:sp>
            <p:nvSpPr>
              <p:cNvPr id="46" name="object 46"/>
              <p:cNvSpPr/>
              <p:nvPr/>
            </p:nvSpPr>
            <p:spPr>
              <a:xfrm>
                <a:off x="194101" y="5028030"/>
                <a:ext cx="483234" cy="289560"/>
              </a:xfrm>
              <a:custGeom>
                <a:avLst/>
                <a:gdLst/>
                <a:ahLst/>
                <a:cxnLst/>
                <a:rect l="l" t="t" r="r" b="b"/>
                <a:pathLst>
                  <a:path w="483234" h="289560">
                    <a:moveTo>
                      <a:pt x="446996" y="0"/>
                    </a:moveTo>
                    <a:lnTo>
                      <a:pt x="0" y="0"/>
                    </a:lnTo>
                    <a:lnTo>
                      <a:pt x="0" y="289140"/>
                    </a:lnTo>
                    <a:lnTo>
                      <a:pt x="446996" y="289140"/>
                    </a:lnTo>
                    <a:lnTo>
                      <a:pt x="461012" y="286312"/>
                    </a:lnTo>
                    <a:lnTo>
                      <a:pt x="472457" y="278598"/>
                    </a:lnTo>
                    <a:lnTo>
                      <a:pt x="480172" y="267157"/>
                    </a:lnTo>
                    <a:lnTo>
                      <a:pt x="483001" y="253149"/>
                    </a:lnTo>
                    <a:lnTo>
                      <a:pt x="483001" y="36004"/>
                    </a:lnTo>
                    <a:lnTo>
                      <a:pt x="480172" y="21988"/>
                    </a:lnTo>
                    <a:lnTo>
                      <a:pt x="472457" y="10544"/>
                    </a:lnTo>
                    <a:lnTo>
                      <a:pt x="461012" y="2828"/>
                    </a:lnTo>
                    <a:lnTo>
                      <a:pt x="446996" y="0"/>
                    </a:lnTo>
                    <a:close/>
                  </a:path>
                </a:pathLst>
              </a:custGeom>
              <a:solidFill>
                <a:srgbClr val="498B80"/>
              </a:solidFill>
            </p:spPr>
            <p:txBody>
              <a:bodyPr wrap="square" lIns="0" tIns="0" rIns="0" bIns="0" rtlCol="0"/>
              <a:lstStyle/>
              <a:p>
                <a:endParaRPr/>
              </a:p>
            </p:txBody>
          </p:sp>
          <p:pic>
            <p:nvPicPr>
              <p:cNvPr id="47" name="object 47"/>
              <p:cNvPicPr/>
              <p:nvPr/>
            </p:nvPicPr>
            <p:blipFill>
              <a:blip r:embed="rId5" cstate="print"/>
              <a:stretch>
                <a:fillRect/>
              </a:stretch>
            </p:blipFill>
            <p:spPr>
              <a:xfrm>
                <a:off x="290115" y="5071322"/>
                <a:ext cx="293265" cy="195558"/>
              </a:xfrm>
              <a:prstGeom prst="rect">
                <a:avLst/>
              </a:prstGeom>
            </p:spPr>
          </p:pic>
        </p:grpSp>
      </p:grpSp>
      <p:sp>
        <p:nvSpPr>
          <p:cNvPr id="49" name="object 49"/>
          <p:cNvSpPr txBox="1"/>
          <p:nvPr/>
        </p:nvSpPr>
        <p:spPr>
          <a:xfrm>
            <a:off x="4163300" y="1153938"/>
            <a:ext cx="1481594" cy="241092"/>
          </a:xfrm>
          <a:prstGeom prst="rect">
            <a:avLst/>
          </a:prstGeom>
        </p:spPr>
        <p:txBody>
          <a:bodyPr vert="horz" wrap="square" lIns="0" tIns="12700" rIns="0" bIns="0" rtlCol="0">
            <a:spAutoFit/>
          </a:bodyPr>
          <a:lstStyle/>
          <a:p>
            <a:pPr marL="12700">
              <a:lnSpc>
                <a:spcPct val="100000"/>
              </a:lnSpc>
              <a:spcBef>
                <a:spcPts val="100"/>
              </a:spcBef>
            </a:pPr>
            <a:r>
              <a:rPr sz="700" b="1" u="sng" dirty="0" err="1">
                <a:solidFill>
                  <a:srgbClr val="FFFFFF"/>
                </a:solidFill>
                <a:uFill>
                  <a:solidFill>
                    <a:srgbClr val="FFFFFF"/>
                  </a:solidFill>
                </a:uFill>
                <a:latin typeface="Century Gothic"/>
                <a:cs typeface="Century Gothic"/>
                <a:hlinkClick r:id="rId6"/>
              </a:rPr>
              <a:t>Francois.martin@egis</a:t>
            </a:r>
            <a:r>
              <a:rPr lang="fr-FR" sz="700" b="1" u="sng" dirty="0">
                <a:solidFill>
                  <a:srgbClr val="FFFFFF"/>
                </a:solidFill>
                <a:uFill>
                  <a:solidFill>
                    <a:srgbClr val="FFFFFF"/>
                  </a:solidFill>
                </a:uFill>
                <a:latin typeface="Century Gothic"/>
                <a:cs typeface="Century Gothic"/>
                <a:hlinkClick r:id="rId6"/>
              </a:rPr>
              <a:t>-group</a:t>
            </a:r>
            <a:r>
              <a:rPr sz="700" b="1" u="sng" dirty="0">
                <a:solidFill>
                  <a:srgbClr val="FFFFFF"/>
                </a:solidFill>
                <a:uFill>
                  <a:solidFill>
                    <a:srgbClr val="FFFFFF"/>
                  </a:solidFill>
                </a:uFill>
                <a:latin typeface="Century Gothic"/>
                <a:cs typeface="Century Gothic"/>
                <a:hlinkClick r:id="rId6"/>
              </a:rPr>
              <a:t>.</a:t>
            </a:r>
            <a:r>
              <a:rPr lang="fr-FR" sz="700" b="1" u="sng" dirty="0">
                <a:solidFill>
                  <a:srgbClr val="FFFFFF"/>
                </a:solidFill>
                <a:uFill>
                  <a:solidFill>
                    <a:srgbClr val="FFFFFF"/>
                  </a:solidFill>
                </a:uFill>
                <a:latin typeface="Century Gothic"/>
                <a:cs typeface="Century Gothic"/>
                <a:hlinkClick r:id="rId6"/>
              </a:rPr>
              <a:t>com</a:t>
            </a:r>
            <a:endParaRPr lang="fr-FR" sz="700" b="1" u="sng" dirty="0">
              <a:solidFill>
                <a:srgbClr val="FFFFFF"/>
              </a:solidFill>
              <a:uFill>
                <a:solidFill>
                  <a:srgbClr val="FFFFFF"/>
                </a:solidFill>
              </a:uFill>
              <a:latin typeface="Century Gothic"/>
              <a:cs typeface="Century Gothic"/>
            </a:endParaRPr>
          </a:p>
          <a:p>
            <a:pPr marL="12700">
              <a:lnSpc>
                <a:spcPct val="100000"/>
              </a:lnSpc>
              <a:spcBef>
                <a:spcPts val="100"/>
              </a:spcBef>
            </a:pPr>
            <a:r>
              <a:rPr lang="fr-FR" sz="700" b="1" u="sng" dirty="0">
                <a:solidFill>
                  <a:srgbClr val="FFFFFF"/>
                </a:solidFill>
                <a:uFill>
                  <a:solidFill>
                    <a:srgbClr val="FFFFFF"/>
                  </a:solidFill>
                </a:uFill>
                <a:latin typeface="Century Gothic"/>
                <a:cs typeface="Century Gothic"/>
              </a:rPr>
              <a:t>Maxime.gros@egis-group.com</a:t>
            </a:r>
            <a:endParaRPr sz="700" dirty="0">
              <a:latin typeface="Century Gothic"/>
              <a:cs typeface="Century Gothic"/>
            </a:endParaRPr>
          </a:p>
        </p:txBody>
      </p:sp>
      <p:sp>
        <p:nvSpPr>
          <p:cNvPr id="50" name="object 50"/>
          <p:cNvSpPr txBox="1"/>
          <p:nvPr/>
        </p:nvSpPr>
        <p:spPr>
          <a:xfrm>
            <a:off x="247699" y="185574"/>
            <a:ext cx="215265" cy="132080"/>
          </a:xfrm>
          <a:prstGeom prst="rect">
            <a:avLst/>
          </a:prstGeom>
        </p:spPr>
        <p:txBody>
          <a:bodyPr vert="horz" wrap="square" lIns="0" tIns="12700" rIns="0" bIns="0" rtlCol="0">
            <a:spAutoFit/>
          </a:bodyPr>
          <a:lstStyle/>
          <a:p>
            <a:pPr marL="12700">
              <a:lnSpc>
                <a:spcPct val="100000"/>
              </a:lnSpc>
              <a:spcBef>
                <a:spcPts val="100"/>
              </a:spcBef>
            </a:pPr>
            <a:r>
              <a:rPr sz="700" spc="-5" dirty="0">
                <a:solidFill>
                  <a:srgbClr val="6C92A8"/>
                </a:solidFill>
                <a:latin typeface="Century Gothic"/>
                <a:cs typeface="Century Gothic"/>
              </a:rPr>
              <a:t>EGIS</a:t>
            </a:r>
            <a:endParaRPr sz="700">
              <a:latin typeface="Century Gothic"/>
              <a:cs typeface="Century Gothic"/>
            </a:endParaRPr>
          </a:p>
        </p:txBody>
      </p:sp>
      <p:pic>
        <p:nvPicPr>
          <p:cNvPr id="51" name="object 51"/>
          <p:cNvPicPr/>
          <p:nvPr/>
        </p:nvPicPr>
        <p:blipFill>
          <a:blip r:embed="rId7" cstate="print"/>
          <a:stretch>
            <a:fillRect/>
          </a:stretch>
        </p:blipFill>
        <p:spPr>
          <a:xfrm>
            <a:off x="469533" y="708062"/>
            <a:ext cx="1006466" cy="377818"/>
          </a:xfrm>
          <a:prstGeom prst="rect">
            <a:avLst/>
          </a:prstGeom>
        </p:spPr>
      </p:pic>
      <p:sp>
        <p:nvSpPr>
          <p:cNvPr id="52" name="object 52"/>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rPr dirty="0">
                <a:latin typeface="Century Gothic"/>
                <a:cs typeface="Century Gothic"/>
              </a:rPr>
              <a:t>I</a:t>
            </a:r>
            <a:r>
              <a:rPr spc="395" dirty="0">
                <a:latin typeface="Century Gothic"/>
                <a:cs typeface="Century Gothic"/>
              </a:rPr>
              <a:t> </a:t>
            </a:r>
            <a:fld id="{81D60167-4931-47E6-BA6A-407CBD079E47}" type="slidenum">
              <a:rPr b="1" dirty="0"/>
              <a:t>4</a:t>
            </a:fld>
            <a:r>
              <a:rPr b="1" spc="395" dirty="0"/>
              <a:t> </a:t>
            </a:r>
            <a:r>
              <a:rPr dirty="0">
                <a:latin typeface="Century Gothic"/>
                <a:cs typeface="Century Gothic"/>
              </a:rPr>
              <a:t>I</a:t>
            </a:r>
          </a:p>
        </p:txBody>
      </p:sp>
      <p:sp>
        <p:nvSpPr>
          <p:cNvPr id="53" name="object 53"/>
          <p:cNvSpPr txBox="1">
            <a:spLocks noGrp="1"/>
          </p:cNvSpPr>
          <p:nvPr>
            <p:ph type="dt" sz="half" idx="6"/>
          </p:nvPr>
        </p:nvSpPr>
        <p:spPr>
          <a:prstGeom prst="rect">
            <a:avLst/>
          </a:prstGeom>
        </p:spPr>
        <p:txBody>
          <a:bodyPr vert="horz" wrap="square" lIns="0" tIns="12700" rIns="0" bIns="0" rtlCol="0">
            <a:spAutoFit/>
          </a:bodyPr>
          <a:lstStyle/>
          <a:p>
            <a:pPr marL="12700">
              <a:lnSpc>
                <a:spcPct val="100000"/>
              </a:lnSpc>
              <a:spcBef>
                <a:spcPts val="100"/>
              </a:spcBef>
            </a:pPr>
            <a:r>
              <a:rPr dirty="0"/>
              <a:t>THE</a:t>
            </a:r>
            <a:r>
              <a:rPr spc="-30" dirty="0"/>
              <a:t> </a:t>
            </a:r>
            <a:r>
              <a:rPr dirty="0"/>
              <a:t>FRENCH</a:t>
            </a:r>
            <a:r>
              <a:rPr spc="-25" dirty="0"/>
              <a:t> </a:t>
            </a:r>
            <a:r>
              <a:rPr dirty="0"/>
              <a:t>NUCLEAR</a:t>
            </a:r>
            <a:r>
              <a:rPr spc="-30" dirty="0"/>
              <a:t> </a:t>
            </a:r>
            <a:r>
              <a:rPr dirty="0"/>
              <a:t>INDUSTRY</a:t>
            </a:r>
          </a:p>
        </p:txBody>
      </p:sp>
      <p:sp>
        <p:nvSpPr>
          <p:cNvPr id="54" name="object 54"/>
          <p:cNvSpPr txBox="1">
            <a:spLocks noGrp="1"/>
          </p:cNvSpPr>
          <p:nvPr>
            <p:ph type="ftr" sz="quarter" idx="5"/>
          </p:nvPr>
        </p:nvSpPr>
        <p:spPr>
          <a:xfrm>
            <a:off x="3092479" y="8494659"/>
            <a:ext cx="1208309" cy="89768"/>
          </a:xfrm>
          <a:prstGeom prst="rect">
            <a:avLst/>
          </a:prstGeom>
        </p:spPr>
        <p:txBody>
          <a:bodyPr vert="horz" wrap="square" lIns="0" tIns="12700" rIns="0" bIns="0" rtlCol="0">
            <a:spAutoFit/>
          </a:bodyPr>
          <a:lstStyle/>
          <a:p>
            <a:pPr marL="12700">
              <a:lnSpc>
                <a:spcPct val="100000"/>
              </a:lnSpc>
              <a:spcBef>
                <a:spcPts val="100"/>
              </a:spcBef>
            </a:pPr>
            <a:r>
              <a:rPr dirty="0"/>
              <a:t>Focus</a:t>
            </a:r>
            <a:r>
              <a:rPr spc="-20" dirty="0"/>
              <a:t> </a:t>
            </a:r>
            <a:r>
              <a:rPr dirty="0"/>
              <a:t>on</a:t>
            </a:r>
            <a:r>
              <a:rPr spc="-15" dirty="0"/>
              <a:t> </a:t>
            </a:r>
            <a:r>
              <a:rPr lang="fr-FR" spc="-5" dirty="0"/>
              <a:t>Fusion </a:t>
            </a:r>
            <a:r>
              <a:rPr lang="fr-FR" spc="-5" dirty="0" err="1"/>
              <a:t>technology</a:t>
            </a:r>
            <a:r>
              <a:rPr spc="-15" dirty="0"/>
              <a:t> </a:t>
            </a:r>
            <a:r>
              <a:rPr dirty="0"/>
              <a:t>for</a:t>
            </a:r>
            <a:r>
              <a:rPr spc="-20" dirty="0"/>
              <a:t> </a:t>
            </a:r>
            <a:r>
              <a:rPr lang="fr-FR" dirty="0"/>
              <a:t>the UK</a:t>
            </a:r>
            <a:endParaRPr dirty="0"/>
          </a:p>
        </p:txBody>
      </p:sp>
      <p:grpSp>
        <p:nvGrpSpPr>
          <p:cNvPr id="9" name="Groupe 8">
            <a:extLst>
              <a:ext uri="{FF2B5EF4-FFF2-40B4-BE49-F238E27FC236}">
                <a16:creationId xmlns:a16="http://schemas.microsoft.com/office/drawing/2014/main" id="{036C2D6E-51D3-4E4A-A60A-E92B3A542CFD}"/>
              </a:ext>
            </a:extLst>
          </p:cNvPr>
          <p:cNvGrpSpPr/>
          <p:nvPr/>
        </p:nvGrpSpPr>
        <p:grpSpPr>
          <a:xfrm>
            <a:off x="44036" y="2301900"/>
            <a:ext cx="1797067" cy="2041730"/>
            <a:chOff x="44036" y="2301900"/>
            <a:chExt cx="1797067" cy="2041730"/>
          </a:xfrm>
        </p:grpSpPr>
        <p:sp>
          <p:nvSpPr>
            <p:cNvPr id="6" name="object 6"/>
            <p:cNvSpPr/>
            <p:nvPr/>
          </p:nvSpPr>
          <p:spPr>
            <a:xfrm>
              <a:off x="44036" y="2316915"/>
              <a:ext cx="483234" cy="289560"/>
            </a:xfrm>
            <a:custGeom>
              <a:avLst/>
              <a:gdLst/>
              <a:ahLst/>
              <a:cxnLst/>
              <a:rect l="l" t="t" r="r" b="b"/>
              <a:pathLst>
                <a:path w="483234" h="289560">
                  <a:moveTo>
                    <a:pt x="446998" y="0"/>
                  </a:moveTo>
                  <a:lnTo>
                    <a:pt x="0" y="0"/>
                  </a:lnTo>
                  <a:lnTo>
                    <a:pt x="0" y="289140"/>
                  </a:lnTo>
                  <a:lnTo>
                    <a:pt x="446998" y="289140"/>
                  </a:lnTo>
                  <a:lnTo>
                    <a:pt x="461014" y="286312"/>
                  </a:lnTo>
                  <a:lnTo>
                    <a:pt x="472458" y="278598"/>
                  </a:lnTo>
                  <a:lnTo>
                    <a:pt x="480173" y="267157"/>
                  </a:lnTo>
                  <a:lnTo>
                    <a:pt x="483002" y="253149"/>
                  </a:lnTo>
                  <a:lnTo>
                    <a:pt x="483002" y="36004"/>
                  </a:lnTo>
                  <a:lnTo>
                    <a:pt x="480173" y="21988"/>
                  </a:lnTo>
                  <a:lnTo>
                    <a:pt x="472458" y="10544"/>
                  </a:lnTo>
                  <a:lnTo>
                    <a:pt x="461014" y="2828"/>
                  </a:lnTo>
                  <a:lnTo>
                    <a:pt x="446998" y="0"/>
                  </a:lnTo>
                  <a:close/>
                </a:path>
              </a:pathLst>
            </a:custGeom>
            <a:solidFill>
              <a:srgbClr val="488C81"/>
            </a:solidFill>
          </p:spPr>
          <p:txBody>
            <a:bodyPr wrap="square" lIns="0" tIns="0" rIns="0" bIns="0" rtlCol="0"/>
            <a:lstStyle/>
            <a:p>
              <a:endParaRPr/>
            </a:p>
          </p:txBody>
        </p:sp>
        <p:sp>
          <p:nvSpPr>
            <p:cNvPr id="20" name="object 20"/>
            <p:cNvSpPr txBox="1"/>
            <p:nvPr/>
          </p:nvSpPr>
          <p:spPr>
            <a:xfrm>
              <a:off x="563299" y="2301900"/>
              <a:ext cx="434340" cy="253916"/>
            </a:xfrm>
            <a:prstGeom prst="rect">
              <a:avLst/>
            </a:prstGeom>
          </p:spPr>
          <p:txBody>
            <a:bodyPr vert="horz" wrap="square" lIns="0" tIns="22860" rIns="0" bIns="0" rtlCol="0">
              <a:spAutoFit/>
            </a:bodyPr>
            <a:lstStyle/>
            <a:p>
              <a:pPr marL="12700" marR="5080">
                <a:lnSpc>
                  <a:spcPts val="900"/>
                </a:lnSpc>
                <a:spcBef>
                  <a:spcPts val="180"/>
                </a:spcBef>
              </a:pPr>
              <a:r>
                <a:rPr sz="800" b="1" dirty="0">
                  <a:solidFill>
                    <a:srgbClr val="498B80"/>
                  </a:solidFill>
                  <a:latin typeface="Century Gothic"/>
                  <a:cs typeface="Century Gothic"/>
                </a:rPr>
                <a:t>EGIS IN </a:t>
              </a:r>
              <a:r>
                <a:rPr lang="fr-FR" sz="800" b="1" dirty="0">
                  <a:solidFill>
                    <a:srgbClr val="498B80"/>
                  </a:solidFill>
                  <a:latin typeface="Century Gothic"/>
                  <a:cs typeface="Century Gothic"/>
                </a:rPr>
                <a:t>THE </a:t>
              </a:r>
              <a:r>
                <a:rPr lang="fr-FR" sz="800" b="1" spc="5" dirty="0">
                  <a:solidFill>
                    <a:srgbClr val="498B80"/>
                  </a:solidFill>
                  <a:latin typeface="Century Gothic"/>
                  <a:cs typeface="Century Gothic"/>
                </a:rPr>
                <a:t>UK</a:t>
              </a:r>
              <a:endParaRPr sz="800" dirty="0">
                <a:latin typeface="Century Gothic"/>
                <a:cs typeface="Century Gothic"/>
              </a:endParaRPr>
            </a:p>
          </p:txBody>
        </p:sp>
        <p:sp>
          <p:nvSpPr>
            <p:cNvPr id="21" name="object 21"/>
            <p:cNvSpPr txBox="1"/>
            <p:nvPr/>
          </p:nvSpPr>
          <p:spPr>
            <a:xfrm>
              <a:off x="135493" y="2807312"/>
              <a:ext cx="1705610" cy="1536318"/>
            </a:xfrm>
            <a:prstGeom prst="rect">
              <a:avLst/>
            </a:prstGeom>
          </p:spPr>
          <p:txBody>
            <a:bodyPr vert="horz" wrap="square" lIns="0" tIns="12700" rIns="0" bIns="0" rtlCol="0">
              <a:spAutoFit/>
            </a:bodyPr>
            <a:lstStyle/>
            <a:p>
              <a:pPr marL="12700">
                <a:lnSpc>
                  <a:spcPct val="100000"/>
                </a:lnSpc>
                <a:spcBef>
                  <a:spcPts val="100"/>
                </a:spcBef>
              </a:pPr>
              <a:r>
                <a:rPr sz="800" spc="-5" dirty="0">
                  <a:latin typeface="Century Gothic"/>
                  <a:cs typeface="Century Gothic"/>
                </a:rPr>
                <a:t>EGIS</a:t>
              </a:r>
              <a:r>
                <a:rPr sz="800" spc="315" dirty="0">
                  <a:latin typeface="Century Gothic"/>
                  <a:cs typeface="Century Gothic"/>
                </a:rPr>
                <a:t> </a:t>
              </a:r>
              <a:r>
                <a:rPr sz="800" spc="-5" dirty="0">
                  <a:latin typeface="Century Gothic"/>
                  <a:cs typeface="Century Gothic"/>
                </a:rPr>
                <a:t>is</a:t>
              </a:r>
              <a:r>
                <a:rPr sz="800" spc="320" dirty="0">
                  <a:latin typeface="Century Gothic"/>
                  <a:cs typeface="Century Gothic"/>
                </a:rPr>
                <a:t> </a:t>
              </a:r>
              <a:r>
                <a:rPr sz="800" spc="-5" dirty="0">
                  <a:latin typeface="Century Gothic"/>
                  <a:cs typeface="Century Gothic"/>
                </a:rPr>
                <a:t>present</a:t>
              </a:r>
              <a:r>
                <a:rPr lang="fr-FR" sz="800" spc="-5" dirty="0">
                  <a:latin typeface="Century Gothic"/>
                  <a:cs typeface="Century Gothic"/>
                </a:rPr>
                <a:t> in the UK in 7 offices </a:t>
              </a:r>
              <a:r>
                <a:rPr lang="fr-FR" sz="800" spc="-5" dirty="0" err="1">
                  <a:latin typeface="Century Gothic"/>
                  <a:cs typeface="Century Gothic"/>
                </a:rPr>
                <a:t>gathering</a:t>
              </a:r>
              <a:r>
                <a:rPr lang="fr-FR" sz="800" spc="-5" dirty="0">
                  <a:latin typeface="Century Gothic"/>
                  <a:cs typeface="Century Gothic"/>
                </a:rPr>
                <a:t> more </a:t>
              </a:r>
              <a:r>
                <a:rPr lang="fr-FR" sz="800" spc="-5" dirty="0" err="1">
                  <a:latin typeface="Century Gothic"/>
                  <a:cs typeface="Century Gothic"/>
                </a:rPr>
                <a:t>than</a:t>
              </a:r>
              <a:r>
                <a:rPr lang="fr-FR" sz="800" spc="-5" dirty="0">
                  <a:latin typeface="Century Gothic"/>
                  <a:cs typeface="Century Gothic"/>
                </a:rPr>
                <a:t> 700 </a:t>
              </a:r>
              <a:r>
                <a:rPr lang="fr-FR" sz="800" spc="-5" dirty="0" err="1">
                  <a:latin typeface="Century Gothic"/>
                  <a:cs typeface="Century Gothic"/>
                </a:rPr>
                <a:t>employees</a:t>
              </a:r>
              <a:r>
                <a:rPr lang="fr-FR" sz="800" spc="-5" dirty="0">
                  <a:latin typeface="Century Gothic"/>
                  <a:cs typeface="Century Gothic"/>
                </a:rPr>
                <a:t>.</a:t>
              </a:r>
              <a:endParaRPr lang="fr-FR" sz="800" dirty="0">
                <a:latin typeface="Century Gothic"/>
                <a:cs typeface="Century Gothic"/>
              </a:endParaRPr>
            </a:p>
            <a:p>
              <a:pPr marL="120650" marR="293370" indent="-108585">
                <a:lnSpc>
                  <a:spcPts val="800"/>
                </a:lnSpc>
                <a:spcBef>
                  <a:spcPts val="565"/>
                </a:spcBef>
                <a:buClr>
                  <a:srgbClr val="6C92A8"/>
                </a:buClr>
                <a:buFont typeface="Century Gothic"/>
                <a:buChar char="•"/>
                <a:tabLst>
                  <a:tab pos="121285" algn="l"/>
                </a:tabLst>
              </a:pPr>
              <a:r>
                <a:rPr lang="en-US" sz="800" b="1" dirty="0">
                  <a:latin typeface="Century Gothic"/>
                  <a:cs typeface="Century Gothic"/>
                </a:rPr>
                <a:t>Areas</a:t>
              </a:r>
              <a:r>
                <a:rPr lang="en-US" sz="800" b="1" spc="5" dirty="0">
                  <a:latin typeface="Century Gothic"/>
                  <a:cs typeface="Century Gothic"/>
                </a:rPr>
                <a:t> </a:t>
              </a:r>
              <a:r>
                <a:rPr lang="en-US" sz="800" b="1" spc="-5" dirty="0">
                  <a:latin typeface="Century Gothic"/>
                  <a:cs typeface="Century Gothic"/>
                </a:rPr>
                <a:t>of</a:t>
              </a:r>
              <a:r>
                <a:rPr lang="en-US" sz="800" b="1" spc="210" dirty="0">
                  <a:latin typeface="Century Gothic"/>
                  <a:cs typeface="Century Gothic"/>
                </a:rPr>
                <a:t> </a:t>
              </a:r>
              <a:r>
                <a:rPr lang="en-US" sz="800" b="1" spc="-5" dirty="0">
                  <a:latin typeface="Century Gothic"/>
                  <a:cs typeface="Century Gothic"/>
                </a:rPr>
                <a:t>activity:</a:t>
              </a:r>
              <a:r>
                <a:rPr lang="en-US" sz="800" b="1" spc="215" dirty="0">
                  <a:latin typeface="Century Gothic"/>
                  <a:cs typeface="Century Gothic"/>
                </a:rPr>
                <a:t> </a:t>
              </a:r>
              <a:r>
                <a:rPr lang="en-US" sz="800" spc="-5" dirty="0">
                  <a:latin typeface="Century Gothic"/>
                  <a:cs typeface="Century Gothic"/>
                </a:rPr>
                <a:t>Energy </a:t>
              </a:r>
              <a:r>
                <a:rPr lang="en-US" sz="800" spc="-210" dirty="0">
                  <a:latin typeface="Century Gothic"/>
                  <a:cs typeface="Century Gothic"/>
                </a:rPr>
                <a:t> </a:t>
              </a:r>
              <a:r>
                <a:rPr lang="en-US" sz="800" dirty="0">
                  <a:latin typeface="Century Gothic"/>
                  <a:cs typeface="Century Gothic"/>
                </a:rPr>
                <a:t>&amp; </a:t>
              </a:r>
              <a:r>
                <a:rPr lang="en-US" sz="800" spc="-5" dirty="0">
                  <a:latin typeface="Century Gothic"/>
                  <a:cs typeface="Century Gothic"/>
                </a:rPr>
                <a:t>Environment</a:t>
              </a:r>
              <a:r>
                <a:rPr lang="en-US" sz="800" dirty="0">
                  <a:latin typeface="Century Gothic"/>
                  <a:cs typeface="Century Gothic"/>
                </a:rPr>
                <a:t>,</a:t>
              </a:r>
              <a:r>
                <a:rPr lang="en-US" sz="800" spc="-30" dirty="0">
                  <a:latin typeface="Century Gothic"/>
                  <a:cs typeface="Century Gothic"/>
                </a:rPr>
                <a:t> </a:t>
              </a:r>
              <a:r>
                <a:rPr lang="en-US" sz="800" spc="-5" dirty="0">
                  <a:latin typeface="Century Gothic"/>
                  <a:cs typeface="Century Gothic"/>
                </a:rPr>
                <a:t>Buildings,</a:t>
              </a:r>
              <a:r>
                <a:rPr lang="en-US" sz="800" spc="-30" dirty="0">
                  <a:latin typeface="Century Gothic"/>
                  <a:cs typeface="Century Gothic"/>
                </a:rPr>
                <a:t> </a:t>
              </a:r>
              <a:r>
                <a:rPr lang="en-US" sz="800" dirty="0">
                  <a:latin typeface="Century Gothic"/>
                  <a:cs typeface="Century Gothic"/>
                </a:rPr>
                <a:t>Rail, </a:t>
              </a:r>
              <a:r>
                <a:rPr lang="en-US" sz="800" spc="-204" dirty="0">
                  <a:latin typeface="Century Gothic"/>
                  <a:cs typeface="Century Gothic"/>
                </a:rPr>
                <a:t> </a:t>
              </a:r>
              <a:r>
                <a:rPr lang="en-US" sz="800" dirty="0">
                  <a:latin typeface="Century Gothic"/>
                  <a:cs typeface="Century Gothic"/>
                </a:rPr>
                <a:t>Roads,</a:t>
              </a:r>
              <a:r>
                <a:rPr lang="en-US" sz="800" spc="-30" dirty="0">
                  <a:latin typeface="Century Gothic"/>
                  <a:cs typeface="Century Gothic"/>
                </a:rPr>
                <a:t> </a:t>
              </a:r>
              <a:r>
                <a:rPr lang="en-US" sz="800" dirty="0">
                  <a:latin typeface="Century Gothic"/>
                  <a:cs typeface="Century Gothic"/>
                </a:rPr>
                <a:t>Aviation.</a:t>
              </a:r>
            </a:p>
            <a:p>
              <a:pPr marL="120650" marR="323850" indent="-108585">
                <a:lnSpc>
                  <a:spcPts val="800"/>
                </a:lnSpc>
                <a:spcBef>
                  <a:spcPts val="285"/>
                </a:spcBef>
                <a:buClr>
                  <a:srgbClr val="6C92A8"/>
                </a:buClr>
                <a:buFont typeface="Century Gothic"/>
                <a:buChar char="•"/>
                <a:tabLst>
                  <a:tab pos="121285" algn="l"/>
                </a:tabLst>
              </a:pPr>
              <a:r>
                <a:rPr lang="en-US" sz="800" b="1" dirty="0">
                  <a:latin typeface="Century Gothic"/>
                  <a:cs typeface="Century Gothic"/>
                </a:rPr>
                <a:t>Services: </a:t>
              </a:r>
              <a:r>
                <a:rPr lang="en-US" sz="800" dirty="0">
                  <a:latin typeface="Century Gothic"/>
                  <a:cs typeface="Century Gothic"/>
                </a:rPr>
                <a:t>Consultancy, </a:t>
              </a:r>
              <a:r>
                <a:rPr lang="en-US" sz="800" spc="5" dirty="0">
                  <a:latin typeface="Century Gothic"/>
                  <a:cs typeface="Century Gothic"/>
                </a:rPr>
                <a:t> </a:t>
              </a:r>
              <a:r>
                <a:rPr lang="en-US" sz="800" spc="-5" dirty="0">
                  <a:latin typeface="Century Gothic"/>
                  <a:cs typeface="Century Gothic"/>
                </a:rPr>
                <a:t>Engineering (Design </a:t>
              </a:r>
              <a:r>
                <a:rPr lang="en-US" sz="800" dirty="0">
                  <a:latin typeface="Century Gothic"/>
                  <a:cs typeface="Century Gothic"/>
                </a:rPr>
                <a:t>&amp; </a:t>
              </a:r>
              <a:r>
                <a:rPr lang="en-US" sz="800" spc="5" dirty="0">
                  <a:latin typeface="Century Gothic"/>
                  <a:cs typeface="Century Gothic"/>
                </a:rPr>
                <a:t> </a:t>
              </a:r>
              <a:r>
                <a:rPr lang="en-US" sz="800" dirty="0">
                  <a:latin typeface="Century Gothic"/>
                  <a:cs typeface="Century Gothic"/>
                </a:rPr>
                <a:t>Project</a:t>
              </a:r>
              <a:r>
                <a:rPr lang="en-US" sz="800" spc="-50" dirty="0">
                  <a:latin typeface="Century Gothic"/>
                  <a:cs typeface="Century Gothic"/>
                </a:rPr>
                <a:t> </a:t>
              </a:r>
              <a:r>
                <a:rPr lang="en-US" sz="800" dirty="0" err="1">
                  <a:latin typeface="Century Gothic"/>
                  <a:cs typeface="Century Gothic"/>
                </a:rPr>
                <a:t>Managment</a:t>
              </a:r>
              <a:r>
                <a:rPr lang="en-US" sz="800" spc="-50" dirty="0">
                  <a:latin typeface="Century Gothic"/>
                  <a:cs typeface="Century Gothic"/>
                </a:rPr>
                <a:t> </a:t>
              </a:r>
              <a:r>
                <a:rPr lang="en-US" sz="800" dirty="0" err="1">
                  <a:latin typeface="Century Gothic"/>
                  <a:cs typeface="Century Gothic"/>
                </a:rPr>
                <a:t>etc</a:t>
              </a:r>
              <a:r>
                <a:rPr lang="en-US" sz="800" dirty="0">
                  <a:latin typeface="Century Gothic"/>
                  <a:cs typeface="Century Gothic"/>
                </a:rPr>
                <a:t>),</a:t>
              </a:r>
            </a:p>
            <a:p>
              <a:pPr marL="120650" marR="50800">
                <a:lnSpc>
                  <a:spcPts val="800"/>
                </a:lnSpc>
              </a:pPr>
              <a:r>
                <a:rPr lang="en-US" sz="800" dirty="0">
                  <a:latin typeface="Century Gothic"/>
                  <a:cs typeface="Century Gothic"/>
                </a:rPr>
                <a:t>Architecture</a:t>
              </a:r>
              <a:r>
                <a:rPr lang="en-US" sz="800" spc="-35" dirty="0">
                  <a:latin typeface="Century Gothic"/>
                  <a:cs typeface="Century Gothic"/>
                </a:rPr>
                <a:t> </a:t>
              </a:r>
              <a:r>
                <a:rPr lang="en-US" sz="800" dirty="0">
                  <a:latin typeface="Century Gothic"/>
                  <a:cs typeface="Century Gothic"/>
                </a:rPr>
                <a:t>&amp;</a:t>
              </a:r>
              <a:r>
                <a:rPr lang="en-US" sz="800" spc="-30" dirty="0">
                  <a:latin typeface="Century Gothic"/>
                  <a:cs typeface="Century Gothic"/>
                </a:rPr>
                <a:t> </a:t>
              </a:r>
              <a:r>
                <a:rPr lang="en-US" sz="800" dirty="0">
                  <a:latin typeface="Century Gothic"/>
                  <a:cs typeface="Century Gothic"/>
                </a:rPr>
                <a:t>Urban</a:t>
              </a:r>
              <a:r>
                <a:rPr lang="en-US" sz="800" spc="-35" dirty="0">
                  <a:latin typeface="Century Gothic"/>
                  <a:cs typeface="Century Gothic"/>
                </a:rPr>
                <a:t> </a:t>
              </a:r>
              <a:r>
                <a:rPr lang="en-US" sz="800" dirty="0">
                  <a:latin typeface="Century Gothic"/>
                  <a:cs typeface="Century Gothic"/>
                </a:rPr>
                <a:t>Planning, </a:t>
              </a:r>
              <a:r>
                <a:rPr lang="en-US" sz="800" spc="-204" dirty="0">
                  <a:latin typeface="Century Gothic"/>
                  <a:cs typeface="Century Gothic"/>
                </a:rPr>
                <a:t> </a:t>
              </a:r>
              <a:r>
                <a:rPr lang="en-US" sz="800" dirty="0">
                  <a:latin typeface="Century Gothic"/>
                  <a:cs typeface="Century Gothic"/>
                </a:rPr>
                <a:t>Project </a:t>
              </a:r>
              <a:r>
                <a:rPr lang="en-US" sz="800" spc="-5" dirty="0">
                  <a:latin typeface="Century Gothic"/>
                  <a:cs typeface="Century Gothic"/>
                </a:rPr>
                <a:t>Structuring, </a:t>
              </a:r>
              <a:r>
                <a:rPr lang="en-US" sz="800" dirty="0">
                  <a:latin typeface="Century Gothic"/>
                  <a:cs typeface="Century Gothic"/>
                </a:rPr>
                <a:t>PPP </a:t>
              </a:r>
              <a:r>
                <a:rPr lang="en-US" sz="800" spc="5" dirty="0">
                  <a:latin typeface="Century Gothic"/>
                  <a:cs typeface="Century Gothic"/>
                </a:rPr>
                <a:t> </a:t>
              </a:r>
              <a:r>
                <a:rPr lang="en-US" sz="800" spc="-5" dirty="0" err="1">
                  <a:latin typeface="Century Gothic"/>
                  <a:cs typeface="Century Gothic"/>
                </a:rPr>
                <a:t>Investiment</a:t>
              </a:r>
              <a:r>
                <a:rPr lang="en-US" sz="800" spc="-5" dirty="0">
                  <a:latin typeface="Century Gothic"/>
                  <a:cs typeface="Century Gothic"/>
                </a:rPr>
                <a:t>,</a:t>
              </a:r>
              <a:r>
                <a:rPr lang="en-US" sz="800" spc="-45" dirty="0">
                  <a:latin typeface="Century Gothic"/>
                  <a:cs typeface="Century Gothic"/>
                </a:rPr>
                <a:t> </a:t>
              </a:r>
              <a:r>
                <a:rPr lang="en-US" sz="800" dirty="0">
                  <a:latin typeface="Century Gothic"/>
                  <a:cs typeface="Century Gothic"/>
                </a:rPr>
                <a:t>Turnkey</a:t>
              </a:r>
              <a:r>
                <a:rPr lang="en-US" sz="800" spc="-40" dirty="0">
                  <a:latin typeface="Century Gothic"/>
                  <a:cs typeface="Century Gothic"/>
                </a:rPr>
                <a:t> </a:t>
              </a:r>
              <a:r>
                <a:rPr lang="en-US" sz="800" dirty="0">
                  <a:latin typeface="Century Gothic"/>
                  <a:cs typeface="Century Gothic"/>
                </a:rPr>
                <a:t>Contracts,</a:t>
              </a:r>
            </a:p>
            <a:p>
              <a:pPr marL="120650">
                <a:lnSpc>
                  <a:spcPts val="900"/>
                </a:lnSpc>
              </a:pPr>
              <a:r>
                <a:rPr lang="en-US" sz="800" spc="-5" dirty="0">
                  <a:latin typeface="Century Gothic"/>
                  <a:cs typeface="Century Gothic"/>
                </a:rPr>
                <a:t>Operation</a:t>
              </a:r>
              <a:endParaRPr lang="en-US" sz="800" dirty="0">
                <a:latin typeface="Century Gothic"/>
                <a:cs typeface="Century Gothic"/>
              </a:endParaRPr>
            </a:p>
          </p:txBody>
        </p:sp>
        <p:pic>
          <p:nvPicPr>
            <p:cNvPr id="8" name="Image 7">
              <a:extLst>
                <a:ext uri="{FF2B5EF4-FFF2-40B4-BE49-F238E27FC236}">
                  <a16:creationId xmlns:a16="http://schemas.microsoft.com/office/drawing/2014/main" id="{6D2722EB-6B7F-48A6-BE92-4AB5921E813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5493" y="2370140"/>
              <a:ext cx="284237" cy="189491"/>
            </a:xfrm>
            <a:prstGeom prst="rect">
              <a:avLst/>
            </a:prstGeom>
          </p:spPr>
        </p:pic>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object 46">
            <a:extLst>
              <a:ext uri="{FF2B5EF4-FFF2-40B4-BE49-F238E27FC236}">
                <a16:creationId xmlns:a16="http://schemas.microsoft.com/office/drawing/2014/main" id="{F394299B-D87D-82E4-B8FB-8CFAC99A7AE4}"/>
              </a:ext>
            </a:extLst>
          </p:cNvPr>
          <p:cNvSpPr/>
          <p:nvPr/>
        </p:nvSpPr>
        <p:spPr>
          <a:xfrm>
            <a:off x="0" y="3592535"/>
            <a:ext cx="483234" cy="289560"/>
          </a:xfrm>
          <a:custGeom>
            <a:avLst/>
            <a:gdLst/>
            <a:ahLst/>
            <a:cxnLst/>
            <a:rect l="l" t="t" r="r" b="b"/>
            <a:pathLst>
              <a:path w="483234" h="289560">
                <a:moveTo>
                  <a:pt x="446996" y="0"/>
                </a:moveTo>
                <a:lnTo>
                  <a:pt x="0" y="0"/>
                </a:lnTo>
                <a:lnTo>
                  <a:pt x="0" y="289140"/>
                </a:lnTo>
                <a:lnTo>
                  <a:pt x="446996" y="289140"/>
                </a:lnTo>
                <a:lnTo>
                  <a:pt x="461012" y="286312"/>
                </a:lnTo>
                <a:lnTo>
                  <a:pt x="472457" y="278598"/>
                </a:lnTo>
                <a:lnTo>
                  <a:pt x="480172" y="267157"/>
                </a:lnTo>
                <a:lnTo>
                  <a:pt x="483001" y="253149"/>
                </a:lnTo>
                <a:lnTo>
                  <a:pt x="483001" y="36004"/>
                </a:lnTo>
                <a:lnTo>
                  <a:pt x="480172" y="21988"/>
                </a:lnTo>
                <a:lnTo>
                  <a:pt x="472457" y="10544"/>
                </a:lnTo>
                <a:lnTo>
                  <a:pt x="461012" y="2828"/>
                </a:lnTo>
                <a:lnTo>
                  <a:pt x="446996" y="0"/>
                </a:lnTo>
                <a:close/>
              </a:path>
            </a:pathLst>
          </a:custGeom>
          <a:solidFill>
            <a:srgbClr val="498B8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1026" name="Picture 2" descr="European Union (EU) Traditional Sewn Flag - MrFlag">
            <a:extLst>
              <a:ext uri="{FF2B5EF4-FFF2-40B4-BE49-F238E27FC236}">
                <a16:creationId xmlns:a16="http://schemas.microsoft.com/office/drawing/2014/main" id="{3969A9EE-2ACA-4612-B64A-366604B6A42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8138" y="3651532"/>
            <a:ext cx="252000" cy="167977"/>
          </a:xfrm>
          <a:prstGeom prst="rect">
            <a:avLst/>
          </a:prstGeom>
          <a:noFill/>
          <a:extLst>
            <a:ext uri="{909E8E84-426E-40DD-AFC4-6F175D3DCCD1}">
              <a14:hiddenFill xmlns:a14="http://schemas.microsoft.com/office/drawing/2010/main">
                <a:solidFill>
                  <a:srgbClr val="FFFFFF"/>
                </a:solidFill>
              </a14:hiddenFill>
            </a:ext>
          </a:extLst>
        </p:spPr>
      </p:pic>
      <p:sp>
        <p:nvSpPr>
          <p:cNvPr id="2" name="object 2"/>
          <p:cNvSpPr txBox="1"/>
          <p:nvPr/>
        </p:nvSpPr>
        <p:spPr>
          <a:xfrm>
            <a:off x="2027299" y="140629"/>
            <a:ext cx="1544955" cy="166712"/>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lang="fr-FR" sz="1000" dirty="0">
                <a:solidFill>
                  <a:srgbClr val="FFFFFF"/>
                </a:solidFill>
                <a:latin typeface="Rafale BG"/>
                <a:cs typeface="Rafale BG"/>
              </a:rPr>
              <a:t>COMPANY</a:t>
            </a:r>
            <a:r>
              <a:rPr kumimoji="0" sz="1000" b="0" i="0" u="none" strike="noStrike" kern="1200" cap="none" spc="0" normalizeH="0" baseline="0" noProof="0" dirty="0">
                <a:ln>
                  <a:noFill/>
                </a:ln>
                <a:solidFill>
                  <a:srgbClr val="FFFFFF"/>
                </a:solidFill>
                <a:effectLst/>
                <a:uLnTx/>
                <a:uFillTx/>
                <a:latin typeface="Rafale BG"/>
                <a:ea typeface="+mn-ea"/>
                <a:cs typeface="Rafale BG"/>
              </a:rPr>
              <a:t> INFORM</a:t>
            </a:r>
            <a:r>
              <a:rPr kumimoji="0" sz="1000" b="0" i="0" u="none" strike="noStrike" kern="1200" cap="none" spc="-70" normalizeH="0" baseline="0" noProof="0" dirty="0">
                <a:ln>
                  <a:noFill/>
                </a:ln>
                <a:solidFill>
                  <a:srgbClr val="FFFFFF"/>
                </a:solidFill>
                <a:effectLst/>
                <a:uLnTx/>
                <a:uFillTx/>
                <a:latin typeface="Rafale BG"/>
                <a:ea typeface="+mn-ea"/>
                <a:cs typeface="Rafale BG"/>
              </a:rPr>
              <a:t>A</a:t>
            </a:r>
            <a:r>
              <a:rPr kumimoji="0" sz="1000" b="0" i="0" u="none" strike="noStrike" kern="1200" cap="none" spc="-30" normalizeH="0" baseline="0" noProof="0" dirty="0">
                <a:ln>
                  <a:noFill/>
                </a:ln>
                <a:solidFill>
                  <a:srgbClr val="FFFFFF"/>
                </a:solidFill>
                <a:effectLst/>
                <a:uLnTx/>
                <a:uFillTx/>
                <a:latin typeface="Rafale BG"/>
                <a:ea typeface="+mn-ea"/>
                <a:cs typeface="Rafale BG"/>
              </a:rPr>
              <a:t>T</a:t>
            </a:r>
            <a:r>
              <a:rPr kumimoji="0" sz="1000" b="0" i="0" u="none" strike="noStrike" kern="1200" cap="none" spc="0" normalizeH="0" baseline="0" noProof="0" dirty="0">
                <a:ln>
                  <a:noFill/>
                </a:ln>
                <a:solidFill>
                  <a:srgbClr val="FFFFFF"/>
                </a:solidFill>
                <a:effectLst/>
                <a:uLnTx/>
                <a:uFillTx/>
                <a:latin typeface="Rafale BG"/>
                <a:ea typeface="+mn-ea"/>
                <a:cs typeface="Rafale BG"/>
              </a:rPr>
              <a:t>ON</a:t>
            </a:r>
            <a:endParaRPr kumimoji="0" sz="1000" b="0" i="0" u="none" strike="noStrike" kern="1200" cap="none" spc="0" normalizeH="0" baseline="0" noProof="0" dirty="0">
              <a:ln>
                <a:noFill/>
              </a:ln>
              <a:solidFill>
                <a:prstClr val="black"/>
              </a:solidFill>
              <a:effectLst/>
              <a:uLnTx/>
              <a:uFillTx/>
              <a:latin typeface="Rafale BG"/>
              <a:ea typeface="+mn-ea"/>
              <a:cs typeface="Rafale BG"/>
            </a:endParaRPr>
          </a:p>
        </p:txBody>
      </p:sp>
      <p:sp>
        <p:nvSpPr>
          <p:cNvPr id="3" name="object 3"/>
          <p:cNvSpPr txBox="1"/>
          <p:nvPr/>
        </p:nvSpPr>
        <p:spPr>
          <a:xfrm>
            <a:off x="3887341" y="140629"/>
            <a:ext cx="593725" cy="166712"/>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000" b="0" i="0" u="none" strike="noStrike" kern="1200" cap="none" spc="-20" normalizeH="0" baseline="0" noProof="0" dirty="0">
                <a:ln>
                  <a:noFill/>
                </a:ln>
                <a:solidFill>
                  <a:srgbClr val="FFFFFF"/>
                </a:solidFill>
                <a:effectLst/>
                <a:uLnTx/>
                <a:uFillTx/>
                <a:latin typeface="Rafale BG"/>
                <a:ea typeface="+mn-ea"/>
                <a:cs typeface="Rafale BG"/>
              </a:rPr>
              <a:t>CONTACT</a:t>
            </a:r>
            <a:r>
              <a:rPr kumimoji="0" lang="fr-FR" sz="1000" b="0" i="0" u="none" strike="noStrike" kern="1200" cap="none" spc="-20" normalizeH="0" baseline="0" noProof="0" dirty="0">
                <a:ln>
                  <a:noFill/>
                </a:ln>
                <a:solidFill>
                  <a:srgbClr val="FFFFFF"/>
                </a:solidFill>
                <a:effectLst/>
                <a:uLnTx/>
                <a:uFillTx/>
                <a:latin typeface="Rafale BG"/>
                <a:ea typeface="+mn-ea"/>
                <a:cs typeface="Rafale BG"/>
              </a:rPr>
              <a:t>S</a:t>
            </a:r>
            <a:endParaRPr kumimoji="0" sz="1000" b="0" i="0" u="none" strike="noStrike" kern="1200" cap="none" spc="0" normalizeH="0" baseline="0" noProof="0" dirty="0">
              <a:ln>
                <a:noFill/>
              </a:ln>
              <a:solidFill>
                <a:prstClr val="black"/>
              </a:solidFill>
              <a:effectLst/>
              <a:uLnTx/>
              <a:uFillTx/>
              <a:latin typeface="Rafale BG"/>
              <a:ea typeface="+mn-ea"/>
              <a:cs typeface="Rafale BG"/>
            </a:endParaRPr>
          </a:p>
        </p:txBody>
      </p:sp>
      <p:grpSp>
        <p:nvGrpSpPr>
          <p:cNvPr id="11" name="object 11"/>
          <p:cNvGrpSpPr/>
          <p:nvPr/>
        </p:nvGrpSpPr>
        <p:grpSpPr>
          <a:xfrm>
            <a:off x="0" y="0"/>
            <a:ext cx="5766435" cy="2035175"/>
            <a:chOff x="0" y="0"/>
            <a:chExt cx="5766435" cy="2035175"/>
          </a:xfrm>
        </p:grpSpPr>
        <p:sp>
          <p:nvSpPr>
            <p:cNvPr id="12" name="object 12"/>
            <p:cNvSpPr/>
            <p:nvPr/>
          </p:nvSpPr>
          <p:spPr>
            <a:xfrm>
              <a:off x="1871865" y="1773948"/>
              <a:ext cx="3888740" cy="12700"/>
            </a:xfrm>
            <a:custGeom>
              <a:avLst/>
              <a:gdLst/>
              <a:ahLst/>
              <a:cxnLst/>
              <a:rect l="l" t="t" r="r" b="b"/>
              <a:pathLst>
                <a:path w="3888740" h="12700">
                  <a:moveTo>
                    <a:pt x="0" y="12700"/>
                  </a:moveTo>
                  <a:lnTo>
                    <a:pt x="3888130" y="12700"/>
                  </a:lnTo>
                  <a:lnTo>
                    <a:pt x="3888130" y="0"/>
                  </a:lnTo>
                  <a:lnTo>
                    <a:pt x="0" y="0"/>
                  </a:lnTo>
                  <a:lnTo>
                    <a:pt x="0" y="12700"/>
                  </a:lnTo>
                  <a:close/>
                </a:path>
              </a:pathLst>
            </a:custGeom>
            <a:solidFill>
              <a:srgbClr val="498B8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3"/>
            <p:cNvSpPr/>
            <p:nvPr/>
          </p:nvSpPr>
          <p:spPr>
            <a:xfrm>
              <a:off x="1871865" y="1773948"/>
              <a:ext cx="3888740" cy="12700"/>
            </a:xfrm>
            <a:custGeom>
              <a:avLst/>
              <a:gdLst/>
              <a:ahLst/>
              <a:cxnLst/>
              <a:rect l="l" t="t" r="r" b="b"/>
              <a:pathLst>
                <a:path w="3888740" h="12700">
                  <a:moveTo>
                    <a:pt x="0" y="12700"/>
                  </a:moveTo>
                  <a:lnTo>
                    <a:pt x="3888130" y="12700"/>
                  </a:lnTo>
                  <a:lnTo>
                    <a:pt x="3888130" y="0"/>
                  </a:lnTo>
                  <a:lnTo>
                    <a:pt x="0" y="0"/>
                  </a:lnTo>
                  <a:lnTo>
                    <a:pt x="0" y="12700"/>
                  </a:lnTo>
                </a:path>
              </a:pathLst>
            </a:custGeom>
            <a:ln w="12700">
              <a:solidFill>
                <a:srgbClr val="001D1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p:nvPr/>
          </p:nvSpPr>
          <p:spPr>
            <a:xfrm>
              <a:off x="0" y="0"/>
              <a:ext cx="1943100" cy="1793239"/>
            </a:xfrm>
            <a:custGeom>
              <a:avLst/>
              <a:gdLst/>
              <a:ahLst/>
              <a:cxnLst/>
              <a:rect l="l" t="t" r="r" b="b"/>
              <a:pathLst>
                <a:path w="1943100" h="1793239">
                  <a:moveTo>
                    <a:pt x="1943100" y="0"/>
                  </a:moveTo>
                  <a:lnTo>
                    <a:pt x="25196" y="0"/>
                  </a:lnTo>
                  <a:lnTo>
                    <a:pt x="0" y="0"/>
                  </a:lnTo>
                  <a:lnTo>
                    <a:pt x="0" y="25196"/>
                  </a:lnTo>
                  <a:lnTo>
                    <a:pt x="0" y="1792795"/>
                  </a:lnTo>
                  <a:lnTo>
                    <a:pt x="25196" y="1792795"/>
                  </a:lnTo>
                  <a:lnTo>
                    <a:pt x="25196" y="25196"/>
                  </a:lnTo>
                  <a:lnTo>
                    <a:pt x="1943100" y="25196"/>
                  </a:lnTo>
                  <a:lnTo>
                    <a:pt x="1943100" y="0"/>
                  </a:lnTo>
                  <a:close/>
                </a:path>
              </a:pathLst>
            </a:custGeom>
            <a:solidFill>
              <a:srgbClr val="001D1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5"/>
            <p:cNvSpPr/>
            <p:nvPr/>
          </p:nvSpPr>
          <p:spPr>
            <a:xfrm>
              <a:off x="5443194" y="1791893"/>
              <a:ext cx="316865" cy="243204"/>
            </a:xfrm>
            <a:custGeom>
              <a:avLst/>
              <a:gdLst/>
              <a:ahLst/>
              <a:cxnLst/>
              <a:rect l="l" t="t" r="r" b="b"/>
              <a:pathLst>
                <a:path w="316864" h="243205">
                  <a:moveTo>
                    <a:pt x="0" y="243001"/>
                  </a:moveTo>
                  <a:lnTo>
                    <a:pt x="316801" y="243001"/>
                  </a:lnTo>
                  <a:lnTo>
                    <a:pt x="316801" y="0"/>
                  </a:lnTo>
                  <a:lnTo>
                    <a:pt x="0" y="0"/>
                  </a:lnTo>
                  <a:lnTo>
                    <a:pt x="0" y="243001"/>
                  </a:lnTo>
                  <a:close/>
                </a:path>
              </a:pathLst>
            </a:custGeom>
            <a:solidFill>
              <a:srgbClr val="FFFFFF">
                <a:alpha val="5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bject 16"/>
            <p:cNvSpPr/>
            <p:nvPr/>
          </p:nvSpPr>
          <p:spPr>
            <a:xfrm>
              <a:off x="2823330" y="1787400"/>
              <a:ext cx="113664" cy="57150"/>
            </a:xfrm>
            <a:custGeom>
              <a:avLst/>
              <a:gdLst/>
              <a:ahLst/>
              <a:cxnLst/>
              <a:rect l="l" t="t" r="r" b="b"/>
              <a:pathLst>
                <a:path w="113664" h="57150">
                  <a:moveTo>
                    <a:pt x="113334" y="0"/>
                  </a:moveTo>
                  <a:lnTo>
                    <a:pt x="0" y="0"/>
                  </a:lnTo>
                  <a:lnTo>
                    <a:pt x="56667" y="56667"/>
                  </a:lnTo>
                  <a:lnTo>
                    <a:pt x="113334" y="0"/>
                  </a:lnTo>
                  <a:close/>
                </a:path>
              </a:pathLst>
            </a:custGeom>
            <a:solidFill>
              <a:srgbClr val="001D1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17" name="object 17"/>
            <p:cNvPicPr/>
            <p:nvPr/>
          </p:nvPicPr>
          <p:blipFill>
            <a:blip r:embed="rId3" cstate="print"/>
            <a:stretch>
              <a:fillRect/>
            </a:stretch>
          </p:blipFill>
          <p:spPr>
            <a:xfrm>
              <a:off x="477194" y="1554646"/>
              <a:ext cx="403335" cy="123559"/>
            </a:xfrm>
            <a:prstGeom prst="rect">
              <a:avLst/>
            </a:prstGeom>
          </p:spPr>
        </p:pic>
      </p:grpSp>
      <p:sp>
        <p:nvSpPr>
          <p:cNvPr id="18" name="object 18"/>
          <p:cNvSpPr txBox="1"/>
          <p:nvPr/>
        </p:nvSpPr>
        <p:spPr>
          <a:xfrm>
            <a:off x="920362" y="1490708"/>
            <a:ext cx="436880"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120" normalizeH="0" baseline="0" noProof="0">
                <a:ln>
                  <a:noFill/>
                </a:ln>
                <a:solidFill>
                  <a:srgbClr val="1F376B"/>
                </a:solidFill>
                <a:effectLst/>
                <a:uLnTx/>
                <a:uFillTx/>
                <a:latin typeface="Times New Roman"/>
                <a:ea typeface="+mn-ea"/>
                <a:cs typeface="Times New Roman"/>
              </a:rPr>
              <a:t>member</a:t>
            </a:r>
            <a:endParaRPr kumimoji="0" sz="1200" b="0" i="0" u="none" strike="noStrike" kern="1200" cap="none" spc="0" normalizeH="0" baseline="0" noProof="0">
              <a:ln>
                <a:noFill/>
              </a:ln>
              <a:solidFill>
                <a:prstClr val="black"/>
              </a:solidFill>
              <a:effectLst/>
              <a:uLnTx/>
              <a:uFillTx/>
              <a:latin typeface="Times New Roman"/>
              <a:ea typeface="+mn-ea"/>
              <a:cs typeface="Times New Roman"/>
            </a:endParaRPr>
          </a:p>
        </p:txBody>
      </p:sp>
      <p:sp>
        <p:nvSpPr>
          <p:cNvPr id="19" name="object 19"/>
          <p:cNvSpPr txBox="1"/>
          <p:nvPr/>
        </p:nvSpPr>
        <p:spPr>
          <a:xfrm>
            <a:off x="4181449" y="1512137"/>
            <a:ext cx="1149350" cy="120546"/>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fr-FR" sz="700" b="1" i="0" u="sng" strike="noStrike" kern="1200" cap="none" spc="0" normalizeH="0" baseline="0" noProof="0">
                <a:ln>
                  <a:noFill/>
                </a:ln>
                <a:solidFill>
                  <a:srgbClr val="FFFFFF"/>
                </a:solidFill>
                <a:effectLst/>
                <a:uLnTx/>
                <a:uFill>
                  <a:solidFill>
                    <a:srgbClr val="FFFFFF"/>
                  </a:solidFill>
                </a:uFill>
                <a:latin typeface="Century Gothic"/>
                <a:ea typeface="+mn-ea"/>
                <a:cs typeface="Century Gothic"/>
                <a:hlinkClick r:id="rId4"/>
              </a:rPr>
              <a:t>www.ekium.eu</a:t>
            </a:r>
            <a:endParaRPr kumimoji="0" sz="700" b="0" i="0" u="none" strike="noStrike" kern="1200" cap="none" spc="0" normalizeH="0" baseline="0" noProof="0">
              <a:ln>
                <a:noFill/>
              </a:ln>
              <a:solidFill>
                <a:prstClr val="black"/>
              </a:solidFill>
              <a:effectLst/>
              <a:uLnTx/>
              <a:uFillTx/>
              <a:latin typeface="Century Gothic"/>
              <a:ea typeface="+mn-ea"/>
              <a:cs typeface="Century Gothic"/>
            </a:endParaRPr>
          </a:p>
        </p:txBody>
      </p:sp>
      <p:sp>
        <p:nvSpPr>
          <p:cNvPr id="20" name="object 20"/>
          <p:cNvSpPr txBox="1"/>
          <p:nvPr/>
        </p:nvSpPr>
        <p:spPr>
          <a:xfrm>
            <a:off x="563299" y="2319722"/>
            <a:ext cx="458470" cy="253916"/>
          </a:xfrm>
          <a:prstGeom prst="rect">
            <a:avLst/>
          </a:prstGeom>
        </p:spPr>
        <p:txBody>
          <a:bodyPr vert="horz" wrap="square" lIns="0" tIns="22860" rIns="0" bIns="0" rtlCol="0">
            <a:spAutoFit/>
          </a:bodyPr>
          <a:lstStyle/>
          <a:p>
            <a:pPr marL="12700" marR="5080" lvl="0" indent="0" algn="l" defTabSz="914400" rtl="0" eaLnBrk="1" fontAlgn="auto" latinLnBrk="0" hangingPunct="1">
              <a:lnSpc>
                <a:spcPts val="900"/>
              </a:lnSpc>
              <a:spcBef>
                <a:spcPts val="180"/>
              </a:spcBef>
              <a:spcAft>
                <a:spcPts val="0"/>
              </a:spcAft>
              <a:buClrTx/>
              <a:buSzTx/>
              <a:buFontTx/>
              <a:buNone/>
              <a:tabLst/>
              <a:defRPr/>
            </a:pPr>
            <a:r>
              <a:rPr kumimoji="0" sz="800" b="1" i="0" u="none" strike="noStrike" kern="1200" cap="none" spc="0" normalizeH="0" baseline="0" noProof="0">
                <a:ln>
                  <a:noFill/>
                </a:ln>
                <a:solidFill>
                  <a:srgbClr val="498B80"/>
                </a:solidFill>
                <a:effectLst/>
                <a:uLnTx/>
                <a:uFillTx/>
                <a:latin typeface="Century Gothic"/>
                <a:ea typeface="+mn-ea"/>
                <a:cs typeface="Century Gothic"/>
              </a:rPr>
              <a:t>EKIUM IN</a:t>
            </a:r>
            <a:r>
              <a:rPr kumimoji="0" lang="fr-FR" sz="800" b="1" i="0" u="none" strike="noStrike" kern="1200" cap="none" spc="0" normalizeH="0" baseline="0" noProof="0">
                <a:ln>
                  <a:noFill/>
                </a:ln>
                <a:solidFill>
                  <a:srgbClr val="498B80"/>
                </a:solidFill>
                <a:effectLst/>
                <a:uLnTx/>
                <a:uFillTx/>
                <a:latin typeface="Century Gothic"/>
                <a:ea typeface="+mn-ea"/>
                <a:cs typeface="Century Gothic"/>
              </a:rPr>
              <a:t> THE UK</a:t>
            </a:r>
            <a:endParaRPr kumimoji="0" sz="800" b="0" i="0" u="none" strike="noStrike" kern="1200" cap="none" spc="0" normalizeH="0" baseline="0" noProof="0">
              <a:ln>
                <a:noFill/>
              </a:ln>
              <a:solidFill>
                <a:prstClr val="black"/>
              </a:solidFill>
              <a:effectLst/>
              <a:uLnTx/>
              <a:uFillTx/>
              <a:latin typeface="Century Gothic"/>
              <a:ea typeface="+mn-ea"/>
              <a:cs typeface="Century Gothic"/>
            </a:endParaRPr>
          </a:p>
        </p:txBody>
      </p:sp>
      <p:sp>
        <p:nvSpPr>
          <p:cNvPr id="21" name="object 21"/>
          <p:cNvSpPr txBox="1"/>
          <p:nvPr/>
        </p:nvSpPr>
        <p:spPr>
          <a:xfrm>
            <a:off x="150895" y="2644775"/>
            <a:ext cx="1663687" cy="641201"/>
          </a:xfrm>
          <a:prstGeom prst="rect">
            <a:avLst/>
          </a:prstGeom>
        </p:spPr>
        <p:txBody>
          <a:bodyPr vert="horz" wrap="square" lIns="0" tIns="12700" rIns="0" bIns="0" rtlCol="0">
            <a:spAutoFit/>
          </a:bodyPr>
          <a:lstStyle/>
          <a:p>
            <a:pPr marL="12700" algn="just">
              <a:spcBef>
                <a:spcPts val="100"/>
              </a:spcBef>
            </a:pPr>
            <a:r>
              <a:rPr lang="en-US" sz="800" dirty="0">
                <a:latin typeface="Century Gothic"/>
                <a:cs typeface="Century Gothic"/>
              </a:rPr>
              <a:t>EKIUM is involved in the UK nuclear industry since 2016 and has opened its UK branch in Bristol &amp; London in 2022.</a:t>
            </a:r>
          </a:p>
          <a:p>
            <a:pPr marL="12700" marR="0" lvl="0" indent="0" algn="just" defTabSz="914400" rtl="0" eaLnBrk="1" fontAlgn="auto" latinLnBrk="0" hangingPunct="1">
              <a:lnSpc>
                <a:spcPct val="100000"/>
              </a:lnSpc>
              <a:spcBef>
                <a:spcPts val="10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entury Gothic"/>
              <a:ea typeface="+mn-ea"/>
              <a:cs typeface="Century Gothic"/>
            </a:endParaRPr>
          </a:p>
        </p:txBody>
      </p:sp>
      <p:sp>
        <p:nvSpPr>
          <p:cNvPr id="22" name="object 22"/>
          <p:cNvSpPr txBox="1"/>
          <p:nvPr/>
        </p:nvSpPr>
        <p:spPr>
          <a:xfrm>
            <a:off x="563299" y="3592535"/>
            <a:ext cx="777301" cy="25904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fr-FR" sz="800" b="1" i="0" u="none" strike="noStrike" kern="1200" cap="none" spc="0" normalizeH="0" baseline="0" noProof="0">
                <a:ln>
                  <a:noFill/>
                </a:ln>
                <a:solidFill>
                  <a:srgbClr val="498B80"/>
                </a:solidFill>
                <a:effectLst/>
                <a:uLnTx/>
                <a:uFillTx/>
                <a:latin typeface="Century Gothic"/>
                <a:ea typeface="+mn-ea"/>
                <a:cs typeface="Century Gothic"/>
              </a:rPr>
              <a:t>E</a:t>
            </a:r>
            <a:r>
              <a:rPr kumimoji="0" sz="800" b="1" i="0" u="none" strike="noStrike" kern="1200" cap="none" spc="0" normalizeH="0" baseline="0" noProof="0">
                <a:ln>
                  <a:noFill/>
                </a:ln>
                <a:solidFill>
                  <a:srgbClr val="498B80"/>
                </a:solidFill>
                <a:effectLst/>
                <a:uLnTx/>
                <a:uFillTx/>
                <a:latin typeface="Century Gothic"/>
                <a:ea typeface="+mn-ea"/>
                <a:cs typeface="Century Gothic"/>
              </a:rPr>
              <a:t>KIUM IN</a:t>
            </a:r>
            <a:r>
              <a:rPr kumimoji="0" lang="fr-FR" sz="800" b="1" i="0" u="none" strike="noStrike" kern="1200" cap="none" spc="0" normalizeH="0" baseline="0" noProof="0">
                <a:ln>
                  <a:noFill/>
                </a:ln>
                <a:solidFill>
                  <a:srgbClr val="498B80"/>
                </a:solidFill>
                <a:effectLst/>
                <a:uLnTx/>
                <a:uFillTx/>
                <a:latin typeface="Century Gothic"/>
                <a:ea typeface="+mn-ea"/>
                <a:cs typeface="Century Gothic"/>
              </a:rPr>
              <a:t> EUROPE</a:t>
            </a:r>
            <a:endParaRPr kumimoji="0" sz="800" b="0" i="0" u="none" strike="noStrike" kern="1200" cap="none" spc="0" normalizeH="0" baseline="0" noProof="0">
              <a:ln>
                <a:noFill/>
              </a:ln>
              <a:solidFill>
                <a:prstClr val="black"/>
              </a:solidFill>
              <a:effectLst/>
              <a:uLnTx/>
              <a:uFillTx/>
              <a:latin typeface="Century Gothic"/>
              <a:ea typeface="+mn-ea"/>
              <a:cs typeface="Century Gothic"/>
            </a:endParaRPr>
          </a:p>
        </p:txBody>
      </p:sp>
      <p:sp>
        <p:nvSpPr>
          <p:cNvPr id="25" name="object 25"/>
          <p:cNvSpPr txBox="1"/>
          <p:nvPr/>
        </p:nvSpPr>
        <p:spPr>
          <a:xfrm>
            <a:off x="167262" y="3941256"/>
            <a:ext cx="1648838" cy="1821011"/>
          </a:xfrm>
          <a:prstGeom prst="rect">
            <a:avLst/>
          </a:prstGeom>
        </p:spPr>
        <p:txBody>
          <a:bodyPr vert="horz" wrap="square" lIns="0" tIns="12700" rIns="0" bIns="0" rtlCol="0">
            <a:spAutoFit/>
          </a:bodyPr>
          <a:lstStyle/>
          <a:p>
            <a:pPr marL="12700" marR="5080" lvl="0" indent="0" algn="just" defTabSz="914400" rtl="0" eaLnBrk="1" fontAlgn="auto" latinLnBrk="0" hangingPunct="1">
              <a:lnSpc>
                <a:spcPts val="900"/>
              </a:lnSpc>
              <a:spcBef>
                <a:spcPts val="180"/>
              </a:spcBef>
              <a:spcAft>
                <a:spcPts val="0"/>
              </a:spcAft>
              <a:buClrTx/>
              <a:buSzTx/>
              <a:buFontTx/>
              <a:buNone/>
              <a:tabLst/>
              <a:defRPr/>
            </a:pPr>
            <a:r>
              <a:rPr kumimoji="0" lang="en-GB" sz="800" b="0" i="0" u="none" strike="noStrike" kern="1200" cap="none" spc="-5" normalizeH="0" baseline="0" dirty="0">
                <a:ln>
                  <a:noFill/>
                </a:ln>
                <a:solidFill>
                  <a:prstClr val="black"/>
                </a:solidFill>
                <a:effectLst/>
                <a:uLnTx/>
                <a:uFillTx/>
                <a:latin typeface="Century Gothic"/>
                <a:ea typeface="+mn-ea"/>
                <a:cs typeface="Century Gothic"/>
              </a:rPr>
              <a:t>EKIUM</a:t>
            </a:r>
            <a:r>
              <a:rPr kumimoji="0" lang="en-GB" sz="800" b="0" i="0" u="none" strike="noStrike" kern="1200" cap="none" spc="484" normalizeH="0" baseline="0" dirty="0">
                <a:ln>
                  <a:noFill/>
                </a:ln>
                <a:solidFill>
                  <a:prstClr val="black"/>
                </a:solidFill>
                <a:effectLst/>
                <a:uLnTx/>
                <a:uFillTx/>
                <a:latin typeface="Century Gothic"/>
                <a:ea typeface="+mn-ea"/>
                <a:cs typeface="Century Gothic"/>
              </a:rPr>
              <a:t> </a:t>
            </a:r>
            <a:r>
              <a:rPr kumimoji="0" lang="en-GB" sz="800" b="0" i="0" u="none" strike="noStrike" kern="1200" cap="none" spc="-5" normalizeH="0" baseline="0" dirty="0">
                <a:ln>
                  <a:noFill/>
                </a:ln>
                <a:solidFill>
                  <a:prstClr val="black"/>
                </a:solidFill>
                <a:effectLst/>
                <a:uLnTx/>
                <a:uFillTx/>
                <a:latin typeface="Century Gothic"/>
                <a:ea typeface="+mn-ea"/>
                <a:cs typeface="Century Gothic"/>
              </a:rPr>
              <a:t>is proudly</a:t>
            </a:r>
            <a:r>
              <a:rPr kumimoji="0" lang="en-GB" sz="800" b="0" i="0" u="none" strike="noStrike" kern="1200" cap="none" spc="0" normalizeH="0" baseline="0" dirty="0">
                <a:ln>
                  <a:noFill/>
                </a:ln>
                <a:solidFill>
                  <a:prstClr val="black"/>
                </a:solidFill>
                <a:effectLst/>
                <a:uLnTx/>
                <a:uFillTx/>
                <a:latin typeface="Century Gothic"/>
                <a:ea typeface="+mn-ea"/>
                <a:cs typeface="Century Gothic"/>
              </a:rPr>
              <a:t> </a:t>
            </a:r>
            <a:r>
              <a:rPr kumimoji="0" lang="en-GB" sz="800" b="0" i="0" u="none" strike="noStrike" kern="1200" cap="none" spc="-5" normalizeH="0" baseline="0" dirty="0">
                <a:ln>
                  <a:noFill/>
                </a:ln>
                <a:solidFill>
                  <a:prstClr val="black"/>
                </a:solidFill>
                <a:effectLst/>
                <a:uLnTx/>
                <a:uFillTx/>
                <a:latin typeface="Century Gothic"/>
                <a:ea typeface="+mn-ea"/>
                <a:cs typeface="Century Gothic"/>
              </a:rPr>
              <a:t>involved</a:t>
            </a:r>
            <a:r>
              <a:rPr kumimoji="0" lang="en-GB" sz="800" b="0" i="0" u="none" strike="noStrike" kern="1200" cap="none" spc="0" normalizeH="0" baseline="0" dirty="0">
                <a:ln>
                  <a:noFill/>
                </a:ln>
                <a:solidFill>
                  <a:prstClr val="black"/>
                </a:solidFill>
                <a:effectLst/>
                <a:uLnTx/>
                <a:uFillTx/>
                <a:latin typeface="Century Gothic"/>
                <a:ea typeface="+mn-ea"/>
                <a:cs typeface="Century Gothic"/>
              </a:rPr>
              <a:t> </a:t>
            </a:r>
            <a:r>
              <a:rPr kumimoji="0" lang="en-GB" sz="800" b="0" i="0" u="none" strike="noStrike" kern="1200" cap="none" spc="-5" normalizeH="0" baseline="0" dirty="0">
                <a:ln>
                  <a:noFill/>
                </a:ln>
                <a:solidFill>
                  <a:prstClr val="black"/>
                </a:solidFill>
                <a:effectLst/>
                <a:uLnTx/>
                <a:uFillTx/>
                <a:latin typeface="Century Gothic"/>
                <a:ea typeface="+mn-ea"/>
                <a:cs typeface="Century Gothic"/>
              </a:rPr>
              <a:t>in all </a:t>
            </a:r>
            <a:r>
              <a:rPr kumimoji="0" lang="en-GB" sz="800" b="0" i="0" u="none" strike="noStrike" kern="1200" cap="none" spc="5" normalizeH="0" baseline="0" dirty="0">
                <a:ln>
                  <a:noFill/>
                </a:ln>
                <a:solidFill>
                  <a:prstClr val="black"/>
                </a:solidFill>
                <a:effectLst/>
                <a:uLnTx/>
                <a:uFillTx/>
                <a:latin typeface="Century Gothic"/>
                <a:ea typeface="+mn-ea"/>
                <a:cs typeface="Century Gothic"/>
              </a:rPr>
              <a:t>major European </a:t>
            </a:r>
            <a:r>
              <a:rPr kumimoji="0" lang="en-GB" sz="800" b="1" i="0" u="none" strike="noStrike" kern="1200" cap="none" spc="5" normalizeH="0" baseline="0" dirty="0">
                <a:ln>
                  <a:noFill/>
                </a:ln>
                <a:solidFill>
                  <a:prstClr val="black"/>
                </a:solidFill>
                <a:effectLst/>
                <a:uLnTx/>
                <a:uFillTx/>
                <a:latin typeface="Century Gothic"/>
                <a:ea typeface="+mn-ea"/>
                <a:cs typeface="Century Gothic"/>
              </a:rPr>
              <a:t>new</a:t>
            </a:r>
            <a:r>
              <a:rPr kumimoji="0" lang="en-GB" sz="800" b="0" i="0" u="none" strike="noStrike" kern="1200" cap="none" spc="5" normalizeH="0" baseline="0" dirty="0">
                <a:ln>
                  <a:noFill/>
                </a:ln>
                <a:solidFill>
                  <a:prstClr val="black"/>
                </a:solidFill>
                <a:effectLst/>
                <a:uLnTx/>
                <a:uFillTx/>
                <a:latin typeface="Century Gothic"/>
                <a:ea typeface="+mn-ea"/>
                <a:cs typeface="Century Gothic"/>
              </a:rPr>
              <a:t> </a:t>
            </a:r>
            <a:r>
              <a:rPr lang="en-GB" sz="800" b="1" spc="5" dirty="0">
                <a:solidFill>
                  <a:prstClr val="black"/>
                </a:solidFill>
                <a:latin typeface="Century Gothic"/>
                <a:cs typeface="Century Gothic"/>
              </a:rPr>
              <a:t>n</a:t>
            </a:r>
            <a:r>
              <a:rPr kumimoji="0" lang="en-GB" sz="800" b="1" i="0" u="none" strike="noStrike" kern="1200" cap="none" spc="5" normalizeH="0" baseline="0" dirty="0">
                <a:ln>
                  <a:noFill/>
                </a:ln>
                <a:solidFill>
                  <a:prstClr val="black"/>
                </a:solidFill>
                <a:effectLst/>
                <a:uLnTx/>
                <a:uFillTx/>
                <a:latin typeface="Century Gothic"/>
                <a:ea typeface="+mn-ea"/>
                <a:cs typeface="Century Gothic"/>
              </a:rPr>
              <a:t>uclear </a:t>
            </a:r>
            <a:r>
              <a:rPr lang="en-GB" sz="800" b="1" spc="5" dirty="0">
                <a:solidFill>
                  <a:prstClr val="black"/>
                </a:solidFill>
                <a:latin typeface="Century Gothic"/>
                <a:cs typeface="Century Gothic"/>
              </a:rPr>
              <a:t>p</a:t>
            </a:r>
            <a:r>
              <a:rPr kumimoji="0" lang="en-GB" sz="800" b="1" i="0" u="none" strike="noStrike" kern="1200" cap="none" spc="5" normalizeH="0" baseline="0" dirty="0">
                <a:ln>
                  <a:noFill/>
                </a:ln>
                <a:solidFill>
                  <a:prstClr val="black"/>
                </a:solidFill>
                <a:effectLst/>
                <a:uLnTx/>
                <a:uFillTx/>
                <a:latin typeface="Century Gothic"/>
                <a:ea typeface="+mn-ea"/>
                <a:cs typeface="Century Gothic"/>
              </a:rPr>
              <a:t>rojects </a:t>
            </a:r>
            <a:r>
              <a:rPr kumimoji="0" lang="en-GB" sz="800" b="0" i="0" u="none" strike="noStrike" kern="1200" cap="none" spc="5" normalizeH="0" baseline="0" dirty="0">
                <a:ln>
                  <a:noFill/>
                </a:ln>
                <a:solidFill>
                  <a:prstClr val="black"/>
                </a:solidFill>
                <a:effectLst/>
                <a:uLnTx/>
                <a:uFillTx/>
                <a:latin typeface="Century Gothic"/>
                <a:ea typeface="+mn-ea"/>
                <a:cs typeface="Century Gothic"/>
              </a:rPr>
              <a:t>in Europe, including H</a:t>
            </a:r>
            <a:r>
              <a:rPr kumimoji="0" lang="en-GB" sz="800" b="0" i="0" u="none" strike="noStrike" kern="1200" cap="none" spc="-5" normalizeH="0" baseline="0" dirty="0">
                <a:ln>
                  <a:noFill/>
                </a:ln>
                <a:solidFill>
                  <a:prstClr val="black"/>
                </a:solidFill>
                <a:effectLst/>
                <a:uLnTx/>
                <a:uFillTx/>
                <a:latin typeface="Century Gothic"/>
                <a:ea typeface="+mn-ea"/>
                <a:cs typeface="Century Gothic"/>
              </a:rPr>
              <a:t>PC,</a:t>
            </a:r>
            <a:r>
              <a:rPr kumimoji="0" lang="en-GB" sz="800" b="0" i="0" u="none" strike="noStrike" kern="1200" cap="none" spc="-10" normalizeH="0" baseline="0" dirty="0">
                <a:ln>
                  <a:noFill/>
                </a:ln>
                <a:solidFill>
                  <a:prstClr val="black"/>
                </a:solidFill>
                <a:effectLst/>
                <a:uLnTx/>
                <a:uFillTx/>
                <a:latin typeface="Century Gothic"/>
                <a:ea typeface="+mn-ea"/>
                <a:cs typeface="Century Gothic"/>
              </a:rPr>
              <a:t> SZC, </a:t>
            </a:r>
            <a:r>
              <a:rPr kumimoji="0" lang="en-GB" sz="800" b="0" i="0" u="none" strike="noStrike" kern="1200" cap="none" spc="-10" normalizeH="0" baseline="0" dirty="0" err="1">
                <a:ln>
                  <a:noFill/>
                </a:ln>
                <a:solidFill>
                  <a:prstClr val="black"/>
                </a:solidFill>
                <a:effectLst/>
                <a:uLnTx/>
                <a:uFillTx/>
                <a:latin typeface="Century Gothic"/>
                <a:ea typeface="+mn-ea"/>
                <a:cs typeface="Century Gothic"/>
              </a:rPr>
              <a:t>Flamanville</a:t>
            </a:r>
            <a:r>
              <a:rPr kumimoji="0" lang="en-GB" sz="800" b="0" i="0" u="none" strike="noStrike" kern="1200" cap="none" spc="-10" normalizeH="0" baseline="0" dirty="0">
                <a:ln>
                  <a:noFill/>
                </a:ln>
                <a:solidFill>
                  <a:prstClr val="black"/>
                </a:solidFill>
                <a:effectLst/>
                <a:uLnTx/>
                <a:uFillTx/>
                <a:latin typeface="Century Gothic"/>
                <a:ea typeface="+mn-ea"/>
                <a:cs typeface="Century Gothic"/>
              </a:rPr>
              <a:t> and </a:t>
            </a:r>
            <a:r>
              <a:rPr kumimoji="0" lang="en-GB" sz="800" b="0" i="0" u="none" strike="noStrike" kern="1200" cap="none" spc="-5" normalizeH="0" baseline="0" dirty="0">
                <a:ln>
                  <a:noFill/>
                </a:ln>
                <a:solidFill>
                  <a:prstClr val="black"/>
                </a:solidFill>
                <a:effectLst/>
                <a:uLnTx/>
                <a:uFillTx/>
                <a:latin typeface="Century Gothic"/>
                <a:ea typeface="+mn-ea"/>
                <a:cs typeface="Century Gothic"/>
              </a:rPr>
              <a:t>Olkiluoto</a:t>
            </a:r>
            <a:r>
              <a:rPr kumimoji="0" lang="en-GB" sz="800" b="0" i="0" u="none" strike="noStrike" kern="1200" cap="none" spc="5" normalizeH="0" baseline="0" dirty="0">
                <a:ln>
                  <a:noFill/>
                </a:ln>
                <a:solidFill>
                  <a:prstClr val="black"/>
                </a:solidFill>
                <a:effectLst/>
                <a:uLnTx/>
                <a:uFillTx/>
                <a:latin typeface="Century Gothic"/>
                <a:ea typeface="+mn-ea"/>
                <a:cs typeface="Century Gothic"/>
              </a:rPr>
              <a:t>, as well as the </a:t>
            </a:r>
            <a:r>
              <a:rPr kumimoji="0" lang="en-GB" sz="800" b="0" i="0" u="none" strike="noStrike" kern="1200" cap="none" spc="-5" normalizeH="0" baseline="0" dirty="0">
                <a:ln>
                  <a:noFill/>
                </a:ln>
                <a:solidFill>
                  <a:prstClr val="black"/>
                </a:solidFill>
                <a:effectLst/>
                <a:uLnTx/>
                <a:uFillTx/>
                <a:latin typeface="Century Gothic"/>
                <a:ea typeface="+mn-ea"/>
                <a:cs typeface="Century Gothic"/>
              </a:rPr>
              <a:t>EPR2, SMR,</a:t>
            </a:r>
            <a:r>
              <a:rPr kumimoji="0" lang="en-GB" sz="800" b="0" i="0" u="none" strike="noStrike" kern="1200" cap="none" spc="-10" normalizeH="0" baseline="0" dirty="0">
                <a:ln>
                  <a:noFill/>
                </a:ln>
                <a:solidFill>
                  <a:prstClr val="black"/>
                </a:solidFill>
                <a:effectLst/>
                <a:uLnTx/>
                <a:uFillTx/>
                <a:latin typeface="Century Gothic"/>
                <a:ea typeface="+mn-ea"/>
                <a:cs typeface="Century Gothic"/>
              </a:rPr>
              <a:t> and ITER projects. Ekium is also engaged in other leading n</a:t>
            </a:r>
            <a:r>
              <a:rPr kumimoji="0" lang="en-GB" sz="800" b="0" i="0" u="none" strike="noStrike" kern="1200" cap="none" spc="0" normalizeH="0" baseline="0" dirty="0">
                <a:ln>
                  <a:noFill/>
                </a:ln>
                <a:solidFill>
                  <a:prstClr val="black"/>
                </a:solidFill>
                <a:effectLst/>
                <a:uLnTx/>
                <a:uFillTx/>
                <a:latin typeface="Century Gothic"/>
                <a:ea typeface="+mn-ea"/>
                <a:cs typeface="Century Gothic"/>
              </a:rPr>
              <a:t>uclear countries throughout the world.</a:t>
            </a:r>
          </a:p>
          <a:p>
            <a:pPr marL="12700" marR="5080" lvl="0" indent="0" algn="just" defTabSz="914400" rtl="0" eaLnBrk="1" fontAlgn="auto" latinLnBrk="0" hangingPunct="1">
              <a:lnSpc>
                <a:spcPts val="900"/>
              </a:lnSpc>
              <a:spcBef>
                <a:spcPts val="565"/>
              </a:spcBef>
              <a:spcAft>
                <a:spcPts val="0"/>
              </a:spcAft>
              <a:buClrTx/>
              <a:buSzTx/>
              <a:buFontTx/>
              <a:buNone/>
              <a:tabLst/>
              <a:defRPr/>
            </a:pPr>
            <a:r>
              <a:rPr kumimoji="0" lang="en-GB" sz="800" i="0" u="none" strike="noStrike" kern="1200" cap="none" spc="0" dirty="0">
                <a:ln>
                  <a:noFill/>
                </a:ln>
                <a:solidFill>
                  <a:prstClr val="black"/>
                </a:solidFill>
                <a:effectLst/>
                <a:uLnTx/>
                <a:uFillTx/>
                <a:latin typeface="Century Gothic"/>
                <a:ea typeface="+mn-ea"/>
                <a:cs typeface="Century Gothic"/>
              </a:rPr>
              <a:t>For</a:t>
            </a:r>
            <a:r>
              <a:rPr kumimoji="0" lang="en-GB" sz="800" b="1" i="0" u="none" strike="noStrike" kern="1200" cap="none" spc="5" dirty="0">
                <a:ln>
                  <a:noFill/>
                </a:ln>
                <a:solidFill>
                  <a:prstClr val="black"/>
                </a:solidFill>
                <a:effectLst/>
                <a:uLnTx/>
                <a:uFillTx/>
                <a:latin typeface="Century Gothic"/>
                <a:ea typeface="+mn-ea"/>
                <a:cs typeface="Century Gothic"/>
              </a:rPr>
              <a:t> </a:t>
            </a:r>
            <a:r>
              <a:rPr kumimoji="0" lang="en-GB" sz="800" b="1" i="0" u="none" strike="noStrike" kern="1200" cap="none" spc="-5" dirty="0">
                <a:ln>
                  <a:noFill/>
                </a:ln>
                <a:solidFill>
                  <a:prstClr val="black"/>
                </a:solidFill>
                <a:effectLst/>
                <a:uLnTx/>
                <a:uFillTx/>
                <a:latin typeface="Century Gothic"/>
                <a:ea typeface="+mn-ea"/>
                <a:cs typeface="Century Gothic"/>
              </a:rPr>
              <a:t>non</a:t>
            </a:r>
            <a:r>
              <a:rPr lang="en-GB" sz="800" b="1" dirty="0">
                <a:solidFill>
                  <a:prstClr val="black"/>
                </a:solidFill>
                <a:latin typeface="Century Gothic"/>
                <a:cs typeface="Century Gothic"/>
              </a:rPr>
              <a:t>-</a:t>
            </a:r>
            <a:r>
              <a:rPr kumimoji="0" lang="en-GB" sz="800" b="1" i="0" u="none" strike="noStrike" kern="1200" cap="none" spc="-5" dirty="0">
                <a:ln>
                  <a:noFill/>
                </a:ln>
                <a:solidFill>
                  <a:prstClr val="black"/>
                </a:solidFill>
                <a:effectLst/>
                <a:uLnTx/>
                <a:uFillTx/>
                <a:latin typeface="Century Gothic"/>
                <a:ea typeface="+mn-ea"/>
                <a:cs typeface="Century Gothic"/>
              </a:rPr>
              <a:t>nuclear</a:t>
            </a:r>
            <a:r>
              <a:rPr kumimoji="0" lang="en-GB" sz="800" b="1" i="0" u="none" strike="noStrike" kern="1200" cap="none" spc="0" dirty="0">
                <a:ln>
                  <a:noFill/>
                </a:ln>
                <a:solidFill>
                  <a:prstClr val="black"/>
                </a:solidFill>
                <a:effectLst/>
                <a:uLnTx/>
                <a:uFillTx/>
                <a:latin typeface="Century Gothic"/>
                <a:ea typeface="+mn-ea"/>
                <a:cs typeface="Century Gothic"/>
              </a:rPr>
              <a:t> </a:t>
            </a:r>
            <a:r>
              <a:rPr kumimoji="0" lang="en-GB" sz="800" b="1" i="0" u="none" strike="noStrike" kern="1200" cap="none" spc="-5" dirty="0">
                <a:ln>
                  <a:noFill/>
                </a:ln>
                <a:solidFill>
                  <a:prstClr val="black"/>
                </a:solidFill>
                <a:effectLst/>
                <a:uLnTx/>
                <a:uFillTx/>
                <a:latin typeface="Century Gothic"/>
                <a:ea typeface="+mn-ea"/>
                <a:cs typeface="Century Gothic"/>
              </a:rPr>
              <a:t>applications</a:t>
            </a:r>
            <a:r>
              <a:rPr kumimoji="0" lang="en-GB" sz="800" b="0" i="0" u="none" strike="noStrike" kern="1200" cap="none" spc="-5" dirty="0">
                <a:ln>
                  <a:noFill/>
                </a:ln>
                <a:solidFill>
                  <a:prstClr val="black"/>
                </a:solidFill>
                <a:effectLst/>
                <a:uLnTx/>
                <a:uFillTx/>
                <a:latin typeface="Century Gothic"/>
                <a:ea typeface="+mn-ea"/>
                <a:cs typeface="Century Gothic"/>
              </a:rPr>
              <a:t>, </a:t>
            </a:r>
            <a:r>
              <a:rPr kumimoji="0" lang="en-GB" sz="800" b="0" i="0" u="none" strike="noStrike" kern="1200" cap="none" spc="0" dirty="0">
                <a:ln>
                  <a:noFill/>
                </a:ln>
                <a:solidFill>
                  <a:prstClr val="black"/>
                </a:solidFill>
                <a:effectLst/>
                <a:uLnTx/>
                <a:uFillTx/>
                <a:latin typeface="Century Gothic"/>
                <a:ea typeface="+mn-ea"/>
                <a:cs typeface="Century Gothic"/>
              </a:rPr>
              <a:t> </a:t>
            </a:r>
            <a:r>
              <a:rPr kumimoji="0" lang="en-GB" sz="800" b="0" i="0" u="none" strike="noStrike" kern="1200" cap="none" spc="-5" dirty="0">
                <a:ln>
                  <a:noFill/>
                </a:ln>
                <a:solidFill>
                  <a:prstClr val="black"/>
                </a:solidFill>
                <a:effectLst/>
                <a:uLnTx/>
                <a:uFillTx/>
                <a:latin typeface="Century Gothic"/>
                <a:ea typeface="+mn-ea"/>
                <a:cs typeface="Century Gothic"/>
              </a:rPr>
              <a:t>EKIU</a:t>
            </a:r>
            <a:r>
              <a:rPr kumimoji="0" lang="en-GB" sz="800" b="0" i="0" u="none" strike="noStrike" kern="1200" cap="none" spc="0" dirty="0">
                <a:ln>
                  <a:noFill/>
                </a:ln>
                <a:solidFill>
                  <a:prstClr val="black"/>
                </a:solidFill>
                <a:effectLst/>
                <a:uLnTx/>
                <a:uFillTx/>
                <a:latin typeface="Century Gothic"/>
                <a:ea typeface="+mn-ea"/>
                <a:cs typeface="Century Gothic"/>
              </a:rPr>
              <a:t>M</a:t>
            </a:r>
            <a:r>
              <a:rPr kumimoji="0" lang="en-GB" sz="800" b="0" i="0" u="none" strike="noStrike" kern="1200" cap="none" spc="-95" dirty="0">
                <a:ln>
                  <a:noFill/>
                </a:ln>
                <a:solidFill>
                  <a:prstClr val="black"/>
                </a:solidFill>
                <a:effectLst/>
                <a:uLnTx/>
                <a:uFillTx/>
                <a:latin typeface="Century Gothic"/>
                <a:ea typeface="+mn-ea"/>
                <a:cs typeface="Century Gothic"/>
              </a:rPr>
              <a:t> </a:t>
            </a:r>
            <a:r>
              <a:rPr kumimoji="0" lang="en-GB" sz="800" b="0" i="0" u="none" strike="noStrike" kern="1200" cap="none" spc="-5" dirty="0">
                <a:ln>
                  <a:noFill/>
                </a:ln>
                <a:solidFill>
                  <a:prstClr val="black"/>
                </a:solidFill>
                <a:effectLst/>
                <a:uLnTx/>
                <a:uFillTx/>
                <a:latin typeface="Century Gothic"/>
                <a:ea typeface="+mn-ea"/>
                <a:cs typeface="Century Gothic"/>
              </a:rPr>
              <a:t>i</a:t>
            </a:r>
            <a:r>
              <a:rPr kumimoji="0" lang="en-GB" sz="800" b="0" i="0" u="none" strike="noStrike" kern="1200" cap="none" spc="0" dirty="0">
                <a:ln>
                  <a:noFill/>
                </a:ln>
                <a:solidFill>
                  <a:prstClr val="black"/>
                </a:solidFill>
                <a:effectLst/>
                <a:uLnTx/>
                <a:uFillTx/>
                <a:latin typeface="Century Gothic"/>
                <a:ea typeface="+mn-ea"/>
                <a:cs typeface="Century Gothic"/>
              </a:rPr>
              <a:t>s</a:t>
            </a:r>
            <a:r>
              <a:rPr kumimoji="0" lang="en-GB" sz="800" b="0" i="0" u="none" strike="noStrike" kern="1200" cap="none" spc="-95" dirty="0">
                <a:ln>
                  <a:noFill/>
                </a:ln>
                <a:solidFill>
                  <a:prstClr val="black"/>
                </a:solidFill>
                <a:effectLst/>
                <a:uLnTx/>
                <a:uFillTx/>
                <a:latin typeface="Century Gothic"/>
                <a:ea typeface="+mn-ea"/>
                <a:cs typeface="Century Gothic"/>
              </a:rPr>
              <a:t> </a:t>
            </a:r>
            <a:r>
              <a:rPr kumimoji="0" lang="en-GB" sz="800" b="0" i="0" u="none" strike="noStrike" kern="1200" cap="none" spc="-5" dirty="0">
                <a:ln>
                  <a:noFill/>
                </a:ln>
                <a:solidFill>
                  <a:prstClr val="black"/>
                </a:solidFill>
                <a:effectLst/>
                <a:uLnTx/>
                <a:uFillTx/>
                <a:latin typeface="Century Gothic"/>
                <a:ea typeface="+mn-ea"/>
                <a:cs typeface="Century Gothic"/>
              </a:rPr>
              <a:t>involve</a:t>
            </a:r>
            <a:r>
              <a:rPr kumimoji="0" lang="en-GB" sz="800" b="0" i="0" u="none" strike="noStrike" kern="1200" cap="none" spc="0" dirty="0">
                <a:ln>
                  <a:noFill/>
                </a:ln>
                <a:solidFill>
                  <a:prstClr val="black"/>
                </a:solidFill>
                <a:effectLst/>
                <a:uLnTx/>
                <a:uFillTx/>
                <a:latin typeface="Century Gothic"/>
                <a:ea typeface="+mn-ea"/>
                <a:cs typeface="Century Gothic"/>
              </a:rPr>
              <a:t>d </a:t>
            </a:r>
            <a:r>
              <a:rPr kumimoji="0" lang="en-GB" sz="800" b="0" i="0" u="none" strike="noStrike" kern="1200" cap="none" spc="-60" dirty="0">
                <a:ln>
                  <a:noFill/>
                </a:ln>
                <a:solidFill>
                  <a:prstClr val="black"/>
                </a:solidFill>
                <a:effectLst/>
                <a:uLnTx/>
                <a:uFillTx/>
                <a:latin typeface="Century Gothic"/>
                <a:ea typeface="+mn-ea"/>
                <a:cs typeface="Century Gothic"/>
              </a:rPr>
              <a:t> </a:t>
            </a:r>
            <a:r>
              <a:rPr kumimoji="0" lang="en-GB" sz="800" b="0" i="0" u="none" strike="noStrike" kern="1200" cap="none" spc="-5" dirty="0">
                <a:ln>
                  <a:noFill/>
                </a:ln>
                <a:solidFill>
                  <a:prstClr val="black"/>
                </a:solidFill>
                <a:effectLst/>
                <a:uLnTx/>
                <a:uFillTx/>
                <a:latin typeface="Century Gothic"/>
                <a:ea typeface="+mn-ea"/>
                <a:cs typeface="Century Gothic"/>
              </a:rPr>
              <a:t>i</a:t>
            </a:r>
            <a:r>
              <a:rPr kumimoji="0" lang="en-GB" sz="800" b="0" i="0" u="none" strike="noStrike" kern="1200" cap="none" spc="0" dirty="0">
                <a:ln>
                  <a:noFill/>
                </a:ln>
                <a:solidFill>
                  <a:prstClr val="black"/>
                </a:solidFill>
                <a:effectLst/>
                <a:uLnTx/>
                <a:uFillTx/>
                <a:latin typeface="Century Gothic"/>
                <a:ea typeface="+mn-ea"/>
                <a:cs typeface="Century Gothic"/>
              </a:rPr>
              <a:t>n</a:t>
            </a:r>
            <a:r>
              <a:rPr kumimoji="0" lang="en-GB" sz="800" b="0" i="0" u="none" strike="noStrike" kern="1200" cap="none" spc="-95" dirty="0">
                <a:ln>
                  <a:noFill/>
                </a:ln>
                <a:solidFill>
                  <a:prstClr val="black"/>
                </a:solidFill>
                <a:effectLst/>
                <a:uLnTx/>
                <a:uFillTx/>
                <a:latin typeface="Century Gothic"/>
                <a:ea typeface="+mn-ea"/>
                <a:cs typeface="Century Gothic"/>
              </a:rPr>
              <a:t> </a:t>
            </a:r>
            <a:r>
              <a:rPr kumimoji="0" lang="en-GB" sz="800" b="0" i="0" u="none" strike="noStrike" kern="1200" cap="none" spc="0" dirty="0">
                <a:ln>
                  <a:noFill/>
                </a:ln>
                <a:solidFill>
                  <a:prstClr val="black"/>
                </a:solidFill>
                <a:effectLst/>
                <a:uLnTx/>
                <a:uFillTx/>
                <a:latin typeface="Century Gothic"/>
                <a:ea typeface="+mn-ea"/>
                <a:cs typeface="Century Gothic"/>
              </a:rPr>
              <a:t>many</a:t>
            </a:r>
            <a:r>
              <a:rPr kumimoji="0" lang="en-GB" sz="800" b="0" i="0" u="none" strike="noStrike" kern="1200" cap="none" spc="-95" dirty="0">
                <a:ln>
                  <a:noFill/>
                </a:ln>
                <a:solidFill>
                  <a:prstClr val="black"/>
                </a:solidFill>
                <a:effectLst/>
                <a:uLnTx/>
                <a:uFillTx/>
                <a:latin typeface="Century Gothic"/>
                <a:ea typeface="+mn-ea"/>
                <a:cs typeface="Century Gothic"/>
              </a:rPr>
              <a:t> </a:t>
            </a:r>
            <a:r>
              <a:rPr kumimoji="0" lang="en-GB" sz="800" b="0" i="0" u="none" strike="noStrike" kern="1200" cap="none" spc="-5" dirty="0">
                <a:ln>
                  <a:noFill/>
                </a:ln>
                <a:solidFill>
                  <a:prstClr val="black"/>
                </a:solidFill>
                <a:effectLst/>
                <a:uLnTx/>
                <a:uFillTx/>
                <a:latin typeface="Century Gothic"/>
                <a:ea typeface="+mn-ea"/>
                <a:cs typeface="Century Gothic"/>
              </a:rPr>
              <a:t>industrial</a:t>
            </a:r>
            <a:r>
              <a:rPr kumimoji="0" lang="en-GB" sz="800" b="0" i="0" u="none" strike="noStrike" kern="1200" cap="none" spc="0" dirty="0">
                <a:ln>
                  <a:noFill/>
                </a:ln>
                <a:solidFill>
                  <a:prstClr val="black"/>
                </a:solidFill>
                <a:effectLst/>
                <a:uLnTx/>
                <a:uFillTx/>
                <a:latin typeface="Century Gothic"/>
                <a:ea typeface="+mn-ea"/>
                <a:cs typeface="Century Gothic"/>
              </a:rPr>
              <a:t> </a:t>
            </a:r>
            <a:r>
              <a:rPr kumimoji="0" lang="en-GB" sz="800" b="0" i="0" u="none" strike="noStrike" kern="1200" cap="none" spc="-5" dirty="0">
                <a:ln>
                  <a:noFill/>
                </a:ln>
                <a:solidFill>
                  <a:prstClr val="black"/>
                </a:solidFill>
                <a:effectLst/>
                <a:uLnTx/>
                <a:uFillTx/>
                <a:latin typeface="Century Gothic"/>
                <a:ea typeface="+mn-ea"/>
                <a:cs typeface="Century Gothic"/>
              </a:rPr>
              <a:t>projects in Europe </a:t>
            </a:r>
            <a:r>
              <a:rPr kumimoji="0" lang="en-GB" sz="800" b="0" i="0" u="none" strike="noStrike" kern="1200" cap="none" spc="-215" dirty="0">
                <a:ln>
                  <a:noFill/>
                </a:ln>
                <a:solidFill>
                  <a:prstClr val="black"/>
                </a:solidFill>
                <a:effectLst/>
                <a:uLnTx/>
                <a:uFillTx/>
                <a:latin typeface="Century Gothic"/>
                <a:ea typeface="+mn-ea"/>
                <a:cs typeface="Century Gothic"/>
              </a:rPr>
              <a:t> </a:t>
            </a:r>
            <a:r>
              <a:rPr kumimoji="0" lang="en-GB" sz="800" b="0" i="0" u="none" strike="noStrike" kern="1200" cap="none" spc="-5" dirty="0">
                <a:ln>
                  <a:noFill/>
                </a:ln>
                <a:solidFill>
                  <a:prstClr val="black"/>
                </a:solidFill>
                <a:effectLst/>
                <a:uLnTx/>
                <a:uFillTx/>
                <a:latin typeface="Century Gothic"/>
                <a:ea typeface="+mn-ea"/>
                <a:cs typeface="Century Gothic"/>
              </a:rPr>
              <a:t>(UK, Switzerland,</a:t>
            </a:r>
            <a:r>
              <a:rPr kumimoji="0" lang="en-GB" sz="800" b="0" i="0" u="none" strike="noStrike" kern="1200" cap="none" spc="-20" dirty="0">
                <a:ln>
                  <a:noFill/>
                </a:ln>
                <a:solidFill>
                  <a:prstClr val="black"/>
                </a:solidFill>
                <a:effectLst/>
                <a:uLnTx/>
                <a:uFillTx/>
                <a:latin typeface="Century Gothic"/>
                <a:ea typeface="+mn-ea"/>
                <a:cs typeface="Century Gothic"/>
              </a:rPr>
              <a:t> </a:t>
            </a:r>
            <a:r>
              <a:rPr kumimoji="0" lang="en-GB" sz="800" b="0" i="0" u="none" strike="noStrike" kern="1200" cap="none" spc="0" dirty="0">
                <a:ln>
                  <a:noFill/>
                </a:ln>
                <a:solidFill>
                  <a:prstClr val="black"/>
                </a:solidFill>
                <a:effectLst/>
                <a:uLnTx/>
                <a:uFillTx/>
                <a:latin typeface="Century Gothic"/>
                <a:ea typeface="+mn-ea"/>
                <a:cs typeface="Century Gothic"/>
              </a:rPr>
              <a:t>Luxembourg, </a:t>
            </a:r>
            <a:r>
              <a:rPr kumimoji="0" lang="en-GB" sz="800" b="0" i="0" u="none" strike="noStrike" kern="1200" cap="none" spc="-5" dirty="0">
                <a:ln>
                  <a:noFill/>
                </a:ln>
                <a:solidFill>
                  <a:prstClr val="black"/>
                </a:solidFill>
                <a:effectLst/>
                <a:uLnTx/>
                <a:uFillTx/>
                <a:latin typeface="Century Gothic"/>
                <a:ea typeface="+mn-ea"/>
                <a:cs typeface="Century Gothic"/>
              </a:rPr>
              <a:t>Belgium,</a:t>
            </a:r>
            <a:r>
              <a:rPr kumimoji="0" lang="en-GB" sz="800" b="0" i="0" u="none" strike="noStrike" kern="1200" cap="none" spc="0" dirty="0">
                <a:ln>
                  <a:noFill/>
                </a:ln>
                <a:solidFill>
                  <a:prstClr val="black"/>
                </a:solidFill>
                <a:effectLst/>
                <a:uLnTx/>
                <a:uFillTx/>
                <a:latin typeface="Century Gothic"/>
                <a:ea typeface="+mn-ea"/>
                <a:cs typeface="Century Gothic"/>
              </a:rPr>
              <a:t> Czech Republic, Poland, Slovakia, etc.).</a:t>
            </a:r>
          </a:p>
        </p:txBody>
      </p:sp>
      <p:sp>
        <p:nvSpPr>
          <p:cNvPr id="27" name="object 27"/>
          <p:cNvSpPr txBox="1"/>
          <p:nvPr/>
        </p:nvSpPr>
        <p:spPr>
          <a:xfrm>
            <a:off x="566724" y="5859483"/>
            <a:ext cx="949396" cy="25904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fr-FR" sz="800" b="1" i="0" u="none" strike="noStrike" kern="1200" cap="none" spc="0" normalizeH="0" baseline="0" noProof="0">
                <a:ln>
                  <a:noFill/>
                </a:ln>
                <a:solidFill>
                  <a:srgbClr val="498B80"/>
                </a:solidFill>
                <a:effectLst/>
                <a:uLnTx/>
                <a:uFillTx/>
                <a:latin typeface="Century Gothic"/>
                <a:ea typeface="+mn-ea"/>
                <a:cs typeface="Century Gothic"/>
              </a:rPr>
              <a:t>S</a:t>
            </a:r>
            <a:r>
              <a:rPr kumimoji="0" sz="800" b="1" i="0" u="none" strike="noStrike" kern="1200" cap="none" spc="0" normalizeH="0" baseline="0" noProof="0">
                <a:ln>
                  <a:noFill/>
                </a:ln>
                <a:solidFill>
                  <a:srgbClr val="498B80"/>
                </a:solidFill>
                <a:effectLst/>
                <a:uLnTx/>
                <a:uFillTx/>
                <a:latin typeface="Century Gothic"/>
                <a:ea typeface="+mn-ea"/>
                <a:cs typeface="Century Gothic"/>
              </a:rPr>
              <a:t>TRATEGY</a:t>
            </a:r>
            <a:r>
              <a:rPr kumimoji="0" lang="fr-FR" sz="800" b="1" i="0" u="none" strike="noStrike" kern="1200" cap="none" spc="0" normalizeH="0" baseline="0" noProof="0">
                <a:ln>
                  <a:noFill/>
                </a:ln>
                <a:solidFill>
                  <a:srgbClr val="498B80"/>
                </a:solidFill>
                <a:effectLst/>
                <a:uLnTx/>
                <a:uFillTx/>
                <a:latin typeface="Century Gothic"/>
                <a:ea typeface="+mn-ea"/>
                <a:cs typeface="Century Gothic"/>
              </a:rPr>
              <a:t> </a:t>
            </a:r>
            <a:r>
              <a:rPr kumimoji="0" sz="800" b="1" i="0" u="none" strike="noStrike" kern="1200" cap="none" spc="0" normalizeH="0" baseline="0" noProof="0">
                <a:ln>
                  <a:noFill/>
                </a:ln>
                <a:solidFill>
                  <a:srgbClr val="498B80"/>
                </a:solidFill>
                <a:effectLst/>
                <a:uLnTx/>
                <a:uFillTx/>
                <a:latin typeface="Century Gothic"/>
                <a:ea typeface="+mn-ea"/>
                <a:cs typeface="Century Gothic"/>
              </a:rPr>
              <a:t>AND</a:t>
            </a:r>
            <a:r>
              <a:rPr kumimoji="0" lang="fr-FR" sz="800" b="1" i="0" u="none" strike="noStrike" kern="1200" cap="none" spc="0" normalizeH="0" baseline="0" noProof="0">
                <a:ln>
                  <a:noFill/>
                </a:ln>
                <a:solidFill>
                  <a:srgbClr val="498B80"/>
                </a:solidFill>
                <a:effectLst/>
                <a:uLnTx/>
                <a:uFillTx/>
                <a:latin typeface="Century Gothic"/>
                <a:ea typeface="+mn-ea"/>
                <a:cs typeface="Century Gothic"/>
              </a:rPr>
              <a:t> EXPECTATION</a:t>
            </a:r>
            <a:endParaRPr kumimoji="0" sz="800" b="0" i="0" u="none" strike="noStrike" kern="1200" cap="none" spc="0" normalizeH="0" baseline="0" noProof="0">
              <a:ln>
                <a:noFill/>
              </a:ln>
              <a:solidFill>
                <a:prstClr val="black"/>
              </a:solidFill>
              <a:effectLst/>
              <a:uLnTx/>
              <a:uFillTx/>
              <a:latin typeface="Century Gothic"/>
              <a:ea typeface="+mn-ea"/>
              <a:cs typeface="Century Gothic"/>
            </a:endParaRPr>
          </a:p>
        </p:txBody>
      </p:sp>
      <p:sp>
        <p:nvSpPr>
          <p:cNvPr id="30" name="object 30"/>
          <p:cNvSpPr txBox="1"/>
          <p:nvPr/>
        </p:nvSpPr>
        <p:spPr>
          <a:xfrm>
            <a:off x="167262" y="6227271"/>
            <a:ext cx="1647865" cy="2059538"/>
          </a:xfrm>
          <a:prstGeom prst="rect">
            <a:avLst/>
          </a:prstGeom>
        </p:spPr>
        <p:txBody>
          <a:bodyPr vert="horz" wrap="square" lIns="0" tIns="12700" rIns="0" bIns="0" rtlCol="0">
            <a:spAutoFit/>
          </a:bodyPr>
          <a:lstStyle/>
          <a:p>
            <a:pPr marL="12700" marR="0" lvl="0" indent="0" algn="just" defTabSz="914400" rtl="0" eaLnBrk="1" fontAlgn="auto" latinLnBrk="0" hangingPunct="1">
              <a:lnSpc>
                <a:spcPct val="100000"/>
              </a:lnSpc>
              <a:spcBef>
                <a:spcPts val="100"/>
              </a:spcBef>
              <a:spcAft>
                <a:spcPts val="0"/>
              </a:spcAft>
              <a:buClrTx/>
              <a:buSzTx/>
              <a:buFontTx/>
              <a:buNone/>
              <a:tabLst/>
              <a:defRPr/>
            </a:pPr>
            <a:r>
              <a:rPr kumimoji="0" lang="en-GB" sz="800" b="0" i="0" u="none" strike="noStrike" kern="1200" cap="none" spc="-5" normalizeH="0" baseline="0" dirty="0">
                <a:ln>
                  <a:noFill/>
                </a:ln>
                <a:solidFill>
                  <a:prstClr val="black"/>
                </a:solidFill>
                <a:effectLst/>
                <a:uLnTx/>
                <a:uFillTx/>
                <a:latin typeface="Century Gothic"/>
                <a:ea typeface="+mn-ea"/>
                <a:cs typeface="Century Gothic"/>
              </a:rPr>
              <a:t>EKIUM's objective is to:</a:t>
            </a:r>
          </a:p>
          <a:p>
            <a:pPr marL="184150" marR="0" lvl="0" indent="-171450" algn="just"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GB" sz="800" spc="-5" dirty="0">
                <a:solidFill>
                  <a:prstClr val="black"/>
                </a:solidFill>
                <a:latin typeface="Century Gothic"/>
                <a:cs typeface="Century Gothic"/>
              </a:rPr>
              <a:t>Support</a:t>
            </a:r>
            <a:r>
              <a:rPr kumimoji="0" lang="en-GB" sz="800" b="0" i="0" u="none" strike="noStrike" kern="1200" cap="none" spc="-5" normalizeH="0" baseline="0" dirty="0">
                <a:ln>
                  <a:noFill/>
                </a:ln>
                <a:solidFill>
                  <a:prstClr val="black"/>
                </a:solidFill>
                <a:effectLst/>
                <a:uLnTx/>
                <a:uFillTx/>
                <a:latin typeface="Century Gothic"/>
                <a:ea typeface="+mn-ea"/>
                <a:cs typeface="Century Gothic"/>
              </a:rPr>
              <a:t> the UK in its ambition to develop its nuclear fleet</a:t>
            </a:r>
          </a:p>
          <a:p>
            <a:pPr marL="184150" marR="0" lvl="0" indent="-171450" algn="just"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kumimoji="0" lang="en-GB" sz="800" b="0" i="0" u="none" strike="noStrike" kern="1200" cap="none" spc="-5" normalizeH="0" baseline="0" dirty="0">
                <a:ln>
                  <a:noFill/>
                </a:ln>
                <a:solidFill>
                  <a:prstClr val="black"/>
                </a:solidFill>
                <a:effectLst/>
                <a:uLnTx/>
                <a:uFillTx/>
                <a:latin typeface="Century Gothic"/>
                <a:ea typeface="+mn-ea"/>
                <a:cs typeface="Century Gothic"/>
              </a:rPr>
              <a:t>Help operate its existing nuclear power plants</a:t>
            </a:r>
          </a:p>
          <a:p>
            <a:pPr marL="184150" marR="0" lvl="0" indent="-171450" algn="just"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kumimoji="0" lang="en-GB" sz="800" b="0" i="0" u="none" strike="noStrike" kern="1200" cap="none" spc="-5" normalizeH="0" baseline="0" dirty="0">
                <a:ln>
                  <a:noFill/>
                </a:ln>
                <a:solidFill>
                  <a:prstClr val="black"/>
                </a:solidFill>
                <a:effectLst/>
                <a:uLnTx/>
                <a:uFillTx/>
                <a:latin typeface="Century Gothic"/>
                <a:ea typeface="+mn-ea"/>
                <a:cs typeface="Century Gothic"/>
              </a:rPr>
              <a:t>Assist in the decommissioning of end-of-life plants</a:t>
            </a:r>
          </a:p>
          <a:p>
            <a:pPr marL="184150" marR="0" lvl="0" indent="-171450" algn="just"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lang="en-GB" sz="800" spc="-5" dirty="0">
                <a:solidFill>
                  <a:prstClr val="black"/>
                </a:solidFill>
                <a:latin typeface="Century Gothic"/>
                <a:cs typeface="Century Gothic"/>
              </a:rPr>
              <a:t>Participate in the UK Fusion programme</a:t>
            </a:r>
          </a:p>
          <a:p>
            <a:pPr marL="184150" marR="0" lvl="0" indent="-171450" algn="just"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lang="en-GB" sz="800" spc="-5" dirty="0">
              <a:solidFill>
                <a:prstClr val="black"/>
              </a:solidFill>
              <a:latin typeface="Century Gothic"/>
              <a:cs typeface="Century Gothic"/>
            </a:endParaRPr>
          </a:p>
          <a:p>
            <a:pPr marL="12700" marR="0" lvl="0" indent="0" algn="just" defTabSz="914400" rtl="0" eaLnBrk="1" fontAlgn="auto" latinLnBrk="0" hangingPunct="1">
              <a:lnSpc>
                <a:spcPct val="100000"/>
              </a:lnSpc>
              <a:spcBef>
                <a:spcPts val="100"/>
              </a:spcBef>
              <a:spcAft>
                <a:spcPts val="0"/>
              </a:spcAft>
              <a:buClrTx/>
              <a:buSzTx/>
              <a:buFontTx/>
              <a:buNone/>
              <a:tabLst/>
              <a:defRPr/>
            </a:pPr>
            <a:r>
              <a:rPr kumimoji="0" lang="en-US" sz="800" b="0" i="0" u="none" strike="noStrike" kern="1200" cap="none" spc="-5" normalizeH="0" baseline="0" dirty="0">
                <a:ln>
                  <a:noFill/>
                </a:ln>
                <a:solidFill>
                  <a:prstClr val="black"/>
                </a:solidFill>
                <a:effectLst/>
                <a:uLnTx/>
                <a:uFillTx/>
                <a:latin typeface="Century Gothic"/>
                <a:ea typeface="+mn-ea"/>
                <a:cs typeface="Century Gothic"/>
              </a:rPr>
              <a:t>Thanks to its extensive experience, EKIUM has already developed strong partnerships with local companies and wishes to put its skills at the service of the British nuclear industry.</a:t>
            </a:r>
          </a:p>
        </p:txBody>
      </p:sp>
      <p:sp>
        <p:nvSpPr>
          <p:cNvPr id="32" name="object 32"/>
          <p:cNvSpPr txBox="1"/>
          <p:nvPr/>
        </p:nvSpPr>
        <p:spPr>
          <a:xfrm>
            <a:off x="2330569" y="1311678"/>
            <a:ext cx="1556771" cy="443711"/>
          </a:xfrm>
          <a:prstGeom prst="rect">
            <a:avLst/>
          </a:prstGeom>
        </p:spPr>
        <p:txBody>
          <a:bodyPr vert="horz" wrap="square" lIns="0" tIns="33020" rIns="0" bIns="0" rtlCol="0">
            <a:spAutoFit/>
          </a:bodyPr>
          <a:lstStyle/>
          <a:p>
            <a:pPr marL="12700" marR="5080" lvl="0" indent="0" algn="l" defTabSz="914400" rtl="0" eaLnBrk="1" fontAlgn="auto" latinLnBrk="0" hangingPunct="1">
              <a:lnSpc>
                <a:spcPts val="800"/>
              </a:lnSpc>
              <a:spcBef>
                <a:spcPts val="260"/>
              </a:spcBef>
              <a:spcAft>
                <a:spcPts val="0"/>
              </a:spcAft>
              <a:buClrTx/>
              <a:buSzTx/>
              <a:buFontTx/>
              <a:buNone/>
              <a:tabLst/>
              <a:defRPr/>
            </a:pPr>
            <a:r>
              <a:rPr kumimoji="0" sz="800" b="1" i="0" u="none" strike="noStrike" kern="1200" cap="none" spc="0" normalizeH="0" baseline="0" noProof="0" dirty="0">
                <a:ln>
                  <a:noFill/>
                </a:ln>
                <a:solidFill>
                  <a:srgbClr val="FFFFFF"/>
                </a:solidFill>
                <a:effectLst/>
                <a:uLnTx/>
                <a:uFillTx/>
                <a:latin typeface="Century Gothic"/>
                <a:ea typeface="+mn-ea"/>
                <a:cs typeface="Century Gothic"/>
              </a:rPr>
              <a:t>Export </a:t>
            </a:r>
            <a:r>
              <a:rPr kumimoji="0" sz="800" b="1" i="0" u="none" strike="noStrike" kern="1200" cap="none" spc="-5" normalizeH="0" baseline="0" noProof="0" dirty="0">
                <a:ln>
                  <a:noFill/>
                </a:ln>
                <a:solidFill>
                  <a:srgbClr val="FFFFFF"/>
                </a:solidFill>
                <a:effectLst/>
                <a:uLnTx/>
                <a:uFillTx/>
                <a:latin typeface="Century Gothic"/>
                <a:ea typeface="+mn-ea"/>
                <a:cs typeface="Century Gothic"/>
              </a:rPr>
              <a:t>areas </a:t>
            </a:r>
            <a:r>
              <a:rPr kumimoji="0" sz="800" b="0" i="0" u="none" strike="noStrike" kern="1200" cap="none" spc="0" normalizeH="0" baseline="0" noProof="0" dirty="0">
                <a:ln>
                  <a:noFill/>
                </a:ln>
                <a:solidFill>
                  <a:srgbClr val="FFFFFF"/>
                </a:solidFill>
                <a:effectLst/>
                <a:uLnTx/>
                <a:uFillTx/>
                <a:latin typeface="Century Gothic"/>
                <a:ea typeface="+mn-ea"/>
                <a:cs typeface="Century Gothic"/>
              </a:rPr>
              <a:t>: </a:t>
            </a:r>
            <a:r>
              <a:rPr lang="pt-BR" sz="800" dirty="0">
                <a:solidFill>
                  <a:srgbClr val="FFFFFF"/>
                </a:solidFill>
                <a:latin typeface="Century Gothic"/>
                <a:cs typeface="Century Gothic"/>
              </a:rPr>
              <a:t>UK, </a:t>
            </a:r>
            <a:r>
              <a:rPr lang="pt-BR" sz="800" spc="-5" dirty="0">
                <a:solidFill>
                  <a:srgbClr val="FFFFFF"/>
                </a:solidFill>
                <a:latin typeface="Century Gothic"/>
                <a:cs typeface="Century Gothic"/>
              </a:rPr>
              <a:t>India, </a:t>
            </a:r>
            <a:r>
              <a:rPr lang="pt-BR" sz="800" dirty="0">
                <a:solidFill>
                  <a:srgbClr val="FFFFFF"/>
                </a:solidFill>
                <a:latin typeface="Century Gothic"/>
                <a:cs typeface="Century Gothic"/>
              </a:rPr>
              <a:t> </a:t>
            </a:r>
            <a:r>
              <a:rPr lang="pt-BR" sz="800" spc="-5" dirty="0">
                <a:solidFill>
                  <a:srgbClr val="FFFFFF"/>
                </a:solidFill>
                <a:latin typeface="Century Gothic"/>
                <a:cs typeface="Century Gothic"/>
              </a:rPr>
              <a:t>Switzerland,</a:t>
            </a:r>
            <a:r>
              <a:rPr lang="pt-BR" sz="800" spc="-40" dirty="0">
                <a:solidFill>
                  <a:srgbClr val="FFFFFF"/>
                </a:solidFill>
                <a:latin typeface="Century Gothic"/>
                <a:cs typeface="Century Gothic"/>
              </a:rPr>
              <a:t> </a:t>
            </a:r>
            <a:r>
              <a:rPr lang="pt-BR" sz="800" spc="-5" dirty="0">
                <a:solidFill>
                  <a:srgbClr val="FFFFFF"/>
                </a:solidFill>
                <a:latin typeface="Century Gothic"/>
                <a:cs typeface="Century Gothic"/>
              </a:rPr>
              <a:t>Belgium,</a:t>
            </a:r>
            <a:r>
              <a:rPr lang="pt-BR" sz="800" spc="-45" dirty="0">
                <a:solidFill>
                  <a:srgbClr val="FFFFFF"/>
                </a:solidFill>
                <a:latin typeface="Century Gothic"/>
                <a:cs typeface="Century Gothic"/>
              </a:rPr>
              <a:t> </a:t>
            </a:r>
            <a:r>
              <a:rPr lang="pt-BR" sz="800" dirty="0">
                <a:solidFill>
                  <a:srgbClr val="FFFFFF"/>
                </a:solidFill>
                <a:latin typeface="Century Gothic"/>
                <a:cs typeface="Century Gothic"/>
              </a:rPr>
              <a:t>Luxembourg, Canada, </a:t>
            </a:r>
            <a:r>
              <a:rPr lang="pt-BR" sz="800" spc="-204" dirty="0">
                <a:solidFill>
                  <a:srgbClr val="FFFFFF"/>
                </a:solidFill>
                <a:latin typeface="Century Gothic"/>
                <a:cs typeface="Century Gothic"/>
              </a:rPr>
              <a:t> </a:t>
            </a:r>
            <a:r>
              <a:rPr lang="pt-BR" sz="800" dirty="0">
                <a:solidFill>
                  <a:srgbClr val="FFFFFF"/>
                </a:solidFill>
                <a:latin typeface="Century Gothic"/>
                <a:cs typeface="Century Gothic"/>
              </a:rPr>
              <a:t>Tanzania,…</a:t>
            </a:r>
            <a:endParaRPr kumimoji="0" sz="800" b="0" i="0" u="none" strike="noStrike" kern="1200" cap="none" spc="0" normalizeH="0" baseline="0" noProof="0" dirty="0">
              <a:ln>
                <a:noFill/>
              </a:ln>
              <a:solidFill>
                <a:prstClr val="black"/>
              </a:solidFill>
              <a:effectLst/>
              <a:uLnTx/>
              <a:uFillTx/>
              <a:latin typeface="Century Gothic"/>
              <a:ea typeface="+mn-ea"/>
              <a:cs typeface="Century Gothic"/>
            </a:endParaRPr>
          </a:p>
        </p:txBody>
      </p:sp>
      <p:sp>
        <p:nvSpPr>
          <p:cNvPr id="40" name="object 40"/>
          <p:cNvSpPr txBox="1"/>
          <p:nvPr/>
        </p:nvSpPr>
        <p:spPr>
          <a:xfrm>
            <a:off x="2330570" y="357947"/>
            <a:ext cx="985519" cy="292388"/>
          </a:xfrm>
          <a:prstGeom prst="rect">
            <a:avLst/>
          </a:prstGeom>
        </p:spPr>
        <p:txBody>
          <a:bodyPr vert="horz" wrap="square" lIns="0" tIns="17780" rIns="0" bIns="0" rtlCol="0">
            <a:spAutoFit/>
          </a:bodyPr>
          <a:lstStyle/>
          <a:p>
            <a:pPr marL="12700" marR="0" lvl="0" indent="0" algn="l" defTabSz="914400" rtl="0" eaLnBrk="1" fontAlgn="auto" latinLnBrk="0" hangingPunct="1">
              <a:lnSpc>
                <a:spcPct val="100000"/>
              </a:lnSpc>
              <a:spcBef>
                <a:spcPts val="140"/>
              </a:spcBef>
              <a:spcAft>
                <a:spcPts val="0"/>
              </a:spcAft>
              <a:buClrTx/>
              <a:buSzTx/>
              <a:buFontTx/>
              <a:buNone/>
              <a:tabLst/>
              <a:defRPr/>
            </a:pPr>
            <a:r>
              <a:rPr kumimoji="0" sz="700" b="0" i="0" u="none" strike="noStrike" kern="1200" cap="none" spc="0" normalizeH="0" baseline="0" noProof="0" dirty="0">
                <a:ln>
                  <a:noFill/>
                </a:ln>
                <a:solidFill>
                  <a:srgbClr val="FFFFFF"/>
                </a:solidFill>
                <a:effectLst/>
                <a:uLnTx/>
                <a:uFillTx/>
                <a:latin typeface="Century Gothic"/>
                <a:ea typeface="+mn-ea"/>
                <a:cs typeface="Century Gothic"/>
              </a:rPr>
              <a:t>Annual</a:t>
            </a:r>
            <a:r>
              <a:rPr kumimoji="0" sz="700" b="0" i="0" u="none" strike="noStrike" kern="1200" cap="none" spc="-50" normalizeH="0" baseline="0" noProof="0" dirty="0">
                <a:ln>
                  <a:noFill/>
                </a:ln>
                <a:solidFill>
                  <a:srgbClr val="FFFFFF"/>
                </a:solidFill>
                <a:effectLst/>
                <a:uLnTx/>
                <a:uFillTx/>
                <a:latin typeface="Century Gothic"/>
                <a:ea typeface="+mn-ea"/>
                <a:cs typeface="Century Gothic"/>
              </a:rPr>
              <a:t> </a:t>
            </a:r>
            <a:r>
              <a:rPr kumimoji="0" sz="700" b="0" i="0" u="none" strike="noStrike" kern="1200" cap="none" spc="0" normalizeH="0" baseline="0" noProof="0" dirty="0">
                <a:ln>
                  <a:noFill/>
                </a:ln>
                <a:solidFill>
                  <a:srgbClr val="FFFFFF"/>
                </a:solidFill>
                <a:effectLst/>
                <a:uLnTx/>
                <a:uFillTx/>
                <a:latin typeface="Century Gothic"/>
                <a:ea typeface="+mn-ea"/>
                <a:cs typeface="Century Gothic"/>
              </a:rPr>
              <a:t>turnover</a:t>
            </a:r>
            <a:endParaRPr kumimoji="0" sz="700" b="0" i="0" u="none" strike="noStrike" kern="1200" cap="none" spc="0" normalizeH="0" baseline="0" noProof="0" dirty="0">
              <a:ln>
                <a:noFill/>
              </a:ln>
              <a:solidFill>
                <a:prstClr val="black"/>
              </a:solidFill>
              <a:effectLst/>
              <a:uLnTx/>
              <a:uFillTx/>
              <a:latin typeface="Century Gothic"/>
              <a:ea typeface="+mn-ea"/>
              <a:cs typeface="Century Gothic"/>
            </a:endParaRPr>
          </a:p>
          <a:p>
            <a:pPr marL="12700" marR="0" lvl="0" indent="0" algn="l" defTabSz="914400" rtl="0" eaLnBrk="1" fontAlgn="auto" latinLnBrk="0" hangingPunct="1">
              <a:lnSpc>
                <a:spcPct val="100000"/>
              </a:lnSpc>
              <a:spcBef>
                <a:spcPts val="60"/>
              </a:spcBef>
              <a:spcAft>
                <a:spcPts val="0"/>
              </a:spcAft>
              <a:buClrTx/>
              <a:buSzTx/>
              <a:buFontTx/>
              <a:buNone/>
              <a:tabLst/>
              <a:defRPr/>
            </a:pPr>
            <a:r>
              <a:rPr kumimoji="0" sz="1000" b="1" i="0" u="none" strike="noStrike" kern="1200" cap="none" spc="-5" normalizeH="0" baseline="0" noProof="0" dirty="0">
                <a:ln>
                  <a:noFill/>
                </a:ln>
                <a:solidFill>
                  <a:srgbClr val="FFFFFF"/>
                </a:solidFill>
                <a:effectLst/>
                <a:uLnTx/>
                <a:uFillTx/>
                <a:latin typeface="Century Gothic"/>
                <a:ea typeface="+mn-ea"/>
                <a:cs typeface="Century Gothic"/>
              </a:rPr>
              <a:t>1</a:t>
            </a:r>
            <a:r>
              <a:rPr kumimoji="0" lang="fr-FR" sz="1000" b="1" i="0" u="none" strike="noStrike" kern="1200" cap="none" spc="-5" normalizeH="0" baseline="0" noProof="0" dirty="0">
                <a:ln>
                  <a:noFill/>
                </a:ln>
                <a:solidFill>
                  <a:srgbClr val="FFFFFF"/>
                </a:solidFill>
                <a:effectLst/>
                <a:uLnTx/>
                <a:uFillTx/>
                <a:latin typeface="Century Gothic"/>
                <a:ea typeface="+mn-ea"/>
                <a:cs typeface="Century Gothic"/>
              </a:rPr>
              <a:t>5</a:t>
            </a:r>
            <a:r>
              <a:rPr kumimoji="0" sz="1000" b="1" i="0" u="none" strike="noStrike" kern="1200" cap="none" spc="-5" normalizeH="0" baseline="0" noProof="0" dirty="0">
                <a:ln>
                  <a:noFill/>
                </a:ln>
                <a:solidFill>
                  <a:srgbClr val="FFFFFF"/>
                </a:solidFill>
                <a:effectLst/>
                <a:uLnTx/>
                <a:uFillTx/>
                <a:latin typeface="Century Gothic"/>
                <a:ea typeface="+mn-ea"/>
                <a:cs typeface="Century Gothic"/>
              </a:rPr>
              <a:t>0</a:t>
            </a:r>
            <a:r>
              <a:rPr kumimoji="0" sz="1000" b="1" i="0" u="none" strike="noStrike" kern="1200" cap="none" spc="-45" normalizeH="0" baseline="0" noProof="0" dirty="0">
                <a:ln>
                  <a:noFill/>
                </a:ln>
                <a:solidFill>
                  <a:srgbClr val="FFFFFF"/>
                </a:solidFill>
                <a:effectLst/>
                <a:uLnTx/>
                <a:uFillTx/>
                <a:latin typeface="Century Gothic"/>
                <a:ea typeface="+mn-ea"/>
                <a:cs typeface="Century Gothic"/>
              </a:rPr>
              <a:t> </a:t>
            </a:r>
            <a:r>
              <a:rPr kumimoji="0" sz="1000" b="1" i="0" u="none" strike="noStrike" kern="1200" cap="none" spc="0" normalizeH="0" baseline="0" noProof="0" dirty="0">
                <a:ln>
                  <a:noFill/>
                </a:ln>
                <a:solidFill>
                  <a:srgbClr val="FFFFFF"/>
                </a:solidFill>
                <a:effectLst/>
                <a:uLnTx/>
                <a:uFillTx/>
                <a:latin typeface="Century Gothic"/>
                <a:ea typeface="+mn-ea"/>
                <a:cs typeface="Century Gothic"/>
              </a:rPr>
              <a:t>M€</a:t>
            </a:r>
            <a:endParaRPr kumimoji="0" sz="1000" b="0" i="0" u="none" strike="noStrike" kern="1200" cap="none" spc="0" normalizeH="0" baseline="0" noProof="0" dirty="0">
              <a:ln>
                <a:noFill/>
              </a:ln>
              <a:solidFill>
                <a:prstClr val="black"/>
              </a:solidFill>
              <a:effectLst/>
              <a:uLnTx/>
              <a:uFillTx/>
              <a:latin typeface="Century Gothic"/>
              <a:ea typeface="+mn-ea"/>
              <a:cs typeface="Century Gothic"/>
            </a:endParaRPr>
          </a:p>
        </p:txBody>
      </p:sp>
      <p:sp>
        <p:nvSpPr>
          <p:cNvPr id="41" name="object 41"/>
          <p:cNvSpPr txBox="1"/>
          <p:nvPr/>
        </p:nvSpPr>
        <p:spPr>
          <a:xfrm>
            <a:off x="2330570" y="1148701"/>
            <a:ext cx="817880" cy="13593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GB" sz="800" b="1" i="0" u="none" strike="noStrike" kern="1200" cap="none" spc="0" normalizeH="0" baseline="0" noProof="0" dirty="0">
                <a:ln>
                  <a:noFill/>
                </a:ln>
                <a:solidFill>
                  <a:srgbClr val="FFFFFF"/>
                </a:solidFill>
                <a:effectLst/>
                <a:uLnTx/>
                <a:uFillTx/>
                <a:latin typeface="Century Gothic"/>
                <a:ea typeface="+mn-ea"/>
                <a:cs typeface="Century Gothic"/>
              </a:rPr>
              <a:t>Large </a:t>
            </a:r>
            <a:r>
              <a:rPr kumimoji="0" lang="en-GB" sz="800" b="1" i="0" u="none" strike="noStrike" kern="1200" cap="none" spc="-5" normalizeH="0" baseline="0" noProof="0" dirty="0">
                <a:ln>
                  <a:noFill/>
                </a:ln>
                <a:solidFill>
                  <a:srgbClr val="FFFFFF"/>
                </a:solidFill>
                <a:effectLst/>
                <a:uLnTx/>
                <a:uFillTx/>
                <a:latin typeface="Century Gothic"/>
                <a:ea typeface="+mn-ea"/>
                <a:cs typeface="Century Gothic"/>
              </a:rPr>
              <a:t>company</a:t>
            </a:r>
            <a:endParaRPr kumimoji="0" lang="en-GB" sz="800" b="0" i="0" u="none" strike="noStrike" kern="1200" cap="none" spc="0" normalizeH="0" baseline="0" noProof="0" dirty="0">
              <a:ln>
                <a:noFill/>
              </a:ln>
              <a:solidFill>
                <a:prstClr val="black"/>
              </a:solidFill>
              <a:effectLst/>
              <a:uLnTx/>
              <a:uFillTx/>
              <a:latin typeface="Century Gothic"/>
              <a:ea typeface="+mn-ea"/>
              <a:cs typeface="Century Gothic"/>
            </a:endParaRPr>
          </a:p>
        </p:txBody>
      </p:sp>
      <p:sp>
        <p:nvSpPr>
          <p:cNvPr id="44" name="object 44"/>
          <p:cNvSpPr txBox="1"/>
          <p:nvPr/>
        </p:nvSpPr>
        <p:spPr>
          <a:xfrm>
            <a:off x="2273301" y="2188390"/>
            <a:ext cx="3373834" cy="5522024"/>
          </a:xfrm>
          <a:prstGeom prst="rect">
            <a:avLst/>
          </a:prstGeom>
        </p:spPr>
        <p:txBody>
          <a:bodyPr vert="horz" wrap="square" lIns="0" tIns="12700" rIns="0" bIns="0" rtlCol="0">
            <a:spAutoFit/>
          </a:bodyPr>
          <a:lstStyle/>
          <a:p>
            <a:pPr marL="0" marR="0" lvl="0" indent="0" algn="l" defTabSz="914400" rtl="0" eaLnBrk="1" fontAlgn="auto" latinLnBrk="0" hangingPunct="1">
              <a:lnSpc>
                <a:spcPct val="150000"/>
              </a:lnSpc>
              <a:spcBef>
                <a:spcPts val="0"/>
              </a:spcBef>
              <a:spcAft>
                <a:spcPts val="0"/>
              </a:spcAft>
              <a:buClrTx/>
              <a:buSzPct val="300000"/>
              <a:buFontTx/>
              <a:buNone/>
              <a:tabLst>
                <a:tab pos="302895" algn="l"/>
              </a:tabLst>
              <a:defRPr/>
            </a:pPr>
            <a:r>
              <a:rPr kumimoji="0" lang="en-GB" sz="1000" b="1" i="0" u="none" strike="noStrike" kern="1200" cap="none" spc="0" normalizeH="0" baseline="0" noProof="0" dirty="0">
                <a:ln>
                  <a:noFill/>
                </a:ln>
                <a:solidFill>
                  <a:srgbClr val="EF3A47"/>
                </a:solidFill>
                <a:effectLst/>
                <a:uLnTx/>
                <a:uFillTx/>
                <a:latin typeface="Century Gothic" panose="020B0502020202020204" pitchFamily="34" charset="0"/>
                <a:ea typeface="+mn-ea"/>
                <a:cs typeface="Century Gothic"/>
              </a:rPr>
              <a:t>SHORT</a:t>
            </a:r>
            <a:r>
              <a:rPr kumimoji="0" lang="en-GB" sz="1000" b="1" i="0" u="none" strike="noStrike" kern="1200" cap="none" spc="-50" normalizeH="0" baseline="0" noProof="0" dirty="0">
                <a:ln>
                  <a:noFill/>
                </a:ln>
                <a:solidFill>
                  <a:srgbClr val="EF3A47"/>
                </a:solidFill>
                <a:effectLst/>
                <a:uLnTx/>
                <a:uFillTx/>
                <a:latin typeface="Century Gothic" panose="020B0502020202020204" pitchFamily="34" charset="0"/>
                <a:ea typeface="+mn-ea"/>
                <a:cs typeface="Century Gothic"/>
              </a:rPr>
              <a:t> </a:t>
            </a:r>
            <a:r>
              <a:rPr kumimoji="0" lang="en-GB" sz="1000" b="1" i="0" u="none" strike="noStrike" kern="1200" cap="none" spc="-5" normalizeH="0" baseline="0" noProof="0" dirty="0">
                <a:ln>
                  <a:noFill/>
                </a:ln>
                <a:solidFill>
                  <a:srgbClr val="EF3A47"/>
                </a:solidFill>
                <a:effectLst/>
                <a:uLnTx/>
                <a:uFillTx/>
                <a:latin typeface="Century Gothic" panose="020B0502020202020204" pitchFamily="34" charset="0"/>
                <a:ea typeface="+mn-ea"/>
                <a:cs typeface="Century Gothic"/>
              </a:rPr>
              <a:t>PROFILE</a:t>
            </a:r>
            <a:endParaRPr kumimoji="0" lang="en-GB"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Century Gothic"/>
            </a:endParaRPr>
          </a:p>
          <a:p>
            <a:pPr marL="0" marR="30480" lvl="0" indent="0" algn="just" defTabSz="914400" rtl="0" eaLnBrk="1" fontAlgn="auto" latinLnBrk="0" hangingPunct="1">
              <a:lnSpc>
                <a:spcPts val="850"/>
              </a:lnSpc>
              <a:spcBef>
                <a:spcPts val="135"/>
              </a:spcBef>
              <a:spcAft>
                <a:spcPts val="0"/>
              </a:spcAft>
              <a:buClrTx/>
              <a:buSzTx/>
              <a:buFontTx/>
              <a:buNone/>
              <a:tabLst/>
              <a:defRPr/>
            </a:pPr>
            <a:r>
              <a:rPr kumimoji="0" lang="en-US"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Ekium is a group of engineering companies</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a:t>
            </a:r>
            <a:r>
              <a:rPr kumimoji="0" lang="en-GB" sz="800" b="0" i="0" u="none" strike="noStrike" kern="1200" cap="none" spc="-6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headquartered in Lyon,</a:t>
            </a:r>
            <a:r>
              <a:rPr kumimoji="0" lang="en-GB" sz="800" b="0" i="0" u="none" strike="noStrike" kern="1200" cap="none" spc="-6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France,</a:t>
            </a:r>
            <a:r>
              <a:rPr kumimoji="0" lang="en-GB" sz="800" b="0" i="0" u="none" strike="noStrike" kern="1200" cap="none" spc="-6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with  </a:t>
            </a:r>
            <a:r>
              <a:rPr lang="en-GB" sz="800" spc="-5" dirty="0">
                <a:solidFill>
                  <a:srgbClr val="231F20"/>
                </a:solidFill>
                <a:latin typeface="Century Gothic" panose="020B0502020202020204" pitchFamily="34" charset="0"/>
                <a:cs typeface="Century Gothic"/>
              </a:rPr>
              <a:t>more than 30</a:t>
            </a:r>
            <a:r>
              <a:rPr kumimoji="0" lang="en-GB" sz="800" b="0" i="0" u="none" strike="noStrike" kern="1200" cap="none" spc="-2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offices</a:t>
            </a:r>
            <a:r>
              <a:rPr kumimoji="0" lang="en-GB" sz="800" b="0" i="0" u="none" strike="noStrike" kern="1200" cap="none" spc="-2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in</a:t>
            </a:r>
            <a:r>
              <a:rPr kumimoji="0" lang="en-GB" sz="800" b="0" i="0" u="none" strike="noStrike" kern="1200" cap="none" spc="-15"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France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and</a:t>
            </a:r>
            <a:r>
              <a:rPr kumimoji="0" lang="en-GB" sz="800" b="0" i="0" u="none" strike="noStrike" kern="1200" cap="none" spc="-15"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abroad.</a:t>
            </a:r>
            <a:r>
              <a:rPr kumimoji="0" lang="en-GB" sz="800" b="0" i="0" u="none" strike="noStrike" kern="1200" cap="none" spc="-2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Ekium</a:t>
            </a:r>
            <a:r>
              <a:rPr kumimoji="0" lang="en-GB" sz="800" b="0" i="0" u="none" strike="noStrike" kern="1200" cap="none" spc="-2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group employs around 1,</a:t>
            </a:r>
            <a:r>
              <a:rPr lang="en-GB" sz="800" spc="-5" dirty="0">
                <a:solidFill>
                  <a:srgbClr val="231F20"/>
                </a:solidFill>
                <a:latin typeface="Century Gothic" panose="020B0502020202020204" pitchFamily="34" charset="0"/>
                <a:cs typeface="Century Gothic"/>
              </a:rPr>
              <a:t>5</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00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employees. </a:t>
            </a:r>
            <a:r>
              <a:rPr kumimoji="0" lang="en-US"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Ekium offers a wide range of services that cover all phases of a project. </a:t>
            </a:r>
            <a:r>
              <a:rPr kumimoji="0" lang="en-US"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The company operates in three main areas: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General E</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ngineering for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industrial and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tertiary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projects,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Process Control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Integration and Human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Resource</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Deputation</a:t>
            </a:r>
            <a:r>
              <a:rPr kumimoji="0" lang="en-GB" sz="800" b="0" i="0" u="none" strike="noStrike" kern="1200" cap="none" spc="-1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for Technical</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Assistance</a:t>
            </a:r>
            <a:r>
              <a:rPr lang="en-GB" sz="800" dirty="0">
                <a:solidFill>
                  <a:srgbClr val="231F20"/>
                </a:solidFill>
                <a:latin typeface="Century Gothic" panose="020B0502020202020204" pitchFamily="34" charset="0"/>
                <a:cs typeface="Century Gothic"/>
              </a:rPr>
              <a:t>.</a:t>
            </a:r>
            <a:endParaRPr kumimoji="0" lang="en-GB"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Century Gothic"/>
            </a:endParaRPr>
          </a:p>
          <a:p>
            <a:pPr marL="0" marR="30480" lvl="0" indent="0" algn="just" defTabSz="914400" rtl="0" eaLnBrk="1" fontAlgn="auto" latinLnBrk="0" hangingPunct="1">
              <a:lnSpc>
                <a:spcPts val="850"/>
              </a:lnSpc>
              <a:spcBef>
                <a:spcPts val="565"/>
              </a:spcBef>
              <a:spcAft>
                <a:spcPts val="0"/>
              </a:spcAft>
              <a:buClrTx/>
              <a:buSzTx/>
              <a:buFontTx/>
              <a:buNone/>
              <a:tabLst/>
              <a:defRPr/>
            </a:pP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Ekium is involved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every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level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of the nuclear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life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cycle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alongside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 key</a:t>
            </a:r>
            <a:r>
              <a:rPr kumimoji="0" lang="en-GB" sz="800" b="0" i="0" u="none" strike="noStrike" kern="1200" cap="none" spc="114"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players</a:t>
            </a:r>
            <a:r>
              <a:rPr kumimoji="0" lang="en-GB" sz="800" b="0" i="0" u="none" strike="noStrike" kern="1200" cap="none" spc="12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in</a:t>
            </a:r>
            <a:r>
              <a:rPr kumimoji="0" lang="en-GB" sz="800" b="0" i="0" u="none" strike="noStrike" kern="1200" cap="none" spc="12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the</a:t>
            </a:r>
            <a:r>
              <a:rPr kumimoji="0" lang="en-GB" sz="800" b="0" i="0" u="none" strike="noStrike" kern="1200" cap="none" spc="12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French</a:t>
            </a:r>
            <a:r>
              <a:rPr kumimoji="0" lang="en-GB" sz="800" b="0" i="0" u="none" strike="noStrike" kern="1200" cap="none" spc="12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nuclear</a:t>
            </a:r>
            <a:r>
              <a:rPr kumimoji="0" lang="en-GB" sz="800" b="0" i="0" u="none" strike="noStrike" kern="1200" cap="none" spc="12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industry:</a:t>
            </a:r>
            <a:r>
              <a:rPr kumimoji="0" lang="en-GB" sz="800" b="0" i="0" u="none" strike="noStrike" kern="1200" cap="none" spc="12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early</a:t>
            </a:r>
            <a:r>
              <a:rPr kumimoji="0" lang="en-GB" sz="800" b="0" i="0" u="none" strike="noStrike" kern="1200" cap="none" spc="114"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and</a:t>
            </a:r>
            <a:r>
              <a:rPr kumimoji="0" lang="en-GB" sz="800" b="0" i="0" u="none" strike="noStrike" kern="1200" cap="none" spc="12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late</a:t>
            </a:r>
            <a:r>
              <a:rPr kumimoji="0" lang="en-GB" sz="800" b="0" i="0" u="none" strike="noStrike" kern="1200" cap="none" spc="12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stages </a:t>
            </a:r>
            <a:r>
              <a:rPr kumimoji="0" lang="en-GB" sz="800" b="0" i="0" u="none" strike="noStrike" kern="1200" cap="none" spc="-21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of the fuel cycle, reactors,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decommissioning, storage, as well as in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 research</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 and</a:t>
            </a:r>
            <a:r>
              <a:rPr kumimoji="0" lang="en-GB" sz="800" b="0" i="0" u="none" strike="noStrike" kern="1200" cap="none" spc="-1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testing</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 programmes</a:t>
            </a:r>
            <a:r>
              <a:rPr kumimoji="0" lang="en-GB" sz="800" b="0" i="0" u="none" strike="noStrike" kern="1200" cap="none" spc="-1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and laboratory</a:t>
            </a:r>
            <a:r>
              <a:rPr kumimoji="0" lang="en-GB" sz="800" b="0" i="0" u="none" strike="noStrike" kern="1200" cap="none" spc="-1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projects.</a:t>
            </a:r>
            <a:endParaRPr kumimoji="0" lang="en-GB"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Century Gothic"/>
            </a:endParaRPr>
          </a:p>
          <a:p>
            <a:pPr marL="0" marR="31115" lvl="0" indent="0" algn="just" defTabSz="914400" rtl="0" eaLnBrk="1" fontAlgn="auto" latinLnBrk="0" hangingPunct="1">
              <a:lnSpc>
                <a:spcPts val="850"/>
              </a:lnSpc>
              <a:spcBef>
                <a:spcPts val="565"/>
              </a:spcBef>
              <a:spcAft>
                <a:spcPts val="0"/>
              </a:spcAft>
              <a:buClrTx/>
              <a:buSzTx/>
              <a:buFontTx/>
              <a:buNone/>
              <a:tabLst/>
              <a:defRPr/>
            </a:pP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Ekium is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a recognised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and invaluable player in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the nuclear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industry </a:t>
            </a:r>
            <a:r>
              <a:rPr kumimoji="0" lang="en-GB" sz="800" b="0" i="0" u="none" strike="noStrike" kern="1200" cap="none" spc="-21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of</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today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and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tomorrow.</a:t>
            </a:r>
          </a:p>
          <a:p>
            <a:pPr marL="0" marR="31115" lvl="0" indent="0" algn="just" defTabSz="914400" rtl="0" eaLnBrk="1" fontAlgn="auto" latinLnBrk="0" hangingPunct="1">
              <a:lnSpc>
                <a:spcPts val="850"/>
              </a:lnSpc>
              <a:spcBef>
                <a:spcPts val="565"/>
              </a:spcBef>
              <a:spcAft>
                <a:spcPts val="0"/>
              </a:spcAft>
              <a:buClrTx/>
              <a:buSzTx/>
              <a:buFontTx/>
              <a:buNone/>
              <a:tabLst/>
              <a:defRPr/>
            </a:pPr>
            <a:endPar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endParaRPr>
          </a:p>
          <a:p>
            <a:pPr marL="0" marR="0" lvl="0" indent="0" algn="just" defTabSz="914400" rtl="0" eaLnBrk="1" fontAlgn="auto" latinLnBrk="0" hangingPunct="1">
              <a:lnSpc>
                <a:spcPts val="1565"/>
              </a:lnSpc>
              <a:spcBef>
                <a:spcPts val="0"/>
              </a:spcBef>
              <a:spcAft>
                <a:spcPts val="0"/>
              </a:spcAft>
              <a:buClrTx/>
              <a:buSzPct val="150000"/>
              <a:buFontTx/>
              <a:buNone/>
              <a:tabLst>
                <a:tab pos="375285" algn="l"/>
              </a:tabLst>
              <a:defRPr/>
            </a:pPr>
            <a:r>
              <a:rPr kumimoji="0" lang="en-GB" sz="1000" b="0" i="0" u="none" strike="noStrike" kern="1200" cap="none" spc="0" normalizeH="0" baseline="0" noProof="0" dirty="0">
                <a:ln>
                  <a:noFill/>
                </a:ln>
                <a:solidFill>
                  <a:srgbClr val="EF3A47"/>
                </a:solidFill>
                <a:effectLst/>
                <a:uLnTx/>
                <a:uFillTx/>
                <a:latin typeface="Century Gothic" panose="020B0502020202020204" pitchFamily="34" charset="0"/>
                <a:ea typeface="+mn-ea"/>
                <a:cs typeface="Rafale BG"/>
              </a:rPr>
              <a:t>Our</a:t>
            </a:r>
            <a:r>
              <a:rPr kumimoji="0" lang="en-GB" sz="1000" b="0" i="0" u="none" strike="noStrike" kern="1200" cap="none" spc="-25" normalizeH="0" baseline="0" noProof="0" dirty="0">
                <a:ln>
                  <a:noFill/>
                </a:ln>
                <a:solidFill>
                  <a:srgbClr val="EF3A47"/>
                </a:solidFill>
                <a:effectLst/>
                <a:uLnTx/>
                <a:uFillTx/>
                <a:latin typeface="Century Gothic" panose="020B0502020202020204" pitchFamily="34" charset="0"/>
                <a:ea typeface="+mn-ea"/>
                <a:cs typeface="Rafale BG"/>
              </a:rPr>
              <a:t> </a:t>
            </a:r>
            <a:r>
              <a:rPr kumimoji="0" lang="en-GB" sz="1000" b="0" i="0" u="none" strike="noStrike" kern="1200" cap="none" spc="0" normalizeH="0" baseline="0" noProof="0" dirty="0">
                <a:ln>
                  <a:noFill/>
                </a:ln>
                <a:solidFill>
                  <a:srgbClr val="EF3A47"/>
                </a:solidFill>
                <a:effectLst/>
                <a:uLnTx/>
                <a:uFillTx/>
                <a:latin typeface="Century Gothic" panose="020B0502020202020204" pitchFamily="34" charset="0"/>
                <a:ea typeface="+mn-ea"/>
                <a:cs typeface="Rafale BG"/>
              </a:rPr>
              <a:t>products</a:t>
            </a:r>
            <a:r>
              <a:rPr kumimoji="0" lang="en-GB" sz="1000" b="0" i="0" u="none" strike="noStrike" kern="1200" cap="none" spc="-25" normalizeH="0" baseline="0" noProof="0" dirty="0">
                <a:ln>
                  <a:noFill/>
                </a:ln>
                <a:solidFill>
                  <a:srgbClr val="EF3A47"/>
                </a:solidFill>
                <a:effectLst/>
                <a:uLnTx/>
                <a:uFillTx/>
                <a:latin typeface="Century Gothic" panose="020B0502020202020204" pitchFamily="34" charset="0"/>
                <a:ea typeface="+mn-ea"/>
                <a:cs typeface="Rafale BG"/>
              </a:rPr>
              <a:t> </a:t>
            </a:r>
            <a:r>
              <a:rPr kumimoji="0" lang="en-GB" sz="1000" b="0" i="0" u="none" strike="noStrike" kern="1200" cap="none" spc="0" normalizeH="0" baseline="0" noProof="0" dirty="0">
                <a:ln>
                  <a:noFill/>
                </a:ln>
                <a:solidFill>
                  <a:srgbClr val="EF3A47"/>
                </a:solidFill>
                <a:effectLst/>
                <a:uLnTx/>
                <a:uFillTx/>
                <a:latin typeface="Century Gothic" panose="020B0502020202020204" pitchFamily="34" charset="0"/>
                <a:ea typeface="+mn-ea"/>
                <a:cs typeface="Rafale BG"/>
              </a:rPr>
              <a:t>&amp;</a:t>
            </a:r>
            <a:r>
              <a:rPr kumimoji="0" lang="en-GB" sz="1000" b="0" i="0" u="none" strike="noStrike" kern="1200" cap="none" spc="-20" normalizeH="0" baseline="0" noProof="0" dirty="0">
                <a:ln>
                  <a:noFill/>
                </a:ln>
                <a:solidFill>
                  <a:srgbClr val="EF3A47"/>
                </a:solidFill>
                <a:effectLst/>
                <a:uLnTx/>
                <a:uFillTx/>
                <a:latin typeface="Century Gothic" panose="020B0502020202020204" pitchFamily="34" charset="0"/>
                <a:ea typeface="+mn-ea"/>
                <a:cs typeface="Rafale BG"/>
              </a:rPr>
              <a:t> </a:t>
            </a:r>
            <a:r>
              <a:rPr kumimoji="0" lang="en-GB" sz="1000" b="0" i="0" u="none" strike="noStrike" kern="1200" cap="none" spc="0" normalizeH="0" baseline="0" noProof="0" dirty="0">
                <a:ln>
                  <a:noFill/>
                </a:ln>
                <a:solidFill>
                  <a:srgbClr val="EF3A47"/>
                </a:solidFill>
                <a:effectLst/>
                <a:uLnTx/>
                <a:uFillTx/>
                <a:latin typeface="Century Gothic" panose="020B0502020202020204" pitchFamily="34" charset="0"/>
                <a:ea typeface="+mn-ea"/>
                <a:cs typeface="Rafale BG"/>
              </a:rPr>
              <a:t>Services</a:t>
            </a:r>
            <a:endParaRPr kumimoji="0" lang="en-GB"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Rafale BG"/>
            </a:endParaRPr>
          </a:p>
          <a:p>
            <a:pPr marL="0" marR="55244" lvl="0" indent="0" algn="l" defTabSz="914400" rtl="0" eaLnBrk="1" fontAlgn="auto" latinLnBrk="0" hangingPunct="1">
              <a:lnSpc>
                <a:spcPts val="850"/>
              </a:lnSpc>
              <a:spcBef>
                <a:spcPts val="150"/>
              </a:spcBef>
              <a:spcAft>
                <a:spcPts val="600"/>
              </a:spcAft>
              <a:buClrTx/>
              <a:buSzTx/>
              <a:buFontTx/>
              <a:buNone/>
              <a:tabLst/>
              <a:defRPr/>
            </a:pP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Engineerin</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g</a:t>
            </a:r>
            <a:r>
              <a:rPr kumimoji="0" lang="en-GB" sz="800" b="0" i="0" u="none" strike="noStrike" kern="1200" cap="none" spc="-5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service</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s</a:t>
            </a:r>
            <a:r>
              <a:rPr kumimoji="0" lang="en-GB" sz="800" b="0" i="0" u="none" strike="noStrike" kern="1200" cap="none" spc="-45"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6C92A8"/>
                </a:solidFill>
                <a:effectLst/>
                <a:uLnTx/>
                <a:uFillTx/>
                <a:latin typeface="Century Gothic" panose="020B0502020202020204" pitchFamily="34" charset="0"/>
                <a:ea typeface="+mn-ea"/>
                <a:cs typeface="Century Gothic"/>
              </a:rPr>
              <a:t>•</a:t>
            </a:r>
            <a:r>
              <a:rPr kumimoji="0" lang="en-GB" sz="800" b="0" i="0" u="none" strike="noStrike" kern="1200" cap="none" spc="-50" normalizeH="0" baseline="0" noProof="0" dirty="0">
                <a:ln>
                  <a:noFill/>
                </a:ln>
                <a:solidFill>
                  <a:srgbClr val="6C92A8"/>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Process</a:t>
            </a:r>
            <a:r>
              <a:rPr kumimoji="0" lang="en-GB" sz="800" b="0" i="0" u="none" strike="noStrike" kern="1200" cap="none" spc="-5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control</a:t>
            </a:r>
            <a:r>
              <a:rPr kumimoji="0" lang="en-GB" sz="800" b="0" i="0" u="none" strike="noStrike" kern="1200" cap="none" spc="-5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integratio</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n</a:t>
            </a:r>
            <a:r>
              <a:rPr kumimoji="0" lang="en-GB" sz="800" b="0" i="0" u="none" strike="noStrike" kern="1200" cap="none" spc="-5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6C92A8"/>
                </a:solidFill>
                <a:effectLst/>
                <a:uLnTx/>
                <a:uFillTx/>
                <a:latin typeface="Century Gothic" panose="020B0502020202020204" pitchFamily="34" charset="0"/>
                <a:ea typeface="+mn-ea"/>
                <a:cs typeface="Century Gothic"/>
              </a:rPr>
              <a:t>•</a:t>
            </a:r>
            <a:r>
              <a:rPr kumimoji="0" lang="en-GB" sz="800" b="0" i="0" u="none" strike="noStrike" kern="1200" cap="none" spc="-50" normalizeH="0" baseline="0" noProof="0" dirty="0">
                <a:ln>
                  <a:noFill/>
                </a:ln>
                <a:solidFill>
                  <a:srgbClr val="6C92A8"/>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H</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R</a:t>
            </a:r>
            <a:r>
              <a:rPr kumimoji="0" lang="en-GB" sz="800" b="0" i="0" u="none" strike="noStrike" kern="1200" cap="none" spc="-5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deputation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for</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 </a:t>
            </a:r>
            <a:r>
              <a:rPr lang="en-GB" sz="800" dirty="0">
                <a:solidFill>
                  <a:srgbClr val="231F20"/>
                </a:solidFill>
                <a:latin typeface="Century Gothic" panose="020B0502020202020204" pitchFamily="34" charset="0"/>
                <a:cs typeface="Century Gothic"/>
              </a:rPr>
              <a:t>t</a:t>
            </a:r>
            <a:r>
              <a:rPr kumimoji="0" lang="en-GB" sz="800" b="0" i="0" u="none" strike="noStrike" kern="1200" cap="none" spc="0" normalizeH="0" baseline="0" noProof="0" dirty="0" err="1">
                <a:ln>
                  <a:noFill/>
                </a:ln>
                <a:solidFill>
                  <a:srgbClr val="231F20"/>
                </a:solidFill>
                <a:effectLst/>
                <a:uLnTx/>
                <a:uFillTx/>
                <a:latin typeface="Century Gothic" panose="020B0502020202020204" pitchFamily="34" charset="0"/>
                <a:ea typeface="+mn-ea"/>
                <a:cs typeface="Century Gothic"/>
              </a:rPr>
              <a:t>echnical</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 </a:t>
            </a:r>
            <a:r>
              <a:rPr lang="en-GB" sz="800" dirty="0">
                <a:solidFill>
                  <a:srgbClr val="231F20"/>
                </a:solidFill>
                <a:latin typeface="Century Gothic" panose="020B0502020202020204" pitchFamily="34" charset="0"/>
                <a:cs typeface="Century Gothic"/>
              </a:rPr>
              <a:t>a</a:t>
            </a:r>
            <a:r>
              <a:rPr kumimoji="0" lang="en-GB" sz="800" b="0" i="0" u="none" strike="noStrike" kern="1200" cap="none" spc="-5" normalizeH="0" baseline="0" noProof="0" dirty="0" err="1">
                <a:ln>
                  <a:noFill/>
                </a:ln>
                <a:solidFill>
                  <a:srgbClr val="231F20"/>
                </a:solidFill>
                <a:effectLst/>
                <a:uLnTx/>
                <a:uFillTx/>
                <a:latin typeface="Century Gothic" panose="020B0502020202020204" pitchFamily="34" charset="0"/>
                <a:ea typeface="+mn-ea"/>
                <a:cs typeface="Century Gothic"/>
              </a:rPr>
              <a:t>ssistance</a:t>
            </a:r>
            <a:endParaRPr kumimoji="0" lang="en-GB" sz="800" b="0" i="0" u="none" strike="noStrike" kern="1200" cap="none" spc="0" normalizeH="0" baseline="0" noProof="0" dirty="0">
              <a:ln>
                <a:noFill/>
              </a:ln>
              <a:solidFill>
                <a:srgbClr val="6C92A8"/>
              </a:solidFill>
              <a:effectLst/>
              <a:uLnTx/>
              <a:uFillTx/>
              <a:latin typeface="Century Gothic" panose="020B0502020202020204" pitchFamily="34" charset="0"/>
              <a:ea typeface="+mn-ea"/>
              <a:cs typeface="Century Gothic"/>
            </a:endParaRPr>
          </a:p>
          <a:p>
            <a:pPr marL="0" marR="55244" lvl="0" indent="0" algn="just" defTabSz="914400" rtl="0" eaLnBrk="1" fontAlgn="auto" latinLnBrk="0" hangingPunct="1">
              <a:lnSpc>
                <a:spcPts val="850"/>
              </a:lnSpc>
              <a:spcBef>
                <a:spcPts val="150"/>
              </a:spcBef>
              <a:spcAft>
                <a:spcPts val="60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Century Gothic"/>
            </a:endParaRPr>
          </a:p>
          <a:p>
            <a:pPr marL="0" marR="0" lvl="0" indent="0" algn="just" defTabSz="914400" rtl="0" eaLnBrk="1" fontAlgn="auto" latinLnBrk="0" hangingPunct="1">
              <a:lnSpc>
                <a:spcPct val="100000"/>
              </a:lnSpc>
              <a:spcBef>
                <a:spcPts val="100"/>
              </a:spcBef>
              <a:spcAft>
                <a:spcPts val="0"/>
              </a:spcAft>
              <a:buClrTx/>
              <a:buSzPct val="150000"/>
              <a:buFontTx/>
              <a:buNone/>
              <a:tabLst>
                <a:tab pos="375285" algn="l"/>
              </a:tabLst>
              <a:defRPr/>
            </a:pPr>
            <a:r>
              <a:rPr kumimoji="0" lang="en-GB" sz="1000" b="0" i="0" u="none" strike="noStrike" kern="1200" cap="none" spc="0" normalizeH="0" baseline="0" noProof="0" dirty="0">
                <a:ln>
                  <a:noFill/>
                </a:ln>
                <a:solidFill>
                  <a:srgbClr val="EF3A47"/>
                </a:solidFill>
                <a:effectLst/>
                <a:uLnTx/>
                <a:uFillTx/>
                <a:latin typeface="Century Gothic" panose="020B0502020202020204" pitchFamily="34" charset="0"/>
                <a:ea typeface="+mn-ea"/>
                <a:cs typeface="Rafale BG"/>
              </a:rPr>
              <a:t>Mar</a:t>
            </a:r>
            <a:r>
              <a:rPr kumimoji="0" lang="en-GB" sz="1000" b="0" i="0" u="none" strike="noStrike" kern="1200" cap="none" spc="-5" normalizeH="0" baseline="0" noProof="0" dirty="0">
                <a:ln>
                  <a:noFill/>
                </a:ln>
                <a:solidFill>
                  <a:srgbClr val="EF3A47"/>
                </a:solidFill>
                <a:effectLst/>
                <a:uLnTx/>
                <a:uFillTx/>
                <a:latin typeface="Century Gothic" panose="020B0502020202020204" pitchFamily="34" charset="0"/>
                <a:ea typeface="+mn-ea"/>
                <a:cs typeface="Rafale BG"/>
              </a:rPr>
              <a:t>k</a:t>
            </a:r>
            <a:r>
              <a:rPr kumimoji="0" lang="en-GB" sz="1000" b="0" i="0" u="none" strike="noStrike" kern="1200" cap="none" spc="0" normalizeH="0" baseline="0" noProof="0" dirty="0">
                <a:ln>
                  <a:noFill/>
                </a:ln>
                <a:solidFill>
                  <a:srgbClr val="EF3A47"/>
                </a:solidFill>
                <a:effectLst/>
                <a:uLnTx/>
                <a:uFillTx/>
                <a:latin typeface="Century Gothic" panose="020B0502020202020204" pitchFamily="34" charset="0"/>
                <a:ea typeface="+mn-ea"/>
                <a:cs typeface="Rafale BG"/>
              </a:rPr>
              <a:t>et segment</a:t>
            </a:r>
            <a:endParaRPr kumimoji="0" lang="en-GB"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Rafale BG"/>
            </a:endParaRPr>
          </a:p>
          <a:p>
            <a:pPr marL="0" marR="53975" lvl="0" indent="0" algn="l" defTabSz="914400" rtl="0" eaLnBrk="1" fontAlgn="auto" latinLnBrk="0" hangingPunct="1">
              <a:lnSpc>
                <a:spcPts val="850"/>
              </a:lnSpc>
              <a:spcBef>
                <a:spcPts val="150"/>
              </a:spcBef>
              <a:spcAft>
                <a:spcPts val="0"/>
              </a:spcAft>
              <a:buClrTx/>
              <a:buSzTx/>
              <a:buFontTx/>
              <a:buNone/>
              <a:tabLst/>
              <a:defRPr/>
            </a:pP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Nuclear</a:t>
            </a:r>
            <a:r>
              <a:rPr kumimoji="0" lang="en-GB" sz="800" b="0" i="0" u="none" strike="noStrike" kern="1200" cap="none" spc="22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Power</a:t>
            </a:r>
            <a:r>
              <a:rPr kumimoji="0" lang="en-GB" sz="800" b="0" i="0" u="none" strike="noStrike" kern="1200" cap="none" spc="22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Plant</a:t>
            </a:r>
            <a:r>
              <a:rPr kumimoji="0" lang="en-GB" sz="800" b="0" i="0" u="none" strike="noStrike" kern="1200" cap="none" spc="22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Construction</a:t>
            </a:r>
            <a:r>
              <a:rPr kumimoji="0" lang="en-GB" sz="800" b="0" i="0" u="none" strike="noStrike" kern="1200" cap="none" spc="215"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6C92A8"/>
                </a:solidFill>
                <a:effectLst/>
                <a:uLnTx/>
                <a:uFillTx/>
                <a:latin typeface="Century Gothic" panose="020B0502020202020204" pitchFamily="34" charset="0"/>
                <a:ea typeface="+mn-ea"/>
                <a:cs typeface="Century Gothic"/>
              </a:rPr>
              <a:t>•</a:t>
            </a:r>
            <a:r>
              <a:rPr kumimoji="0" lang="en-GB" sz="800" b="0" i="0" u="none" strike="noStrike" kern="1200" cap="none" spc="220" normalizeH="0" baseline="0" noProof="0" dirty="0">
                <a:ln>
                  <a:noFill/>
                </a:ln>
                <a:solidFill>
                  <a:srgbClr val="6C92A8"/>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Nuclear</a:t>
            </a:r>
            <a:r>
              <a:rPr kumimoji="0" lang="en-GB" sz="800" b="0" i="0" u="none" strike="noStrike" kern="1200" cap="none" spc="22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Plant</a:t>
            </a:r>
            <a:r>
              <a:rPr kumimoji="0" lang="en-GB" sz="800" b="0" i="0" u="none" strike="noStrike" kern="1200" cap="none" spc="225"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operation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amp;</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maintenance</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6C92A8"/>
                </a:solidFill>
                <a:effectLst/>
                <a:uLnTx/>
                <a:uFillTx/>
                <a:latin typeface="Century Gothic" panose="020B0502020202020204" pitchFamily="34" charset="0"/>
                <a:ea typeface="+mn-ea"/>
                <a:cs typeface="Century Gothic"/>
              </a:rPr>
              <a:t>•</a:t>
            </a:r>
            <a:r>
              <a:rPr kumimoji="0" lang="en-GB" sz="800" b="0" i="0" u="none" strike="noStrike" kern="1200" cap="none" spc="5" normalizeH="0" baseline="0" noProof="0" dirty="0">
                <a:ln>
                  <a:noFill/>
                </a:ln>
                <a:solidFill>
                  <a:srgbClr val="6C92A8"/>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Fuel</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cycle</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activities</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6C92A8"/>
                </a:solidFill>
                <a:effectLst/>
                <a:uLnTx/>
                <a:uFillTx/>
                <a:latin typeface="Century Gothic" panose="020B0502020202020204" pitchFamily="34" charset="0"/>
                <a:ea typeface="+mn-ea"/>
                <a:cs typeface="Century Gothic"/>
              </a:rPr>
              <a:t>•</a:t>
            </a:r>
            <a:r>
              <a:rPr kumimoji="0" lang="en-GB" sz="800" b="0" i="0" u="none" strike="noStrike" kern="1200" cap="none" spc="5" normalizeH="0" baseline="0" noProof="0" dirty="0">
                <a:ln>
                  <a:noFill/>
                </a:ln>
                <a:solidFill>
                  <a:srgbClr val="6C92A8"/>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Decommissioning</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 &amp;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dismantling </a:t>
            </a:r>
            <a:r>
              <a:rPr kumimoji="0" lang="en-GB" sz="800" b="0" i="0" u="none" strike="noStrike" kern="1200" cap="none" spc="0" normalizeH="0" baseline="0" noProof="0" dirty="0">
                <a:ln>
                  <a:noFill/>
                </a:ln>
                <a:solidFill>
                  <a:srgbClr val="6C92A8"/>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Waste</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management </a:t>
            </a:r>
            <a:r>
              <a:rPr kumimoji="0" lang="en-GB" sz="800" b="0" i="0" u="none" strike="noStrike" kern="1200" cap="none" spc="0" normalizeH="0" baseline="0" noProof="0" dirty="0">
                <a:ln>
                  <a:noFill/>
                </a:ln>
                <a:solidFill>
                  <a:srgbClr val="6C92A8"/>
                </a:solidFill>
                <a:effectLst/>
                <a:uLnTx/>
                <a:uFillTx/>
                <a:latin typeface="Century Gothic" panose="020B0502020202020204" pitchFamily="34" charset="0"/>
                <a:ea typeface="+mn-ea"/>
                <a:cs typeface="Century Gothic"/>
              </a:rPr>
              <a:t>•</a:t>
            </a:r>
            <a:r>
              <a:rPr kumimoji="0" lang="en-GB" sz="800" b="0" i="0" u="none" strike="noStrike" kern="1200" cap="none" spc="-5" normalizeH="0" baseline="0" noProof="0" dirty="0">
                <a:ln>
                  <a:noFill/>
                </a:ln>
                <a:solidFill>
                  <a:srgbClr val="6C92A8"/>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R&amp;D </a:t>
            </a:r>
            <a:r>
              <a:rPr kumimoji="0" lang="en-GB" sz="800" b="0" i="0" u="none" strike="noStrike" kern="1200" cap="none" spc="0" normalizeH="0" baseline="0" noProof="0" dirty="0">
                <a:ln>
                  <a:noFill/>
                </a:ln>
                <a:solidFill>
                  <a:srgbClr val="6C92A8"/>
                </a:solidFill>
                <a:effectLst/>
                <a:uLnTx/>
                <a:uFillTx/>
                <a:latin typeface="Century Gothic" panose="020B0502020202020204" pitchFamily="34" charset="0"/>
                <a:ea typeface="+mn-ea"/>
                <a:cs typeface="Century Gothic"/>
              </a:rPr>
              <a:t>• </a:t>
            </a:r>
            <a:r>
              <a:rPr lang="en-GB" sz="800" dirty="0">
                <a:solidFill>
                  <a:srgbClr val="231F20"/>
                </a:solidFill>
                <a:latin typeface="Century Gothic" panose="020B0502020202020204" pitchFamily="34" charset="0"/>
              </a:rPr>
              <a:t>Fusion</a:t>
            </a:r>
          </a:p>
          <a:p>
            <a:pPr marL="50165" marR="0" lvl="0" indent="0" algn="l" defTabSz="914400" rtl="0" eaLnBrk="1" fontAlgn="auto" latinLnBrk="0" hangingPunct="1">
              <a:lnSpc>
                <a:spcPts val="3045"/>
              </a:lnSpc>
              <a:spcBef>
                <a:spcPts val="0"/>
              </a:spcBef>
              <a:spcAft>
                <a:spcPts val="0"/>
              </a:spcAft>
              <a:buClrTx/>
              <a:buSzPct val="300000"/>
              <a:buFontTx/>
              <a:buNone/>
              <a:tabLst>
                <a:tab pos="302895" algn="l"/>
              </a:tabLst>
              <a:defRPr/>
            </a:pPr>
            <a:endParaRPr kumimoji="0" lang="en-GB"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Century Gothic"/>
            </a:endParaRPr>
          </a:p>
          <a:p>
            <a:pPr marL="0" marR="0" lvl="0" indent="0" algn="l" defTabSz="914400" rtl="0" eaLnBrk="1" fontAlgn="auto" latinLnBrk="0" hangingPunct="1">
              <a:lnSpc>
                <a:spcPts val="3045"/>
              </a:lnSpc>
              <a:spcBef>
                <a:spcPts val="0"/>
              </a:spcBef>
              <a:spcAft>
                <a:spcPts val="0"/>
              </a:spcAft>
              <a:buClrTx/>
              <a:buSzPct val="300000"/>
              <a:buFontTx/>
              <a:buNone/>
              <a:tabLst>
                <a:tab pos="302895" algn="l"/>
              </a:tabLst>
              <a:defRPr/>
            </a:pPr>
            <a:r>
              <a:rPr kumimoji="0" lang="en-GB" sz="1000" b="1" i="0" u="none" strike="noStrike" kern="1200" cap="none" spc="-5" normalizeH="0" baseline="0" noProof="0" dirty="0">
                <a:ln>
                  <a:noFill/>
                </a:ln>
                <a:solidFill>
                  <a:srgbClr val="EF3A47"/>
                </a:solidFill>
                <a:effectLst/>
                <a:uLnTx/>
                <a:uFillTx/>
                <a:latin typeface="Century Gothic" panose="020B0502020202020204" pitchFamily="34" charset="0"/>
                <a:ea typeface="+mn-ea"/>
                <a:cs typeface="Century Gothic"/>
              </a:rPr>
              <a:t>REFERENCES</a:t>
            </a:r>
            <a:endParaRPr kumimoji="0" lang="en-GB"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Century Gothic"/>
            </a:endParaRPr>
          </a:p>
          <a:p>
            <a:pPr marL="0" marR="0" lvl="1" indent="0" algn="l" defTabSz="914400" rtl="0" eaLnBrk="1" fontAlgn="auto" latinLnBrk="0" hangingPunct="1">
              <a:lnSpc>
                <a:spcPct val="100000"/>
              </a:lnSpc>
              <a:spcBef>
                <a:spcPts val="20"/>
              </a:spcBef>
              <a:spcAft>
                <a:spcPts val="0"/>
              </a:spcAft>
              <a:buClr>
                <a:srgbClr val="001D18"/>
              </a:buClr>
              <a:buSzPct val="125000"/>
              <a:buFontTx/>
              <a:buNone/>
              <a:tabLst>
                <a:tab pos="464820" algn="l"/>
              </a:tabLst>
              <a:defRPr/>
            </a:pPr>
            <a:r>
              <a:rPr kumimoji="0" lang="en-GB" sz="800" b="1"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Nuclear</a:t>
            </a:r>
            <a:r>
              <a:rPr kumimoji="0" lang="en-GB" sz="800" b="1" i="0" u="none" strike="noStrike" kern="1200" cap="none" spc="-2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1"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certifications</a:t>
            </a:r>
            <a:r>
              <a:rPr kumimoji="0" lang="en-GB" sz="800" b="1" i="0" u="none" strike="noStrike" kern="1200" cap="none" spc="-2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a:t>
            </a:r>
            <a:r>
              <a:rPr kumimoji="0" lang="en-GB" sz="800" b="0" i="0" u="none" strike="noStrike" kern="1200" cap="none" spc="-15"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codes</a:t>
            </a:r>
            <a:r>
              <a:rPr kumimoji="0" lang="en-GB" sz="800" b="0" i="0" u="none" strike="noStrike" kern="1200" cap="none" spc="-15"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amp;</a:t>
            </a:r>
            <a:r>
              <a:rPr kumimoji="0" lang="en-GB" sz="800" b="0" i="0" u="none" strike="noStrike" kern="1200" cap="none" spc="-15"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norms:</a:t>
            </a:r>
            <a:endParaRPr kumimoji="0" lang="en-GB"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Century Gothic"/>
            </a:endParaRPr>
          </a:p>
          <a:p>
            <a:pPr marL="0" marR="0" lvl="0" indent="0" algn="l" defTabSz="914400" rtl="0" eaLnBrk="1" fontAlgn="auto" latinLnBrk="0" hangingPunct="1">
              <a:lnSpc>
                <a:spcPct val="100000"/>
              </a:lnSpc>
              <a:spcBef>
                <a:spcPts val="175"/>
              </a:spcBef>
              <a:spcAft>
                <a:spcPts val="0"/>
              </a:spcAft>
              <a:buClrTx/>
              <a:buSzTx/>
              <a:buFontTx/>
              <a:buNone/>
              <a:tabLst/>
              <a:defRPr/>
            </a:pP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RCCE,</a:t>
            </a:r>
            <a:r>
              <a:rPr kumimoji="0" lang="en-GB" sz="800" b="0" i="0" u="none" strike="noStrike" kern="1200" cap="none" spc="-1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RCCM,</a:t>
            </a:r>
            <a:r>
              <a:rPr kumimoji="0" lang="en-GB" sz="800" b="0" i="0" u="none" strike="noStrike" kern="1200" cap="none" spc="-1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RCCW,</a:t>
            </a:r>
            <a:r>
              <a:rPr kumimoji="0" lang="en-GB" sz="800" b="0" i="0" u="none" strike="noStrike" kern="1200" cap="none" spc="-1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ASME,</a:t>
            </a:r>
            <a:r>
              <a:rPr kumimoji="0" lang="en-GB" sz="800" b="0" i="0" u="none" strike="noStrike" kern="1200" cap="none" spc="-1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UTO,</a:t>
            </a:r>
            <a:r>
              <a:rPr kumimoji="0" lang="en-GB" sz="800" b="0" i="0" u="none" strike="noStrike" kern="1200" cap="none" spc="-1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ATEX,</a:t>
            </a:r>
            <a:r>
              <a:rPr kumimoji="0" lang="en-GB" sz="800" b="0" i="0" u="none" strike="noStrike" kern="1200" cap="none" spc="-1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ISO,</a:t>
            </a:r>
            <a:r>
              <a:rPr kumimoji="0" lang="en-GB" sz="800" b="0" i="0" u="none" strike="noStrike" kern="1200" cap="none" spc="-1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QUALIFOUDRE,</a:t>
            </a:r>
            <a:r>
              <a:rPr kumimoji="0" lang="en-GB" sz="800" b="0" i="0" u="none" strike="noStrike" kern="1200" cap="none" spc="-10" normalizeH="0" baseline="0" noProof="0" dirty="0">
                <a:ln>
                  <a:noFill/>
                </a:ln>
                <a:solidFill>
                  <a:srgbClr val="231F20"/>
                </a:solidFill>
                <a:effectLst/>
                <a:uLnTx/>
                <a:uFillTx/>
                <a:latin typeface="Century Gothic" panose="020B0502020202020204" pitchFamily="34" charset="0"/>
                <a:ea typeface="+mn-ea"/>
                <a:cs typeface="Century Gothic"/>
              </a:rPr>
              <a:t> </a:t>
            </a:r>
            <a:r>
              <a:rPr lang="en-GB" sz="800" dirty="0">
                <a:solidFill>
                  <a:srgbClr val="231F20"/>
                </a:solidFill>
                <a:latin typeface="Century Gothic" panose="020B0502020202020204" pitchFamily="34" charset="0"/>
                <a:cs typeface="Century Gothic"/>
              </a:rPr>
              <a:t>etc</a:t>
            </a:r>
            <a:r>
              <a:rPr kumimoji="0" lang="en-GB" sz="800" b="0"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a:t>
            </a:r>
            <a:endParaRPr kumimoji="0" lang="en-GB"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Century Gothic"/>
            </a:endParaRPr>
          </a:p>
          <a:p>
            <a:pPr marL="0" marR="0" lvl="1" indent="0" algn="l" defTabSz="914400" rtl="0" eaLnBrk="1" fontAlgn="auto" latinLnBrk="0" hangingPunct="1">
              <a:lnSpc>
                <a:spcPct val="100000"/>
              </a:lnSpc>
              <a:spcBef>
                <a:spcPts val="690"/>
              </a:spcBef>
              <a:spcAft>
                <a:spcPts val="0"/>
              </a:spcAft>
              <a:buClr>
                <a:srgbClr val="001D18"/>
              </a:buClr>
              <a:buSzPct val="125000"/>
              <a:buFontTx/>
              <a:buNone/>
              <a:tabLst>
                <a:tab pos="464820" algn="l"/>
              </a:tabLst>
              <a:defRPr/>
            </a:pPr>
            <a:r>
              <a:rPr kumimoji="0" lang="en-GB" sz="800" b="1"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Nuclear</a:t>
            </a:r>
            <a:r>
              <a:rPr kumimoji="0" lang="en-GB" sz="800" b="1" i="0" u="none" strike="noStrike" kern="1200" cap="none" spc="-3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1"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customer</a:t>
            </a:r>
            <a:r>
              <a:rPr kumimoji="0" lang="en-GB" sz="800" b="1" i="0" u="none" strike="noStrike" kern="1200" cap="none" spc="-3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1"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references:</a:t>
            </a:r>
            <a:endParaRPr kumimoji="0" lang="en-GB"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Century Gothic"/>
            </a:endParaRPr>
          </a:p>
          <a:p>
            <a:pPr marL="0" marR="0" lvl="0" indent="0" algn="l" defTabSz="914400" rtl="0" eaLnBrk="1" fontAlgn="auto" latinLnBrk="0" hangingPunct="1">
              <a:lnSpc>
                <a:spcPct val="100000"/>
              </a:lnSpc>
              <a:spcBef>
                <a:spcPts val="170"/>
              </a:spcBef>
              <a:spcAft>
                <a:spcPts val="0"/>
              </a:spcAft>
              <a:buClrTx/>
              <a:buSzTx/>
              <a:buFontTx/>
              <a:buNone/>
              <a:tabLst/>
              <a:defRPr/>
            </a:pP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EDF, EDVANCE, ORANO, FRAMATOME, CEA, BOUYGUES ES, GE (ex-ALSTOM), etc.</a:t>
            </a:r>
          </a:p>
          <a:p>
            <a:pPr marL="0" marR="0" lvl="1" indent="0" algn="l" defTabSz="914400" rtl="0" eaLnBrk="1" fontAlgn="auto" latinLnBrk="0" hangingPunct="1">
              <a:lnSpc>
                <a:spcPct val="100000"/>
              </a:lnSpc>
              <a:spcBef>
                <a:spcPts val="740"/>
              </a:spcBef>
              <a:spcAft>
                <a:spcPts val="0"/>
              </a:spcAft>
              <a:buClr>
                <a:srgbClr val="001D18"/>
              </a:buClr>
              <a:buSzPct val="125000"/>
              <a:buFontTx/>
              <a:buNone/>
              <a:tabLst>
                <a:tab pos="464820" algn="l"/>
              </a:tabLst>
              <a:defRPr/>
            </a:pPr>
            <a:r>
              <a:rPr kumimoji="0" lang="en-GB" sz="800" b="1"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Nuclear</a:t>
            </a:r>
            <a:r>
              <a:rPr kumimoji="0" lang="en-GB" sz="800" b="1" i="0" u="none" strike="noStrike" kern="1200" cap="none" spc="-25"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1"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project</a:t>
            </a:r>
            <a:r>
              <a:rPr kumimoji="0" lang="en-GB" sz="800" b="1" i="0" u="none" strike="noStrike" kern="1200" cap="none" spc="-30"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1" i="0" u="none" strike="noStrike" kern="1200" cap="none" spc="0" normalizeH="0" baseline="0" noProof="0" dirty="0">
                <a:ln>
                  <a:noFill/>
                </a:ln>
                <a:solidFill>
                  <a:srgbClr val="231F20"/>
                </a:solidFill>
                <a:effectLst/>
                <a:uLnTx/>
                <a:uFillTx/>
                <a:latin typeface="Century Gothic" panose="020B0502020202020204" pitchFamily="34" charset="0"/>
                <a:ea typeface="+mn-ea"/>
                <a:cs typeface="Century Gothic"/>
              </a:rPr>
              <a:t>references</a:t>
            </a:r>
            <a:r>
              <a:rPr kumimoji="0" lang="en-GB" sz="800" b="1" i="0" u="none" strike="noStrike" kern="1200" cap="none" spc="-25"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worldwide):</a:t>
            </a:r>
            <a:endParaRPr kumimoji="0" lang="en-GB" sz="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Century Gothic"/>
            </a:endParaRPr>
          </a:p>
          <a:p>
            <a:pPr marL="0" marR="55880" lvl="0" indent="0" algn="l" defTabSz="914400" rtl="0" eaLnBrk="1" fontAlgn="auto" latinLnBrk="0" hangingPunct="1">
              <a:lnSpc>
                <a:spcPts val="850"/>
              </a:lnSpc>
              <a:spcBef>
                <a:spcPts val="295"/>
              </a:spcBef>
              <a:spcAft>
                <a:spcPts val="0"/>
              </a:spcAft>
              <a:buClrTx/>
              <a:buSzTx/>
              <a:buFontTx/>
              <a:buNone/>
              <a:tabLst/>
              <a:defRPr/>
            </a:pP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EPR (</a:t>
            </a:r>
            <a:r>
              <a:rPr kumimoji="0" lang="en-GB" sz="800" b="0" i="0" u="none" strike="noStrike" kern="1200" cap="none" spc="-5" normalizeH="0" baseline="0" noProof="0" dirty="0" err="1">
                <a:ln>
                  <a:noFill/>
                </a:ln>
                <a:solidFill>
                  <a:srgbClr val="231F20"/>
                </a:solidFill>
                <a:effectLst/>
                <a:uLnTx/>
                <a:uFillTx/>
                <a:latin typeface="Century Gothic" panose="020B0502020202020204" pitchFamily="34" charset="0"/>
                <a:ea typeface="+mn-ea"/>
                <a:cs typeface="Century Gothic"/>
              </a:rPr>
              <a:t>Flamanville</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 </a:t>
            </a:r>
            <a:r>
              <a:rPr kumimoji="0" lang="en-GB" sz="800" b="0" i="0" u="none" strike="noStrike" kern="1200" cap="none" spc="-5" normalizeH="0" baseline="0" noProof="0" dirty="0" err="1">
                <a:ln>
                  <a:noFill/>
                </a:ln>
                <a:solidFill>
                  <a:srgbClr val="231F20"/>
                </a:solidFill>
                <a:effectLst/>
                <a:uLnTx/>
                <a:uFillTx/>
                <a:latin typeface="Century Gothic" panose="020B0502020202020204" pitchFamily="34" charset="0"/>
                <a:ea typeface="+mn-ea"/>
                <a:cs typeface="Century Gothic"/>
              </a:rPr>
              <a:t>Taishan</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 Olkiluoto, HPC, </a:t>
            </a:r>
            <a:r>
              <a:rPr kumimoji="0" lang="en-GB" sz="800" b="0" i="0" u="none" strike="noStrike" kern="1200" cap="none" spc="-5" normalizeH="0" baseline="0" noProof="0" dirty="0" err="1">
                <a:ln>
                  <a:noFill/>
                </a:ln>
                <a:solidFill>
                  <a:srgbClr val="231F20"/>
                </a:solidFill>
                <a:effectLst/>
                <a:uLnTx/>
                <a:uFillTx/>
                <a:latin typeface="Century Gothic" panose="020B0502020202020204" pitchFamily="34" charset="0"/>
                <a:ea typeface="+mn-ea"/>
                <a:cs typeface="Century Gothic"/>
              </a:rPr>
              <a:t>Jaïtapur</a:t>
            </a:r>
            <a:r>
              <a:rPr kumimoji="0" lang="en-GB" sz="800" b="0" i="0" u="none" strike="noStrike" kern="1200" cap="none" spc="-5" normalizeH="0" baseline="0" noProof="0" dirty="0">
                <a:ln>
                  <a:noFill/>
                </a:ln>
                <a:solidFill>
                  <a:srgbClr val="231F20"/>
                </a:solidFill>
                <a:effectLst/>
                <a:uLnTx/>
                <a:uFillTx/>
                <a:latin typeface="Century Gothic" panose="020B0502020202020204" pitchFamily="34" charset="0"/>
                <a:ea typeface="+mn-ea"/>
                <a:cs typeface="Century Gothic"/>
              </a:rPr>
              <a:t>, SZC, etc.), EPR  2, CANDU-INDU, VVER, ITER, etc.</a:t>
            </a:r>
          </a:p>
        </p:txBody>
      </p:sp>
      <p:sp>
        <p:nvSpPr>
          <p:cNvPr id="46" name="object 46"/>
          <p:cNvSpPr txBox="1"/>
          <p:nvPr/>
        </p:nvSpPr>
        <p:spPr>
          <a:xfrm>
            <a:off x="247699" y="185574"/>
            <a:ext cx="285750" cy="13208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700" b="0" i="0" u="none" strike="noStrike" kern="1200" cap="none" spc="-5" normalizeH="0" baseline="0" noProof="0">
                <a:ln>
                  <a:noFill/>
                </a:ln>
                <a:solidFill>
                  <a:srgbClr val="6C92A8"/>
                </a:solidFill>
                <a:effectLst/>
                <a:uLnTx/>
                <a:uFillTx/>
                <a:latin typeface="Century Gothic"/>
                <a:ea typeface="+mn-ea"/>
                <a:cs typeface="Century Gothic"/>
              </a:rPr>
              <a:t>EKIUM</a:t>
            </a:r>
            <a:endParaRPr kumimoji="0" sz="700" b="0" i="0" u="none" strike="noStrike" kern="1200" cap="none" spc="0" normalizeH="0" baseline="0" noProof="0">
              <a:ln>
                <a:noFill/>
              </a:ln>
              <a:solidFill>
                <a:prstClr val="black"/>
              </a:solidFill>
              <a:effectLst/>
              <a:uLnTx/>
              <a:uFillTx/>
              <a:latin typeface="Century Gothic"/>
              <a:ea typeface="+mn-ea"/>
              <a:cs typeface="Century Gothic"/>
            </a:endParaRPr>
          </a:p>
        </p:txBody>
      </p:sp>
      <p:pic>
        <p:nvPicPr>
          <p:cNvPr id="47" name="object 47"/>
          <p:cNvPicPr/>
          <p:nvPr/>
        </p:nvPicPr>
        <p:blipFill>
          <a:blip r:embed="rId5" cstate="print"/>
          <a:stretch>
            <a:fillRect/>
          </a:stretch>
        </p:blipFill>
        <p:spPr>
          <a:xfrm>
            <a:off x="563853" y="499688"/>
            <a:ext cx="812718" cy="784124"/>
          </a:xfrm>
          <a:prstGeom prst="rect">
            <a:avLst/>
          </a:prstGeom>
        </p:spPr>
      </p:pic>
      <p:grpSp>
        <p:nvGrpSpPr>
          <p:cNvPr id="54" name="object 54"/>
          <p:cNvGrpSpPr/>
          <p:nvPr/>
        </p:nvGrpSpPr>
        <p:grpSpPr>
          <a:xfrm>
            <a:off x="0" y="5845175"/>
            <a:ext cx="483234" cy="289560"/>
            <a:chOff x="-96562" y="5136940"/>
            <a:chExt cx="483234" cy="289560"/>
          </a:xfrm>
        </p:grpSpPr>
        <p:sp>
          <p:nvSpPr>
            <p:cNvPr id="56" name="object 56"/>
            <p:cNvSpPr/>
            <p:nvPr/>
          </p:nvSpPr>
          <p:spPr>
            <a:xfrm>
              <a:off x="-96562" y="5136940"/>
              <a:ext cx="483234" cy="289560"/>
            </a:xfrm>
            <a:custGeom>
              <a:avLst/>
              <a:gdLst/>
              <a:ahLst/>
              <a:cxnLst/>
              <a:rect l="l" t="t" r="r" b="b"/>
              <a:pathLst>
                <a:path w="483234" h="289560">
                  <a:moveTo>
                    <a:pt x="482993" y="36004"/>
                  </a:moveTo>
                  <a:lnTo>
                    <a:pt x="480161" y="21983"/>
                  </a:lnTo>
                  <a:lnTo>
                    <a:pt x="472452" y="10541"/>
                  </a:lnTo>
                  <a:lnTo>
                    <a:pt x="461010" y="2819"/>
                  </a:lnTo>
                  <a:lnTo>
                    <a:pt x="446989" y="0"/>
                  </a:lnTo>
                  <a:lnTo>
                    <a:pt x="122402" y="0"/>
                  </a:lnTo>
                  <a:lnTo>
                    <a:pt x="35991" y="0"/>
                  </a:lnTo>
                  <a:lnTo>
                    <a:pt x="0" y="0"/>
                  </a:lnTo>
                  <a:lnTo>
                    <a:pt x="0" y="36004"/>
                  </a:lnTo>
                  <a:lnTo>
                    <a:pt x="0" y="253149"/>
                  </a:lnTo>
                  <a:lnTo>
                    <a:pt x="0" y="289128"/>
                  </a:lnTo>
                  <a:lnTo>
                    <a:pt x="35928" y="289128"/>
                  </a:lnTo>
                  <a:lnTo>
                    <a:pt x="446989" y="289140"/>
                  </a:lnTo>
                  <a:lnTo>
                    <a:pt x="461010" y="286308"/>
                  </a:lnTo>
                  <a:lnTo>
                    <a:pt x="472452" y="278587"/>
                  </a:lnTo>
                  <a:lnTo>
                    <a:pt x="480161" y="267157"/>
                  </a:lnTo>
                  <a:lnTo>
                    <a:pt x="482993" y="253149"/>
                  </a:lnTo>
                  <a:lnTo>
                    <a:pt x="482993" y="36004"/>
                  </a:lnTo>
                  <a:close/>
                </a:path>
              </a:pathLst>
            </a:custGeom>
            <a:solidFill>
              <a:srgbClr val="498B8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57" name="object 57"/>
            <p:cNvPicPr/>
            <p:nvPr/>
          </p:nvPicPr>
          <p:blipFill>
            <a:blip r:embed="rId6" cstate="print"/>
            <a:stretch>
              <a:fillRect/>
            </a:stretch>
          </p:blipFill>
          <p:spPr>
            <a:xfrm>
              <a:off x="54333" y="5190998"/>
              <a:ext cx="181444" cy="181444"/>
            </a:xfrm>
            <a:prstGeom prst="rect">
              <a:avLst/>
            </a:prstGeom>
          </p:spPr>
        </p:pic>
      </p:grpSp>
      <p:sp>
        <p:nvSpPr>
          <p:cNvPr id="58" name="object 58"/>
          <p:cNvSpPr txBox="1">
            <a:spLocks noGrp="1"/>
          </p:cNvSpPr>
          <p:nvPr>
            <p:ph type="sldNum" sz="quarter" idx="7"/>
          </p:nvPr>
        </p:nvSpPr>
        <p:spPr>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1200" cap="none" spc="0" normalizeH="0" baseline="0" noProof="0">
                <a:ln>
                  <a:noFill/>
                </a:ln>
                <a:solidFill>
                  <a:prstClr val="white"/>
                </a:solidFill>
                <a:effectLst/>
                <a:uLnTx/>
                <a:uFillTx/>
                <a:latin typeface="Century Gothic"/>
                <a:ea typeface="+mn-ea"/>
                <a:cs typeface="Century Gothic"/>
              </a:rPr>
              <a:t>I</a:t>
            </a:r>
            <a:r>
              <a:rPr kumimoji="0" sz="800" b="0" i="0" u="none" strike="noStrike" kern="1200" cap="none" spc="395" normalizeH="0" baseline="0" noProof="0">
                <a:ln>
                  <a:noFill/>
                </a:ln>
                <a:solidFill>
                  <a:prstClr val="white"/>
                </a:solidFill>
                <a:effectLst/>
                <a:uLnTx/>
                <a:uFillTx/>
                <a:latin typeface="Century Gothic"/>
                <a:ea typeface="+mn-ea"/>
                <a:cs typeface="Century Gothic"/>
              </a:rPr>
              <a:t> </a:t>
            </a:r>
            <a:fld id="{81D60167-4931-47E6-BA6A-407CBD079E47}" type="slidenum">
              <a:rPr kumimoji="0" sz="800" b="1" i="0" u="none" strike="noStrike" kern="1200" cap="none" spc="0" normalizeH="0" baseline="0" noProof="0" dirty="0">
                <a:ln>
                  <a:noFill/>
                </a:ln>
                <a:solidFill>
                  <a:prstClr val="white"/>
                </a:solidFill>
                <a:effectLst/>
                <a:uLnTx/>
                <a:uFillTx/>
                <a:latin typeface="Century Gothic"/>
                <a:ea typeface="+mn-ea"/>
              </a:rPr>
              <a:pPr marL="12700" marR="0" lvl="0" indent="0" algn="l" defTabSz="914400" rtl="0" eaLnBrk="1" fontAlgn="auto" latinLnBrk="0" hangingPunct="1">
                <a:lnSpc>
                  <a:spcPct val="100000"/>
                </a:lnSpc>
                <a:spcBef>
                  <a:spcPts val="105"/>
                </a:spcBef>
                <a:spcAft>
                  <a:spcPts val="0"/>
                </a:spcAft>
                <a:buClrTx/>
                <a:buSzTx/>
                <a:buFontTx/>
                <a:buNone/>
                <a:tabLst/>
                <a:defRPr/>
              </a:pPr>
              <a:t>5</a:t>
            </a:fld>
            <a:r>
              <a:rPr kumimoji="0" sz="800" b="1" i="0" u="none" strike="noStrike" kern="1200" cap="none" spc="395" normalizeH="0" baseline="0" noProof="0">
                <a:ln>
                  <a:noFill/>
                </a:ln>
                <a:solidFill>
                  <a:prstClr val="white"/>
                </a:solidFill>
                <a:effectLst/>
                <a:uLnTx/>
                <a:uFillTx/>
                <a:latin typeface="Century Gothic"/>
                <a:ea typeface="+mn-ea"/>
              </a:rPr>
              <a:t> </a:t>
            </a:r>
            <a:r>
              <a:rPr kumimoji="0" sz="800" b="0" i="0" u="none" strike="noStrike" kern="1200" cap="none" spc="0" normalizeH="0" baseline="0" noProof="0">
                <a:ln>
                  <a:noFill/>
                </a:ln>
                <a:solidFill>
                  <a:prstClr val="white"/>
                </a:solidFill>
                <a:effectLst/>
                <a:uLnTx/>
                <a:uFillTx/>
                <a:latin typeface="Century Gothic"/>
                <a:ea typeface="+mn-ea"/>
                <a:cs typeface="Century Gothic"/>
              </a:rPr>
              <a:t>I</a:t>
            </a:r>
          </a:p>
        </p:txBody>
      </p:sp>
      <p:sp>
        <p:nvSpPr>
          <p:cNvPr id="59" name="object 59"/>
          <p:cNvSpPr txBox="1">
            <a:spLocks noGrp="1"/>
          </p:cNvSpPr>
          <p:nvPr>
            <p:ph type="dt" sz="half" idx="6"/>
          </p:nvPr>
        </p:nvSpPr>
        <p:spPr>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600" b="1" i="0" u="none" strike="noStrike" kern="1200" cap="none" spc="0" normalizeH="0" baseline="0" noProof="0">
                <a:ln>
                  <a:noFill/>
                </a:ln>
                <a:solidFill>
                  <a:prstClr val="white"/>
                </a:solidFill>
                <a:effectLst/>
                <a:uLnTx/>
                <a:uFillTx/>
                <a:latin typeface="Century Gothic"/>
                <a:ea typeface="+mn-ea"/>
              </a:rPr>
              <a:t>THE</a:t>
            </a:r>
            <a:r>
              <a:rPr kumimoji="0" sz="600" b="1" i="0" u="none" strike="noStrike" kern="1200" cap="none" spc="-30" normalizeH="0" baseline="0" noProof="0">
                <a:ln>
                  <a:noFill/>
                </a:ln>
                <a:solidFill>
                  <a:prstClr val="white"/>
                </a:solidFill>
                <a:effectLst/>
                <a:uLnTx/>
                <a:uFillTx/>
                <a:latin typeface="Century Gothic"/>
                <a:ea typeface="+mn-ea"/>
              </a:rPr>
              <a:t> </a:t>
            </a:r>
            <a:r>
              <a:rPr kumimoji="0" sz="600" b="1" i="0" u="none" strike="noStrike" kern="1200" cap="none" spc="0" normalizeH="0" baseline="0" noProof="0">
                <a:ln>
                  <a:noFill/>
                </a:ln>
                <a:solidFill>
                  <a:prstClr val="white"/>
                </a:solidFill>
                <a:effectLst/>
                <a:uLnTx/>
                <a:uFillTx/>
                <a:latin typeface="Century Gothic"/>
                <a:ea typeface="+mn-ea"/>
              </a:rPr>
              <a:t>FRENCH</a:t>
            </a:r>
            <a:r>
              <a:rPr kumimoji="0" sz="600" b="1" i="0" u="none" strike="noStrike" kern="1200" cap="none" spc="-25" normalizeH="0" baseline="0" noProof="0">
                <a:ln>
                  <a:noFill/>
                </a:ln>
                <a:solidFill>
                  <a:prstClr val="white"/>
                </a:solidFill>
                <a:effectLst/>
                <a:uLnTx/>
                <a:uFillTx/>
                <a:latin typeface="Century Gothic"/>
                <a:ea typeface="+mn-ea"/>
              </a:rPr>
              <a:t> </a:t>
            </a:r>
            <a:r>
              <a:rPr kumimoji="0" sz="600" b="1" i="0" u="none" strike="noStrike" kern="1200" cap="none" spc="0" normalizeH="0" baseline="0" noProof="0">
                <a:ln>
                  <a:noFill/>
                </a:ln>
                <a:solidFill>
                  <a:prstClr val="white"/>
                </a:solidFill>
                <a:effectLst/>
                <a:uLnTx/>
                <a:uFillTx/>
                <a:latin typeface="Century Gothic"/>
                <a:ea typeface="+mn-ea"/>
              </a:rPr>
              <a:t>NUCLEAR</a:t>
            </a:r>
            <a:r>
              <a:rPr kumimoji="0" sz="600" b="1" i="0" u="none" strike="noStrike" kern="1200" cap="none" spc="-30" normalizeH="0" baseline="0" noProof="0">
                <a:ln>
                  <a:noFill/>
                </a:ln>
                <a:solidFill>
                  <a:prstClr val="white"/>
                </a:solidFill>
                <a:effectLst/>
                <a:uLnTx/>
                <a:uFillTx/>
                <a:latin typeface="Century Gothic"/>
                <a:ea typeface="+mn-ea"/>
              </a:rPr>
              <a:t> </a:t>
            </a:r>
            <a:r>
              <a:rPr kumimoji="0" sz="600" b="1" i="0" u="none" strike="noStrike" kern="1200" cap="none" spc="0" normalizeH="0" baseline="0" noProof="0">
                <a:ln>
                  <a:noFill/>
                </a:ln>
                <a:solidFill>
                  <a:prstClr val="white"/>
                </a:solidFill>
                <a:effectLst/>
                <a:uLnTx/>
                <a:uFillTx/>
                <a:latin typeface="Century Gothic"/>
                <a:ea typeface="+mn-ea"/>
              </a:rPr>
              <a:t>INDUSTRY</a:t>
            </a:r>
          </a:p>
        </p:txBody>
      </p:sp>
      <p:sp>
        <p:nvSpPr>
          <p:cNvPr id="60" name="object 60"/>
          <p:cNvSpPr txBox="1">
            <a:spLocks noGrp="1"/>
          </p:cNvSpPr>
          <p:nvPr>
            <p:ph type="ftr" sz="quarter" idx="5"/>
          </p:nvPr>
        </p:nvSpPr>
        <p:spPr>
          <a:xfrm>
            <a:off x="3092479" y="8494659"/>
            <a:ext cx="1133475" cy="89768"/>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500" b="0" i="0" u="none" strike="noStrike" kern="1200" cap="none" spc="0" normalizeH="0" baseline="0" noProof="0" dirty="0">
                <a:ln>
                  <a:noFill/>
                </a:ln>
                <a:solidFill>
                  <a:prstClr val="white"/>
                </a:solidFill>
                <a:effectLst/>
                <a:highlight>
                  <a:srgbClr val="FFFF00"/>
                </a:highlight>
                <a:uLnTx/>
                <a:uFillTx/>
                <a:latin typeface="Century Gothic"/>
                <a:ea typeface="+mn-ea"/>
              </a:rPr>
              <a:t>Focus</a:t>
            </a:r>
            <a:r>
              <a:rPr kumimoji="0" sz="500" b="0" i="0" u="none" strike="noStrike" kern="1200" cap="none" spc="-20" normalizeH="0" baseline="0" noProof="0" dirty="0">
                <a:ln>
                  <a:noFill/>
                </a:ln>
                <a:solidFill>
                  <a:prstClr val="white"/>
                </a:solidFill>
                <a:effectLst/>
                <a:highlight>
                  <a:srgbClr val="FFFF00"/>
                </a:highlight>
                <a:uLnTx/>
                <a:uFillTx/>
                <a:latin typeface="Century Gothic"/>
                <a:ea typeface="+mn-ea"/>
              </a:rPr>
              <a:t> </a:t>
            </a:r>
            <a:r>
              <a:rPr kumimoji="0" sz="500" b="0" i="0" u="none" strike="noStrike" kern="1200" cap="none" spc="0" normalizeH="0" baseline="0" noProof="0" dirty="0">
                <a:ln>
                  <a:noFill/>
                </a:ln>
                <a:solidFill>
                  <a:prstClr val="white"/>
                </a:solidFill>
                <a:effectLst/>
                <a:highlight>
                  <a:srgbClr val="FFFF00"/>
                </a:highlight>
                <a:uLnTx/>
                <a:uFillTx/>
                <a:latin typeface="Century Gothic"/>
                <a:ea typeface="+mn-ea"/>
              </a:rPr>
              <a:t>on</a:t>
            </a:r>
            <a:r>
              <a:rPr kumimoji="0" sz="500" b="0" i="0" u="none" strike="noStrike" kern="1200" cap="none" spc="-15" normalizeH="0" baseline="0" noProof="0" dirty="0">
                <a:ln>
                  <a:noFill/>
                </a:ln>
                <a:solidFill>
                  <a:prstClr val="white"/>
                </a:solidFill>
                <a:effectLst/>
                <a:highlight>
                  <a:srgbClr val="FFFF00"/>
                </a:highlight>
                <a:uLnTx/>
                <a:uFillTx/>
                <a:latin typeface="Century Gothic"/>
                <a:ea typeface="+mn-ea"/>
              </a:rPr>
              <a:t> </a:t>
            </a:r>
            <a:r>
              <a:rPr kumimoji="0" sz="500" b="0" i="0" u="none" strike="noStrike" kern="1200" cap="none" spc="-5" normalizeH="0" baseline="0" noProof="0" dirty="0">
                <a:ln>
                  <a:noFill/>
                </a:ln>
                <a:solidFill>
                  <a:prstClr val="white"/>
                </a:solidFill>
                <a:effectLst/>
                <a:highlight>
                  <a:srgbClr val="FFFF00"/>
                </a:highlight>
                <a:uLnTx/>
                <a:uFillTx/>
                <a:latin typeface="Century Gothic"/>
                <a:ea typeface="+mn-ea"/>
              </a:rPr>
              <a:t>EPR</a:t>
            </a:r>
            <a:r>
              <a:rPr kumimoji="0" sz="500" b="0" i="0" u="none" strike="noStrike" kern="1200" cap="none" spc="-20" normalizeH="0" baseline="0" noProof="0" dirty="0">
                <a:ln>
                  <a:noFill/>
                </a:ln>
                <a:solidFill>
                  <a:prstClr val="white"/>
                </a:solidFill>
                <a:effectLst/>
                <a:highlight>
                  <a:srgbClr val="FFFF00"/>
                </a:highlight>
                <a:uLnTx/>
                <a:uFillTx/>
                <a:latin typeface="Century Gothic"/>
                <a:ea typeface="+mn-ea"/>
              </a:rPr>
              <a:t> </a:t>
            </a:r>
            <a:r>
              <a:rPr kumimoji="0" sz="500" b="0" i="0" u="none" strike="noStrike" kern="1200" cap="none" spc="0" normalizeH="0" baseline="0" noProof="0" dirty="0">
                <a:ln>
                  <a:noFill/>
                </a:ln>
                <a:solidFill>
                  <a:prstClr val="white"/>
                </a:solidFill>
                <a:effectLst/>
                <a:highlight>
                  <a:srgbClr val="FFFF00"/>
                </a:highlight>
                <a:uLnTx/>
                <a:uFillTx/>
                <a:latin typeface="Century Gothic"/>
                <a:ea typeface="+mn-ea"/>
              </a:rPr>
              <a:t>technology</a:t>
            </a:r>
            <a:r>
              <a:rPr kumimoji="0" sz="500" b="0" i="0" u="none" strike="noStrike" kern="1200" cap="none" spc="-15" normalizeH="0" baseline="0" noProof="0" dirty="0">
                <a:ln>
                  <a:noFill/>
                </a:ln>
                <a:solidFill>
                  <a:prstClr val="white"/>
                </a:solidFill>
                <a:effectLst/>
                <a:highlight>
                  <a:srgbClr val="FFFF00"/>
                </a:highlight>
                <a:uLnTx/>
                <a:uFillTx/>
                <a:latin typeface="Century Gothic"/>
                <a:ea typeface="+mn-ea"/>
              </a:rPr>
              <a:t> </a:t>
            </a:r>
            <a:r>
              <a:rPr kumimoji="0" sz="500" b="0" i="0" u="none" strike="noStrike" kern="1200" cap="none" spc="0" normalizeH="0" baseline="0" noProof="0" dirty="0">
                <a:ln>
                  <a:noFill/>
                </a:ln>
                <a:solidFill>
                  <a:prstClr val="white"/>
                </a:solidFill>
                <a:effectLst/>
                <a:highlight>
                  <a:srgbClr val="FFFF00"/>
                </a:highlight>
                <a:uLnTx/>
                <a:uFillTx/>
                <a:latin typeface="Century Gothic"/>
                <a:ea typeface="+mn-ea"/>
              </a:rPr>
              <a:t>for</a:t>
            </a:r>
            <a:r>
              <a:rPr kumimoji="0" sz="500" b="0" i="0" u="none" strike="noStrike" kern="1200" cap="none" spc="-20" normalizeH="0" baseline="0" noProof="0" dirty="0">
                <a:ln>
                  <a:noFill/>
                </a:ln>
                <a:solidFill>
                  <a:prstClr val="white"/>
                </a:solidFill>
                <a:effectLst/>
                <a:highlight>
                  <a:srgbClr val="FFFF00"/>
                </a:highlight>
                <a:uLnTx/>
                <a:uFillTx/>
                <a:latin typeface="Century Gothic"/>
                <a:ea typeface="+mn-ea"/>
              </a:rPr>
              <a:t> </a:t>
            </a:r>
            <a:r>
              <a:rPr kumimoji="0" sz="500" b="0" i="0" u="none" strike="noStrike" kern="1200" cap="none" spc="0" normalizeH="0" baseline="0" noProof="0" dirty="0">
                <a:ln>
                  <a:noFill/>
                </a:ln>
                <a:solidFill>
                  <a:prstClr val="white"/>
                </a:solidFill>
                <a:effectLst/>
                <a:highlight>
                  <a:srgbClr val="FFFF00"/>
                </a:highlight>
                <a:uLnTx/>
                <a:uFillTx/>
                <a:latin typeface="Century Gothic"/>
                <a:ea typeface="+mn-ea"/>
              </a:rPr>
              <a:t>Poland</a:t>
            </a:r>
          </a:p>
        </p:txBody>
      </p:sp>
      <p:sp>
        <p:nvSpPr>
          <p:cNvPr id="61" name="object 6">
            <a:extLst>
              <a:ext uri="{FF2B5EF4-FFF2-40B4-BE49-F238E27FC236}">
                <a16:creationId xmlns:a16="http://schemas.microsoft.com/office/drawing/2014/main" id="{088C2B2C-D029-A447-FD04-6271A03C2CEF}"/>
              </a:ext>
            </a:extLst>
          </p:cNvPr>
          <p:cNvSpPr/>
          <p:nvPr/>
        </p:nvSpPr>
        <p:spPr>
          <a:xfrm>
            <a:off x="0" y="2301900"/>
            <a:ext cx="483234" cy="289560"/>
          </a:xfrm>
          <a:custGeom>
            <a:avLst/>
            <a:gdLst/>
            <a:ahLst/>
            <a:cxnLst/>
            <a:rect l="l" t="t" r="r" b="b"/>
            <a:pathLst>
              <a:path w="483234" h="289560">
                <a:moveTo>
                  <a:pt x="446998" y="0"/>
                </a:moveTo>
                <a:lnTo>
                  <a:pt x="0" y="0"/>
                </a:lnTo>
                <a:lnTo>
                  <a:pt x="0" y="289140"/>
                </a:lnTo>
                <a:lnTo>
                  <a:pt x="446998" y="289140"/>
                </a:lnTo>
                <a:lnTo>
                  <a:pt x="461014" y="286312"/>
                </a:lnTo>
                <a:lnTo>
                  <a:pt x="472458" y="278598"/>
                </a:lnTo>
                <a:lnTo>
                  <a:pt x="480173" y="267157"/>
                </a:lnTo>
                <a:lnTo>
                  <a:pt x="483002" y="253149"/>
                </a:lnTo>
                <a:lnTo>
                  <a:pt x="483002" y="36004"/>
                </a:lnTo>
                <a:lnTo>
                  <a:pt x="480173" y="21988"/>
                </a:lnTo>
                <a:lnTo>
                  <a:pt x="472458" y="10544"/>
                </a:lnTo>
                <a:lnTo>
                  <a:pt x="461014" y="2828"/>
                </a:lnTo>
                <a:lnTo>
                  <a:pt x="446998" y="0"/>
                </a:lnTo>
                <a:close/>
              </a:path>
            </a:pathLst>
          </a:custGeom>
          <a:solidFill>
            <a:srgbClr val="488C8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ZoneTexte 52">
            <a:extLst>
              <a:ext uri="{FF2B5EF4-FFF2-40B4-BE49-F238E27FC236}">
                <a16:creationId xmlns:a16="http://schemas.microsoft.com/office/drawing/2014/main" id="{524252A0-EC45-4789-8649-DB7E1853F511}"/>
              </a:ext>
            </a:extLst>
          </p:cNvPr>
          <p:cNvSpPr txBox="1"/>
          <p:nvPr/>
        </p:nvSpPr>
        <p:spPr>
          <a:xfrm>
            <a:off x="2330570" y="739775"/>
            <a:ext cx="1510847" cy="292389"/>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FFFFFF"/>
                </a:solidFill>
                <a:effectLst/>
                <a:uLnTx/>
                <a:uFillTx/>
                <a:latin typeface="Century Gothic"/>
                <a:ea typeface="+mn-ea"/>
                <a:cs typeface="Century Gothic"/>
              </a:rPr>
              <a:t>Number</a:t>
            </a:r>
            <a:r>
              <a:rPr kumimoji="0" lang="en-GB" sz="700" b="0" i="0" u="none" strike="noStrike" kern="1200" cap="none" spc="-40" normalizeH="0" baseline="0" noProof="0" dirty="0">
                <a:ln>
                  <a:noFill/>
                </a:ln>
                <a:solidFill>
                  <a:srgbClr val="FFFFFF"/>
                </a:solidFill>
                <a:effectLst/>
                <a:uLnTx/>
                <a:uFillTx/>
                <a:latin typeface="Century Gothic"/>
                <a:ea typeface="+mn-ea"/>
                <a:cs typeface="Century Gothic"/>
              </a:rPr>
              <a:t> </a:t>
            </a:r>
            <a:r>
              <a:rPr kumimoji="0" lang="en-GB" sz="700" b="0" i="0" u="none" strike="noStrike" kern="1200" cap="none" spc="0" normalizeH="0" baseline="0" noProof="0" dirty="0">
                <a:ln>
                  <a:noFill/>
                </a:ln>
                <a:solidFill>
                  <a:srgbClr val="FFFFFF"/>
                </a:solidFill>
                <a:effectLst/>
                <a:uLnTx/>
                <a:uFillTx/>
                <a:latin typeface="Century Gothic"/>
                <a:ea typeface="+mn-ea"/>
                <a:cs typeface="Century Gothic"/>
              </a:rPr>
              <a:t>of</a:t>
            </a:r>
            <a:r>
              <a:rPr kumimoji="0" lang="en-GB" sz="700" b="0" i="0" u="none" strike="noStrike" kern="1200" cap="none" spc="-40" normalizeH="0" baseline="0" noProof="0" dirty="0">
                <a:ln>
                  <a:noFill/>
                </a:ln>
                <a:solidFill>
                  <a:srgbClr val="FFFFFF"/>
                </a:solidFill>
                <a:effectLst/>
                <a:uLnTx/>
                <a:uFillTx/>
                <a:latin typeface="Century Gothic"/>
                <a:ea typeface="+mn-ea"/>
                <a:cs typeface="Century Gothic"/>
              </a:rPr>
              <a:t> </a:t>
            </a:r>
            <a:r>
              <a:rPr kumimoji="0" lang="en-GB" sz="700" b="0" i="0" u="none" strike="noStrike" kern="1200" cap="none" spc="0" normalizeH="0" baseline="0" noProof="0" dirty="0">
                <a:ln>
                  <a:noFill/>
                </a:ln>
                <a:solidFill>
                  <a:srgbClr val="FFFFFF"/>
                </a:solidFill>
                <a:effectLst/>
                <a:uLnTx/>
                <a:uFillTx/>
                <a:latin typeface="Century Gothic"/>
                <a:ea typeface="+mn-ea"/>
                <a:cs typeface="Century Gothic"/>
              </a:rPr>
              <a:t>employees</a:t>
            </a:r>
            <a:endParaRPr kumimoji="0" lang="en-GB" sz="7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5" normalizeH="0" baseline="0" noProof="0" dirty="0">
                <a:ln>
                  <a:noFill/>
                </a:ln>
                <a:solidFill>
                  <a:srgbClr val="FFFFFF"/>
                </a:solidFill>
                <a:effectLst/>
                <a:uLnTx/>
                <a:uFillTx/>
                <a:latin typeface="Century Gothic"/>
                <a:ea typeface="+mn-ea"/>
                <a:cs typeface="Century Gothic"/>
              </a:rPr>
              <a:t>1,500</a:t>
            </a:r>
            <a:endParaRPr kumimoji="0" lang="en-GB" sz="1000" b="0" i="0" u="none" strike="noStrike" kern="1200" cap="none" spc="0" normalizeH="0" baseline="0" noProof="0" dirty="0">
              <a:ln>
                <a:noFill/>
              </a:ln>
              <a:solidFill>
                <a:prstClr val="black"/>
              </a:solidFill>
              <a:effectLst/>
              <a:uLnTx/>
              <a:uFillTx/>
              <a:latin typeface="Century Gothic"/>
              <a:ea typeface="+mn-ea"/>
              <a:cs typeface="Century Gothic"/>
            </a:endParaRPr>
          </a:p>
        </p:txBody>
      </p:sp>
      <p:pic>
        <p:nvPicPr>
          <p:cNvPr id="1028" name="Picture 4" descr="Flag of the United Kingdom - Wikipedia">
            <a:extLst>
              <a:ext uri="{FF2B5EF4-FFF2-40B4-BE49-F238E27FC236}">
                <a16:creationId xmlns:a16="http://schemas.microsoft.com/office/drawing/2014/main" id="{8DA3F6A4-C579-4C87-BA7A-375F90D8B925}"/>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1400" r="14246"/>
          <a:stretch/>
        </p:blipFill>
        <p:spPr bwMode="auto">
          <a:xfrm>
            <a:off x="118666" y="2366841"/>
            <a:ext cx="252000" cy="169458"/>
          </a:xfrm>
          <a:prstGeom prst="rect">
            <a:avLst/>
          </a:prstGeom>
          <a:noFill/>
          <a:extLst>
            <a:ext uri="{909E8E84-426E-40DD-AFC4-6F175D3DCCD1}">
              <a14:hiddenFill xmlns:a14="http://schemas.microsoft.com/office/drawing/2010/main">
                <a:solidFill>
                  <a:srgbClr val="FFFFFF"/>
                </a:solidFill>
              </a14:hiddenFill>
            </a:ext>
          </a:extLst>
        </p:spPr>
      </p:pic>
      <p:sp>
        <p:nvSpPr>
          <p:cNvPr id="65" name="ZoneTexte 64">
            <a:extLst>
              <a:ext uri="{FF2B5EF4-FFF2-40B4-BE49-F238E27FC236}">
                <a16:creationId xmlns:a16="http://schemas.microsoft.com/office/drawing/2014/main" id="{D8828E0A-E277-4766-846F-5DC0E3AB1360}"/>
              </a:ext>
            </a:extLst>
          </p:cNvPr>
          <p:cNvSpPr txBox="1"/>
          <p:nvPr/>
        </p:nvSpPr>
        <p:spPr>
          <a:xfrm>
            <a:off x="0" y="1849869"/>
            <a:ext cx="5760059" cy="197618"/>
          </a:xfrm>
          <a:prstGeom prst="rect">
            <a:avLst/>
          </a:prstGeom>
          <a:noFill/>
        </p:spPr>
        <p:txBody>
          <a:bodyPr wrap="square">
            <a:spAutoFit/>
          </a:bodyPr>
          <a:lstStyle/>
          <a:p>
            <a:pPr marL="173355" marR="0" lvl="0" indent="0" algn="ctr" defTabSz="914400" rtl="0" eaLnBrk="1" fontAlgn="auto" latinLnBrk="0" hangingPunct="1">
              <a:lnSpc>
                <a:spcPts val="760"/>
              </a:lnSpc>
              <a:spcBef>
                <a:spcPts val="100"/>
              </a:spcBef>
              <a:spcAft>
                <a:spcPts val="0"/>
              </a:spcAft>
              <a:buClrTx/>
              <a:buSzTx/>
              <a:buFontTx/>
              <a:buNone/>
              <a:tabLst/>
              <a:defRPr/>
            </a:pPr>
            <a:r>
              <a:rPr kumimoji="0" lang="fr-FR" sz="1000" b="1" i="0" u="none" strike="noStrike" kern="1200" cap="none" spc="0" normalizeH="0" baseline="0" noProof="0">
                <a:ln>
                  <a:noFill/>
                </a:ln>
                <a:solidFill>
                  <a:srgbClr val="FFFFFF"/>
                </a:solidFill>
                <a:effectLst/>
                <a:uLnTx/>
                <a:uFillTx/>
                <a:latin typeface="Century Gothic"/>
                <a:ea typeface="+mn-ea"/>
                <a:cs typeface="Century Gothic"/>
              </a:rPr>
              <a:t>ENGINEERING</a:t>
            </a:r>
            <a:r>
              <a:rPr kumimoji="0" lang="fr-FR" sz="1000" b="1" i="0" u="none" strike="noStrike" kern="1200" cap="none" spc="-50" normalizeH="0" baseline="0" noProof="0">
                <a:ln>
                  <a:noFill/>
                </a:ln>
                <a:solidFill>
                  <a:srgbClr val="FFFFFF"/>
                </a:solidFill>
                <a:effectLst/>
                <a:uLnTx/>
                <a:uFillTx/>
                <a:latin typeface="Century Gothic"/>
                <a:ea typeface="+mn-ea"/>
                <a:cs typeface="Century Gothic"/>
              </a:rPr>
              <a:t> </a:t>
            </a:r>
            <a:r>
              <a:rPr kumimoji="0" lang="fr-FR" sz="1000" b="1" i="0" u="none" strike="noStrike" kern="1200" cap="none" spc="0" normalizeH="0" baseline="0" noProof="0">
                <a:ln>
                  <a:noFill/>
                </a:ln>
                <a:solidFill>
                  <a:srgbClr val="FFFFFF"/>
                </a:solidFill>
                <a:effectLst/>
                <a:uLnTx/>
                <a:uFillTx/>
                <a:latin typeface="Century Gothic"/>
                <a:ea typeface="+mn-ea"/>
                <a:cs typeface="Century Gothic"/>
              </a:rPr>
              <a:t>SERVICES</a:t>
            </a:r>
            <a:endParaRPr kumimoji="0" lang="fr-FR" sz="1000" b="0" i="0" u="none" strike="noStrike" kern="1200" cap="none" spc="0" normalizeH="0" baseline="0" noProof="0">
              <a:ln>
                <a:noFill/>
              </a:ln>
              <a:solidFill>
                <a:prstClr val="black"/>
              </a:solidFill>
              <a:effectLst/>
              <a:uLnTx/>
              <a:uFillTx/>
              <a:latin typeface="Century Gothic"/>
              <a:ea typeface="+mn-ea"/>
              <a:cs typeface="Century Gothic"/>
            </a:endParaRPr>
          </a:p>
        </p:txBody>
      </p:sp>
      <p:sp>
        <p:nvSpPr>
          <p:cNvPr id="48" name="object 42">
            <a:extLst>
              <a:ext uri="{FF2B5EF4-FFF2-40B4-BE49-F238E27FC236}">
                <a16:creationId xmlns:a16="http://schemas.microsoft.com/office/drawing/2014/main" id="{C9F63899-2938-46C2-A8BC-FCE354D4B63D}"/>
              </a:ext>
            </a:extLst>
          </p:cNvPr>
          <p:cNvSpPr txBox="1"/>
          <p:nvPr/>
        </p:nvSpPr>
        <p:spPr>
          <a:xfrm>
            <a:off x="4163299" y="316582"/>
            <a:ext cx="1287145" cy="423193"/>
          </a:xfrm>
          <a:prstGeom prst="rect">
            <a:avLst/>
          </a:prstGeom>
        </p:spPr>
        <p:txBody>
          <a:bodyPr vert="horz" wrap="square" lIns="0" tIns="12700" rIns="0" bIns="0" rtlCol="0">
            <a:spAutoFit/>
          </a:bodyPr>
          <a:lstStyle/>
          <a:p>
            <a:pPr>
              <a:lnSpc>
                <a:spcPts val="800"/>
              </a:lnSpc>
            </a:pPr>
            <a:r>
              <a:rPr lang="en-GB" sz="700" b="1" dirty="0">
                <a:solidFill>
                  <a:srgbClr val="FFFFFF"/>
                </a:solidFill>
                <a:latin typeface="Century Gothic"/>
                <a:cs typeface="Century Gothic"/>
              </a:rPr>
              <a:t>Christophe</a:t>
            </a:r>
            <a:r>
              <a:rPr lang="en-GB" sz="700" b="1" spc="-50" dirty="0">
                <a:solidFill>
                  <a:srgbClr val="FFFFFF"/>
                </a:solidFill>
                <a:latin typeface="Century Gothic"/>
                <a:cs typeface="Century Gothic"/>
              </a:rPr>
              <a:t> </a:t>
            </a:r>
            <a:r>
              <a:rPr lang="en-GB" sz="700" b="1" dirty="0">
                <a:solidFill>
                  <a:srgbClr val="FFFFFF"/>
                </a:solidFill>
                <a:latin typeface="Century Gothic"/>
                <a:cs typeface="Century Gothic"/>
              </a:rPr>
              <a:t>ZAIA</a:t>
            </a:r>
            <a:endParaRPr lang="en-GB" sz="700" dirty="0">
              <a:latin typeface="Century Gothic"/>
              <a:cs typeface="Century Gothic"/>
            </a:endParaRPr>
          </a:p>
          <a:p>
            <a:pPr>
              <a:lnSpc>
                <a:spcPts val="800"/>
              </a:lnSpc>
            </a:pPr>
            <a:r>
              <a:rPr lang="en-GB" sz="700" spc="-5" dirty="0">
                <a:solidFill>
                  <a:srgbClr val="FFFFFF"/>
                </a:solidFill>
                <a:latin typeface="Century Gothic"/>
                <a:cs typeface="Century Gothic"/>
              </a:rPr>
              <a:t>Energy</a:t>
            </a:r>
            <a:r>
              <a:rPr lang="en-GB" sz="700" spc="-30" dirty="0">
                <a:solidFill>
                  <a:srgbClr val="FFFFFF"/>
                </a:solidFill>
                <a:latin typeface="Century Gothic"/>
                <a:cs typeface="Century Gothic"/>
              </a:rPr>
              <a:t> </a:t>
            </a:r>
            <a:r>
              <a:rPr lang="en-GB" sz="700" spc="-5" dirty="0">
                <a:solidFill>
                  <a:srgbClr val="FFFFFF"/>
                </a:solidFill>
                <a:latin typeface="Century Gothic"/>
                <a:cs typeface="Century Gothic"/>
              </a:rPr>
              <a:t>Dept</a:t>
            </a:r>
            <a:r>
              <a:rPr lang="en-GB" sz="700" spc="-25" dirty="0">
                <a:solidFill>
                  <a:srgbClr val="FFFFFF"/>
                </a:solidFill>
                <a:latin typeface="Century Gothic"/>
                <a:cs typeface="Century Gothic"/>
              </a:rPr>
              <a:t> </a:t>
            </a:r>
            <a:r>
              <a:rPr lang="en-GB" sz="700" spc="-5" dirty="0">
                <a:solidFill>
                  <a:srgbClr val="FFFFFF"/>
                </a:solidFill>
                <a:latin typeface="Century Gothic"/>
                <a:cs typeface="Century Gothic"/>
              </a:rPr>
              <a:t>Business</a:t>
            </a:r>
            <a:r>
              <a:rPr lang="en-GB" sz="700" spc="-25" dirty="0">
                <a:solidFill>
                  <a:srgbClr val="FFFFFF"/>
                </a:solidFill>
                <a:latin typeface="Century Gothic"/>
                <a:cs typeface="Century Gothic"/>
              </a:rPr>
              <a:t> </a:t>
            </a:r>
            <a:r>
              <a:rPr lang="en-GB" sz="700" spc="-5" dirty="0">
                <a:solidFill>
                  <a:srgbClr val="FFFFFF"/>
                </a:solidFill>
                <a:latin typeface="Century Gothic"/>
                <a:cs typeface="Century Gothic"/>
              </a:rPr>
              <a:t>Director</a:t>
            </a:r>
          </a:p>
          <a:p>
            <a:pPr>
              <a:lnSpc>
                <a:spcPts val="800"/>
              </a:lnSpc>
            </a:pPr>
            <a:r>
              <a:rPr lang="en-GB" sz="700" b="1" spc="-5" dirty="0">
                <a:solidFill>
                  <a:srgbClr val="FFFFFF"/>
                </a:solidFill>
                <a:latin typeface="Century Gothic"/>
                <a:cs typeface="Century Gothic"/>
              </a:rPr>
              <a:t>Thomas ECK</a:t>
            </a:r>
          </a:p>
          <a:p>
            <a:pPr>
              <a:lnSpc>
                <a:spcPts val="800"/>
              </a:lnSpc>
            </a:pPr>
            <a:r>
              <a:rPr lang="en-GB" sz="700" spc="-5" dirty="0">
                <a:solidFill>
                  <a:srgbClr val="FFFFFF"/>
                </a:solidFill>
                <a:latin typeface="Century Gothic"/>
                <a:cs typeface="Century Gothic"/>
              </a:rPr>
              <a:t>UK Business Developer</a:t>
            </a:r>
            <a:endParaRPr lang="en-GB" sz="700" dirty="0">
              <a:latin typeface="Century Gothic"/>
              <a:cs typeface="Century Gothic"/>
            </a:endParaRPr>
          </a:p>
        </p:txBody>
      </p:sp>
      <p:sp>
        <p:nvSpPr>
          <p:cNvPr id="49" name="object 43">
            <a:extLst>
              <a:ext uri="{FF2B5EF4-FFF2-40B4-BE49-F238E27FC236}">
                <a16:creationId xmlns:a16="http://schemas.microsoft.com/office/drawing/2014/main" id="{E09D70A4-4814-4478-AFB5-AA911B7E9B8C}"/>
              </a:ext>
            </a:extLst>
          </p:cNvPr>
          <p:cNvSpPr txBox="1"/>
          <p:nvPr/>
        </p:nvSpPr>
        <p:spPr>
          <a:xfrm>
            <a:off x="4163299" y="768159"/>
            <a:ext cx="1386601" cy="171501"/>
          </a:xfrm>
          <a:prstGeom prst="rect">
            <a:avLst/>
          </a:prstGeom>
        </p:spPr>
        <p:txBody>
          <a:bodyPr vert="horz" wrap="square" lIns="0" tIns="12700" rIns="0" bIns="0" rtlCol="0">
            <a:spAutoFit/>
          </a:bodyPr>
          <a:lstStyle/>
          <a:p>
            <a:pPr>
              <a:lnSpc>
                <a:spcPct val="100000"/>
              </a:lnSpc>
            </a:pPr>
            <a:r>
              <a:rPr sz="700" dirty="0">
                <a:solidFill>
                  <a:srgbClr val="FFFFFF"/>
                </a:solidFill>
                <a:latin typeface="Century Gothic"/>
                <a:cs typeface="Century Gothic"/>
              </a:rPr>
              <a:t>+33</a:t>
            </a:r>
            <a:r>
              <a:rPr sz="700" spc="-20" dirty="0">
                <a:solidFill>
                  <a:srgbClr val="FFFFFF"/>
                </a:solidFill>
                <a:latin typeface="Century Gothic"/>
                <a:cs typeface="Century Gothic"/>
              </a:rPr>
              <a:t> </a:t>
            </a:r>
            <a:r>
              <a:rPr sz="700" dirty="0">
                <a:solidFill>
                  <a:srgbClr val="FFFFFF"/>
                </a:solidFill>
                <a:latin typeface="Century Gothic"/>
                <a:cs typeface="Century Gothic"/>
              </a:rPr>
              <a:t>6</a:t>
            </a:r>
            <a:r>
              <a:rPr sz="700" spc="-15" dirty="0">
                <a:solidFill>
                  <a:srgbClr val="FFFFFF"/>
                </a:solidFill>
                <a:latin typeface="Century Gothic"/>
                <a:cs typeface="Century Gothic"/>
              </a:rPr>
              <a:t> </a:t>
            </a:r>
            <a:r>
              <a:rPr sz="700" i="1" spc="-5" dirty="0">
                <a:solidFill>
                  <a:srgbClr val="FFFFFF"/>
                </a:solidFill>
                <a:latin typeface="Century Gothic"/>
                <a:cs typeface="Century Gothic"/>
              </a:rPr>
              <a:t>32</a:t>
            </a:r>
            <a:r>
              <a:rPr sz="700" spc="-20" dirty="0">
                <a:solidFill>
                  <a:srgbClr val="FFFFFF"/>
                </a:solidFill>
                <a:latin typeface="Century Gothic"/>
                <a:cs typeface="Century Gothic"/>
              </a:rPr>
              <a:t> </a:t>
            </a:r>
            <a:r>
              <a:rPr sz="700" spc="-5" dirty="0">
                <a:solidFill>
                  <a:srgbClr val="FFFFFF"/>
                </a:solidFill>
                <a:latin typeface="Century Gothic"/>
                <a:cs typeface="Century Gothic"/>
              </a:rPr>
              <a:t>23</a:t>
            </a:r>
            <a:r>
              <a:rPr sz="700" spc="-20" dirty="0">
                <a:solidFill>
                  <a:srgbClr val="FFFFFF"/>
                </a:solidFill>
                <a:latin typeface="Century Gothic"/>
                <a:cs typeface="Century Gothic"/>
              </a:rPr>
              <a:t> </a:t>
            </a:r>
            <a:r>
              <a:rPr sz="700" spc="-5">
                <a:solidFill>
                  <a:srgbClr val="FFFFFF"/>
                </a:solidFill>
                <a:latin typeface="Century Gothic"/>
                <a:cs typeface="Century Gothic"/>
              </a:rPr>
              <a:t>17</a:t>
            </a:r>
            <a:r>
              <a:rPr sz="700" spc="-20">
                <a:solidFill>
                  <a:srgbClr val="FFFFFF"/>
                </a:solidFill>
                <a:latin typeface="Century Gothic"/>
                <a:cs typeface="Century Gothic"/>
              </a:rPr>
              <a:t> </a:t>
            </a:r>
            <a:r>
              <a:rPr sz="700" spc="-5">
                <a:solidFill>
                  <a:srgbClr val="FFFFFF"/>
                </a:solidFill>
                <a:latin typeface="Century Gothic"/>
                <a:cs typeface="Century Gothic"/>
              </a:rPr>
              <a:t>05</a:t>
            </a:r>
            <a:r>
              <a:rPr lang="fr-FR" sz="700" spc="-5">
                <a:solidFill>
                  <a:srgbClr val="FFFFFF"/>
                </a:solidFill>
                <a:latin typeface="Century Gothic"/>
                <a:cs typeface="Century Gothic"/>
              </a:rPr>
              <a:t>  (</a:t>
            </a:r>
            <a:r>
              <a:rPr lang="fr-FR" sz="700" spc="-5" dirty="0">
                <a:solidFill>
                  <a:srgbClr val="FFFFFF"/>
                </a:solidFill>
                <a:latin typeface="Century Gothic"/>
                <a:cs typeface="Century Gothic"/>
              </a:rPr>
              <a:t>Christophe)</a:t>
            </a:r>
          </a:p>
          <a:p>
            <a:pPr>
              <a:lnSpc>
                <a:spcPct val="100000"/>
              </a:lnSpc>
            </a:pPr>
            <a:r>
              <a:rPr lang="fr-FR" sz="700" spc="-5" dirty="0">
                <a:solidFill>
                  <a:srgbClr val="FFFFFF"/>
                </a:solidFill>
                <a:latin typeface="Century Gothic"/>
                <a:cs typeface="Century Gothic"/>
              </a:rPr>
              <a:t>+44 7 849 862 704 (Thomas)</a:t>
            </a:r>
            <a:endParaRPr sz="700" dirty="0">
              <a:latin typeface="Century Gothic"/>
              <a:cs typeface="Century Gothic"/>
            </a:endParaRPr>
          </a:p>
        </p:txBody>
      </p:sp>
      <p:sp>
        <p:nvSpPr>
          <p:cNvPr id="50" name="object 45">
            <a:extLst>
              <a:ext uri="{FF2B5EF4-FFF2-40B4-BE49-F238E27FC236}">
                <a16:creationId xmlns:a16="http://schemas.microsoft.com/office/drawing/2014/main" id="{7A02108F-68BC-42C0-B97E-BCE473598370}"/>
              </a:ext>
            </a:extLst>
          </p:cNvPr>
          <p:cNvSpPr txBox="1"/>
          <p:nvPr/>
        </p:nvSpPr>
        <p:spPr>
          <a:xfrm>
            <a:off x="4163299" y="1097121"/>
            <a:ext cx="1149350" cy="241092"/>
          </a:xfrm>
          <a:prstGeom prst="rect">
            <a:avLst/>
          </a:prstGeom>
        </p:spPr>
        <p:txBody>
          <a:bodyPr vert="horz" wrap="square" lIns="0" tIns="12700" rIns="0" bIns="0" rtlCol="0">
            <a:spAutoFit/>
          </a:bodyPr>
          <a:lstStyle/>
          <a:p>
            <a:pPr marL="12700">
              <a:lnSpc>
                <a:spcPct val="100000"/>
              </a:lnSpc>
              <a:spcBef>
                <a:spcPts val="100"/>
              </a:spcBef>
            </a:pPr>
            <a:r>
              <a:rPr sz="700" dirty="0">
                <a:latin typeface="Century Gothic"/>
                <a:hlinkClick r:id="rId8"/>
              </a:rPr>
              <a:t>christophe</a:t>
            </a:r>
            <a:r>
              <a:rPr sz="700" u="sng" spc="-5" dirty="0">
                <a:solidFill>
                  <a:srgbClr val="FFFFFF"/>
                </a:solidFill>
                <a:uFill>
                  <a:solidFill>
                    <a:srgbClr val="FFFFFF"/>
                  </a:solidFill>
                </a:uFill>
                <a:latin typeface="Century Gothic"/>
                <a:cs typeface="Century Gothic"/>
                <a:hlinkClick r:id="rId8"/>
              </a:rPr>
              <a:t>.zaia@ekium.eu</a:t>
            </a:r>
            <a:endParaRPr lang="fr-FR" sz="700" u="sng" spc="-5" dirty="0">
              <a:solidFill>
                <a:srgbClr val="FFFFFF"/>
              </a:solidFill>
              <a:uFill>
                <a:solidFill>
                  <a:srgbClr val="FFFFFF"/>
                </a:solidFill>
              </a:uFill>
              <a:latin typeface="Century Gothic"/>
              <a:cs typeface="Century Gothic"/>
            </a:endParaRPr>
          </a:p>
          <a:p>
            <a:pPr marL="12700">
              <a:lnSpc>
                <a:spcPct val="100000"/>
              </a:lnSpc>
              <a:spcBef>
                <a:spcPts val="100"/>
              </a:spcBef>
            </a:pPr>
            <a:r>
              <a:rPr lang="fr-FR" sz="700" dirty="0">
                <a:latin typeface="Century Gothic"/>
                <a:cs typeface="Century Gothic"/>
                <a:hlinkClick r:id="rId9"/>
              </a:rPr>
              <a:t>thomas.eck@ekium.eu</a:t>
            </a:r>
            <a:endParaRPr lang="fr-FR" sz="700" u="sng" spc="-5" dirty="0">
              <a:solidFill>
                <a:srgbClr val="FFFFFF"/>
              </a:solidFill>
              <a:uFill>
                <a:solidFill>
                  <a:srgbClr val="FFFFFF"/>
                </a:solidFill>
              </a:uFill>
              <a:latin typeface="Century Gothic"/>
              <a:cs typeface="Century Gothic"/>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027299" y="140629"/>
            <a:ext cx="1544955" cy="177800"/>
          </a:xfrm>
          <a:prstGeom prst="rect">
            <a:avLst/>
          </a:prstGeom>
        </p:spPr>
        <p:txBody>
          <a:bodyPr vert="horz" wrap="square" lIns="0" tIns="12700" rIns="0" bIns="0" rtlCol="0">
            <a:spAutoFit/>
          </a:bodyPr>
          <a:lstStyle/>
          <a:p>
            <a:pPr marL="12700">
              <a:lnSpc>
                <a:spcPct val="100000"/>
              </a:lnSpc>
              <a:spcBef>
                <a:spcPts val="100"/>
              </a:spcBef>
            </a:pPr>
            <a:r>
              <a:rPr sz="1000" dirty="0">
                <a:solidFill>
                  <a:srgbClr val="FFFFFF"/>
                </a:solidFill>
                <a:latin typeface="Rafale BG"/>
                <a:cs typeface="Rafale BG"/>
              </a:rPr>
              <a:t>ENTREPRISE INFORM</a:t>
            </a:r>
            <a:r>
              <a:rPr sz="1000" spc="-70" dirty="0">
                <a:solidFill>
                  <a:srgbClr val="FFFFFF"/>
                </a:solidFill>
                <a:latin typeface="Rafale BG"/>
                <a:cs typeface="Rafale BG"/>
              </a:rPr>
              <a:t>A</a:t>
            </a:r>
            <a:r>
              <a:rPr sz="1000" spc="-30" dirty="0">
                <a:solidFill>
                  <a:srgbClr val="FFFFFF"/>
                </a:solidFill>
                <a:latin typeface="Rafale BG"/>
                <a:cs typeface="Rafale BG"/>
              </a:rPr>
              <a:t>T</a:t>
            </a:r>
            <a:r>
              <a:rPr sz="1000" dirty="0">
                <a:solidFill>
                  <a:srgbClr val="FFFFFF"/>
                </a:solidFill>
                <a:latin typeface="Rafale BG"/>
                <a:cs typeface="Rafale BG"/>
              </a:rPr>
              <a:t>ON</a:t>
            </a:r>
            <a:endParaRPr sz="1000">
              <a:latin typeface="Rafale BG"/>
              <a:cs typeface="Rafale BG"/>
            </a:endParaRPr>
          </a:p>
        </p:txBody>
      </p:sp>
      <p:sp>
        <p:nvSpPr>
          <p:cNvPr id="3" name="object 3"/>
          <p:cNvSpPr txBox="1"/>
          <p:nvPr/>
        </p:nvSpPr>
        <p:spPr>
          <a:xfrm>
            <a:off x="3887341" y="140629"/>
            <a:ext cx="593725" cy="177800"/>
          </a:xfrm>
          <a:prstGeom prst="rect">
            <a:avLst/>
          </a:prstGeom>
        </p:spPr>
        <p:txBody>
          <a:bodyPr vert="horz" wrap="square" lIns="0" tIns="12700" rIns="0" bIns="0" rtlCol="0">
            <a:spAutoFit/>
          </a:bodyPr>
          <a:lstStyle/>
          <a:p>
            <a:pPr marL="12700">
              <a:lnSpc>
                <a:spcPct val="100000"/>
              </a:lnSpc>
              <a:spcBef>
                <a:spcPts val="100"/>
              </a:spcBef>
            </a:pPr>
            <a:r>
              <a:rPr sz="1000" spc="-20" dirty="0">
                <a:solidFill>
                  <a:srgbClr val="FFFFFF"/>
                </a:solidFill>
                <a:latin typeface="Rafale BG"/>
                <a:cs typeface="Rafale BG"/>
              </a:rPr>
              <a:t>CONTACT</a:t>
            </a:r>
            <a:endParaRPr sz="1000">
              <a:latin typeface="Rafale BG"/>
              <a:cs typeface="Rafale BG"/>
            </a:endParaRPr>
          </a:p>
        </p:txBody>
      </p:sp>
      <p:grpSp>
        <p:nvGrpSpPr>
          <p:cNvPr id="11" name="object 11"/>
          <p:cNvGrpSpPr/>
          <p:nvPr/>
        </p:nvGrpSpPr>
        <p:grpSpPr>
          <a:xfrm>
            <a:off x="0" y="0"/>
            <a:ext cx="5766435" cy="2035175"/>
            <a:chOff x="0" y="0"/>
            <a:chExt cx="5766435" cy="2035175"/>
          </a:xfrm>
        </p:grpSpPr>
        <p:sp>
          <p:nvSpPr>
            <p:cNvPr id="12" name="object 12"/>
            <p:cNvSpPr/>
            <p:nvPr/>
          </p:nvSpPr>
          <p:spPr>
            <a:xfrm>
              <a:off x="1871865" y="1773948"/>
              <a:ext cx="3888740" cy="12700"/>
            </a:xfrm>
            <a:custGeom>
              <a:avLst/>
              <a:gdLst/>
              <a:ahLst/>
              <a:cxnLst/>
              <a:rect l="l" t="t" r="r" b="b"/>
              <a:pathLst>
                <a:path w="3888740" h="12700">
                  <a:moveTo>
                    <a:pt x="0" y="12700"/>
                  </a:moveTo>
                  <a:lnTo>
                    <a:pt x="3888130" y="12700"/>
                  </a:lnTo>
                  <a:lnTo>
                    <a:pt x="3888130" y="0"/>
                  </a:lnTo>
                  <a:lnTo>
                    <a:pt x="0" y="0"/>
                  </a:lnTo>
                  <a:lnTo>
                    <a:pt x="0" y="12700"/>
                  </a:lnTo>
                  <a:close/>
                </a:path>
              </a:pathLst>
            </a:custGeom>
            <a:solidFill>
              <a:srgbClr val="498B80"/>
            </a:solidFill>
          </p:spPr>
          <p:txBody>
            <a:bodyPr wrap="square" lIns="0" tIns="0" rIns="0" bIns="0" rtlCol="0"/>
            <a:lstStyle/>
            <a:p>
              <a:endParaRPr/>
            </a:p>
          </p:txBody>
        </p:sp>
        <p:sp>
          <p:nvSpPr>
            <p:cNvPr id="13" name="object 13"/>
            <p:cNvSpPr/>
            <p:nvPr/>
          </p:nvSpPr>
          <p:spPr>
            <a:xfrm>
              <a:off x="1871865" y="1773948"/>
              <a:ext cx="3888740" cy="12700"/>
            </a:xfrm>
            <a:custGeom>
              <a:avLst/>
              <a:gdLst/>
              <a:ahLst/>
              <a:cxnLst/>
              <a:rect l="l" t="t" r="r" b="b"/>
              <a:pathLst>
                <a:path w="3888740" h="12700">
                  <a:moveTo>
                    <a:pt x="0" y="12700"/>
                  </a:moveTo>
                  <a:lnTo>
                    <a:pt x="3888130" y="12700"/>
                  </a:lnTo>
                  <a:lnTo>
                    <a:pt x="3888130" y="0"/>
                  </a:lnTo>
                  <a:lnTo>
                    <a:pt x="0" y="0"/>
                  </a:lnTo>
                  <a:lnTo>
                    <a:pt x="0" y="12700"/>
                  </a:lnTo>
                </a:path>
              </a:pathLst>
            </a:custGeom>
            <a:ln w="12700">
              <a:solidFill>
                <a:srgbClr val="001D18"/>
              </a:solidFill>
            </a:ln>
          </p:spPr>
          <p:txBody>
            <a:bodyPr wrap="square" lIns="0" tIns="0" rIns="0" bIns="0" rtlCol="0"/>
            <a:lstStyle/>
            <a:p>
              <a:endParaRPr/>
            </a:p>
          </p:txBody>
        </p:sp>
        <p:sp>
          <p:nvSpPr>
            <p:cNvPr id="14" name="object 14"/>
            <p:cNvSpPr/>
            <p:nvPr/>
          </p:nvSpPr>
          <p:spPr>
            <a:xfrm>
              <a:off x="0" y="0"/>
              <a:ext cx="1943100" cy="1793239"/>
            </a:xfrm>
            <a:custGeom>
              <a:avLst/>
              <a:gdLst/>
              <a:ahLst/>
              <a:cxnLst/>
              <a:rect l="l" t="t" r="r" b="b"/>
              <a:pathLst>
                <a:path w="1943100" h="1793239">
                  <a:moveTo>
                    <a:pt x="1943100" y="0"/>
                  </a:moveTo>
                  <a:lnTo>
                    <a:pt x="25196" y="0"/>
                  </a:lnTo>
                  <a:lnTo>
                    <a:pt x="0" y="0"/>
                  </a:lnTo>
                  <a:lnTo>
                    <a:pt x="0" y="25196"/>
                  </a:lnTo>
                  <a:lnTo>
                    <a:pt x="0" y="1792795"/>
                  </a:lnTo>
                  <a:lnTo>
                    <a:pt x="25196" y="1792795"/>
                  </a:lnTo>
                  <a:lnTo>
                    <a:pt x="25196" y="25196"/>
                  </a:lnTo>
                  <a:lnTo>
                    <a:pt x="1943100" y="25196"/>
                  </a:lnTo>
                  <a:lnTo>
                    <a:pt x="1943100" y="0"/>
                  </a:lnTo>
                  <a:close/>
                </a:path>
              </a:pathLst>
            </a:custGeom>
            <a:solidFill>
              <a:srgbClr val="001D18"/>
            </a:solidFill>
          </p:spPr>
          <p:txBody>
            <a:bodyPr wrap="square" lIns="0" tIns="0" rIns="0" bIns="0" rtlCol="0"/>
            <a:lstStyle/>
            <a:p>
              <a:endParaRPr/>
            </a:p>
          </p:txBody>
        </p:sp>
        <p:sp>
          <p:nvSpPr>
            <p:cNvPr id="15" name="object 15"/>
            <p:cNvSpPr/>
            <p:nvPr/>
          </p:nvSpPr>
          <p:spPr>
            <a:xfrm>
              <a:off x="5443194" y="1791893"/>
              <a:ext cx="316865" cy="243204"/>
            </a:xfrm>
            <a:custGeom>
              <a:avLst/>
              <a:gdLst/>
              <a:ahLst/>
              <a:cxnLst/>
              <a:rect l="l" t="t" r="r" b="b"/>
              <a:pathLst>
                <a:path w="316864" h="243205">
                  <a:moveTo>
                    <a:pt x="0" y="243001"/>
                  </a:moveTo>
                  <a:lnTo>
                    <a:pt x="316801" y="243001"/>
                  </a:lnTo>
                  <a:lnTo>
                    <a:pt x="316801" y="0"/>
                  </a:lnTo>
                  <a:lnTo>
                    <a:pt x="0" y="0"/>
                  </a:lnTo>
                  <a:lnTo>
                    <a:pt x="0" y="243001"/>
                  </a:lnTo>
                  <a:close/>
                </a:path>
              </a:pathLst>
            </a:custGeom>
            <a:solidFill>
              <a:srgbClr val="FFFFFF">
                <a:alpha val="59999"/>
              </a:srgbClr>
            </a:solidFill>
          </p:spPr>
          <p:txBody>
            <a:bodyPr wrap="square" lIns="0" tIns="0" rIns="0" bIns="0" rtlCol="0"/>
            <a:lstStyle/>
            <a:p>
              <a:endParaRPr/>
            </a:p>
          </p:txBody>
        </p:sp>
        <p:sp>
          <p:nvSpPr>
            <p:cNvPr id="16" name="object 16"/>
            <p:cNvSpPr/>
            <p:nvPr/>
          </p:nvSpPr>
          <p:spPr>
            <a:xfrm>
              <a:off x="2823330" y="1787400"/>
              <a:ext cx="113664" cy="57150"/>
            </a:xfrm>
            <a:custGeom>
              <a:avLst/>
              <a:gdLst/>
              <a:ahLst/>
              <a:cxnLst/>
              <a:rect l="l" t="t" r="r" b="b"/>
              <a:pathLst>
                <a:path w="113664" h="57150">
                  <a:moveTo>
                    <a:pt x="113334" y="0"/>
                  </a:moveTo>
                  <a:lnTo>
                    <a:pt x="0" y="0"/>
                  </a:lnTo>
                  <a:lnTo>
                    <a:pt x="56667" y="56667"/>
                  </a:lnTo>
                  <a:lnTo>
                    <a:pt x="113334" y="0"/>
                  </a:lnTo>
                  <a:close/>
                </a:path>
              </a:pathLst>
            </a:custGeom>
            <a:solidFill>
              <a:srgbClr val="001D18"/>
            </a:solidFill>
          </p:spPr>
          <p:txBody>
            <a:bodyPr wrap="square" lIns="0" tIns="0" rIns="0" bIns="0" rtlCol="0"/>
            <a:lstStyle/>
            <a:p>
              <a:endParaRPr/>
            </a:p>
          </p:txBody>
        </p:sp>
        <p:pic>
          <p:nvPicPr>
            <p:cNvPr id="17" name="object 17"/>
            <p:cNvPicPr/>
            <p:nvPr/>
          </p:nvPicPr>
          <p:blipFill>
            <a:blip r:embed="rId2" cstate="print"/>
            <a:stretch>
              <a:fillRect/>
            </a:stretch>
          </p:blipFill>
          <p:spPr>
            <a:xfrm>
              <a:off x="477194" y="1554646"/>
              <a:ext cx="403335" cy="123559"/>
            </a:xfrm>
            <a:prstGeom prst="rect">
              <a:avLst/>
            </a:prstGeom>
          </p:spPr>
        </p:pic>
      </p:grpSp>
      <p:sp>
        <p:nvSpPr>
          <p:cNvPr id="18" name="object 18"/>
          <p:cNvSpPr txBox="1"/>
          <p:nvPr/>
        </p:nvSpPr>
        <p:spPr>
          <a:xfrm>
            <a:off x="920362" y="1490708"/>
            <a:ext cx="436880" cy="208279"/>
          </a:xfrm>
          <a:prstGeom prst="rect">
            <a:avLst/>
          </a:prstGeom>
        </p:spPr>
        <p:txBody>
          <a:bodyPr vert="horz" wrap="square" lIns="0" tIns="12700" rIns="0" bIns="0" rtlCol="0">
            <a:spAutoFit/>
          </a:bodyPr>
          <a:lstStyle/>
          <a:p>
            <a:pPr marL="12700">
              <a:lnSpc>
                <a:spcPct val="100000"/>
              </a:lnSpc>
              <a:spcBef>
                <a:spcPts val="100"/>
              </a:spcBef>
            </a:pPr>
            <a:r>
              <a:rPr sz="1200" spc="-120" dirty="0">
                <a:solidFill>
                  <a:srgbClr val="1F376B"/>
                </a:solidFill>
                <a:latin typeface="Times New Roman"/>
                <a:cs typeface="Times New Roman"/>
              </a:rPr>
              <a:t>member</a:t>
            </a:r>
            <a:endParaRPr sz="1200">
              <a:latin typeface="Times New Roman"/>
              <a:cs typeface="Times New Roman"/>
            </a:endParaRPr>
          </a:p>
        </p:txBody>
      </p:sp>
      <p:sp>
        <p:nvSpPr>
          <p:cNvPr id="19" name="object 19"/>
          <p:cNvSpPr txBox="1"/>
          <p:nvPr/>
        </p:nvSpPr>
        <p:spPr>
          <a:xfrm>
            <a:off x="4163300" y="1512137"/>
            <a:ext cx="733425" cy="132080"/>
          </a:xfrm>
          <a:prstGeom prst="rect">
            <a:avLst/>
          </a:prstGeom>
        </p:spPr>
        <p:txBody>
          <a:bodyPr vert="horz" wrap="square" lIns="0" tIns="12700" rIns="0" bIns="0" rtlCol="0">
            <a:spAutoFit/>
          </a:bodyPr>
          <a:lstStyle/>
          <a:p>
            <a:pPr marL="12700">
              <a:lnSpc>
                <a:spcPct val="100000"/>
              </a:lnSpc>
              <a:spcBef>
                <a:spcPts val="100"/>
              </a:spcBef>
            </a:pPr>
            <a:r>
              <a:rPr sz="700" b="1" u="sng" dirty="0">
                <a:solidFill>
                  <a:srgbClr val="FFFFFF"/>
                </a:solidFill>
                <a:uFill>
                  <a:solidFill>
                    <a:srgbClr val="FFFFFF"/>
                  </a:solidFill>
                </a:uFill>
                <a:latin typeface="Century Gothic"/>
                <a:cs typeface="Century Gothic"/>
                <a:hlinkClick r:id="rId3"/>
              </a:rPr>
              <a:t>www.engie.com</a:t>
            </a:r>
            <a:endParaRPr sz="700">
              <a:latin typeface="Century Gothic"/>
              <a:cs typeface="Century Gothic"/>
            </a:endParaRPr>
          </a:p>
        </p:txBody>
      </p:sp>
      <p:sp>
        <p:nvSpPr>
          <p:cNvPr id="20" name="object 20"/>
          <p:cNvSpPr txBox="1"/>
          <p:nvPr/>
        </p:nvSpPr>
        <p:spPr>
          <a:xfrm>
            <a:off x="563299" y="2301900"/>
            <a:ext cx="800100" cy="369332"/>
          </a:xfrm>
          <a:prstGeom prst="rect">
            <a:avLst/>
          </a:prstGeom>
        </p:spPr>
        <p:txBody>
          <a:bodyPr vert="horz" wrap="square" lIns="0" tIns="22860" rIns="0" bIns="0" rtlCol="0">
            <a:spAutoFit/>
          </a:bodyPr>
          <a:lstStyle/>
          <a:p>
            <a:pPr marL="12700" marR="5080">
              <a:lnSpc>
                <a:spcPts val="900"/>
              </a:lnSpc>
              <a:spcBef>
                <a:spcPts val="180"/>
              </a:spcBef>
            </a:pPr>
            <a:r>
              <a:rPr sz="800" b="1" dirty="0">
                <a:solidFill>
                  <a:srgbClr val="498B80"/>
                </a:solidFill>
                <a:latin typeface="Century Gothic"/>
                <a:cs typeface="Century Gothic"/>
              </a:rPr>
              <a:t>EQUANS AXIMA  NUCLÉAIRE IN </a:t>
            </a:r>
            <a:r>
              <a:rPr sz="800" b="1" spc="5" dirty="0">
                <a:solidFill>
                  <a:srgbClr val="498B80"/>
                </a:solidFill>
                <a:latin typeface="Century Gothic"/>
                <a:cs typeface="Century Gothic"/>
              </a:rPr>
              <a:t> </a:t>
            </a:r>
            <a:r>
              <a:rPr lang="fr-FR" sz="800" b="1" spc="5" dirty="0">
                <a:solidFill>
                  <a:srgbClr val="498B80"/>
                </a:solidFill>
                <a:latin typeface="Century Gothic"/>
                <a:cs typeface="Century Gothic"/>
              </a:rPr>
              <a:t> UK</a:t>
            </a:r>
            <a:endParaRPr sz="800" dirty="0">
              <a:latin typeface="Century Gothic"/>
              <a:cs typeface="Century Gothic"/>
            </a:endParaRPr>
          </a:p>
        </p:txBody>
      </p:sp>
      <p:sp>
        <p:nvSpPr>
          <p:cNvPr id="22" name="object 22"/>
          <p:cNvSpPr txBox="1"/>
          <p:nvPr/>
        </p:nvSpPr>
        <p:spPr>
          <a:xfrm>
            <a:off x="575113" y="3254813"/>
            <a:ext cx="1090930" cy="261620"/>
          </a:xfrm>
          <a:prstGeom prst="rect">
            <a:avLst/>
          </a:prstGeom>
        </p:spPr>
        <p:txBody>
          <a:bodyPr vert="horz" wrap="square" lIns="0" tIns="22860" rIns="0" bIns="0" rtlCol="0">
            <a:spAutoFit/>
          </a:bodyPr>
          <a:lstStyle/>
          <a:p>
            <a:pPr marL="12700" marR="5080">
              <a:lnSpc>
                <a:spcPts val="900"/>
              </a:lnSpc>
              <a:spcBef>
                <a:spcPts val="180"/>
              </a:spcBef>
            </a:pPr>
            <a:r>
              <a:rPr sz="800" b="1" dirty="0">
                <a:solidFill>
                  <a:srgbClr val="498B80"/>
                </a:solidFill>
                <a:latin typeface="Century Gothic"/>
                <a:cs typeface="Century Gothic"/>
              </a:rPr>
              <a:t>EQUANS AXIMA </a:t>
            </a:r>
            <a:r>
              <a:rPr sz="800" b="1" spc="5" dirty="0">
                <a:solidFill>
                  <a:srgbClr val="498B80"/>
                </a:solidFill>
                <a:latin typeface="Century Gothic"/>
                <a:cs typeface="Century Gothic"/>
              </a:rPr>
              <a:t> </a:t>
            </a:r>
            <a:r>
              <a:rPr sz="800" b="1" dirty="0">
                <a:solidFill>
                  <a:srgbClr val="498B80"/>
                </a:solidFill>
                <a:latin typeface="Century Gothic"/>
                <a:cs typeface="Century Gothic"/>
              </a:rPr>
              <a:t>NUCLÉAIRE</a:t>
            </a:r>
            <a:r>
              <a:rPr sz="800" b="1" spc="-50" dirty="0">
                <a:solidFill>
                  <a:srgbClr val="498B80"/>
                </a:solidFill>
                <a:latin typeface="Century Gothic"/>
                <a:cs typeface="Century Gothic"/>
              </a:rPr>
              <a:t> </a:t>
            </a:r>
            <a:r>
              <a:rPr sz="800" b="1" dirty="0">
                <a:solidFill>
                  <a:srgbClr val="498B80"/>
                </a:solidFill>
                <a:latin typeface="Century Gothic"/>
                <a:cs typeface="Century Gothic"/>
              </a:rPr>
              <a:t>IN</a:t>
            </a:r>
            <a:r>
              <a:rPr sz="800" b="1" spc="-50" dirty="0">
                <a:solidFill>
                  <a:srgbClr val="498B80"/>
                </a:solidFill>
                <a:latin typeface="Century Gothic"/>
                <a:cs typeface="Century Gothic"/>
              </a:rPr>
              <a:t> </a:t>
            </a:r>
            <a:r>
              <a:rPr sz="800" b="1" dirty="0">
                <a:solidFill>
                  <a:srgbClr val="498B80"/>
                </a:solidFill>
                <a:latin typeface="Century Gothic"/>
                <a:cs typeface="Century Gothic"/>
              </a:rPr>
              <a:t>EUROPE</a:t>
            </a:r>
            <a:endParaRPr sz="800" dirty="0">
              <a:latin typeface="Century Gothic"/>
              <a:cs typeface="Century Gothic"/>
            </a:endParaRPr>
          </a:p>
        </p:txBody>
      </p:sp>
      <p:sp>
        <p:nvSpPr>
          <p:cNvPr id="23" name="object 23"/>
          <p:cNvSpPr txBox="1"/>
          <p:nvPr/>
        </p:nvSpPr>
        <p:spPr>
          <a:xfrm>
            <a:off x="167262" y="3657134"/>
            <a:ext cx="1705610" cy="147320"/>
          </a:xfrm>
          <a:prstGeom prst="rect">
            <a:avLst/>
          </a:prstGeom>
        </p:spPr>
        <p:txBody>
          <a:bodyPr vert="horz" wrap="square" lIns="0" tIns="12700" rIns="0" bIns="0" rtlCol="0">
            <a:spAutoFit/>
          </a:bodyPr>
          <a:lstStyle/>
          <a:p>
            <a:pPr marL="12700">
              <a:lnSpc>
                <a:spcPct val="100000"/>
              </a:lnSpc>
              <a:spcBef>
                <a:spcPts val="100"/>
              </a:spcBef>
            </a:pPr>
            <a:r>
              <a:rPr sz="800" b="1" dirty="0">
                <a:latin typeface="Century Gothic"/>
                <a:cs typeface="Century Gothic"/>
              </a:rPr>
              <a:t>For  </a:t>
            </a:r>
            <a:r>
              <a:rPr sz="800" b="1" spc="175" dirty="0">
                <a:latin typeface="Century Gothic"/>
                <a:cs typeface="Century Gothic"/>
              </a:rPr>
              <a:t> </a:t>
            </a:r>
            <a:r>
              <a:rPr sz="800" b="1" dirty="0">
                <a:latin typeface="Century Gothic"/>
                <a:cs typeface="Century Gothic"/>
              </a:rPr>
              <a:t>the  </a:t>
            </a:r>
            <a:r>
              <a:rPr sz="800" b="1" spc="175" dirty="0">
                <a:latin typeface="Century Gothic"/>
                <a:cs typeface="Century Gothic"/>
              </a:rPr>
              <a:t> </a:t>
            </a:r>
            <a:r>
              <a:rPr sz="800" b="1" spc="-5" dirty="0">
                <a:latin typeface="Century Gothic"/>
                <a:cs typeface="Century Gothic"/>
              </a:rPr>
              <a:t>nuclear</a:t>
            </a:r>
            <a:r>
              <a:rPr sz="800" b="1" spc="625" dirty="0">
                <a:latin typeface="Century Gothic"/>
                <a:cs typeface="Century Gothic"/>
              </a:rPr>
              <a:t> </a:t>
            </a:r>
            <a:r>
              <a:rPr sz="800" b="1" spc="-5" dirty="0">
                <a:latin typeface="Century Gothic"/>
                <a:cs typeface="Century Gothic"/>
              </a:rPr>
              <a:t>domain:</a:t>
            </a:r>
            <a:r>
              <a:rPr sz="800" b="1" spc="620" dirty="0">
                <a:latin typeface="Century Gothic"/>
                <a:cs typeface="Century Gothic"/>
              </a:rPr>
              <a:t> </a:t>
            </a:r>
            <a:r>
              <a:rPr sz="800" spc="-5" dirty="0">
                <a:latin typeface="Century Gothic"/>
                <a:cs typeface="Century Gothic"/>
              </a:rPr>
              <a:t>we</a:t>
            </a:r>
            <a:endParaRPr sz="800" dirty="0">
              <a:latin typeface="Century Gothic"/>
              <a:cs typeface="Century Gothic"/>
            </a:endParaRPr>
          </a:p>
        </p:txBody>
      </p:sp>
      <p:sp>
        <p:nvSpPr>
          <p:cNvPr id="24" name="object 24"/>
          <p:cNvSpPr txBox="1"/>
          <p:nvPr/>
        </p:nvSpPr>
        <p:spPr>
          <a:xfrm>
            <a:off x="184505" y="3831162"/>
            <a:ext cx="1705610" cy="905510"/>
          </a:xfrm>
          <a:prstGeom prst="rect">
            <a:avLst/>
          </a:prstGeom>
        </p:spPr>
        <p:txBody>
          <a:bodyPr vert="horz" wrap="square" lIns="0" tIns="22860" rIns="0" bIns="0" rtlCol="0">
            <a:spAutoFit/>
          </a:bodyPr>
          <a:lstStyle/>
          <a:p>
            <a:pPr marL="12700" marR="5080" algn="just">
              <a:lnSpc>
                <a:spcPts val="900"/>
              </a:lnSpc>
              <a:spcBef>
                <a:spcPts val="180"/>
              </a:spcBef>
            </a:pPr>
            <a:r>
              <a:rPr sz="800" dirty="0">
                <a:latin typeface="Century Gothic"/>
                <a:cs typeface="Century Gothic"/>
              </a:rPr>
              <a:t>have</a:t>
            </a:r>
            <a:r>
              <a:rPr sz="800" spc="225" dirty="0">
                <a:latin typeface="Century Gothic"/>
                <a:cs typeface="Century Gothic"/>
              </a:rPr>
              <a:t> </a:t>
            </a:r>
            <a:r>
              <a:rPr sz="800" dirty="0">
                <a:latin typeface="Century Gothic"/>
                <a:cs typeface="Century Gothic"/>
              </a:rPr>
              <a:t>a</a:t>
            </a:r>
            <a:r>
              <a:rPr sz="800" spc="225" dirty="0">
                <a:latin typeface="Century Gothic"/>
                <a:cs typeface="Century Gothic"/>
              </a:rPr>
              <a:t> </a:t>
            </a:r>
            <a:r>
              <a:rPr sz="800" spc="-5" dirty="0">
                <a:latin typeface="Century Gothic"/>
                <a:cs typeface="Century Gothic"/>
              </a:rPr>
              <a:t>subsidiary</a:t>
            </a:r>
            <a:r>
              <a:rPr sz="800" spc="215" dirty="0">
                <a:latin typeface="Century Gothic"/>
                <a:cs typeface="Century Gothic"/>
              </a:rPr>
              <a:t> </a:t>
            </a:r>
            <a:r>
              <a:rPr sz="800" spc="-5" dirty="0">
                <a:latin typeface="Century Gothic"/>
                <a:cs typeface="Century Gothic"/>
              </a:rPr>
              <a:t>in</a:t>
            </a:r>
            <a:r>
              <a:rPr sz="800" spc="425" dirty="0">
                <a:latin typeface="Century Gothic"/>
                <a:cs typeface="Century Gothic"/>
              </a:rPr>
              <a:t> </a:t>
            </a:r>
            <a:r>
              <a:rPr sz="800" dirty="0">
                <a:latin typeface="Century Gothic"/>
                <a:cs typeface="Century Gothic"/>
              </a:rPr>
              <a:t>the   UK </a:t>
            </a:r>
            <a:r>
              <a:rPr sz="800" spc="5" dirty="0">
                <a:latin typeface="Century Gothic"/>
                <a:cs typeface="Century Gothic"/>
              </a:rPr>
              <a:t> </a:t>
            </a:r>
            <a:r>
              <a:rPr sz="800" spc="-5" dirty="0">
                <a:latin typeface="Century Gothic"/>
                <a:cs typeface="Century Gothic"/>
              </a:rPr>
              <a:t>and</a:t>
            </a:r>
            <a:r>
              <a:rPr sz="800" dirty="0">
                <a:latin typeface="Century Gothic"/>
                <a:cs typeface="Century Gothic"/>
              </a:rPr>
              <a:t> </a:t>
            </a:r>
            <a:r>
              <a:rPr sz="800" spc="-5" dirty="0">
                <a:latin typeface="Century Gothic"/>
                <a:cs typeface="Century Gothic"/>
              </a:rPr>
              <a:t>are</a:t>
            </a:r>
            <a:r>
              <a:rPr sz="800" dirty="0">
                <a:latin typeface="Century Gothic"/>
                <a:cs typeface="Century Gothic"/>
              </a:rPr>
              <a:t> </a:t>
            </a:r>
            <a:r>
              <a:rPr sz="800" spc="-5" dirty="0">
                <a:latin typeface="Century Gothic"/>
                <a:cs typeface="Century Gothic"/>
              </a:rPr>
              <a:t>delivering</a:t>
            </a:r>
            <a:r>
              <a:rPr sz="800" dirty="0">
                <a:latin typeface="Century Gothic"/>
                <a:cs typeface="Century Gothic"/>
              </a:rPr>
              <a:t> the</a:t>
            </a:r>
            <a:r>
              <a:rPr sz="800" spc="5" dirty="0">
                <a:latin typeface="Century Gothic"/>
                <a:cs typeface="Century Gothic"/>
              </a:rPr>
              <a:t> </a:t>
            </a:r>
            <a:r>
              <a:rPr sz="800" dirty="0">
                <a:latin typeface="Century Gothic"/>
                <a:cs typeface="Century Gothic"/>
              </a:rPr>
              <a:t>nuclear </a:t>
            </a:r>
            <a:r>
              <a:rPr sz="800" spc="5" dirty="0">
                <a:latin typeface="Century Gothic"/>
                <a:cs typeface="Century Gothic"/>
              </a:rPr>
              <a:t> </a:t>
            </a:r>
            <a:r>
              <a:rPr sz="800" spc="-5" dirty="0">
                <a:latin typeface="Century Gothic"/>
                <a:cs typeface="Century Gothic"/>
              </a:rPr>
              <a:t>HVAC</a:t>
            </a:r>
            <a:r>
              <a:rPr sz="800" dirty="0">
                <a:latin typeface="Century Gothic"/>
                <a:cs typeface="Century Gothic"/>
              </a:rPr>
              <a:t> </a:t>
            </a:r>
            <a:r>
              <a:rPr sz="800" spc="-5" dirty="0">
                <a:latin typeface="Century Gothic"/>
                <a:cs typeface="Century Gothic"/>
              </a:rPr>
              <a:t>package</a:t>
            </a:r>
            <a:r>
              <a:rPr sz="800" dirty="0">
                <a:latin typeface="Century Gothic"/>
                <a:cs typeface="Century Gothic"/>
              </a:rPr>
              <a:t> </a:t>
            </a:r>
            <a:r>
              <a:rPr sz="800" spc="-5" dirty="0">
                <a:latin typeface="Century Gothic"/>
                <a:cs typeface="Century Gothic"/>
              </a:rPr>
              <a:t>(design</a:t>
            </a:r>
            <a:r>
              <a:rPr sz="800" dirty="0">
                <a:latin typeface="Century Gothic"/>
                <a:cs typeface="Century Gothic"/>
              </a:rPr>
              <a:t> </a:t>
            </a:r>
            <a:r>
              <a:rPr sz="800" spc="-5" dirty="0">
                <a:latin typeface="Century Gothic"/>
                <a:cs typeface="Century Gothic"/>
              </a:rPr>
              <a:t>and </a:t>
            </a:r>
            <a:r>
              <a:rPr sz="800" dirty="0">
                <a:latin typeface="Century Gothic"/>
                <a:cs typeface="Century Gothic"/>
              </a:rPr>
              <a:t> </a:t>
            </a:r>
            <a:r>
              <a:rPr sz="800" spc="-5" dirty="0">
                <a:latin typeface="Century Gothic"/>
                <a:cs typeface="Century Gothic"/>
              </a:rPr>
              <a:t>procurement) </a:t>
            </a:r>
            <a:r>
              <a:rPr sz="800" dirty="0">
                <a:latin typeface="Century Gothic"/>
                <a:cs typeface="Century Gothic"/>
              </a:rPr>
              <a:t>to the </a:t>
            </a:r>
            <a:r>
              <a:rPr sz="800" spc="-5" dirty="0">
                <a:latin typeface="Century Gothic"/>
                <a:cs typeface="Century Gothic"/>
              </a:rPr>
              <a:t>Hinkley </a:t>
            </a:r>
            <a:r>
              <a:rPr sz="800" dirty="0">
                <a:latin typeface="Century Gothic"/>
                <a:cs typeface="Century Gothic"/>
              </a:rPr>
              <a:t>Point </a:t>
            </a:r>
            <a:r>
              <a:rPr sz="800" spc="5" dirty="0">
                <a:latin typeface="Century Gothic"/>
                <a:cs typeface="Century Gothic"/>
              </a:rPr>
              <a:t> </a:t>
            </a:r>
            <a:r>
              <a:rPr sz="800" dirty="0">
                <a:latin typeface="Century Gothic"/>
                <a:cs typeface="Century Gothic"/>
              </a:rPr>
              <a:t>C</a:t>
            </a:r>
            <a:r>
              <a:rPr sz="800" spc="-5" dirty="0">
                <a:latin typeface="Century Gothic"/>
                <a:cs typeface="Century Gothic"/>
              </a:rPr>
              <a:t> project.</a:t>
            </a:r>
            <a:endParaRPr sz="800" dirty="0">
              <a:latin typeface="Century Gothic"/>
              <a:cs typeface="Century Gothic"/>
            </a:endParaRPr>
          </a:p>
          <a:p>
            <a:pPr marL="12700" marR="5080" algn="just">
              <a:lnSpc>
                <a:spcPts val="900"/>
              </a:lnSpc>
              <a:spcBef>
                <a:spcPts val="565"/>
              </a:spcBef>
            </a:pPr>
            <a:r>
              <a:rPr sz="800" b="1" dirty="0">
                <a:latin typeface="Century Gothic"/>
                <a:cs typeface="Century Gothic"/>
              </a:rPr>
              <a:t>For </a:t>
            </a:r>
            <a:r>
              <a:rPr sz="800" b="1" spc="-5" dirty="0">
                <a:latin typeface="Century Gothic"/>
                <a:cs typeface="Century Gothic"/>
              </a:rPr>
              <a:t>non-nuclear activities: </a:t>
            </a:r>
            <a:r>
              <a:rPr sz="800" spc="-5" dirty="0">
                <a:latin typeface="Century Gothic"/>
                <a:cs typeface="Century Gothic"/>
              </a:rPr>
              <a:t>we are </a:t>
            </a:r>
            <a:r>
              <a:rPr sz="800" dirty="0">
                <a:latin typeface="Century Gothic"/>
                <a:cs typeface="Century Gothic"/>
              </a:rPr>
              <a:t> </a:t>
            </a:r>
            <a:r>
              <a:rPr sz="800" spc="-5" dirty="0">
                <a:latin typeface="Century Gothic"/>
                <a:cs typeface="Century Gothic"/>
              </a:rPr>
              <a:t>present</a:t>
            </a:r>
            <a:r>
              <a:rPr sz="800" spc="-10" dirty="0">
                <a:latin typeface="Century Gothic"/>
                <a:cs typeface="Century Gothic"/>
              </a:rPr>
              <a:t> </a:t>
            </a:r>
            <a:r>
              <a:rPr sz="800" spc="-5" dirty="0">
                <a:latin typeface="Century Gothic"/>
                <a:cs typeface="Century Gothic"/>
              </a:rPr>
              <a:t>all</a:t>
            </a:r>
            <a:r>
              <a:rPr sz="800" spc="-10" dirty="0">
                <a:latin typeface="Century Gothic"/>
                <a:cs typeface="Century Gothic"/>
              </a:rPr>
              <a:t> </a:t>
            </a:r>
            <a:r>
              <a:rPr sz="800" spc="-5" dirty="0">
                <a:latin typeface="Century Gothic"/>
                <a:cs typeface="Century Gothic"/>
              </a:rPr>
              <a:t>accross</a:t>
            </a:r>
            <a:r>
              <a:rPr sz="800" spc="-10" dirty="0">
                <a:latin typeface="Century Gothic"/>
                <a:cs typeface="Century Gothic"/>
              </a:rPr>
              <a:t> </a:t>
            </a:r>
            <a:r>
              <a:rPr sz="800" spc="-5" dirty="0">
                <a:latin typeface="Century Gothic"/>
                <a:cs typeface="Century Gothic"/>
              </a:rPr>
              <a:t>Europe</a:t>
            </a:r>
            <a:endParaRPr sz="800" dirty="0">
              <a:latin typeface="Century Gothic"/>
              <a:cs typeface="Century Gothic"/>
            </a:endParaRPr>
          </a:p>
        </p:txBody>
      </p:sp>
      <p:sp>
        <p:nvSpPr>
          <p:cNvPr id="25" name="object 25"/>
          <p:cNvSpPr txBox="1"/>
          <p:nvPr/>
        </p:nvSpPr>
        <p:spPr>
          <a:xfrm>
            <a:off x="691440" y="5048520"/>
            <a:ext cx="749300" cy="261620"/>
          </a:xfrm>
          <a:prstGeom prst="rect">
            <a:avLst/>
          </a:prstGeom>
        </p:spPr>
        <p:txBody>
          <a:bodyPr vert="horz" wrap="square" lIns="0" tIns="22860" rIns="0" bIns="0" rtlCol="0">
            <a:spAutoFit/>
          </a:bodyPr>
          <a:lstStyle/>
          <a:p>
            <a:pPr marL="12700" marR="5080">
              <a:lnSpc>
                <a:spcPts val="900"/>
              </a:lnSpc>
              <a:spcBef>
                <a:spcPts val="180"/>
              </a:spcBef>
            </a:pPr>
            <a:r>
              <a:rPr sz="800" b="1" dirty="0">
                <a:solidFill>
                  <a:srgbClr val="498B80"/>
                </a:solidFill>
                <a:latin typeface="Century Gothic"/>
                <a:cs typeface="Century Gothic"/>
              </a:rPr>
              <a:t>STRATEGY AND  EXPECTATION</a:t>
            </a:r>
            <a:endParaRPr sz="800" dirty="0">
              <a:latin typeface="Century Gothic"/>
              <a:cs typeface="Century Gothic"/>
            </a:endParaRPr>
          </a:p>
        </p:txBody>
      </p:sp>
      <p:sp>
        <p:nvSpPr>
          <p:cNvPr id="29" name="object 29"/>
          <p:cNvSpPr txBox="1"/>
          <p:nvPr/>
        </p:nvSpPr>
        <p:spPr>
          <a:xfrm>
            <a:off x="167262" y="5445709"/>
            <a:ext cx="1705610" cy="792525"/>
          </a:xfrm>
          <a:prstGeom prst="rect">
            <a:avLst/>
          </a:prstGeom>
        </p:spPr>
        <p:txBody>
          <a:bodyPr vert="horz" wrap="square" lIns="0" tIns="22860" rIns="0" bIns="0" rtlCol="0">
            <a:spAutoFit/>
          </a:bodyPr>
          <a:lstStyle/>
          <a:p>
            <a:pPr marL="12700" marR="5080" algn="just">
              <a:lnSpc>
                <a:spcPts val="900"/>
              </a:lnSpc>
              <a:spcBef>
                <a:spcPts val="180"/>
              </a:spcBef>
            </a:pPr>
            <a:endParaRPr sz="800" dirty="0">
              <a:latin typeface="Century Gothic"/>
              <a:cs typeface="Century Gothic"/>
            </a:endParaRPr>
          </a:p>
          <a:p>
            <a:pPr marL="12700" marR="5080" algn="just">
              <a:lnSpc>
                <a:spcPts val="900"/>
              </a:lnSpc>
              <a:spcBef>
                <a:spcPts val="565"/>
              </a:spcBef>
            </a:pPr>
            <a:r>
              <a:rPr sz="800" b="1" dirty="0">
                <a:latin typeface="Century Gothic"/>
                <a:cs typeface="Century Gothic"/>
              </a:rPr>
              <a:t>Our</a:t>
            </a:r>
            <a:r>
              <a:rPr sz="800" b="1" spc="5" dirty="0">
                <a:latin typeface="Century Gothic"/>
                <a:cs typeface="Century Gothic"/>
              </a:rPr>
              <a:t> </a:t>
            </a:r>
            <a:r>
              <a:rPr sz="800" b="1" spc="-5" dirty="0">
                <a:latin typeface="Century Gothic"/>
                <a:cs typeface="Century Gothic"/>
              </a:rPr>
              <a:t>objective</a:t>
            </a:r>
            <a:r>
              <a:rPr sz="800" b="1" dirty="0">
                <a:latin typeface="Century Gothic"/>
                <a:cs typeface="Century Gothic"/>
              </a:rPr>
              <a:t> is:</a:t>
            </a:r>
            <a:r>
              <a:rPr sz="800" b="1" spc="5" dirty="0">
                <a:latin typeface="Century Gothic"/>
                <a:cs typeface="Century Gothic"/>
              </a:rPr>
              <a:t> </a:t>
            </a:r>
            <a:r>
              <a:rPr sz="800" dirty="0">
                <a:latin typeface="Century Gothic"/>
                <a:cs typeface="Century Gothic"/>
              </a:rPr>
              <a:t>to</a:t>
            </a:r>
            <a:r>
              <a:rPr sz="800" spc="5" dirty="0">
                <a:latin typeface="Century Gothic"/>
                <a:cs typeface="Century Gothic"/>
              </a:rPr>
              <a:t> </a:t>
            </a:r>
            <a:r>
              <a:rPr sz="800" dirty="0">
                <a:latin typeface="Century Gothic"/>
                <a:cs typeface="Century Gothic"/>
              </a:rPr>
              <a:t>make</a:t>
            </a:r>
            <a:r>
              <a:rPr sz="800" spc="5" dirty="0">
                <a:latin typeface="Century Gothic"/>
                <a:cs typeface="Century Gothic"/>
              </a:rPr>
              <a:t> </a:t>
            </a:r>
            <a:r>
              <a:rPr sz="800" dirty="0">
                <a:latin typeface="Century Gothic"/>
                <a:cs typeface="Century Gothic"/>
              </a:rPr>
              <a:t>our </a:t>
            </a:r>
            <a:r>
              <a:rPr sz="800" spc="5" dirty="0">
                <a:latin typeface="Century Gothic"/>
                <a:cs typeface="Century Gothic"/>
              </a:rPr>
              <a:t> </a:t>
            </a:r>
            <a:r>
              <a:rPr sz="800" dirty="0">
                <a:latin typeface="Century Gothic"/>
                <a:cs typeface="Century Gothic"/>
              </a:rPr>
              <a:t>clients</a:t>
            </a:r>
            <a:r>
              <a:rPr sz="800" spc="5" dirty="0">
                <a:latin typeface="Century Gothic"/>
                <a:cs typeface="Century Gothic"/>
              </a:rPr>
              <a:t> </a:t>
            </a:r>
            <a:r>
              <a:rPr sz="800" spc="-10" dirty="0">
                <a:latin typeface="Century Gothic"/>
                <a:cs typeface="Century Gothic"/>
              </a:rPr>
              <a:t>benefit</a:t>
            </a:r>
            <a:r>
              <a:rPr sz="800" spc="-5" dirty="0">
                <a:latin typeface="Century Gothic"/>
                <a:cs typeface="Century Gothic"/>
              </a:rPr>
              <a:t> </a:t>
            </a:r>
            <a:r>
              <a:rPr sz="800" dirty="0">
                <a:latin typeface="Century Gothic"/>
                <a:cs typeface="Century Gothic"/>
              </a:rPr>
              <a:t>from</a:t>
            </a:r>
            <a:r>
              <a:rPr sz="800" spc="5" dirty="0">
                <a:latin typeface="Century Gothic"/>
                <a:cs typeface="Century Gothic"/>
              </a:rPr>
              <a:t> </a:t>
            </a:r>
            <a:r>
              <a:rPr sz="800" dirty="0">
                <a:latin typeface="Century Gothic"/>
                <a:cs typeface="Century Gothic"/>
              </a:rPr>
              <a:t>our</a:t>
            </a:r>
            <a:r>
              <a:rPr sz="800" spc="5" dirty="0">
                <a:latin typeface="Century Gothic"/>
                <a:cs typeface="Century Gothic"/>
              </a:rPr>
              <a:t> </a:t>
            </a:r>
            <a:r>
              <a:rPr sz="800" spc="-5" dirty="0">
                <a:latin typeface="Century Gothic"/>
                <a:cs typeface="Century Gothic"/>
              </a:rPr>
              <a:t>vast </a:t>
            </a:r>
            <a:r>
              <a:rPr sz="800" dirty="0">
                <a:latin typeface="Century Gothic"/>
                <a:cs typeface="Century Gothic"/>
              </a:rPr>
              <a:t> experience </a:t>
            </a:r>
            <a:r>
              <a:rPr sz="800" spc="-5" dirty="0">
                <a:latin typeface="Century Gothic"/>
                <a:cs typeface="Century Gothic"/>
              </a:rPr>
              <a:t>in </a:t>
            </a:r>
            <a:r>
              <a:rPr sz="800" dirty="0">
                <a:latin typeface="Century Gothic"/>
                <a:cs typeface="Century Gothic"/>
              </a:rPr>
              <a:t>the </a:t>
            </a:r>
            <a:r>
              <a:rPr sz="800" spc="-5" dirty="0">
                <a:latin typeface="Century Gothic"/>
                <a:cs typeface="Century Gothic"/>
              </a:rPr>
              <a:t>design studies, </a:t>
            </a:r>
            <a:r>
              <a:rPr sz="800" dirty="0">
                <a:latin typeface="Century Gothic"/>
                <a:cs typeface="Century Gothic"/>
              </a:rPr>
              <a:t> </a:t>
            </a:r>
            <a:r>
              <a:rPr sz="800" spc="-5" dirty="0">
                <a:latin typeface="Century Gothic"/>
                <a:cs typeface="Century Gothic"/>
              </a:rPr>
              <a:t>supply,</a:t>
            </a:r>
            <a:r>
              <a:rPr sz="800" dirty="0">
                <a:latin typeface="Century Gothic"/>
                <a:cs typeface="Century Gothic"/>
              </a:rPr>
              <a:t> </a:t>
            </a:r>
            <a:r>
              <a:rPr sz="800" spc="-10" dirty="0">
                <a:latin typeface="Century Gothic"/>
                <a:cs typeface="Century Gothic"/>
              </a:rPr>
              <a:t>qualification,</a:t>
            </a:r>
            <a:r>
              <a:rPr sz="800" spc="-5" dirty="0">
                <a:latin typeface="Century Gothic"/>
                <a:cs typeface="Century Gothic"/>
              </a:rPr>
              <a:t> installation, </a:t>
            </a:r>
            <a:r>
              <a:rPr sz="800" dirty="0">
                <a:latin typeface="Century Gothic"/>
                <a:cs typeface="Century Gothic"/>
              </a:rPr>
              <a:t> </a:t>
            </a:r>
            <a:r>
              <a:rPr sz="800" spc="-5" dirty="0">
                <a:latin typeface="Century Gothic"/>
                <a:cs typeface="Century Gothic"/>
              </a:rPr>
              <a:t>and</a:t>
            </a:r>
            <a:r>
              <a:rPr sz="800" spc="-15" dirty="0">
                <a:latin typeface="Century Gothic"/>
                <a:cs typeface="Century Gothic"/>
              </a:rPr>
              <a:t> </a:t>
            </a:r>
            <a:r>
              <a:rPr sz="800" spc="-5" dirty="0">
                <a:latin typeface="Century Gothic"/>
                <a:cs typeface="Century Gothic"/>
              </a:rPr>
              <a:t>pre-commissioning</a:t>
            </a:r>
            <a:r>
              <a:rPr sz="800" spc="-15" dirty="0">
                <a:latin typeface="Century Gothic"/>
                <a:cs typeface="Century Gothic"/>
              </a:rPr>
              <a:t> </a:t>
            </a:r>
            <a:endParaRPr sz="800" dirty="0">
              <a:latin typeface="Century Gothic"/>
              <a:cs typeface="Century Gothic"/>
            </a:endParaRPr>
          </a:p>
        </p:txBody>
      </p:sp>
      <p:sp>
        <p:nvSpPr>
          <p:cNvPr id="30" name="object 30"/>
          <p:cNvSpPr txBox="1"/>
          <p:nvPr/>
        </p:nvSpPr>
        <p:spPr>
          <a:xfrm>
            <a:off x="2309295" y="1507896"/>
            <a:ext cx="1134110" cy="147320"/>
          </a:xfrm>
          <a:prstGeom prst="rect">
            <a:avLst/>
          </a:prstGeom>
        </p:spPr>
        <p:txBody>
          <a:bodyPr vert="horz" wrap="square" lIns="0" tIns="12700" rIns="0" bIns="0" rtlCol="0">
            <a:spAutoFit/>
          </a:bodyPr>
          <a:lstStyle/>
          <a:p>
            <a:pPr marL="12700">
              <a:lnSpc>
                <a:spcPct val="100000"/>
              </a:lnSpc>
              <a:spcBef>
                <a:spcPts val="100"/>
              </a:spcBef>
            </a:pPr>
            <a:r>
              <a:rPr sz="800" b="1" dirty="0">
                <a:solidFill>
                  <a:srgbClr val="FFFFFF"/>
                </a:solidFill>
                <a:latin typeface="Century Gothic"/>
                <a:cs typeface="Century Gothic"/>
              </a:rPr>
              <a:t>Export</a:t>
            </a:r>
            <a:r>
              <a:rPr sz="800" b="1" spc="-40" dirty="0">
                <a:solidFill>
                  <a:srgbClr val="FFFFFF"/>
                </a:solidFill>
                <a:latin typeface="Century Gothic"/>
                <a:cs typeface="Century Gothic"/>
              </a:rPr>
              <a:t> </a:t>
            </a:r>
            <a:r>
              <a:rPr sz="800" b="1" spc="-5" dirty="0">
                <a:solidFill>
                  <a:srgbClr val="FFFFFF"/>
                </a:solidFill>
                <a:latin typeface="Century Gothic"/>
                <a:cs typeface="Century Gothic"/>
              </a:rPr>
              <a:t>areas:</a:t>
            </a:r>
            <a:r>
              <a:rPr sz="800" b="1" spc="-40" dirty="0">
                <a:solidFill>
                  <a:srgbClr val="FFFFFF"/>
                </a:solidFill>
                <a:latin typeface="Century Gothic"/>
                <a:cs typeface="Century Gothic"/>
              </a:rPr>
              <a:t> </a:t>
            </a:r>
            <a:r>
              <a:rPr sz="800" dirty="0">
                <a:solidFill>
                  <a:srgbClr val="FFFFFF"/>
                </a:solidFill>
                <a:latin typeface="Century Gothic"/>
                <a:cs typeface="Century Gothic"/>
              </a:rPr>
              <a:t>worlwide</a:t>
            </a:r>
            <a:endParaRPr sz="800">
              <a:latin typeface="Century Gothic"/>
              <a:cs typeface="Century Gothic"/>
            </a:endParaRPr>
          </a:p>
        </p:txBody>
      </p:sp>
      <p:grpSp>
        <p:nvGrpSpPr>
          <p:cNvPr id="31" name="object 31"/>
          <p:cNvGrpSpPr/>
          <p:nvPr/>
        </p:nvGrpSpPr>
        <p:grpSpPr>
          <a:xfrm>
            <a:off x="2148000" y="4230250"/>
            <a:ext cx="120014" cy="12700"/>
            <a:chOff x="2148000" y="4230250"/>
            <a:chExt cx="120014" cy="12700"/>
          </a:xfrm>
        </p:grpSpPr>
        <p:sp>
          <p:nvSpPr>
            <p:cNvPr id="32" name="object 32"/>
            <p:cNvSpPr/>
            <p:nvPr/>
          </p:nvSpPr>
          <p:spPr>
            <a:xfrm>
              <a:off x="2190116" y="4236600"/>
              <a:ext cx="53975" cy="0"/>
            </a:xfrm>
            <a:custGeom>
              <a:avLst/>
              <a:gdLst/>
              <a:ahLst/>
              <a:cxnLst/>
              <a:rect l="l" t="t" r="r" b="b"/>
              <a:pathLst>
                <a:path w="53975">
                  <a:moveTo>
                    <a:pt x="0" y="0"/>
                  </a:moveTo>
                  <a:lnTo>
                    <a:pt x="53644" y="0"/>
                  </a:lnTo>
                </a:path>
              </a:pathLst>
            </a:custGeom>
            <a:ln w="12700">
              <a:solidFill>
                <a:srgbClr val="EF3A47"/>
              </a:solidFill>
              <a:prstDash val="dot"/>
            </a:ln>
          </p:spPr>
          <p:txBody>
            <a:bodyPr wrap="square" lIns="0" tIns="0" rIns="0" bIns="0" rtlCol="0"/>
            <a:lstStyle/>
            <a:p>
              <a:endParaRPr/>
            </a:p>
          </p:txBody>
        </p:sp>
        <p:sp>
          <p:nvSpPr>
            <p:cNvPr id="33" name="object 33"/>
            <p:cNvSpPr/>
            <p:nvPr/>
          </p:nvSpPr>
          <p:spPr>
            <a:xfrm>
              <a:off x="2147989" y="4230255"/>
              <a:ext cx="120014" cy="12700"/>
            </a:xfrm>
            <a:custGeom>
              <a:avLst/>
              <a:gdLst/>
              <a:ahLst/>
              <a:cxnLst/>
              <a:rect l="l" t="t" r="r" b="b"/>
              <a:pathLst>
                <a:path w="120014" h="12700">
                  <a:moveTo>
                    <a:pt x="12700" y="6350"/>
                  </a:moveTo>
                  <a:lnTo>
                    <a:pt x="10845" y="1866"/>
                  </a:lnTo>
                  <a:lnTo>
                    <a:pt x="6350" y="0"/>
                  </a:lnTo>
                  <a:lnTo>
                    <a:pt x="1866" y="1866"/>
                  </a:lnTo>
                  <a:lnTo>
                    <a:pt x="0" y="6350"/>
                  </a:lnTo>
                  <a:lnTo>
                    <a:pt x="1866" y="10845"/>
                  </a:lnTo>
                  <a:lnTo>
                    <a:pt x="6350" y="12700"/>
                  </a:lnTo>
                  <a:lnTo>
                    <a:pt x="10845" y="10845"/>
                  </a:lnTo>
                  <a:lnTo>
                    <a:pt x="12700" y="6350"/>
                  </a:lnTo>
                  <a:close/>
                </a:path>
                <a:path w="120014" h="12700">
                  <a:moveTo>
                    <a:pt x="120002" y="6350"/>
                  </a:moveTo>
                  <a:lnTo>
                    <a:pt x="118148" y="1866"/>
                  </a:lnTo>
                  <a:lnTo>
                    <a:pt x="113652" y="0"/>
                  </a:lnTo>
                  <a:lnTo>
                    <a:pt x="109169" y="1866"/>
                  </a:lnTo>
                  <a:lnTo>
                    <a:pt x="107302" y="6350"/>
                  </a:lnTo>
                  <a:lnTo>
                    <a:pt x="109169" y="10845"/>
                  </a:lnTo>
                  <a:lnTo>
                    <a:pt x="113652" y="12700"/>
                  </a:lnTo>
                  <a:lnTo>
                    <a:pt x="118148" y="10845"/>
                  </a:lnTo>
                  <a:lnTo>
                    <a:pt x="120002" y="6350"/>
                  </a:lnTo>
                  <a:close/>
                </a:path>
              </a:pathLst>
            </a:custGeom>
            <a:solidFill>
              <a:srgbClr val="EF3A47"/>
            </a:solidFill>
          </p:spPr>
          <p:txBody>
            <a:bodyPr wrap="square" lIns="0" tIns="0" rIns="0" bIns="0" rtlCol="0"/>
            <a:lstStyle/>
            <a:p>
              <a:endParaRPr/>
            </a:p>
          </p:txBody>
        </p:sp>
      </p:grpSp>
      <p:grpSp>
        <p:nvGrpSpPr>
          <p:cNvPr id="34" name="object 34"/>
          <p:cNvGrpSpPr/>
          <p:nvPr/>
        </p:nvGrpSpPr>
        <p:grpSpPr>
          <a:xfrm>
            <a:off x="2148000" y="4706550"/>
            <a:ext cx="120014" cy="12700"/>
            <a:chOff x="2148000" y="4706550"/>
            <a:chExt cx="120014" cy="12700"/>
          </a:xfrm>
        </p:grpSpPr>
        <p:sp>
          <p:nvSpPr>
            <p:cNvPr id="35" name="object 35"/>
            <p:cNvSpPr/>
            <p:nvPr/>
          </p:nvSpPr>
          <p:spPr>
            <a:xfrm>
              <a:off x="2190116" y="4712900"/>
              <a:ext cx="53975" cy="0"/>
            </a:xfrm>
            <a:custGeom>
              <a:avLst/>
              <a:gdLst/>
              <a:ahLst/>
              <a:cxnLst/>
              <a:rect l="l" t="t" r="r" b="b"/>
              <a:pathLst>
                <a:path w="53975">
                  <a:moveTo>
                    <a:pt x="0" y="0"/>
                  </a:moveTo>
                  <a:lnTo>
                    <a:pt x="53644" y="0"/>
                  </a:lnTo>
                </a:path>
              </a:pathLst>
            </a:custGeom>
            <a:ln w="12700">
              <a:solidFill>
                <a:srgbClr val="EF3A47"/>
              </a:solidFill>
              <a:prstDash val="dot"/>
            </a:ln>
          </p:spPr>
          <p:txBody>
            <a:bodyPr wrap="square" lIns="0" tIns="0" rIns="0" bIns="0" rtlCol="0"/>
            <a:lstStyle/>
            <a:p>
              <a:endParaRPr/>
            </a:p>
          </p:txBody>
        </p:sp>
        <p:sp>
          <p:nvSpPr>
            <p:cNvPr id="36" name="object 36"/>
            <p:cNvSpPr/>
            <p:nvPr/>
          </p:nvSpPr>
          <p:spPr>
            <a:xfrm>
              <a:off x="2147989" y="4706556"/>
              <a:ext cx="120014" cy="12700"/>
            </a:xfrm>
            <a:custGeom>
              <a:avLst/>
              <a:gdLst/>
              <a:ahLst/>
              <a:cxnLst/>
              <a:rect l="l" t="t" r="r" b="b"/>
              <a:pathLst>
                <a:path w="120014" h="12700">
                  <a:moveTo>
                    <a:pt x="12700" y="6350"/>
                  </a:moveTo>
                  <a:lnTo>
                    <a:pt x="10845" y="1854"/>
                  </a:lnTo>
                  <a:lnTo>
                    <a:pt x="6350" y="0"/>
                  </a:lnTo>
                  <a:lnTo>
                    <a:pt x="1866" y="1854"/>
                  </a:lnTo>
                  <a:lnTo>
                    <a:pt x="0" y="6350"/>
                  </a:lnTo>
                  <a:lnTo>
                    <a:pt x="1866" y="10845"/>
                  </a:lnTo>
                  <a:lnTo>
                    <a:pt x="6350" y="12700"/>
                  </a:lnTo>
                  <a:lnTo>
                    <a:pt x="10845" y="10845"/>
                  </a:lnTo>
                  <a:lnTo>
                    <a:pt x="12700" y="6350"/>
                  </a:lnTo>
                  <a:close/>
                </a:path>
                <a:path w="120014" h="12700">
                  <a:moveTo>
                    <a:pt x="120002" y="6350"/>
                  </a:moveTo>
                  <a:lnTo>
                    <a:pt x="118148" y="1854"/>
                  </a:lnTo>
                  <a:lnTo>
                    <a:pt x="113652" y="0"/>
                  </a:lnTo>
                  <a:lnTo>
                    <a:pt x="109169" y="1854"/>
                  </a:lnTo>
                  <a:lnTo>
                    <a:pt x="107302" y="6350"/>
                  </a:lnTo>
                  <a:lnTo>
                    <a:pt x="109169" y="10845"/>
                  </a:lnTo>
                  <a:lnTo>
                    <a:pt x="113652" y="12700"/>
                  </a:lnTo>
                  <a:lnTo>
                    <a:pt x="118148" y="10845"/>
                  </a:lnTo>
                  <a:lnTo>
                    <a:pt x="120002" y="6350"/>
                  </a:lnTo>
                  <a:close/>
                </a:path>
              </a:pathLst>
            </a:custGeom>
            <a:solidFill>
              <a:srgbClr val="EF3A47"/>
            </a:solidFill>
          </p:spPr>
          <p:txBody>
            <a:bodyPr wrap="square" lIns="0" tIns="0" rIns="0" bIns="0" rtlCol="0"/>
            <a:lstStyle/>
            <a:p>
              <a:endParaRPr/>
            </a:p>
          </p:txBody>
        </p:sp>
      </p:grpSp>
      <p:sp>
        <p:nvSpPr>
          <p:cNvPr id="37" name="object 37"/>
          <p:cNvSpPr txBox="1"/>
          <p:nvPr/>
        </p:nvSpPr>
        <p:spPr>
          <a:xfrm>
            <a:off x="2027299" y="1963150"/>
            <a:ext cx="256540"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EF3A47"/>
                </a:solidFill>
                <a:latin typeface="Century Gothic"/>
                <a:cs typeface="Century Gothic"/>
              </a:rPr>
              <a:t>•</a:t>
            </a:r>
            <a:endParaRPr sz="3000">
              <a:latin typeface="Century Gothic"/>
              <a:cs typeface="Century Gothic"/>
            </a:endParaRPr>
          </a:p>
        </p:txBody>
      </p:sp>
      <p:sp>
        <p:nvSpPr>
          <p:cNvPr id="38" name="object 38"/>
          <p:cNvSpPr txBox="1"/>
          <p:nvPr/>
        </p:nvSpPr>
        <p:spPr>
          <a:xfrm>
            <a:off x="2279299" y="2115550"/>
            <a:ext cx="916940" cy="177800"/>
          </a:xfrm>
          <a:prstGeom prst="rect">
            <a:avLst/>
          </a:prstGeom>
        </p:spPr>
        <p:txBody>
          <a:bodyPr vert="horz" wrap="square" lIns="0" tIns="12700" rIns="0" bIns="0" rtlCol="0">
            <a:spAutoFit/>
          </a:bodyPr>
          <a:lstStyle/>
          <a:p>
            <a:pPr marL="12700">
              <a:lnSpc>
                <a:spcPct val="100000"/>
              </a:lnSpc>
              <a:spcBef>
                <a:spcPts val="100"/>
              </a:spcBef>
            </a:pPr>
            <a:r>
              <a:rPr sz="1000" b="1" dirty="0">
                <a:solidFill>
                  <a:srgbClr val="EF3A47"/>
                </a:solidFill>
                <a:latin typeface="Century Gothic"/>
                <a:cs typeface="Century Gothic"/>
              </a:rPr>
              <a:t>SHORT</a:t>
            </a:r>
            <a:r>
              <a:rPr sz="1000" b="1" spc="-70" dirty="0">
                <a:solidFill>
                  <a:srgbClr val="EF3A47"/>
                </a:solidFill>
                <a:latin typeface="Century Gothic"/>
                <a:cs typeface="Century Gothic"/>
              </a:rPr>
              <a:t> </a:t>
            </a:r>
            <a:r>
              <a:rPr sz="1000" b="1" spc="-5" dirty="0">
                <a:solidFill>
                  <a:srgbClr val="EF3A47"/>
                </a:solidFill>
                <a:latin typeface="Century Gothic"/>
                <a:cs typeface="Century Gothic"/>
              </a:rPr>
              <a:t>PROFILE</a:t>
            </a:r>
            <a:endParaRPr sz="1000">
              <a:latin typeface="Century Gothic"/>
              <a:cs typeface="Century Gothic"/>
            </a:endParaRPr>
          </a:p>
        </p:txBody>
      </p:sp>
      <p:sp>
        <p:nvSpPr>
          <p:cNvPr id="39" name="object 39"/>
          <p:cNvSpPr txBox="1"/>
          <p:nvPr/>
        </p:nvSpPr>
        <p:spPr>
          <a:xfrm>
            <a:off x="2297300" y="2320900"/>
            <a:ext cx="3296920" cy="1766570"/>
          </a:xfrm>
          <a:prstGeom prst="rect">
            <a:avLst/>
          </a:prstGeom>
        </p:spPr>
        <p:txBody>
          <a:bodyPr vert="horz" wrap="square" lIns="0" tIns="27939" rIns="0" bIns="0" rtlCol="0">
            <a:spAutoFit/>
          </a:bodyPr>
          <a:lstStyle/>
          <a:p>
            <a:pPr marL="12700" marR="5715" algn="just">
              <a:lnSpc>
                <a:spcPts val="850"/>
              </a:lnSpc>
              <a:spcBef>
                <a:spcPts val="219"/>
              </a:spcBef>
            </a:pPr>
            <a:r>
              <a:rPr sz="800" dirty="0">
                <a:solidFill>
                  <a:srgbClr val="231F20"/>
                </a:solidFill>
                <a:latin typeface="Century Gothic"/>
                <a:cs typeface="Century Gothic"/>
              </a:rPr>
              <a:t>Nuclear </a:t>
            </a:r>
            <a:r>
              <a:rPr sz="800" spc="-5" dirty="0">
                <a:solidFill>
                  <a:srgbClr val="231F20"/>
                </a:solidFill>
                <a:latin typeface="Century Gothic"/>
                <a:cs typeface="Century Gothic"/>
              </a:rPr>
              <a:t>HVAC </a:t>
            </a:r>
            <a:r>
              <a:rPr sz="800" dirty="0">
                <a:solidFill>
                  <a:srgbClr val="231F20"/>
                </a:solidFill>
                <a:latin typeface="Century Gothic"/>
                <a:cs typeface="Century Gothic"/>
              </a:rPr>
              <a:t>Leader </a:t>
            </a:r>
            <a:r>
              <a:rPr sz="800" spc="-5" dirty="0">
                <a:solidFill>
                  <a:srgbClr val="231F20"/>
                </a:solidFill>
                <a:latin typeface="Century Gothic"/>
                <a:cs typeface="Century Gothic"/>
              </a:rPr>
              <a:t>in </a:t>
            </a:r>
            <a:r>
              <a:rPr sz="800" dirty="0">
                <a:solidFill>
                  <a:srgbClr val="231F20"/>
                </a:solidFill>
                <a:latin typeface="Century Gothic"/>
                <a:cs typeface="Century Gothic"/>
              </a:rPr>
              <a:t>France, AXIMA has </a:t>
            </a:r>
            <a:r>
              <a:rPr sz="800" spc="-5" dirty="0">
                <a:solidFill>
                  <a:srgbClr val="231F20"/>
                </a:solidFill>
                <a:latin typeface="Century Gothic"/>
                <a:cs typeface="Century Gothic"/>
              </a:rPr>
              <a:t>been involved in all </a:t>
            </a:r>
            <a:r>
              <a:rPr sz="800" dirty="0">
                <a:solidFill>
                  <a:srgbClr val="231F20"/>
                </a:solidFill>
                <a:latin typeface="Century Gothic"/>
                <a:cs typeface="Century Gothic"/>
              </a:rPr>
              <a:t> French</a:t>
            </a:r>
            <a:r>
              <a:rPr sz="800" spc="-5" dirty="0">
                <a:solidFill>
                  <a:srgbClr val="231F20"/>
                </a:solidFill>
                <a:latin typeface="Century Gothic"/>
                <a:cs typeface="Century Gothic"/>
              </a:rPr>
              <a:t> </a:t>
            </a:r>
            <a:r>
              <a:rPr sz="800" dirty="0">
                <a:solidFill>
                  <a:srgbClr val="231F20"/>
                </a:solidFill>
                <a:latin typeface="Century Gothic"/>
                <a:cs typeface="Century Gothic"/>
              </a:rPr>
              <a:t>major nuclear </a:t>
            </a:r>
            <a:r>
              <a:rPr sz="800" spc="-5" dirty="0">
                <a:solidFill>
                  <a:srgbClr val="231F20"/>
                </a:solidFill>
                <a:latin typeface="Century Gothic"/>
                <a:cs typeface="Century Gothic"/>
              </a:rPr>
              <a:t>projects.</a:t>
            </a:r>
            <a:endParaRPr sz="800">
              <a:latin typeface="Century Gothic"/>
              <a:cs typeface="Century Gothic"/>
            </a:endParaRPr>
          </a:p>
          <a:p>
            <a:pPr marL="12700" marR="6350" algn="just">
              <a:lnSpc>
                <a:spcPts val="850"/>
              </a:lnSpc>
              <a:spcBef>
                <a:spcPts val="565"/>
              </a:spcBef>
            </a:pPr>
            <a:r>
              <a:rPr sz="800" dirty="0">
                <a:solidFill>
                  <a:srgbClr val="231F20"/>
                </a:solidFill>
                <a:latin typeface="Century Gothic"/>
                <a:cs typeface="Century Gothic"/>
              </a:rPr>
              <a:t>Axima</a:t>
            </a:r>
            <a:r>
              <a:rPr sz="800" spc="5" dirty="0">
                <a:solidFill>
                  <a:srgbClr val="231F20"/>
                </a:solidFill>
                <a:latin typeface="Century Gothic"/>
                <a:cs typeface="Century Gothic"/>
              </a:rPr>
              <a:t> </a:t>
            </a:r>
            <a:r>
              <a:rPr sz="800" dirty="0">
                <a:solidFill>
                  <a:srgbClr val="231F20"/>
                </a:solidFill>
                <a:latin typeface="Century Gothic"/>
                <a:cs typeface="Century Gothic"/>
              </a:rPr>
              <a:t>can</a:t>
            </a:r>
            <a:r>
              <a:rPr sz="800" spc="5" dirty="0">
                <a:solidFill>
                  <a:srgbClr val="231F20"/>
                </a:solidFill>
                <a:latin typeface="Century Gothic"/>
                <a:cs typeface="Century Gothic"/>
              </a:rPr>
              <a:t> </a:t>
            </a:r>
            <a:r>
              <a:rPr sz="800" spc="-5" dirty="0">
                <a:solidFill>
                  <a:srgbClr val="231F20"/>
                </a:solidFill>
                <a:latin typeface="Century Gothic"/>
                <a:cs typeface="Century Gothic"/>
              </a:rPr>
              <a:t>deliver</a:t>
            </a:r>
            <a:r>
              <a:rPr sz="800" dirty="0">
                <a:solidFill>
                  <a:srgbClr val="231F20"/>
                </a:solidFill>
                <a:latin typeface="Century Gothic"/>
                <a:cs typeface="Century Gothic"/>
              </a:rPr>
              <a:t> </a:t>
            </a:r>
            <a:r>
              <a:rPr sz="800" spc="-5" dirty="0">
                <a:solidFill>
                  <a:srgbClr val="231F20"/>
                </a:solidFill>
                <a:latin typeface="Century Gothic"/>
                <a:cs typeface="Century Gothic"/>
              </a:rPr>
              <a:t>large</a:t>
            </a:r>
            <a:r>
              <a:rPr sz="800" dirty="0">
                <a:solidFill>
                  <a:srgbClr val="231F20"/>
                </a:solidFill>
                <a:latin typeface="Century Gothic"/>
                <a:cs typeface="Century Gothic"/>
              </a:rPr>
              <a:t> turnkey</a:t>
            </a:r>
            <a:r>
              <a:rPr sz="800" spc="5" dirty="0">
                <a:solidFill>
                  <a:srgbClr val="231F20"/>
                </a:solidFill>
                <a:latin typeface="Century Gothic"/>
                <a:cs typeface="Century Gothic"/>
              </a:rPr>
              <a:t> </a:t>
            </a:r>
            <a:r>
              <a:rPr sz="800" spc="-5" dirty="0">
                <a:solidFill>
                  <a:srgbClr val="231F20"/>
                </a:solidFill>
                <a:latin typeface="Century Gothic"/>
                <a:cs typeface="Century Gothic"/>
              </a:rPr>
              <a:t>projects</a:t>
            </a:r>
            <a:r>
              <a:rPr sz="800" dirty="0">
                <a:solidFill>
                  <a:srgbClr val="231F20"/>
                </a:solidFill>
                <a:latin typeface="Century Gothic"/>
                <a:cs typeface="Century Gothic"/>
              </a:rPr>
              <a:t> through</a:t>
            </a:r>
            <a:r>
              <a:rPr sz="800" spc="5" dirty="0">
                <a:solidFill>
                  <a:srgbClr val="231F20"/>
                </a:solidFill>
                <a:latin typeface="Century Gothic"/>
                <a:cs typeface="Century Gothic"/>
              </a:rPr>
              <a:t> </a:t>
            </a:r>
            <a:r>
              <a:rPr sz="800" spc="-5" dirty="0">
                <a:solidFill>
                  <a:srgbClr val="231F20"/>
                </a:solidFill>
                <a:latin typeface="Century Gothic"/>
                <a:cs typeface="Century Gothic"/>
              </a:rPr>
              <a:t>design, </a:t>
            </a:r>
            <a:r>
              <a:rPr sz="800" dirty="0">
                <a:solidFill>
                  <a:srgbClr val="231F20"/>
                </a:solidFill>
                <a:latin typeface="Century Gothic"/>
                <a:cs typeface="Century Gothic"/>
              </a:rPr>
              <a:t> engineering,</a:t>
            </a:r>
            <a:r>
              <a:rPr sz="800" spc="-65" dirty="0">
                <a:solidFill>
                  <a:srgbClr val="231F20"/>
                </a:solidFill>
                <a:latin typeface="Century Gothic"/>
                <a:cs typeface="Century Gothic"/>
              </a:rPr>
              <a:t> </a:t>
            </a:r>
            <a:r>
              <a:rPr sz="800" dirty="0">
                <a:solidFill>
                  <a:srgbClr val="231F20"/>
                </a:solidFill>
                <a:latin typeface="Century Gothic"/>
                <a:cs typeface="Century Gothic"/>
              </a:rPr>
              <a:t>calculations,</a:t>
            </a:r>
            <a:r>
              <a:rPr sz="800" spc="-65" dirty="0">
                <a:solidFill>
                  <a:srgbClr val="231F20"/>
                </a:solidFill>
                <a:latin typeface="Century Gothic"/>
                <a:cs typeface="Century Gothic"/>
              </a:rPr>
              <a:t> </a:t>
            </a:r>
            <a:r>
              <a:rPr sz="800" dirty="0">
                <a:solidFill>
                  <a:srgbClr val="231F20"/>
                </a:solidFill>
                <a:latin typeface="Century Gothic"/>
                <a:cs typeface="Century Gothic"/>
              </a:rPr>
              <a:t>manufacturing,</a:t>
            </a:r>
            <a:r>
              <a:rPr sz="800" spc="-65" dirty="0">
                <a:solidFill>
                  <a:srgbClr val="231F20"/>
                </a:solidFill>
                <a:latin typeface="Century Gothic"/>
                <a:cs typeface="Century Gothic"/>
              </a:rPr>
              <a:t> </a:t>
            </a:r>
            <a:r>
              <a:rPr sz="800" spc="-10" dirty="0">
                <a:solidFill>
                  <a:srgbClr val="231F20"/>
                </a:solidFill>
                <a:latin typeface="Century Gothic"/>
                <a:cs typeface="Century Gothic"/>
              </a:rPr>
              <a:t>qualification</a:t>
            </a:r>
            <a:r>
              <a:rPr sz="800" spc="-5" dirty="0">
                <a:solidFill>
                  <a:srgbClr val="231F20"/>
                </a:solidFill>
                <a:latin typeface="Century Gothic"/>
                <a:cs typeface="Century Gothic"/>
              </a:rPr>
              <a:t>,</a:t>
            </a:r>
            <a:r>
              <a:rPr sz="800" spc="-65" dirty="0">
                <a:solidFill>
                  <a:srgbClr val="231F20"/>
                </a:solidFill>
                <a:latin typeface="Century Gothic"/>
                <a:cs typeface="Century Gothic"/>
              </a:rPr>
              <a:t> </a:t>
            </a:r>
            <a:r>
              <a:rPr sz="800" spc="-5" dirty="0">
                <a:solidFill>
                  <a:srgbClr val="231F20"/>
                </a:solidFill>
                <a:latin typeface="Century Gothic"/>
                <a:cs typeface="Century Gothic"/>
              </a:rPr>
              <a:t>installation,  </a:t>
            </a:r>
            <a:r>
              <a:rPr sz="800" dirty="0">
                <a:solidFill>
                  <a:srgbClr val="231F20"/>
                </a:solidFill>
                <a:latin typeface="Century Gothic"/>
                <a:cs typeface="Century Gothic"/>
              </a:rPr>
              <a:t>on-site </a:t>
            </a:r>
            <a:r>
              <a:rPr sz="800" spc="-5" dirty="0">
                <a:solidFill>
                  <a:srgbClr val="231F20"/>
                </a:solidFill>
                <a:latin typeface="Century Gothic"/>
                <a:cs typeface="Century Gothic"/>
              </a:rPr>
              <a:t>supervision, </a:t>
            </a:r>
            <a:r>
              <a:rPr sz="800" dirty="0">
                <a:solidFill>
                  <a:srgbClr val="231F20"/>
                </a:solidFill>
                <a:latin typeface="Century Gothic"/>
                <a:cs typeface="Century Gothic"/>
              </a:rPr>
              <a:t>testing </a:t>
            </a:r>
            <a:r>
              <a:rPr sz="800" spc="-5" dirty="0">
                <a:solidFill>
                  <a:srgbClr val="231F20"/>
                </a:solidFill>
                <a:latin typeface="Century Gothic"/>
                <a:cs typeface="Century Gothic"/>
              </a:rPr>
              <a:t>and </a:t>
            </a:r>
            <a:r>
              <a:rPr sz="800" dirty="0">
                <a:solidFill>
                  <a:srgbClr val="231F20"/>
                </a:solidFill>
                <a:latin typeface="Century Gothic"/>
                <a:cs typeface="Century Gothic"/>
              </a:rPr>
              <a:t>commissioning, maintenance, </a:t>
            </a:r>
            <a:r>
              <a:rPr sz="800" spc="-5" dirty="0">
                <a:solidFill>
                  <a:srgbClr val="231F20"/>
                </a:solidFill>
                <a:latin typeface="Century Gothic"/>
                <a:cs typeface="Century Gothic"/>
              </a:rPr>
              <a:t>and </a:t>
            </a:r>
            <a:r>
              <a:rPr sz="800" dirty="0">
                <a:solidFill>
                  <a:srgbClr val="231F20"/>
                </a:solidFill>
                <a:latin typeface="Century Gothic"/>
                <a:cs typeface="Century Gothic"/>
              </a:rPr>
              <a:t> decommissioning.</a:t>
            </a:r>
            <a:endParaRPr sz="800">
              <a:latin typeface="Century Gothic"/>
              <a:cs typeface="Century Gothic"/>
            </a:endParaRPr>
          </a:p>
          <a:p>
            <a:pPr marL="12700" marR="6350" algn="just">
              <a:lnSpc>
                <a:spcPts val="850"/>
              </a:lnSpc>
              <a:spcBef>
                <a:spcPts val="565"/>
              </a:spcBef>
            </a:pPr>
            <a:r>
              <a:rPr sz="800" dirty="0">
                <a:solidFill>
                  <a:srgbClr val="231F20"/>
                </a:solidFill>
                <a:latin typeface="Century Gothic"/>
                <a:cs typeface="Century Gothic"/>
              </a:rPr>
              <a:t>Axima has three </a:t>
            </a:r>
            <a:r>
              <a:rPr sz="800" spc="-5" dirty="0">
                <a:solidFill>
                  <a:srgbClr val="231F20"/>
                </a:solidFill>
                <a:latin typeface="Century Gothic"/>
                <a:cs typeface="Century Gothic"/>
              </a:rPr>
              <a:t>workshops with </a:t>
            </a:r>
            <a:r>
              <a:rPr sz="800" dirty="0">
                <a:solidFill>
                  <a:srgbClr val="231F20"/>
                </a:solidFill>
                <a:latin typeface="Century Gothic"/>
                <a:cs typeface="Century Gothic"/>
              </a:rPr>
              <a:t>the capacity to </a:t>
            </a:r>
            <a:r>
              <a:rPr sz="800" spc="-5" dirty="0">
                <a:solidFill>
                  <a:srgbClr val="231F20"/>
                </a:solidFill>
                <a:latin typeface="Century Gothic"/>
                <a:cs typeface="Century Gothic"/>
              </a:rPr>
              <a:t>design, qualify, </a:t>
            </a:r>
            <a:r>
              <a:rPr sz="800" dirty="0">
                <a:solidFill>
                  <a:srgbClr val="231F20"/>
                </a:solidFill>
                <a:latin typeface="Century Gothic"/>
                <a:cs typeface="Century Gothic"/>
              </a:rPr>
              <a:t> </a:t>
            </a:r>
            <a:r>
              <a:rPr sz="800" spc="-5" dirty="0">
                <a:solidFill>
                  <a:srgbClr val="231F20"/>
                </a:solidFill>
                <a:latin typeface="Century Gothic"/>
                <a:cs typeface="Century Gothic"/>
              </a:rPr>
              <a:t>and manufacture piece </a:t>
            </a:r>
            <a:r>
              <a:rPr sz="800" dirty="0">
                <a:solidFill>
                  <a:srgbClr val="231F20"/>
                </a:solidFill>
                <a:latin typeface="Century Gothic"/>
                <a:cs typeface="Century Gothic"/>
              </a:rPr>
              <a:t>of equipment </a:t>
            </a:r>
            <a:r>
              <a:rPr sz="800" spc="-5" dirty="0">
                <a:solidFill>
                  <a:srgbClr val="231F20"/>
                </a:solidFill>
                <a:latin typeface="Century Gothic"/>
                <a:cs typeface="Century Gothic"/>
              </a:rPr>
              <a:t>such as classified </a:t>
            </a:r>
            <a:r>
              <a:rPr sz="800" dirty="0">
                <a:solidFill>
                  <a:srgbClr val="231F20"/>
                </a:solidFill>
                <a:latin typeface="Century Gothic"/>
                <a:cs typeface="Century Gothic"/>
              </a:rPr>
              <a:t>chillers </a:t>
            </a:r>
            <a:r>
              <a:rPr sz="800" spc="5" dirty="0">
                <a:solidFill>
                  <a:srgbClr val="231F20"/>
                </a:solidFill>
                <a:latin typeface="Century Gothic"/>
                <a:cs typeface="Century Gothic"/>
              </a:rPr>
              <a:t> </a:t>
            </a:r>
            <a:r>
              <a:rPr sz="800" spc="-5" dirty="0">
                <a:solidFill>
                  <a:srgbClr val="231F20"/>
                </a:solidFill>
                <a:latin typeface="Century Gothic"/>
                <a:cs typeface="Century Gothic"/>
              </a:rPr>
              <a:t>and</a:t>
            </a:r>
            <a:r>
              <a:rPr sz="800" spc="-10" dirty="0">
                <a:solidFill>
                  <a:srgbClr val="231F20"/>
                </a:solidFill>
                <a:latin typeface="Century Gothic"/>
                <a:cs typeface="Century Gothic"/>
              </a:rPr>
              <a:t> </a:t>
            </a:r>
            <a:r>
              <a:rPr sz="800" spc="-5" dirty="0">
                <a:solidFill>
                  <a:srgbClr val="231F20"/>
                </a:solidFill>
                <a:latin typeface="Century Gothic"/>
                <a:cs typeface="Century Gothic"/>
              </a:rPr>
              <a:t>local </a:t>
            </a:r>
            <a:r>
              <a:rPr sz="800" dirty="0">
                <a:solidFill>
                  <a:srgbClr val="231F20"/>
                </a:solidFill>
                <a:latin typeface="Century Gothic"/>
                <a:cs typeface="Century Gothic"/>
              </a:rPr>
              <a:t>cooling units.</a:t>
            </a:r>
            <a:endParaRPr sz="800">
              <a:latin typeface="Century Gothic"/>
              <a:cs typeface="Century Gothic"/>
            </a:endParaRPr>
          </a:p>
          <a:p>
            <a:pPr marL="12700" marR="5080" algn="just">
              <a:lnSpc>
                <a:spcPts val="850"/>
              </a:lnSpc>
              <a:spcBef>
                <a:spcPts val="565"/>
              </a:spcBef>
            </a:pPr>
            <a:r>
              <a:rPr sz="800" dirty="0">
                <a:solidFill>
                  <a:srgbClr val="231F20"/>
                </a:solidFill>
                <a:latin typeface="Century Gothic"/>
                <a:cs typeface="Century Gothic"/>
              </a:rPr>
              <a:t>Axima</a:t>
            </a:r>
            <a:r>
              <a:rPr sz="800" spc="-50" dirty="0">
                <a:solidFill>
                  <a:srgbClr val="231F20"/>
                </a:solidFill>
                <a:latin typeface="Century Gothic"/>
                <a:cs typeface="Century Gothic"/>
              </a:rPr>
              <a:t> </a:t>
            </a:r>
            <a:r>
              <a:rPr sz="800" dirty="0">
                <a:solidFill>
                  <a:srgbClr val="231F20"/>
                </a:solidFill>
                <a:latin typeface="Century Gothic"/>
                <a:cs typeface="Century Gothic"/>
              </a:rPr>
              <a:t>nucleaire</a:t>
            </a:r>
            <a:r>
              <a:rPr sz="800" spc="-50" dirty="0">
                <a:solidFill>
                  <a:srgbClr val="231F20"/>
                </a:solidFill>
                <a:latin typeface="Century Gothic"/>
                <a:cs typeface="Century Gothic"/>
              </a:rPr>
              <a:t> </a:t>
            </a:r>
            <a:r>
              <a:rPr sz="800" dirty="0">
                <a:solidFill>
                  <a:srgbClr val="231F20"/>
                </a:solidFill>
                <a:latin typeface="Century Gothic"/>
                <a:cs typeface="Century Gothic"/>
              </a:rPr>
              <a:t>can</a:t>
            </a:r>
            <a:r>
              <a:rPr sz="800" spc="-50" dirty="0">
                <a:solidFill>
                  <a:srgbClr val="231F20"/>
                </a:solidFill>
                <a:latin typeface="Century Gothic"/>
                <a:cs typeface="Century Gothic"/>
              </a:rPr>
              <a:t> </a:t>
            </a:r>
            <a:r>
              <a:rPr sz="800" spc="-5" dirty="0">
                <a:solidFill>
                  <a:srgbClr val="231F20"/>
                </a:solidFill>
                <a:latin typeface="Century Gothic"/>
                <a:cs typeface="Century Gothic"/>
              </a:rPr>
              <a:t>addres</a:t>
            </a:r>
            <a:r>
              <a:rPr sz="800" dirty="0">
                <a:solidFill>
                  <a:srgbClr val="231F20"/>
                </a:solidFill>
                <a:latin typeface="Century Gothic"/>
                <a:cs typeface="Century Gothic"/>
              </a:rPr>
              <a:t>s</a:t>
            </a:r>
            <a:r>
              <a:rPr sz="800" spc="-50" dirty="0">
                <a:solidFill>
                  <a:srgbClr val="231F20"/>
                </a:solidFill>
                <a:latin typeface="Century Gothic"/>
                <a:cs typeface="Century Gothic"/>
              </a:rPr>
              <a:t> </a:t>
            </a:r>
            <a:r>
              <a:rPr sz="800" dirty="0">
                <a:solidFill>
                  <a:srgbClr val="231F20"/>
                </a:solidFill>
                <a:latin typeface="Century Gothic"/>
                <a:cs typeface="Century Gothic"/>
              </a:rPr>
              <a:t>the</a:t>
            </a:r>
            <a:r>
              <a:rPr sz="800" spc="-50" dirty="0">
                <a:solidFill>
                  <a:srgbClr val="231F20"/>
                </a:solidFill>
                <a:latin typeface="Century Gothic"/>
                <a:cs typeface="Century Gothic"/>
              </a:rPr>
              <a:t> </a:t>
            </a:r>
            <a:r>
              <a:rPr sz="800" spc="-5" dirty="0">
                <a:solidFill>
                  <a:srgbClr val="231F20"/>
                </a:solidFill>
                <a:latin typeface="Century Gothic"/>
                <a:cs typeface="Century Gothic"/>
              </a:rPr>
              <a:t>whol</a:t>
            </a:r>
            <a:r>
              <a:rPr sz="800" dirty="0">
                <a:solidFill>
                  <a:srgbClr val="231F20"/>
                </a:solidFill>
                <a:latin typeface="Century Gothic"/>
                <a:cs typeface="Century Gothic"/>
              </a:rPr>
              <a:t>e</a:t>
            </a:r>
            <a:r>
              <a:rPr sz="800" spc="-50" dirty="0">
                <a:solidFill>
                  <a:srgbClr val="231F20"/>
                </a:solidFill>
                <a:latin typeface="Century Gothic"/>
                <a:cs typeface="Century Gothic"/>
              </a:rPr>
              <a:t> </a:t>
            </a:r>
            <a:r>
              <a:rPr sz="800" dirty="0">
                <a:solidFill>
                  <a:srgbClr val="231F20"/>
                </a:solidFill>
                <a:latin typeface="Century Gothic"/>
                <a:cs typeface="Century Gothic"/>
              </a:rPr>
              <a:t>nuclear</a:t>
            </a:r>
            <a:r>
              <a:rPr sz="800" spc="-50" dirty="0">
                <a:solidFill>
                  <a:srgbClr val="231F20"/>
                </a:solidFill>
                <a:latin typeface="Century Gothic"/>
                <a:cs typeface="Century Gothic"/>
              </a:rPr>
              <a:t> </a:t>
            </a:r>
            <a:r>
              <a:rPr sz="800" spc="-5" dirty="0">
                <a:solidFill>
                  <a:srgbClr val="231F20"/>
                </a:solidFill>
                <a:latin typeface="Century Gothic"/>
                <a:cs typeface="Century Gothic"/>
              </a:rPr>
              <a:t>secto</a:t>
            </a:r>
            <a:r>
              <a:rPr sz="800" dirty="0">
                <a:solidFill>
                  <a:srgbClr val="231F20"/>
                </a:solidFill>
                <a:latin typeface="Century Gothic"/>
                <a:cs typeface="Century Gothic"/>
              </a:rPr>
              <a:t>r</a:t>
            </a:r>
            <a:r>
              <a:rPr sz="800" spc="-50" dirty="0">
                <a:solidFill>
                  <a:srgbClr val="231F20"/>
                </a:solidFill>
                <a:latin typeface="Century Gothic"/>
                <a:cs typeface="Century Gothic"/>
              </a:rPr>
              <a:t> </a:t>
            </a:r>
            <a:r>
              <a:rPr sz="800" spc="-5" dirty="0">
                <a:solidFill>
                  <a:srgbClr val="231F20"/>
                </a:solidFill>
                <a:latin typeface="Century Gothic"/>
                <a:cs typeface="Century Gothic"/>
              </a:rPr>
              <a:t>an</a:t>
            </a:r>
            <a:r>
              <a:rPr sz="800" dirty="0">
                <a:solidFill>
                  <a:srgbClr val="231F20"/>
                </a:solidFill>
                <a:latin typeface="Century Gothic"/>
                <a:cs typeface="Century Gothic"/>
              </a:rPr>
              <a:t>d</a:t>
            </a:r>
            <a:r>
              <a:rPr sz="800" spc="-50" dirty="0">
                <a:solidFill>
                  <a:srgbClr val="231F20"/>
                </a:solidFill>
                <a:latin typeface="Century Gothic"/>
                <a:cs typeface="Century Gothic"/>
              </a:rPr>
              <a:t> </a:t>
            </a:r>
            <a:r>
              <a:rPr sz="800" spc="-5" dirty="0">
                <a:solidFill>
                  <a:srgbClr val="231F20"/>
                </a:solidFill>
                <a:latin typeface="Century Gothic"/>
                <a:cs typeface="Century Gothic"/>
              </a:rPr>
              <a:t>provide  its </a:t>
            </a:r>
            <a:r>
              <a:rPr sz="800" dirty="0">
                <a:solidFill>
                  <a:srgbClr val="231F20"/>
                </a:solidFill>
                <a:latin typeface="Century Gothic"/>
                <a:cs typeface="Century Gothic"/>
              </a:rPr>
              <a:t>extensive expertise on </a:t>
            </a:r>
            <a:r>
              <a:rPr sz="800" spc="-5" dirty="0">
                <a:solidFill>
                  <a:srgbClr val="231F20"/>
                </a:solidFill>
                <a:latin typeface="Century Gothic"/>
                <a:cs typeface="Century Gothic"/>
              </a:rPr>
              <a:t>all </a:t>
            </a:r>
            <a:r>
              <a:rPr sz="800" dirty="0">
                <a:solidFill>
                  <a:srgbClr val="231F20"/>
                </a:solidFill>
                <a:latin typeface="Century Gothic"/>
                <a:cs typeface="Century Gothic"/>
              </a:rPr>
              <a:t>type of nuclear </a:t>
            </a:r>
            <a:r>
              <a:rPr sz="800" spc="-5" dirty="0">
                <a:solidFill>
                  <a:srgbClr val="231F20"/>
                </a:solidFill>
                <a:latin typeface="Century Gothic"/>
                <a:cs typeface="Century Gothic"/>
              </a:rPr>
              <a:t>sites such as </a:t>
            </a:r>
            <a:r>
              <a:rPr sz="800" dirty="0">
                <a:solidFill>
                  <a:srgbClr val="231F20"/>
                </a:solidFill>
                <a:latin typeface="Century Gothic"/>
                <a:cs typeface="Century Gothic"/>
              </a:rPr>
              <a:t>nuclear </a:t>
            </a:r>
            <a:r>
              <a:rPr sz="800" spc="5" dirty="0">
                <a:solidFill>
                  <a:srgbClr val="231F20"/>
                </a:solidFill>
                <a:latin typeface="Century Gothic"/>
                <a:cs typeface="Century Gothic"/>
              </a:rPr>
              <a:t> </a:t>
            </a:r>
            <a:r>
              <a:rPr sz="800" spc="-5" dirty="0">
                <a:solidFill>
                  <a:srgbClr val="231F20"/>
                </a:solidFill>
                <a:latin typeface="Century Gothic"/>
                <a:cs typeface="Century Gothic"/>
              </a:rPr>
              <a:t>power</a:t>
            </a:r>
            <a:r>
              <a:rPr sz="800" dirty="0">
                <a:solidFill>
                  <a:srgbClr val="231F20"/>
                </a:solidFill>
                <a:latin typeface="Century Gothic"/>
                <a:cs typeface="Century Gothic"/>
              </a:rPr>
              <a:t> </a:t>
            </a:r>
            <a:r>
              <a:rPr sz="800" spc="-5" dirty="0">
                <a:solidFill>
                  <a:srgbClr val="231F20"/>
                </a:solidFill>
                <a:latin typeface="Century Gothic"/>
                <a:cs typeface="Century Gothic"/>
              </a:rPr>
              <a:t>plants,</a:t>
            </a:r>
            <a:r>
              <a:rPr sz="800" dirty="0">
                <a:solidFill>
                  <a:srgbClr val="231F20"/>
                </a:solidFill>
                <a:latin typeface="Century Gothic"/>
                <a:cs typeface="Century Gothic"/>
              </a:rPr>
              <a:t> uranium</a:t>
            </a:r>
            <a:r>
              <a:rPr sz="800" spc="5" dirty="0">
                <a:solidFill>
                  <a:srgbClr val="231F20"/>
                </a:solidFill>
                <a:latin typeface="Century Gothic"/>
                <a:cs typeface="Century Gothic"/>
              </a:rPr>
              <a:t> </a:t>
            </a:r>
            <a:r>
              <a:rPr sz="800" dirty="0">
                <a:solidFill>
                  <a:srgbClr val="231F20"/>
                </a:solidFill>
                <a:latin typeface="Century Gothic"/>
                <a:cs typeface="Century Gothic"/>
              </a:rPr>
              <a:t>cycle</a:t>
            </a:r>
            <a:r>
              <a:rPr sz="800" spc="5" dirty="0">
                <a:solidFill>
                  <a:srgbClr val="231F20"/>
                </a:solidFill>
                <a:latin typeface="Century Gothic"/>
                <a:cs typeface="Century Gothic"/>
              </a:rPr>
              <a:t> </a:t>
            </a:r>
            <a:r>
              <a:rPr sz="800" spc="-5" dirty="0">
                <a:solidFill>
                  <a:srgbClr val="231F20"/>
                </a:solidFill>
                <a:latin typeface="Century Gothic"/>
                <a:cs typeface="Century Gothic"/>
              </a:rPr>
              <a:t>plants,</a:t>
            </a:r>
            <a:r>
              <a:rPr sz="800" dirty="0">
                <a:solidFill>
                  <a:srgbClr val="231F20"/>
                </a:solidFill>
                <a:latin typeface="Century Gothic"/>
                <a:cs typeface="Century Gothic"/>
              </a:rPr>
              <a:t> radioactive</a:t>
            </a:r>
            <a:r>
              <a:rPr sz="800" spc="5" dirty="0">
                <a:solidFill>
                  <a:srgbClr val="231F20"/>
                </a:solidFill>
                <a:latin typeface="Century Gothic"/>
                <a:cs typeface="Century Gothic"/>
              </a:rPr>
              <a:t> </a:t>
            </a:r>
            <a:r>
              <a:rPr sz="800" spc="-5" dirty="0">
                <a:solidFill>
                  <a:srgbClr val="231F20"/>
                </a:solidFill>
                <a:latin typeface="Century Gothic"/>
                <a:cs typeface="Century Gothic"/>
              </a:rPr>
              <a:t>waste</a:t>
            </a:r>
            <a:r>
              <a:rPr sz="800" dirty="0">
                <a:solidFill>
                  <a:srgbClr val="231F20"/>
                </a:solidFill>
                <a:latin typeface="Century Gothic"/>
                <a:cs typeface="Century Gothic"/>
              </a:rPr>
              <a:t> </a:t>
            </a:r>
            <a:r>
              <a:rPr sz="800" spc="-5" dirty="0">
                <a:solidFill>
                  <a:srgbClr val="231F20"/>
                </a:solidFill>
                <a:latin typeface="Century Gothic"/>
                <a:cs typeface="Century Gothic"/>
              </a:rPr>
              <a:t>storage </a:t>
            </a:r>
            <a:r>
              <a:rPr sz="800" spc="-210" dirty="0">
                <a:solidFill>
                  <a:srgbClr val="231F20"/>
                </a:solidFill>
                <a:latin typeface="Century Gothic"/>
                <a:cs typeface="Century Gothic"/>
              </a:rPr>
              <a:t> </a:t>
            </a:r>
            <a:r>
              <a:rPr sz="800" dirty="0">
                <a:solidFill>
                  <a:srgbClr val="231F20"/>
                </a:solidFill>
                <a:latin typeface="Century Gothic"/>
                <a:cs typeface="Century Gothic"/>
              </a:rPr>
              <a:t>facilities,</a:t>
            </a:r>
            <a:r>
              <a:rPr sz="800" spc="5" dirty="0">
                <a:solidFill>
                  <a:srgbClr val="231F20"/>
                </a:solidFill>
                <a:latin typeface="Century Gothic"/>
                <a:cs typeface="Century Gothic"/>
              </a:rPr>
              <a:t> </a:t>
            </a:r>
            <a:r>
              <a:rPr sz="800" dirty="0">
                <a:solidFill>
                  <a:srgbClr val="231F20"/>
                </a:solidFill>
                <a:latin typeface="Century Gothic"/>
                <a:cs typeface="Century Gothic"/>
              </a:rPr>
              <a:t>fusion</a:t>
            </a:r>
            <a:r>
              <a:rPr sz="800" spc="5" dirty="0">
                <a:solidFill>
                  <a:srgbClr val="231F20"/>
                </a:solidFill>
                <a:latin typeface="Century Gothic"/>
                <a:cs typeface="Century Gothic"/>
              </a:rPr>
              <a:t> </a:t>
            </a:r>
            <a:r>
              <a:rPr sz="800" dirty="0">
                <a:solidFill>
                  <a:srgbClr val="231F20"/>
                </a:solidFill>
                <a:latin typeface="Century Gothic"/>
                <a:cs typeface="Century Gothic"/>
              </a:rPr>
              <a:t>research</a:t>
            </a:r>
            <a:r>
              <a:rPr sz="800" spc="5" dirty="0">
                <a:solidFill>
                  <a:srgbClr val="231F20"/>
                </a:solidFill>
                <a:latin typeface="Century Gothic"/>
                <a:cs typeface="Century Gothic"/>
              </a:rPr>
              <a:t> </a:t>
            </a:r>
            <a:r>
              <a:rPr sz="800" spc="-5" dirty="0">
                <a:solidFill>
                  <a:srgbClr val="231F20"/>
                </a:solidFill>
                <a:latin typeface="Century Gothic"/>
                <a:cs typeface="Century Gothic"/>
              </a:rPr>
              <a:t>facilities,</a:t>
            </a:r>
            <a:r>
              <a:rPr sz="800" dirty="0">
                <a:solidFill>
                  <a:srgbClr val="231F20"/>
                </a:solidFill>
                <a:latin typeface="Century Gothic"/>
                <a:cs typeface="Century Gothic"/>
              </a:rPr>
              <a:t> research</a:t>
            </a:r>
            <a:r>
              <a:rPr sz="800" spc="5" dirty="0">
                <a:solidFill>
                  <a:srgbClr val="231F20"/>
                </a:solidFill>
                <a:latin typeface="Century Gothic"/>
                <a:cs typeface="Century Gothic"/>
              </a:rPr>
              <a:t> </a:t>
            </a:r>
            <a:r>
              <a:rPr sz="800" dirty="0">
                <a:solidFill>
                  <a:srgbClr val="231F20"/>
                </a:solidFill>
                <a:latin typeface="Century Gothic"/>
                <a:cs typeface="Century Gothic"/>
              </a:rPr>
              <a:t>reactors</a:t>
            </a:r>
            <a:r>
              <a:rPr sz="800" spc="5" dirty="0">
                <a:solidFill>
                  <a:srgbClr val="231F20"/>
                </a:solidFill>
                <a:latin typeface="Century Gothic"/>
                <a:cs typeface="Century Gothic"/>
              </a:rPr>
              <a:t> </a:t>
            </a:r>
            <a:r>
              <a:rPr sz="800" dirty="0">
                <a:solidFill>
                  <a:srgbClr val="231F20"/>
                </a:solidFill>
                <a:latin typeface="Century Gothic"/>
                <a:cs typeface="Century Gothic"/>
              </a:rPr>
              <a:t>or</a:t>
            </a:r>
            <a:r>
              <a:rPr sz="800" spc="5" dirty="0">
                <a:solidFill>
                  <a:srgbClr val="231F20"/>
                </a:solidFill>
                <a:latin typeface="Century Gothic"/>
                <a:cs typeface="Century Gothic"/>
              </a:rPr>
              <a:t> </a:t>
            </a:r>
            <a:r>
              <a:rPr sz="800" dirty="0">
                <a:solidFill>
                  <a:srgbClr val="231F20"/>
                </a:solidFill>
                <a:latin typeface="Century Gothic"/>
                <a:cs typeface="Century Gothic"/>
              </a:rPr>
              <a:t>nuclear </a:t>
            </a:r>
            <a:r>
              <a:rPr sz="800" spc="-210" dirty="0">
                <a:solidFill>
                  <a:srgbClr val="231F20"/>
                </a:solidFill>
                <a:latin typeface="Century Gothic"/>
                <a:cs typeface="Century Gothic"/>
              </a:rPr>
              <a:t> </a:t>
            </a:r>
            <a:r>
              <a:rPr sz="800" spc="-5" dirty="0">
                <a:solidFill>
                  <a:srgbClr val="231F20"/>
                </a:solidFill>
                <a:latin typeface="Century Gothic"/>
                <a:cs typeface="Century Gothic"/>
              </a:rPr>
              <a:t>submarines.</a:t>
            </a:r>
            <a:endParaRPr sz="800">
              <a:latin typeface="Century Gothic"/>
              <a:cs typeface="Century Gothic"/>
            </a:endParaRPr>
          </a:p>
        </p:txBody>
      </p:sp>
      <p:sp>
        <p:nvSpPr>
          <p:cNvPr id="40" name="object 40"/>
          <p:cNvSpPr txBox="1"/>
          <p:nvPr/>
        </p:nvSpPr>
        <p:spPr>
          <a:xfrm>
            <a:off x="1989199" y="4118061"/>
            <a:ext cx="3655695" cy="2711450"/>
          </a:xfrm>
          <a:prstGeom prst="rect">
            <a:avLst/>
          </a:prstGeom>
        </p:spPr>
        <p:txBody>
          <a:bodyPr vert="horz" wrap="square" lIns="0" tIns="0" rIns="0" bIns="0" rtlCol="0">
            <a:spAutoFit/>
          </a:bodyPr>
          <a:lstStyle/>
          <a:p>
            <a:pPr marL="374650" indent="-130810">
              <a:lnSpc>
                <a:spcPts val="1565"/>
              </a:lnSpc>
              <a:buSzPct val="150000"/>
              <a:buFont typeface="Century Gothic"/>
              <a:buChar char="•"/>
              <a:tabLst>
                <a:tab pos="375285" algn="l"/>
              </a:tabLst>
            </a:pPr>
            <a:r>
              <a:rPr sz="1000" dirty="0">
                <a:solidFill>
                  <a:srgbClr val="EF3A47"/>
                </a:solidFill>
                <a:latin typeface="Rafale BG"/>
                <a:cs typeface="Rafale BG"/>
              </a:rPr>
              <a:t>Our</a:t>
            </a:r>
            <a:r>
              <a:rPr sz="1000" spc="-25" dirty="0">
                <a:solidFill>
                  <a:srgbClr val="EF3A47"/>
                </a:solidFill>
                <a:latin typeface="Rafale BG"/>
                <a:cs typeface="Rafale BG"/>
              </a:rPr>
              <a:t> </a:t>
            </a:r>
            <a:r>
              <a:rPr sz="1000" dirty="0">
                <a:solidFill>
                  <a:srgbClr val="EF3A47"/>
                </a:solidFill>
                <a:latin typeface="Rafale BG"/>
                <a:cs typeface="Rafale BG"/>
              </a:rPr>
              <a:t>products</a:t>
            </a:r>
            <a:r>
              <a:rPr sz="1000" spc="-25" dirty="0">
                <a:solidFill>
                  <a:srgbClr val="EF3A47"/>
                </a:solidFill>
                <a:latin typeface="Rafale BG"/>
                <a:cs typeface="Rafale BG"/>
              </a:rPr>
              <a:t> </a:t>
            </a:r>
            <a:r>
              <a:rPr sz="1000" dirty="0">
                <a:solidFill>
                  <a:srgbClr val="EF3A47"/>
                </a:solidFill>
                <a:latin typeface="Rafale BG"/>
                <a:cs typeface="Rafale BG"/>
              </a:rPr>
              <a:t>&amp;</a:t>
            </a:r>
            <a:r>
              <a:rPr sz="1000" spc="-20" dirty="0">
                <a:solidFill>
                  <a:srgbClr val="EF3A47"/>
                </a:solidFill>
                <a:latin typeface="Rafale BG"/>
                <a:cs typeface="Rafale BG"/>
              </a:rPr>
              <a:t> </a:t>
            </a:r>
            <a:r>
              <a:rPr sz="1000" dirty="0">
                <a:solidFill>
                  <a:srgbClr val="EF3A47"/>
                </a:solidFill>
                <a:latin typeface="Rafale BG"/>
                <a:cs typeface="Rafale BG"/>
              </a:rPr>
              <a:t>Services</a:t>
            </a:r>
            <a:endParaRPr sz="1000">
              <a:latin typeface="Rafale BG"/>
              <a:cs typeface="Rafale BG"/>
            </a:endParaRPr>
          </a:p>
          <a:p>
            <a:pPr marL="392430" marR="56515" algn="just">
              <a:lnSpc>
                <a:spcPts val="850"/>
              </a:lnSpc>
              <a:spcBef>
                <a:spcPts val="150"/>
              </a:spcBef>
            </a:pPr>
            <a:r>
              <a:rPr sz="800" spc="-5" dirty="0">
                <a:solidFill>
                  <a:srgbClr val="231F20"/>
                </a:solidFill>
                <a:latin typeface="Century Gothic"/>
                <a:cs typeface="Century Gothic"/>
              </a:rPr>
              <a:t>Our </a:t>
            </a:r>
            <a:r>
              <a:rPr sz="800" dirty="0">
                <a:solidFill>
                  <a:srgbClr val="231F20"/>
                </a:solidFill>
                <a:latin typeface="Century Gothic"/>
                <a:cs typeface="Century Gothic"/>
              </a:rPr>
              <a:t>core </a:t>
            </a:r>
            <a:r>
              <a:rPr sz="800" spc="-5" dirty="0">
                <a:solidFill>
                  <a:srgbClr val="231F20"/>
                </a:solidFill>
                <a:latin typeface="Century Gothic"/>
                <a:cs typeface="Century Gothic"/>
              </a:rPr>
              <a:t>businesses are </a:t>
            </a:r>
            <a:r>
              <a:rPr sz="800" dirty="0">
                <a:solidFill>
                  <a:srgbClr val="231F20"/>
                </a:solidFill>
                <a:latin typeface="Century Gothic"/>
                <a:cs typeface="Century Gothic"/>
              </a:rPr>
              <a:t>Nuclear </a:t>
            </a:r>
            <a:r>
              <a:rPr sz="800" spc="-5" dirty="0">
                <a:solidFill>
                  <a:srgbClr val="231F20"/>
                </a:solidFill>
                <a:latin typeface="Century Gothic"/>
                <a:cs typeface="Century Gothic"/>
              </a:rPr>
              <a:t>HVAC </a:t>
            </a:r>
            <a:r>
              <a:rPr sz="800" dirty="0">
                <a:solidFill>
                  <a:srgbClr val="6C92A8"/>
                </a:solidFill>
                <a:latin typeface="Century Gothic"/>
                <a:cs typeface="Century Gothic"/>
              </a:rPr>
              <a:t>• </a:t>
            </a:r>
            <a:r>
              <a:rPr sz="800" dirty="0">
                <a:solidFill>
                  <a:srgbClr val="231F20"/>
                </a:solidFill>
                <a:latin typeface="Century Gothic"/>
                <a:cs typeface="Century Gothic"/>
              </a:rPr>
              <a:t>Process </a:t>
            </a:r>
            <a:r>
              <a:rPr sz="800" spc="-5" dirty="0">
                <a:solidFill>
                  <a:srgbClr val="231F20"/>
                </a:solidFill>
                <a:latin typeface="Century Gothic"/>
                <a:cs typeface="Century Gothic"/>
              </a:rPr>
              <a:t>fluids </a:t>
            </a:r>
            <a:r>
              <a:rPr sz="800" dirty="0">
                <a:solidFill>
                  <a:srgbClr val="6C92A8"/>
                </a:solidFill>
                <a:latin typeface="Century Gothic"/>
                <a:cs typeface="Century Gothic"/>
              </a:rPr>
              <a:t>• </a:t>
            </a:r>
            <a:r>
              <a:rPr sz="800" spc="-5" dirty="0">
                <a:solidFill>
                  <a:srgbClr val="231F20"/>
                </a:solidFill>
                <a:latin typeface="Century Gothic"/>
                <a:cs typeface="Century Gothic"/>
              </a:rPr>
              <a:t>Vacuum </a:t>
            </a:r>
            <a:r>
              <a:rPr sz="800" spc="-210" dirty="0">
                <a:solidFill>
                  <a:srgbClr val="231F20"/>
                </a:solidFill>
                <a:latin typeface="Century Gothic"/>
                <a:cs typeface="Century Gothic"/>
              </a:rPr>
              <a:t> </a:t>
            </a:r>
            <a:r>
              <a:rPr sz="800" spc="-5" dirty="0">
                <a:solidFill>
                  <a:srgbClr val="231F20"/>
                </a:solidFill>
                <a:latin typeface="Century Gothic"/>
                <a:cs typeface="Century Gothic"/>
              </a:rPr>
              <a:t>systems</a:t>
            </a:r>
            <a:r>
              <a:rPr sz="800" spc="-10" dirty="0">
                <a:solidFill>
                  <a:srgbClr val="231F20"/>
                </a:solidFill>
                <a:latin typeface="Century Gothic"/>
                <a:cs typeface="Century Gothic"/>
              </a:rPr>
              <a:t> </a:t>
            </a:r>
            <a:r>
              <a:rPr sz="800" dirty="0">
                <a:solidFill>
                  <a:srgbClr val="6C92A8"/>
                </a:solidFill>
                <a:latin typeface="Century Gothic"/>
                <a:cs typeface="Century Gothic"/>
              </a:rPr>
              <a:t>• </a:t>
            </a:r>
            <a:r>
              <a:rPr sz="800" dirty="0">
                <a:solidFill>
                  <a:srgbClr val="231F20"/>
                </a:solidFill>
                <a:latin typeface="Century Gothic"/>
                <a:cs typeface="Century Gothic"/>
              </a:rPr>
              <a:t>Refrigeration </a:t>
            </a:r>
            <a:r>
              <a:rPr sz="800" dirty="0">
                <a:solidFill>
                  <a:srgbClr val="6C92A8"/>
                </a:solidFill>
                <a:latin typeface="Century Gothic"/>
                <a:cs typeface="Century Gothic"/>
              </a:rPr>
              <a:t>•</a:t>
            </a:r>
            <a:endParaRPr sz="800">
              <a:latin typeface="Century Gothic"/>
              <a:cs typeface="Century Gothic"/>
            </a:endParaRPr>
          </a:p>
          <a:p>
            <a:pPr marL="374650" indent="-130810">
              <a:lnSpc>
                <a:spcPct val="100000"/>
              </a:lnSpc>
              <a:spcBef>
                <a:spcPts val="100"/>
              </a:spcBef>
              <a:buSzPct val="150000"/>
              <a:buFont typeface="Century Gothic"/>
              <a:buChar char="•"/>
              <a:tabLst>
                <a:tab pos="375285" algn="l"/>
              </a:tabLst>
            </a:pPr>
            <a:r>
              <a:rPr sz="1000" spc="-5" dirty="0">
                <a:solidFill>
                  <a:srgbClr val="EF3A47"/>
                </a:solidFill>
                <a:latin typeface="Rafale BG"/>
                <a:cs typeface="Rafale BG"/>
              </a:rPr>
              <a:t>Market</a:t>
            </a:r>
            <a:r>
              <a:rPr sz="1000" spc="-35" dirty="0">
                <a:solidFill>
                  <a:srgbClr val="EF3A47"/>
                </a:solidFill>
                <a:latin typeface="Rafale BG"/>
                <a:cs typeface="Rafale BG"/>
              </a:rPr>
              <a:t> </a:t>
            </a:r>
            <a:r>
              <a:rPr sz="1000" dirty="0">
                <a:solidFill>
                  <a:srgbClr val="EF3A47"/>
                </a:solidFill>
                <a:latin typeface="Rafale BG"/>
                <a:cs typeface="Rafale BG"/>
              </a:rPr>
              <a:t>segment</a:t>
            </a:r>
            <a:endParaRPr sz="1000">
              <a:latin typeface="Rafale BG"/>
              <a:cs typeface="Rafale BG"/>
            </a:endParaRPr>
          </a:p>
          <a:p>
            <a:pPr marL="392430" marR="55880" algn="just">
              <a:lnSpc>
                <a:spcPts val="850"/>
              </a:lnSpc>
              <a:spcBef>
                <a:spcPts val="150"/>
              </a:spcBef>
            </a:pPr>
            <a:r>
              <a:rPr sz="800" dirty="0">
                <a:solidFill>
                  <a:srgbClr val="231F20"/>
                </a:solidFill>
                <a:latin typeface="Century Gothic"/>
                <a:cs typeface="Century Gothic"/>
              </a:rPr>
              <a:t>Nuclear</a:t>
            </a:r>
            <a:r>
              <a:rPr sz="800" spc="220" dirty="0">
                <a:solidFill>
                  <a:srgbClr val="231F20"/>
                </a:solidFill>
                <a:latin typeface="Century Gothic"/>
                <a:cs typeface="Century Gothic"/>
              </a:rPr>
              <a:t> </a:t>
            </a:r>
            <a:r>
              <a:rPr sz="800" dirty="0">
                <a:solidFill>
                  <a:srgbClr val="231F20"/>
                </a:solidFill>
                <a:latin typeface="Century Gothic"/>
                <a:cs typeface="Century Gothic"/>
              </a:rPr>
              <a:t>Power</a:t>
            </a:r>
            <a:r>
              <a:rPr sz="800" spc="220" dirty="0">
                <a:solidFill>
                  <a:srgbClr val="231F20"/>
                </a:solidFill>
                <a:latin typeface="Century Gothic"/>
                <a:cs typeface="Century Gothic"/>
              </a:rPr>
              <a:t> </a:t>
            </a:r>
            <a:r>
              <a:rPr sz="800" dirty="0">
                <a:solidFill>
                  <a:srgbClr val="231F20"/>
                </a:solidFill>
                <a:latin typeface="Century Gothic"/>
                <a:cs typeface="Century Gothic"/>
              </a:rPr>
              <a:t>Plant</a:t>
            </a:r>
            <a:r>
              <a:rPr sz="800" spc="220" dirty="0">
                <a:solidFill>
                  <a:srgbClr val="231F20"/>
                </a:solidFill>
                <a:latin typeface="Century Gothic"/>
                <a:cs typeface="Century Gothic"/>
              </a:rPr>
              <a:t> </a:t>
            </a:r>
            <a:r>
              <a:rPr sz="800" spc="-5" dirty="0">
                <a:solidFill>
                  <a:srgbClr val="231F20"/>
                </a:solidFill>
                <a:latin typeface="Century Gothic"/>
                <a:cs typeface="Century Gothic"/>
              </a:rPr>
              <a:t>Construction</a:t>
            </a:r>
            <a:r>
              <a:rPr sz="800" spc="215" dirty="0">
                <a:solidFill>
                  <a:srgbClr val="231F20"/>
                </a:solidFill>
                <a:latin typeface="Century Gothic"/>
                <a:cs typeface="Century Gothic"/>
              </a:rPr>
              <a:t> </a:t>
            </a:r>
            <a:r>
              <a:rPr sz="800" dirty="0">
                <a:solidFill>
                  <a:srgbClr val="6C92A8"/>
                </a:solidFill>
                <a:latin typeface="Century Gothic"/>
                <a:cs typeface="Century Gothic"/>
              </a:rPr>
              <a:t>•</a:t>
            </a:r>
            <a:r>
              <a:rPr sz="800" spc="220" dirty="0">
                <a:solidFill>
                  <a:srgbClr val="6C92A8"/>
                </a:solidFill>
                <a:latin typeface="Century Gothic"/>
                <a:cs typeface="Century Gothic"/>
              </a:rPr>
              <a:t> </a:t>
            </a:r>
            <a:r>
              <a:rPr sz="800" dirty="0">
                <a:solidFill>
                  <a:srgbClr val="231F20"/>
                </a:solidFill>
                <a:latin typeface="Century Gothic"/>
                <a:cs typeface="Century Gothic"/>
              </a:rPr>
              <a:t>Nuclear</a:t>
            </a:r>
            <a:r>
              <a:rPr sz="800" spc="220" dirty="0">
                <a:solidFill>
                  <a:srgbClr val="231F20"/>
                </a:solidFill>
                <a:latin typeface="Century Gothic"/>
                <a:cs typeface="Century Gothic"/>
              </a:rPr>
              <a:t> </a:t>
            </a:r>
            <a:r>
              <a:rPr sz="800" dirty="0">
                <a:solidFill>
                  <a:srgbClr val="231F20"/>
                </a:solidFill>
                <a:latin typeface="Century Gothic"/>
                <a:cs typeface="Century Gothic"/>
              </a:rPr>
              <a:t>Plant</a:t>
            </a:r>
            <a:r>
              <a:rPr sz="800" spc="225" dirty="0">
                <a:solidFill>
                  <a:srgbClr val="231F20"/>
                </a:solidFill>
                <a:latin typeface="Century Gothic"/>
                <a:cs typeface="Century Gothic"/>
              </a:rPr>
              <a:t> </a:t>
            </a:r>
            <a:r>
              <a:rPr sz="800" dirty="0">
                <a:solidFill>
                  <a:srgbClr val="231F20"/>
                </a:solidFill>
                <a:latin typeface="Century Gothic"/>
                <a:cs typeface="Century Gothic"/>
              </a:rPr>
              <a:t>operation </a:t>
            </a:r>
            <a:r>
              <a:rPr sz="800" spc="5" dirty="0">
                <a:solidFill>
                  <a:srgbClr val="231F20"/>
                </a:solidFill>
                <a:latin typeface="Century Gothic"/>
                <a:cs typeface="Century Gothic"/>
              </a:rPr>
              <a:t> </a:t>
            </a:r>
            <a:r>
              <a:rPr sz="800" dirty="0">
                <a:solidFill>
                  <a:srgbClr val="231F20"/>
                </a:solidFill>
                <a:latin typeface="Century Gothic"/>
                <a:cs typeface="Century Gothic"/>
              </a:rPr>
              <a:t>&amp;</a:t>
            </a:r>
            <a:r>
              <a:rPr sz="800" spc="5" dirty="0">
                <a:solidFill>
                  <a:srgbClr val="231F20"/>
                </a:solidFill>
                <a:latin typeface="Century Gothic"/>
                <a:cs typeface="Century Gothic"/>
              </a:rPr>
              <a:t> </a:t>
            </a:r>
            <a:r>
              <a:rPr sz="800" dirty="0">
                <a:solidFill>
                  <a:srgbClr val="231F20"/>
                </a:solidFill>
                <a:latin typeface="Century Gothic"/>
                <a:cs typeface="Century Gothic"/>
              </a:rPr>
              <a:t>maintenance</a:t>
            </a:r>
            <a:r>
              <a:rPr sz="800" spc="5" dirty="0">
                <a:solidFill>
                  <a:srgbClr val="231F20"/>
                </a:solidFill>
                <a:latin typeface="Century Gothic"/>
                <a:cs typeface="Century Gothic"/>
              </a:rPr>
              <a:t> </a:t>
            </a:r>
            <a:r>
              <a:rPr sz="800" dirty="0">
                <a:solidFill>
                  <a:srgbClr val="6C92A8"/>
                </a:solidFill>
                <a:latin typeface="Century Gothic"/>
                <a:cs typeface="Century Gothic"/>
              </a:rPr>
              <a:t>•</a:t>
            </a:r>
            <a:r>
              <a:rPr sz="800" spc="5" dirty="0">
                <a:solidFill>
                  <a:srgbClr val="6C92A8"/>
                </a:solidFill>
                <a:latin typeface="Century Gothic"/>
                <a:cs typeface="Century Gothic"/>
              </a:rPr>
              <a:t> </a:t>
            </a:r>
            <a:r>
              <a:rPr sz="800" dirty="0">
                <a:solidFill>
                  <a:srgbClr val="231F20"/>
                </a:solidFill>
                <a:latin typeface="Century Gothic"/>
                <a:cs typeface="Century Gothic"/>
              </a:rPr>
              <a:t>Fuel</a:t>
            </a:r>
            <a:r>
              <a:rPr sz="800" spc="5" dirty="0">
                <a:solidFill>
                  <a:srgbClr val="231F20"/>
                </a:solidFill>
                <a:latin typeface="Century Gothic"/>
                <a:cs typeface="Century Gothic"/>
              </a:rPr>
              <a:t> </a:t>
            </a:r>
            <a:r>
              <a:rPr sz="800" dirty="0">
                <a:solidFill>
                  <a:srgbClr val="231F20"/>
                </a:solidFill>
                <a:latin typeface="Century Gothic"/>
                <a:cs typeface="Century Gothic"/>
              </a:rPr>
              <a:t>cycle</a:t>
            </a:r>
            <a:r>
              <a:rPr sz="800" spc="5" dirty="0">
                <a:solidFill>
                  <a:srgbClr val="231F20"/>
                </a:solidFill>
                <a:latin typeface="Century Gothic"/>
                <a:cs typeface="Century Gothic"/>
              </a:rPr>
              <a:t> </a:t>
            </a:r>
            <a:r>
              <a:rPr sz="800" spc="-5" dirty="0">
                <a:solidFill>
                  <a:srgbClr val="231F20"/>
                </a:solidFill>
                <a:latin typeface="Century Gothic"/>
                <a:cs typeface="Century Gothic"/>
              </a:rPr>
              <a:t>activities</a:t>
            </a:r>
            <a:r>
              <a:rPr sz="800" dirty="0">
                <a:solidFill>
                  <a:srgbClr val="231F20"/>
                </a:solidFill>
                <a:latin typeface="Century Gothic"/>
                <a:cs typeface="Century Gothic"/>
              </a:rPr>
              <a:t> </a:t>
            </a:r>
            <a:r>
              <a:rPr sz="800" dirty="0">
                <a:solidFill>
                  <a:srgbClr val="6C92A8"/>
                </a:solidFill>
                <a:latin typeface="Century Gothic"/>
                <a:cs typeface="Century Gothic"/>
              </a:rPr>
              <a:t>•</a:t>
            </a:r>
            <a:r>
              <a:rPr sz="800" spc="5" dirty="0">
                <a:solidFill>
                  <a:srgbClr val="6C92A8"/>
                </a:solidFill>
                <a:latin typeface="Century Gothic"/>
                <a:cs typeface="Century Gothic"/>
              </a:rPr>
              <a:t> </a:t>
            </a:r>
            <a:r>
              <a:rPr sz="800" spc="-5" dirty="0">
                <a:solidFill>
                  <a:srgbClr val="231F20"/>
                </a:solidFill>
                <a:latin typeface="Century Gothic"/>
                <a:cs typeface="Century Gothic"/>
              </a:rPr>
              <a:t>Decommissioning</a:t>
            </a:r>
            <a:r>
              <a:rPr sz="800" dirty="0">
                <a:solidFill>
                  <a:srgbClr val="231F20"/>
                </a:solidFill>
                <a:latin typeface="Century Gothic"/>
                <a:cs typeface="Century Gothic"/>
              </a:rPr>
              <a:t> &amp; </a:t>
            </a:r>
            <a:r>
              <a:rPr sz="800" spc="5" dirty="0">
                <a:solidFill>
                  <a:srgbClr val="231F20"/>
                </a:solidFill>
                <a:latin typeface="Century Gothic"/>
                <a:cs typeface="Century Gothic"/>
              </a:rPr>
              <a:t> </a:t>
            </a:r>
            <a:r>
              <a:rPr sz="800" spc="-5" dirty="0">
                <a:solidFill>
                  <a:srgbClr val="231F20"/>
                </a:solidFill>
                <a:latin typeface="Century Gothic"/>
                <a:cs typeface="Century Gothic"/>
              </a:rPr>
              <a:t>dismantling </a:t>
            </a:r>
            <a:r>
              <a:rPr sz="800" dirty="0">
                <a:solidFill>
                  <a:srgbClr val="231F20"/>
                </a:solidFill>
                <a:latin typeface="Century Gothic"/>
                <a:cs typeface="Century Gothic"/>
              </a:rPr>
              <a:t>-</a:t>
            </a:r>
            <a:r>
              <a:rPr sz="800" spc="-5" dirty="0">
                <a:solidFill>
                  <a:srgbClr val="231F20"/>
                </a:solidFill>
                <a:latin typeface="Century Gothic"/>
                <a:cs typeface="Century Gothic"/>
              </a:rPr>
              <a:t> waste </a:t>
            </a:r>
            <a:r>
              <a:rPr sz="800" dirty="0">
                <a:solidFill>
                  <a:srgbClr val="231F20"/>
                </a:solidFill>
                <a:latin typeface="Century Gothic"/>
                <a:cs typeface="Century Gothic"/>
              </a:rPr>
              <a:t>management </a:t>
            </a:r>
            <a:r>
              <a:rPr sz="800" dirty="0">
                <a:solidFill>
                  <a:srgbClr val="6C92A8"/>
                </a:solidFill>
                <a:latin typeface="Century Gothic"/>
                <a:cs typeface="Century Gothic"/>
              </a:rPr>
              <a:t>•</a:t>
            </a:r>
            <a:r>
              <a:rPr sz="800" spc="-5" dirty="0">
                <a:solidFill>
                  <a:srgbClr val="6C92A8"/>
                </a:solidFill>
                <a:latin typeface="Century Gothic"/>
                <a:cs typeface="Century Gothic"/>
              </a:rPr>
              <a:t> </a:t>
            </a:r>
            <a:r>
              <a:rPr sz="800" dirty="0">
                <a:solidFill>
                  <a:srgbClr val="231F20"/>
                </a:solidFill>
                <a:latin typeface="Century Gothic"/>
                <a:cs typeface="Century Gothic"/>
              </a:rPr>
              <a:t>Research</a:t>
            </a:r>
            <a:r>
              <a:rPr sz="800" spc="-5" dirty="0">
                <a:solidFill>
                  <a:srgbClr val="231F20"/>
                </a:solidFill>
                <a:latin typeface="Century Gothic"/>
                <a:cs typeface="Century Gothic"/>
              </a:rPr>
              <a:t> </a:t>
            </a:r>
            <a:r>
              <a:rPr sz="800" dirty="0">
                <a:solidFill>
                  <a:srgbClr val="231F20"/>
                </a:solidFill>
                <a:latin typeface="Century Gothic"/>
                <a:cs typeface="Century Gothic"/>
              </a:rPr>
              <a:t>reactor</a:t>
            </a:r>
            <a:r>
              <a:rPr sz="800" spc="-10" dirty="0">
                <a:solidFill>
                  <a:srgbClr val="231F20"/>
                </a:solidFill>
                <a:latin typeface="Century Gothic"/>
                <a:cs typeface="Century Gothic"/>
              </a:rPr>
              <a:t> </a:t>
            </a:r>
            <a:r>
              <a:rPr sz="800" dirty="0">
                <a:solidFill>
                  <a:srgbClr val="6C92A8"/>
                </a:solidFill>
                <a:latin typeface="Century Gothic"/>
                <a:cs typeface="Century Gothic"/>
              </a:rPr>
              <a:t>•</a:t>
            </a:r>
            <a:endParaRPr sz="800">
              <a:latin typeface="Century Gothic"/>
              <a:cs typeface="Century Gothic"/>
            </a:endParaRPr>
          </a:p>
          <a:p>
            <a:pPr marL="302260" indent="-252095">
              <a:lnSpc>
                <a:spcPts val="3045"/>
              </a:lnSpc>
              <a:buSzPct val="300000"/>
              <a:buFont typeface="Century Gothic"/>
              <a:buChar char="•"/>
              <a:tabLst>
                <a:tab pos="302895" algn="l"/>
              </a:tabLst>
            </a:pPr>
            <a:r>
              <a:rPr sz="1000" b="1" spc="-5" dirty="0">
                <a:solidFill>
                  <a:srgbClr val="EF3A47"/>
                </a:solidFill>
                <a:latin typeface="Century Gothic"/>
                <a:cs typeface="Century Gothic"/>
              </a:rPr>
              <a:t>REFERENCES</a:t>
            </a:r>
            <a:endParaRPr sz="1000">
              <a:latin typeface="Century Gothic"/>
              <a:cs typeface="Century Gothic"/>
            </a:endParaRPr>
          </a:p>
          <a:p>
            <a:pPr marL="464184" lvl="1" indent="-144145">
              <a:lnSpc>
                <a:spcPct val="100000"/>
              </a:lnSpc>
              <a:spcBef>
                <a:spcPts val="919"/>
              </a:spcBef>
              <a:buClr>
                <a:srgbClr val="001D18"/>
              </a:buClr>
              <a:buSzPct val="125000"/>
              <a:buFont typeface="Century Gothic"/>
              <a:buChar char="•"/>
              <a:tabLst>
                <a:tab pos="464820" algn="l"/>
              </a:tabLst>
            </a:pPr>
            <a:r>
              <a:rPr sz="1200" b="1" baseline="6944" dirty="0">
                <a:solidFill>
                  <a:srgbClr val="231F20"/>
                </a:solidFill>
                <a:latin typeface="Century Gothic"/>
                <a:cs typeface="Century Gothic"/>
              </a:rPr>
              <a:t>Nuclear</a:t>
            </a:r>
            <a:r>
              <a:rPr sz="1200" b="1" spc="-75" baseline="6944" dirty="0">
                <a:solidFill>
                  <a:srgbClr val="231F20"/>
                </a:solidFill>
                <a:latin typeface="Century Gothic"/>
                <a:cs typeface="Century Gothic"/>
              </a:rPr>
              <a:t> </a:t>
            </a:r>
            <a:r>
              <a:rPr sz="1200" b="1" spc="-7" baseline="6944" dirty="0">
                <a:solidFill>
                  <a:srgbClr val="231F20"/>
                </a:solidFill>
                <a:latin typeface="Century Gothic"/>
                <a:cs typeface="Century Gothic"/>
              </a:rPr>
              <a:t>certifications:</a:t>
            </a:r>
            <a:endParaRPr sz="1200" baseline="6944">
              <a:latin typeface="Century Gothic"/>
              <a:cs typeface="Century Gothic"/>
            </a:endParaRPr>
          </a:p>
          <a:p>
            <a:pPr marL="464184">
              <a:lnSpc>
                <a:spcPct val="100000"/>
              </a:lnSpc>
              <a:spcBef>
                <a:spcPts val="75"/>
              </a:spcBef>
            </a:pPr>
            <a:r>
              <a:rPr sz="800" spc="-5" dirty="0">
                <a:solidFill>
                  <a:srgbClr val="231F20"/>
                </a:solidFill>
                <a:latin typeface="Century Gothic"/>
                <a:cs typeface="Century Gothic"/>
              </a:rPr>
              <a:t>ISO</a:t>
            </a:r>
            <a:r>
              <a:rPr sz="800" spc="-10" dirty="0">
                <a:solidFill>
                  <a:srgbClr val="231F20"/>
                </a:solidFill>
                <a:latin typeface="Century Gothic"/>
                <a:cs typeface="Century Gothic"/>
              </a:rPr>
              <a:t> </a:t>
            </a:r>
            <a:r>
              <a:rPr sz="800" spc="-5" dirty="0">
                <a:solidFill>
                  <a:srgbClr val="231F20"/>
                </a:solidFill>
                <a:latin typeface="Century Gothic"/>
                <a:cs typeface="Century Gothic"/>
              </a:rPr>
              <a:t>9001,</a:t>
            </a:r>
            <a:r>
              <a:rPr sz="800" spc="-10" dirty="0">
                <a:solidFill>
                  <a:srgbClr val="231F20"/>
                </a:solidFill>
                <a:latin typeface="Century Gothic"/>
                <a:cs typeface="Century Gothic"/>
              </a:rPr>
              <a:t> </a:t>
            </a:r>
            <a:r>
              <a:rPr sz="800" spc="-5" dirty="0">
                <a:solidFill>
                  <a:srgbClr val="231F20"/>
                </a:solidFill>
                <a:latin typeface="Century Gothic"/>
                <a:cs typeface="Century Gothic"/>
              </a:rPr>
              <a:t>ISO 14001,</a:t>
            </a:r>
            <a:r>
              <a:rPr sz="800" spc="-10" dirty="0">
                <a:solidFill>
                  <a:srgbClr val="231F20"/>
                </a:solidFill>
                <a:latin typeface="Century Gothic"/>
                <a:cs typeface="Century Gothic"/>
              </a:rPr>
              <a:t> </a:t>
            </a:r>
            <a:r>
              <a:rPr sz="800" spc="-5" dirty="0">
                <a:solidFill>
                  <a:srgbClr val="231F20"/>
                </a:solidFill>
                <a:latin typeface="Century Gothic"/>
                <a:cs typeface="Century Gothic"/>
              </a:rPr>
              <a:t>ISO 45001,</a:t>
            </a:r>
            <a:r>
              <a:rPr sz="800" spc="-15" dirty="0">
                <a:solidFill>
                  <a:srgbClr val="231F20"/>
                </a:solidFill>
                <a:latin typeface="Century Gothic"/>
                <a:cs typeface="Century Gothic"/>
              </a:rPr>
              <a:t> </a:t>
            </a:r>
            <a:r>
              <a:rPr sz="800" spc="-5" dirty="0">
                <a:solidFill>
                  <a:srgbClr val="231F20"/>
                </a:solidFill>
                <a:latin typeface="Century Gothic"/>
                <a:cs typeface="Century Gothic"/>
              </a:rPr>
              <a:t>ISO 3834-2,</a:t>
            </a:r>
            <a:r>
              <a:rPr sz="800" spc="-10" dirty="0">
                <a:solidFill>
                  <a:srgbClr val="231F20"/>
                </a:solidFill>
                <a:latin typeface="Century Gothic"/>
                <a:cs typeface="Century Gothic"/>
              </a:rPr>
              <a:t> </a:t>
            </a:r>
            <a:r>
              <a:rPr sz="800" dirty="0">
                <a:solidFill>
                  <a:srgbClr val="231F20"/>
                </a:solidFill>
                <a:latin typeface="Century Gothic"/>
                <a:cs typeface="Century Gothic"/>
              </a:rPr>
              <a:t>CEFRI,</a:t>
            </a:r>
            <a:r>
              <a:rPr sz="800" spc="-5" dirty="0">
                <a:solidFill>
                  <a:srgbClr val="231F20"/>
                </a:solidFill>
                <a:latin typeface="Century Gothic"/>
                <a:cs typeface="Century Gothic"/>
              </a:rPr>
              <a:t> </a:t>
            </a:r>
            <a:r>
              <a:rPr sz="800" dirty="0">
                <a:solidFill>
                  <a:srgbClr val="231F20"/>
                </a:solidFill>
                <a:latin typeface="Century Gothic"/>
                <a:cs typeface="Century Gothic"/>
              </a:rPr>
              <a:t>MASE</a:t>
            </a:r>
            <a:endParaRPr sz="800">
              <a:latin typeface="Century Gothic"/>
              <a:cs typeface="Century Gothic"/>
            </a:endParaRPr>
          </a:p>
          <a:p>
            <a:pPr marL="464184" lvl="1" indent="-144145">
              <a:lnSpc>
                <a:spcPct val="100000"/>
              </a:lnSpc>
              <a:spcBef>
                <a:spcPts val="690"/>
              </a:spcBef>
              <a:buClr>
                <a:srgbClr val="001D18"/>
              </a:buClr>
              <a:buSzPct val="125000"/>
              <a:buFont typeface="Century Gothic"/>
              <a:buChar char="•"/>
              <a:tabLst>
                <a:tab pos="464820" algn="l"/>
              </a:tabLst>
            </a:pPr>
            <a:r>
              <a:rPr sz="800" b="1" dirty="0">
                <a:solidFill>
                  <a:srgbClr val="231F20"/>
                </a:solidFill>
                <a:latin typeface="Century Gothic"/>
                <a:cs typeface="Century Gothic"/>
              </a:rPr>
              <a:t>Nuclear</a:t>
            </a:r>
            <a:r>
              <a:rPr sz="800" b="1" spc="-30" dirty="0">
                <a:solidFill>
                  <a:srgbClr val="231F20"/>
                </a:solidFill>
                <a:latin typeface="Century Gothic"/>
                <a:cs typeface="Century Gothic"/>
              </a:rPr>
              <a:t> </a:t>
            </a:r>
            <a:r>
              <a:rPr sz="800" b="1" spc="-5" dirty="0">
                <a:solidFill>
                  <a:srgbClr val="231F20"/>
                </a:solidFill>
                <a:latin typeface="Century Gothic"/>
                <a:cs typeface="Century Gothic"/>
              </a:rPr>
              <a:t>customer</a:t>
            </a:r>
            <a:r>
              <a:rPr sz="800" b="1" spc="-30" dirty="0">
                <a:solidFill>
                  <a:srgbClr val="231F20"/>
                </a:solidFill>
                <a:latin typeface="Century Gothic"/>
                <a:cs typeface="Century Gothic"/>
              </a:rPr>
              <a:t> </a:t>
            </a:r>
            <a:r>
              <a:rPr sz="800" b="1" dirty="0">
                <a:solidFill>
                  <a:srgbClr val="231F20"/>
                </a:solidFill>
                <a:latin typeface="Century Gothic"/>
                <a:cs typeface="Century Gothic"/>
              </a:rPr>
              <a:t>reference:</a:t>
            </a:r>
            <a:endParaRPr sz="800">
              <a:latin typeface="Century Gothic"/>
              <a:cs typeface="Century Gothic"/>
            </a:endParaRPr>
          </a:p>
          <a:p>
            <a:pPr marL="464184" marR="55880">
              <a:lnSpc>
                <a:spcPts val="850"/>
              </a:lnSpc>
              <a:spcBef>
                <a:spcPts val="290"/>
              </a:spcBef>
            </a:pPr>
            <a:r>
              <a:rPr sz="800" spc="-5" dirty="0">
                <a:solidFill>
                  <a:srgbClr val="231F20"/>
                </a:solidFill>
                <a:latin typeface="Century Gothic"/>
                <a:cs typeface="Century Gothic"/>
              </a:rPr>
              <a:t>EDF,</a:t>
            </a:r>
            <a:r>
              <a:rPr sz="800" spc="50" dirty="0">
                <a:solidFill>
                  <a:srgbClr val="231F20"/>
                </a:solidFill>
                <a:latin typeface="Century Gothic"/>
                <a:cs typeface="Century Gothic"/>
              </a:rPr>
              <a:t> </a:t>
            </a:r>
            <a:r>
              <a:rPr sz="800" dirty="0">
                <a:solidFill>
                  <a:srgbClr val="231F20"/>
                </a:solidFill>
                <a:latin typeface="Century Gothic"/>
                <a:cs typeface="Century Gothic"/>
              </a:rPr>
              <a:t>CEA,</a:t>
            </a:r>
            <a:r>
              <a:rPr sz="800" spc="45" dirty="0">
                <a:solidFill>
                  <a:srgbClr val="231F20"/>
                </a:solidFill>
                <a:latin typeface="Century Gothic"/>
                <a:cs typeface="Century Gothic"/>
              </a:rPr>
              <a:t> </a:t>
            </a:r>
            <a:r>
              <a:rPr sz="800" spc="-5" dirty="0">
                <a:solidFill>
                  <a:srgbClr val="231F20"/>
                </a:solidFill>
                <a:latin typeface="Century Gothic"/>
                <a:cs typeface="Century Gothic"/>
              </a:rPr>
              <a:t>ORANO,</a:t>
            </a:r>
            <a:r>
              <a:rPr sz="800" spc="50" dirty="0">
                <a:solidFill>
                  <a:srgbClr val="231F20"/>
                </a:solidFill>
                <a:latin typeface="Century Gothic"/>
                <a:cs typeface="Century Gothic"/>
              </a:rPr>
              <a:t> </a:t>
            </a:r>
            <a:r>
              <a:rPr sz="800" spc="-5" dirty="0">
                <a:solidFill>
                  <a:srgbClr val="231F20"/>
                </a:solidFill>
                <a:latin typeface="Century Gothic"/>
                <a:cs typeface="Century Gothic"/>
              </a:rPr>
              <a:t>ITER,</a:t>
            </a:r>
            <a:r>
              <a:rPr sz="800" spc="50" dirty="0">
                <a:solidFill>
                  <a:srgbClr val="231F20"/>
                </a:solidFill>
                <a:latin typeface="Century Gothic"/>
                <a:cs typeface="Century Gothic"/>
              </a:rPr>
              <a:t> </a:t>
            </a:r>
            <a:r>
              <a:rPr sz="800" dirty="0">
                <a:solidFill>
                  <a:srgbClr val="231F20"/>
                </a:solidFill>
                <a:latin typeface="Century Gothic"/>
                <a:cs typeface="Century Gothic"/>
              </a:rPr>
              <a:t>F4E,</a:t>
            </a:r>
            <a:r>
              <a:rPr sz="800" spc="45" dirty="0">
                <a:solidFill>
                  <a:srgbClr val="231F20"/>
                </a:solidFill>
                <a:latin typeface="Century Gothic"/>
                <a:cs typeface="Century Gothic"/>
              </a:rPr>
              <a:t> </a:t>
            </a:r>
            <a:r>
              <a:rPr sz="800" dirty="0">
                <a:solidFill>
                  <a:srgbClr val="231F20"/>
                </a:solidFill>
                <a:latin typeface="Century Gothic"/>
                <a:cs typeface="Century Gothic"/>
              </a:rPr>
              <a:t>NNB</a:t>
            </a:r>
            <a:r>
              <a:rPr sz="800" spc="45" dirty="0">
                <a:solidFill>
                  <a:srgbClr val="231F20"/>
                </a:solidFill>
                <a:latin typeface="Century Gothic"/>
                <a:cs typeface="Century Gothic"/>
              </a:rPr>
              <a:t> </a:t>
            </a:r>
            <a:r>
              <a:rPr sz="800" spc="-5" dirty="0">
                <a:solidFill>
                  <a:srgbClr val="231F20"/>
                </a:solidFill>
                <a:latin typeface="Century Gothic"/>
                <a:cs typeface="Century Gothic"/>
              </a:rPr>
              <a:t>GENCO,</a:t>
            </a:r>
            <a:r>
              <a:rPr sz="800" spc="50" dirty="0">
                <a:solidFill>
                  <a:srgbClr val="231F20"/>
                </a:solidFill>
                <a:latin typeface="Century Gothic"/>
                <a:cs typeface="Century Gothic"/>
              </a:rPr>
              <a:t> </a:t>
            </a:r>
            <a:r>
              <a:rPr sz="800" dirty="0">
                <a:solidFill>
                  <a:srgbClr val="231F20"/>
                </a:solidFill>
                <a:latin typeface="Century Gothic"/>
                <a:cs typeface="Century Gothic"/>
              </a:rPr>
              <a:t>ANDRA,</a:t>
            </a:r>
            <a:r>
              <a:rPr sz="800" spc="45" dirty="0">
                <a:solidFill>
                  <a:srgbClr val="231F20"/>
                </a:solidFill>
                <a:latin typeface="Century Gothic"/>
                <a:cs typeface="Century Gothic"/>
              </a:rPr>
              <a:t> </a:t>
            </a:r>
            <a:r>
              <a:rPr sz="800" dirty="0">
                <a:solidFill>
                  <a:srgbClr val="231F20"/>
                </a:solidFill>
                <a:latin typeface="Century Gothic"/>
                <a:cs typeface="Century Gothic"/>
              </a:rPr>
              <a:t>NAVAL </a:t>
            </a:r>
            <a:r>
              <a:rPr sz="800" spc="-210" dirty="0">
                <a:solidFill>
                  <a:srgbClr val="231F20"/>
                </a:solidFill>
                <a:latin typeface="Century Gothic"/>
                <a:cs typeface="Century Gothic"/>
              </a:rPr>
              <a:t> </a:t>
            </a:r>
            <a:r>
              <a:rPr sz="800" spc="-5" dirty="0">
                <a:solidFill>
                  <a:srgbClr val="231F20"/>
                </a:solidFill>
                <a:latin typeface="Century Gothic"/>
                <a:cs typeface="Century Gothic"/>
              </a:rPr>
              <a:t>GROUP</a:t>
            </a:r>
            <a:endParaRPr sz="800">
              <a:latin typeface="Century Gothic"/>
              <a:cs typeface="Century Gothic"/>
            </a:endParaRPr>
          </a:p>
          <a:p>
            <a:pPr marL="464184" lvl="1" indent="-144145">
              <a:lnSpc>
                <a:spcPct val="100000"/>
              </a:lnSpc>
              <a:spcBef>
                <a:spcPts val="680"/>
              </a:spcBef>
              <a:buClr>
                <a:srgbClr val="001D18"/>
              </a:buClr>
              <a:buSzPct val="125000"/>
              <a:buFont typeface="Century Gothic"/>
              <a:buChar char="•"/>
              <a:tabLst>
                <a:tab pos="464820" algn="l"/>
              </a:tabLst>
            </a:pPr>
            <a:r>
              <a:rPr sz="800" b="1" dirty="0">
                <a:solidFill>
                  <a:srgbClr val="231F20"/>
                </a:solidFill>
                <a:latin typeface="Century Gothic"/>
                <a:cs typeface="Century Gothic"/>
              </a:rPr>
              <a:t>Nuclear</a:t>
            </a:r>
            <a:r>
              <a:rPr sz="800" b="1" spc="-30" dirty="0">
                <a:solidFill>
                  <a:srgbClr val="231F20"/>
                </a:solidFill>
                <a:latin typeface="Century Gothic"/>
                <a:cs typeface="Century Gothic"/>
              </a:rPr>
              <a:t> </a:t>
            </a:r>
            <a:r>
              <a:rPr sz="800" b="1" spc="-5" dirty="0">
                <a:solidFill>
                  <a:srgbClr val="231F20"/>
                </a:solidFill>
                <a:latin typeface="Century Gothic"/>
                <a:cs typeface="Century Gothic"/>
              </a:rPr>
              <a:t>project</a:t>
            </a:r>
            <a:r>
              <a:rPr sz="800" b="1" spc="-35" dirty="0">
                <a:solidFill>
                  <a:srgbClr val="231F20"/>
                </a:solidFill>
                <a:latin typeface="Century Gothic"/>
                <a:cs typeface="Century Gothic"/>
              </a:rPr>
              <a:t> </a:t>
            </a:r>
            <a:r>
              <a:rPr sz="800" b="1" dirty="0">
                <a:solidFill>
                  <a:srgbClr val="231F20"/>
                </a:solidFill>
                <a:latin typeface="Century Gothic"/>
                <a:cs typeface="Century Gothic"/>
              </a:rPr>
              <a:t>references:</a:t>
            </a:r>
            <a:endParaRPr sz="800">
              <a:latin typeface="Century Gothic"/>
              <a:cs typeface="Century Gothic"/>
            </a:endParaRPr>
          </a:p>
          <a:p>
            <a:pPr marL="464184" marR="57150">
              <a:lnSpc>
                <a:spcPts val="850"/>
              </a:lnSpc>
              <a:spcBef>
                <a:spcPts val="295"/>
              </a:spcBef>
            </a:pPr>
            <a:r>
              <a:rPr sz="800" spc="-5" dirty="0">
                <a:solidFill>
                  <a:srgbClr val="231F20"/>
                </a:solidFill>
                <a:latin typeface="Century Gothic"/>
                <a:cs typeface="Century Gothic"/>
              </a:rPr>
              <a:t>EPR</a:t>
            </a:r>
            <a:r>
              <a:rPr sz="800" spc="20" dirty="0">
                <a:solidFill>
                  <a:srgbClr val="231F20"/>
                </a:solidFill>
                <a:latin typeface="Century Gothic"/>
                <a:cs typeface="Century Gothic"/>
              </a:rPr>
              <a:t> </a:t>
            </a:r>
            <a:r>
              <a:rPr sz="800" dirty="0">
                <a:solidFill>
                  <a:srgbClr val="231F20"/>
                </a:solidFill>
                <a:latin typeface="Century Gothic"/>
                <a:cs typeface="Century Gothic"/>
              </a:rPr>
              <a:t>Flamanville</a:t>
            </a:r>
            <a:r>
              <a:rPr sz="800" spc="15" dirty="0">
                <a:solidFill>
                  <a:srgbClr val="231F20"/>
                </a:solidFill>
                <a:latin typeface="Century Gothic"/>
                <a:cs typeface="Century Gothic"/>
              </a:rPr>
              <a:t> </a:t>
            </a:r>
            <a:r>
              <a:rPr sz="800" spc="-5" dirty="0">
                <a:solidFill>
                  <a:srgbClr val="231F20"/>
                </a:solidFill>
                <a:latin typeface="Century Gothic"/>
                <a:cs typeface="Century Gothic"/>
              </a:rPr>
              <a:t>(France),</a:t>
            </a:r>
            <a:r>
              <a:rPr sz="800" spc="20" dirty="0">
                <a:solidFill>
                  <a:srgbClr val="231F20"/>
                </a:solidFill>
                <a:latin typeface="Century Gothic"/>
                <a:cs typeface="Century Gothic"/>
              </a:rPr>
              <a:t> </a:t>
            </a:r>
            <a:r>
              <a:rPr sz="800" spc="-5" dirty="0">
                <a:solidFill>
                  <a:srgbClr val="231F20"/>
                </a:solidFill>
                <a:latin typeface="Century Gothic"/>
                <a:cs typeface="Century Gothic"/>
              </a:rPr>
              <a:t>EPR</a:t>
            </a:r>
            <a:r>
              <a:rPr sz="800" spc="20" dirty="0">
                <a:solidFill>
                  <a:srgbClr val="231F20"/>
                </a:solidFill>
                <a:latin typeface="Century Gothic"/>
                <a:cs typeface="Century Gothic"/>
              </a:rPr>
              <a:t> </a:t>
            </a:r>
            <a:r>
              <a:rPr sz="800" spc="-5" dirty="0">
                <a:solidFill>
                  <a:srgbClr val="231F20"/>
                </a:solidFill>
                <a:latin typeface="Century Gothic"/>
                <a:cs typeface="Century Gothic"/>
              </a:rPr>
              <a:t>HPC</a:t>
            </a:r>
            <a:r>
              <a:rPr sz="800" spc="20" dirty="0">
                <a:solidFill>
                  <a:srgbClr val="231F20"/>
                </a:solidFill>
                <a:latin typeface="Century Gothic"/>
                <a:cs typeface="Century Gothic"/>
              </a:rPr>
              <a:t> </a:t>
            </a:r>
            <a:r>
              <a:rPr sz="800" spc="-5" dirty="0">
                <a:solidFill>
                  <a:srgbClr val="231F20"/>
                </a:solidFill>
                <a:latin typeface="Century Gothic"/>
                <a:cs typeface="Century Gothic"/>
              </a:rPr>
              <a:t>(UK),</a:t>
            </a:r>
            <a:r>
              <a:rPr sz="800" spc="20" dirty="0">
                <a:solidFill>
                  <a:srgbClr val="231F20"/>
                </a:solidFill>
                <a:latin typeface="Century Gothic"/>
                <a:cs typeface="Century Gothic"/>
              </a:rPr>
              <a:t> </a:t>
            </a:r>
            <a:r>
              <a:rPr sz="800" spc="-5" dirty="0">
                <a:solidFill>
                  <a:srgbClr val="231F20"/>
                </a:solidFill>
                <a:latin typeface="Century Gothic"/>
                <a:cs typeface="Century Gothic"/>
              </a:rPr>
              <a:t>ITER,</a:t>
            </a:r>
            <a:r>
              <a:rPr sz="800" spc="20" dirty="0">
                <a:solidFill>
                  <a:srgbClr val="231F20"/>
                </a:solidFill>
                <a:latin typeface="Century Gothic"/>
                <a:cs typeface="Century Gothic"/>
              </a:rPr>
              <a:t> </a:t>
            </a:r>
            <a:r>
              <a:rPr sz="800" dirty="0">
                <a:solidFill>
                  <a:srgbClr val="231F20"/>
                </a:solidFill>
                <a:latin typeface="Century Gothic"/>
                <a:cs typeface="Century Gothic"/>
              </a:rPr>
              <a:t>Jules</a:t>
            </a:r>
            <a:r>
              <a:rPr sz="800" spc="15" dirty="0">
                <a:solidFill>
                  <a:srgbClr val="231F20"/>
                </a:solidFill>
                <a:latin typeface="Century Gothic"/>
                <a:cs typeface="Century Gothic"/>
              </a:rPr>
              <a:t> </a:t>
            </a:r>
            <a:r>
              <a:rPr sz="800" spc="-5" dirty="0">
                <a:solidFill>
                  <a:srgbClr val="231F20"/>
                </a:solidFill>
                <a:latin typeface="Century Gothic"/>
                <a:cs typeface="Century Gothic"/>
              </a:rPr>
              <a:t>Horowitz </a:t>
            </a:r>
            <a:r>
              <a:rPr sz="800" spc="-210" dirty="0">
                <a:solidFill>
                  <a:srgbClr val="231F20"/>
                </a:solidFill>
                <a:latin typeface="Century Gothic"/>
                <a:cs typeface="Century Gothic"/>
              </a:rPr>
              <a:t> </a:t>
            </a:r>
            <a:r>
              <a:rPr sz="800" dirty="0">
                <a:solidFill>
                  <a:srgbClr val="231F20"/>
                </a:solidFill>
                <a:latin typeface="Century Gothic"/>
                <a:cs typeface="Century Gothic"/>
              </a:rPr>
              <a:t>research</a:t>
            </a:r>
            <a:r>
              <a:rPr sz="800" spc="-5" dirty="0">
                <a:solidFill>
                  <a:srgbClr val="231F20"/>
                </a:solidFill>
                <a:latin typeface="Century Gothic"/>
                <a:cs typeface="Century Gothic"/>
              </a:rPr>
              <a:t> </a:t>
            </a:r>
            <a:r>
              <a:rPr sz="800" dirty="0">
                <a:solidFill>
                  <a:srgbClr val="231F20"/>
                </a:solidFill>
                <a:latin typeface="Century Gothic"/>
                <a:cs typeface="Century Gothic"/>
              </a:rPr>
              <a:t>reactor </a:t>
            </a:r>
            <a:r>
              <a:rPr sz="800" spc="-5" dirty="0">
                <a:solidFill>
                  <a:srgbClr val="231F20"/>
                </a:solidFill>
                <a:latin typeface="Century Gothic"/>
                <a:cs typeface="Century Gothic"/>
              </a:rPr>
              <a:t>(France)</a:t>
            </a:r>
            <a:endParaRPr sz="800">
              <a:latin typeface="Century Gothic"/>
              <a:cs typeface="Century Gothic"/>
            </a:endParaRPr>
          </a:p>
        </p:txBody>
      </p:sp>
      <p:sp>
        <p:nvSpPr>
          <p:cNvPr id="41" name="object 41"/>
          <p:cNvSpPr txBox="1"/>
          <p:nvPr/>
        </p:nvSpPr>
        <p:spPr>
          <a:xfrm>
            <a:off x="2309300" y="335942"/>
            <a:ext cx="985519" cy="662305"/>
          </a:xfrm>
          <a:prstGeom prst="rect">
            <a:avLst/>
          </a:prstGeom>
        </p:spPr>
        <p:txBody>
          <a:bodyPr vert="horz" wrap="square" lIns="0" tIns="17780" rIns="0" bIns="0" rtlCol="0">
            <a:spAutoFit/>
          </a:bodyPr>
          <a:lstStyle/>
          <a:p>
            <a:pPr marL="12700">
              <a:lnSpc>
                <a:spcPct val="100000"/>
              </a:lnSpc>
              <a:spcBef>
                <a:spcPts val="140"/>
              </a:spcBef>
            </a:pPr>
            <a:r>
              <a:rPr sz="700" dirty="0">
                <a:solidFill>
                  <a:srgbClr val="FFFFFF"/>
                </a:solidFill>
                <a:latin typeface="Century Gothic"/>
                <a:cs typeface="Century Gothic"/>
              </a:rPr>
              <a:t>Annual</a:t>
            </a:r>
            <a:r>
              <a:rPr sz="700" spc="-50" dirty="0">
                <a:solidFill>
                  <a:srgbClr val="FFFFFF"/>
                </a:solidFill>
                <a:latin typeface="Century Gothic"/>
                <a:cs typeface="Century Gothic"/>
              </a:rPr>
              <a:t> </a:t>
            </a:r>
            <a:r>
              <a:rPr sz="700" dirty="0">
                <a:solidFill>
                  <a:srgbClr val="FFFFFF"/>
                </a:solidFill>
                <a:latin typeface="Century Gothic"/>
                <a:cs typeface="Century Gothic"/>
              </a:rPr>
              <a:t>turnover</a:t>
            </a:r>
            <a:endParaRPr sz="700">
              <a:latin typeface="Century Gothic"/>
              <a:cs typeface="Century Gothic"/>
            </a:endParaRPr>
          </a:p>
          <a:p>
            <a:pPr marL="12700">
              <a:lnSpc>
                <a:spcPct val="100000"/>
              </a:lnSpc>
              <a:spcBef>
                <a:spcPts val="60"/>
              </a:spcBef>
            </a:pPr>
            <a:r>
              <a:rPr sz="1000" b="1" spc="-5" dirty="0">
                <a:solidFill>
                  <a:srgbClr val="FFFFFF"/>
                </a:solidFill>
                <a:latin typeface="Century Gothic"/>
                <a:cs typeface="Century Gothic"/>
              </a:rPr>
              <a:t>100</a:t>
            </a:r>
            <a:r>
              <a:rPr sz="1000" b="1" spc="-45" dirty="0">
                <a:solidFill>
                  <a:srgbClr val="FFFFFF"/>
                </a:solidFill>
                <a:latin typeface="Century Gothic"/>
                <a:cs typeface="Century Gothic"/>
              </a:rPr>
              <a:t> </a:t>
            </a:r>
            <a:r>
              <a:rPr sz="1000" b="1" dirty="0">
                <a:solidFill>
                  <a:srgbClr val="FFFFFF"/>
                </a:solidFill>
                <a:latin typeface="Century Gothic"/>
                <a:cs typeface="Century Gothic"/>
              </a:rPr>
              <a:t>M€</a:t>
            </a:r>
            <a:endParaRPr sz="1000">
              <a:latin typeface="Century Gothic"/>
              <a:cs typeface="Century Gothic"/>
            </a:endParaRPr>
          </a:p>
          <a:p>
            <a:pPr marL="12700">
              <a:lnSpc>
                <a:spcPct val="100000"/>
              </a:lnSpc>
              <a:spcBef>
                <a:spcPts val="775"/>
              </a:spcBef>
            </a:pPr>
            <a:r>
              <a:rPr sz="700" dirty="0">
                <a:solidFill>
                  <a:srgbClr val="FFFFFF"/>
                </a:solidFill>
                <a:latin typeface="Century Gothic"/>
                <a:cs typeface="Century Gothic"/>
              </a:rPr>
              <a:t>Number</a:t>
            </a:r>
            <a:r>
              <a:rPr sz="700" spc="-40" dirty="0">
                <a:solidFill>
                  <a:srgbClr val="FFFFFF"/>
                </a:solidFill>
                <a:latin typeface="Century Gothic"/>
                <a:cs typeface="Century Gothic"/>
              </a:rPr>
              <a:t> </a:t>
            </a:r>
            <a:r>
              <a:rPr sz="700" dirty="0">
                <a:solidFill>
                  <a:srgbClr val="FFFFFF"/>
                </a:solidFill>
                <a:latin typeface="Century Gothic"/>
                <a:cs typeface="Century Gothic"/>
              </a:rPr>
              <a:t>of</a:t>
            </a:r>
            <a:r>
              <a:rPr sz="700" spc="-40" dirty="0">
                <a:solidFill>
                  <a:srgbClr val="FFFFFF"/>
                </a:solidFill>
                <a:latin typeface="Century Gothic"/>
                <a:cs typeface="Century Gothic"/>
              </a:rPr>
              <a:t> </a:t>
            </a:r>
            <a:r>
              <a:rPr sz="700" dirty="0">
                <a:solidFill>
                  <a:srgbClr val="FFFFFF"/>
                </a:solidFill>
                <a:latin typeface="Century Gothic"/>
                <a:cs typeface="Century Gothic"/>
              </a:rPr>
              <a:t>employees</a:t>
            </a:r>
            <a:endParaRPr sz="700">
              <a:latin typeface="Century Gothic"/>
              <a:cs typeface="Century Gothic"/>
            </a:endParaRPr>
          </a:p>
          <a:p>
            <a:pPr marL="12700">
              <a:lnSpc>
                <a:spcPct val="100000"/>
              </a:lnSpc>
              <a:spcBef>
                <a:spcPts val="60"/>
              </a:spcBef>
            </a:pPr>
            <a:r>
              <a:rPr sz="1000" b="1" spc="-5" dirty="0">
                <a:solidFill>
                  <a:srgbClr val="FFFFFF"/>
                </a:solidFill>
                <a:latin typeface="Century Gothic"/>
                <a:cs typeface="Century Gothic"/>
              </a:rPr>
              <a:t>1,000</a:t>
            </a:r>
            <a:endParaRPr sz="1000">
              <a:latin typeface="Century Gothic"/>
              <a:cs typeface="Century Gothic"/>
            </a:endParaRPr>
          </a:p>
        </p:txBody>
      </p:sp>
      <p:sp>
        <p:nvSpPr>
          <p:cNvPr id="42" name="object 42"/>
          <p:cNvSpPr txBox="1"/>
          <p:nvPr/>
        </p:nvSpPr>
        <p:spPr>
          <a:xfrm>
            <a:off x="2309300" y="1122901"/>
            <a:ext cx="180340" cy="147320"/>
          </a:xfrm>
          <a:prstGeom prst="rect">
            <a:avLst/>
          </a:prstGeom>
        </p:spPr>
        <p:txBody>
          <a:bodyPr vert="horz" wrap="square" lIns="0" tIns="12700" rIns="0" bIns="0" rtlCol="0">
            <a:spAutoFit/>
          </a:bodyPr>
          <a:lstStyle/>
          <a:p>
            <a:pPr marL="12700">
              <a:lnSpc>
                <a:spcPct val="100000"/>
              </a:lnSpc>
              <a:spcBef>
                <a:spcPts val="100"/>
              </a:spcBef>
            </a:pPr>
            <a:r>
              <a:rPr sz="800" b="1" dirty="0">
                <a:solidFill>
                  <a:srgbClr val="FFFFFF"/>
                </a:solidFill>
                <a:latin typeface="Century Gothic"/>
                <a:cs typeface="Century Gothic"/>
              </a:rPr>
              <a:t>NC</a:t>
            </a:r>
            <a:endParaRPr sz="800">
              <a:latin typeface="Century Gothic"/>
              <a:cs typeface="Century Gothic"/>
            </a:endParaRPr>
          </a:p>
        </p:txBody>
      </p:sp>
      <p:sp>
        <p:nvSpPr>
          <p:cNvPr id="43" name="object 43"/>
          <p:cNvSpPr txBox="1"/>
          <p:nvPr/>
        </p:nvSpPr>
        <p:spPr>
          <a:xfrm>
            <a:off x="4167767" y="366895"/>
            <a:ext cx="1346835" cy="252095"/>
          </a:xfrm>
          <a:prstGeom prst="rect">
            <a:avLst/>
          </a:prstGeom>
        </p:spPr>
        <p:txBody>
          <a:bodyPr vert="horz" wrap="square" lIns="0" tIns="12700" rIns="0" bIns="0" rtlCol="0">
            <a:spAutoFit/>
          </a:bodyPr>
          <a:lstStyle/>
          <a:p>
            <a:pPr marL="12700">
              <a:lnSpc>
                <a:spcPts val="950"/>
              </a:lnSpc>
              <a:spcBef>
                <a:spcPts val="100"/>
              </a:spcBef>
            </a:pPr>
            <a:r>
              <a:rPr sz="800" b="1" dirty="0">
                <a:solidFill>
                  <a:srgbClr val="FFFFFF"/>
                </a:solidFill>
                <a:latin typeface="Century Gothic"/>
                <a:cs typeface="Century Gothic"/>
              </a:rPr>
              <a:t>Amaury</a:t>
            </a:r>
            <a:r>
              <a:rPr sz="800" b="1" spc="-50" dirty="0">
                <a:solidFill>
                  <a:srgbClr val="FFFFFF"/>
                </a:solidFill>
                <a:latin typeface="Century Gothic"/>
                <a:cs typeface="Century Gothic"/>
              </a:rPr>
              <a:t> </a:t>
            </a:r>
            <a:r>
              <a:rPr sz="800" b="1" dirty="0">
                <a:solidFill>
                  <a:srgbClr val="FFFFFF"/>
                </a:solidFill>
                <a:latin typeface="Century Gothic"/>
                <a:cs typeface="Century Gothic"/>
              </a:rPr>
              <a:t>CHAROY</a:t>
            </a:r>
            <a:endParaRPr sz="800">
              <a:latin typeface="Century Gothic"/>
              <a:cs typeface="Century Gothic"/>
            </a:endParaRPr>
          </a:p>
          <a:p>
            <a:pPr marL="12700">
              <a:lnSpc>
                <a:spcPts val="830"/>
              </a:lnSpc>
            </a:pPr>
            <a:r>
              <a:rPr sz="700" spc="-5" dirty="0">
                <a:solidFill>
                  <a:srgbClr val="FFFFFF"/>
                </a:solidFill>
                <a:latin typeface="Century Gothic"/>
                <a:cs typeface="Century Gothic"/>
              </a:rPr>
              <a:t>Business</a:t>
            </a:r>
            <a:r>
              <a:rPr sz="700" spc="-35" dirty="0">
                <a:solidFill>
                  <a:srgbClr val="FFFFFF"/>
                </a:solidFill>
                <a:latin typeface="Century Gothic"/>
                <a:cs typeface="Century Gothic"/>
              </a:rPr>
              <a:t> </a:t>
            </a:r>
            <a:r>
              <a:rPr sz="700" spc="-5" dirty="0">
                <a:solidFill>
                  <a:srgbClr val="FFFFFF"/>
                </a:solidFill>
                <a:latin typeface="Century Gothic"/>
                <a:cs typeface="Century Gothic"/>
              </a:rPr>
              <a:t>Development</a:t>
            </a:r>
            <a:r>
              <a:rPr sz="700" spc="-35" dirty="0">
                <a:solidFill>
                  <a:srgbClr val="FFFFFF"/>
                </a:solidFill>
                <a:latin typeface="Century Gothic"/>
                <a:cs typeface="Century Gothic"/>
              </a:rPr>
              <a:t> </a:t>
            </a:r>
            <a:r>
              <a:rPr sz="700" spc="-5" dirty="0">
                <a:solidFill>
                  <a:srgbClr val="FFFFFF"/>
                </a:solidFill>
                <a:latin typeface="Century Gothic"/>
                <a:cs typeface="Century Gothic"/>
              </a:rPr>
              <a:t>Director</a:t>
            </a:r>
            <a:endParaRPr sz="700">
              <a:latin typeface="Century Gothic"/>
              <a:cs typeface="Century Gothic"/>
            </a:endParaRPr>
          </a:p>
        </p:txBody>
      </p:sp>
      <p:sp>
        <p:nvSpPr>
          <p:cNvPr id="44" name="object 44"/>
          <p:cNvSpPr txBox="1"/>
          <p:nvPr/>
        </p:nvSpPr>
        <p:spPr>
          <a:xfrm>
            <a:off x="2383483" y="1826724"/>
            <a:ext cx="993775" cy="177800"/>
          </a:xfrm>
          <a:prstGeom prst="rect">
            <a:avLst/>
          </a:prstGeom>
        </p:spPr>
        <p:txBody>
          <a:bodyPr vert="horz" wrap="square" lIns="0" tIns="12700" rIns="0" bIns="0" rtlCol="0">
            <a:spAutoFit/>
          </a:bodyPr>
          <a:lstStyle/>
          <a:p>
            <a:pPr marL="12700">
              <a:lnSpc>
                <a:spcPct val="100000"/>
              </a:lnSpc>
              <a:spcBef>
                <a:spcPts val="100"/>
              </a:spcBef>
            </a:pPr>
            <a:r>
              <a:rPr sz="1000" b="1" dirty="0">
                <a:solidFill>
                  <a:srgbClr val="FFFFFF"/>
                </a:solidFill>
                <a:latin typeface="Century Gothic"/>
                <a:cs typeface="Century Gothic"/>
              </a:rPr>
              <a:t>NUCLEAR</a:t>
            </a:r>
            <a:r>
              <a:rPr sz="1000" b="1" spc="-70" dirty="0">
                <a:solidFill>
                  <a:srgbClr val="FFFFFF"/>
                </a:solidFill>
                <a:latin typeface="Century Gothic"/>
                <a:cs typeface="Century Gothic"/>
              </a:rPr>
              <a:t> </a:t>
            </a:r>
            <a:r>
              <a:rPr sz="1000" b="1" spc="-5" dirty="0">
                <a:solidFill>
                  <a:srgbClr val="FFFFFF"/>
                </a:solidFill>
                <a:latin typeface="Century Gothic"/>
                <a:cs typeface="Century Gothic"/>
              </a:rPr>
              <a:t>HVAC</a:t>
            </a:r>
            <a:endParaRPr sz="1000">
              <a:latin typeface="Century Gothic"/>
              <a:cs typeface="Century Gothic"/>
            </a:endParaRPr>
          </a:p>
        </p:txBody>
      </p:sp>
      <p:sp>
        <p:nvSpPr>
          <p:cNvPr id="54" name="object 54"/>
          <p:cNvSpPr txBox="1"/>
          <p:nvPr/>
        </p:nvSpPr>
        <p:spPr>
          <a:xfrm>
            <a:off x="4166299" y="1157237"/>
            <a:ext cx="1225550" cy="132080"/>
          </a:xfrm>
          <a:prstGeom prst="rect">
            <a:avLst/>
          </a:prstGeom>
        </p:spPr>
        <p:txBody>
          <a:bodyPr vert="horz" wrap="square" lIns="0" tIns="12700" rIns="0" bIns="0" rtlCol="0">
            <a:spAutoFit/>
          </a:bodyPr>
          <a:lstStyle/>
          <a:p>
            <a:pPr marL="12700">
              <a:lnSpc>
                <a:spcPct val="100000"/>
              </a:lnSpc>
              <a:spcBef>
                <a:spcPts val="100"/>
              </a:spcBef>
            </a:pPr>
            <a:r>
              <a:rPr sz="700" b="1" u="sng" spc="-5" dirty="0">
                <a:solidFill>
                  <a:srgbClr val="FFFFFF"/>
                </a:solidFill>
                <a:uFill>
                  <a:solidFill>
                    <a:srgbClr val="FFFFFF"/>
                  </a:solidFill>
                </a:uFill>
                <a:latin typeface="Century Gothic"/>
                <a:cs typeface="Century Gothic"/>
                <a:hlinkClick r:id="rId4"/>
              </a:rPr>
              <a:t>amaury.charoy@engie.com</a:t>
            </a:r>
            <a:endParaRPr sz="700">
              <a:latin typeface="Century Gothic"/>
              <a:cs typeface="Century Gothic"/>
            </a:endParaRPr>
          </a:p>
        </p:txBody>
      </p:sp>
      <p:sp>
        <p:nvSpPr>
          <p:cNvPr id="55" name="object 55"/>
          <p:cNvSpPr txBox="1"/>
          <p:nvPr/>
        </p:nvSpPr>
        <p:spPr>
          <a:xfrm>
            <a:off x="4163277" y="808305"/>
            <a:ext cx="744220" cy="132080"/>
          </a:xfrm>
          <a:prstGeom prst="rect">
            <a:avLst/>
          </a:prstGeom>
        </p:spPr>
        <p:txBody>
          <a:bodyPr vert="horz" wrap="square" lIns="0" tIns="12700" rIns="0" bIns="0" rtlCol="0">
            <a:spAutoFit/>
          </a:bodyPr>
          <a:lstStyle/>
          <a:p>
            <a:pPr marL="12700">
              <a:lnSpc>
                <a:spcPct val="100000"/>
              </a:lnSpc>
              <a:spcBef>
                <a:spcPts val="100"/>
              </a:spcBef>
            </a:pPr>
            <a:r>
              <a:rPr sz="700" dirty="0">
                <a:solidFill>
                  <a:srgbClr val="FFFFFF"/>
                </a:solidFill>
                <a:latin typeface="Century Gothic"/>
                <a:cs typeface="Century Gothic"/>
              </a:rPr>
              <a:t>+33</a:t>
            </a:r>
            <a:r>
              <a:rPr sz="700" spc="-20" dirty="0">
                <a:solidFill>
                  <a:srgbClr val="FFFFFF"/>
                </a:solidFill>
                <a:latin typeface="Century Gothic"/>
                <a:cs typeface="Century Gothic"/>
              </a:rPr>
              <a:t> </a:t>
            </a:r>
            <a:r>
              <a:rPr sz="700" dirty="0">
                <a:solidFill>
                  <a:srgbClr val="FFFFFF"/>
                </a:solidFill>
                <a:latin typeface="Century Gothic"/>
                <a:cs typeface="Century Gothic"/>
              </a:rPr>
              <a:t>6</a:t>
            </a:r>
            <a:r>
              <a:rPr sz="700" spc="-15" dirty="0">
                <a:solidFill>
                  <a:srgbClr val="FFFFFF"/>
                </a:solidFill>
                <a:latin typeface="Century Gothic"/>
                <a:cs typeface="Century Gothic"/>
              </a:rPr>
              <a:t> </a:t>
            </a:r>
            <a:r>
              <a:rPr sz="700" spc="-5" dirty="0">
                <a:solidFill>
                  <a:srgbClr val="FFFFFF"/>
                </a:solidFill>
                <a:latin typeface="Century Gothic"/>
                <a:cs typeface="Century Gothic"/>
              </a:rPr>
              <a:t>40</a:t>
            </a:r>
            <a:r>
              <a:rPr sz="700" spc="-20" dirty="0">
                <a:solidFill>
                  <a:srgbClr val="FFFFFF"/>
                </a:solidFill>
                <a:latin typeface="Century Gothic"/>
                <a:cs typeface="Century Gothic"/>
              </a:rPr>
              <a:t> </a:t>
            </a:r>
            <a:r>
              <a:rPr sz="700" spc="-5" dirty="0">
                <a:solidFill>
                  <a:srgbClr val="FFFFFF"/>
                </a:solidFill>
                <a:latin typeface="Century Gothic"/>
                <a:cs typeface="Century Gothic"/>
              </a:rPr>
              <a:t>56</a:t>
            </a:r>
            <a:r>
              <a:rPr sz="700" spc="-20" dirty="0">
                <a:solidFill>
                  <a:srgbClr val="FFFFFF"/>
                </a:solidFill>
                <a:latin typeface="Century Gothic"/>
                <a:cs typeface="Century Gothic"/>
              </a:rPr>
              <a:t> </a:t>
            </a:r>
            <a:r>
              <a:rPr sz="700" spc="-5" dirty="0">
                <a:solidFill>
                  <a:srgbClr val="FFFFFF"/>
                </a:solidFill>
                <a:latin typeface="Century Gothic"/>
                <a:cs typeface="Century Gothic"/>
              </a:rPr>
              <a:t>60</a:t>
            </a:r>
            <a:r>
              <a:rPr sz="700" spc="-20" dirty="0">
                <a:solidFill>
                  <a:srgbClr val="FFFFFF"/>
                </a:solidFill>
                <a:latin typeface="Century Gothic"/>
                <a:cs typeface="Century Gothic"/>
              </a:rPr>
              <a:t> </a:t>
            </a:r>
            <a:r>
              <a:rPr sz="700" spc="-5" dirty="0">
                <a:solidFill>
                  <a:srgbClr val="FFFFFF"/>
                </a:solidFill>
                <a:latin typeface="Century Gothic"/>
                <a:cs typeface="Century Gothic"/>
              </a:rPr>
              <a:t>41</a:t>
            </a:r>
            <a:endParaRPr sz="700">
              <a:latin typeface="Century Gothic"/>
              <a:cs typeface="Century Gothic"/>
            </a:endParaRPr>
          </a:p>
        </p:txBody>
      </p:sp>
      <p:pic>
        <p:nvPicPr>
          <p:cNvPr id="56" name="object 56"/>
          <p:cNvPicPr/>
          <p:nvPr/>
        </p:nvPicPr>
        <p:blipFill>
          <a:blip r:embed="rId5" cstate="print"/>
          <a:stretch>
            <a:fillRect/>
          </a:stretch>
        </p:blipFill>
        <p:spPr>
          <a:xfrm>
            <a:off x="184505" y="409333"/>
            <a:ext cx="1574990" cy="571665"/>
          </a:xfrm>
          <a:prstGeom prst="rect">
            <a:avLst/>
          </a:prstGeom>
        </p:spPr>
      </p:pic>
      <p:sp>
        <p:nvSpPr>
          <p:cNvPr id="57" name="object 57"/>
          <p:cNvSpPr txBox="1"/>
          <p:nvPr/>
        </p:nvSpPr>
        <p:spPr>
          <a:xfrm>
            <a:off x="167299" y="145075"/>
            <a:ext cx="696595" cy="132080"/>
          </a:xfrm>
          <a:prstGeom prst="rect">
            <a:avLst/>
          </a:prstGeom>
        </p:spPr>
        <p:txBody>
          <a:bodyPr vert="horz" wrap="square" lIns="0" tIns="12700" rIns="0" bIns="0" rtlCol="0">
            <a:spAutoFit/>
          </a:bodyPr>
          <a:lstStyle/>
          <a:p>
            <a:pPr marL="12700">
              <a:lnSpc>
                <a:spcPct val="100000"/>
              </a:lnSpc>
              <a:spcBef>
                <a:spcPts val="100"/>
              </a:spcBef>
            </a:pPr>
            <a:r>
              <a:rPr sz="700" spc="-5" dirty="0">
                <a:solidFill>
                  <a:srgbClr val="6C92A8"/>
                </a:solidFill>
                <a:latin typeface="Century Gothic"/>
                <a:cs typeface="Century Gothic"/>
              </a:rPr>
              <a:t>EQUAN</a:t>
            </a:r>
            <a:r>
              <a:rPr sz="700" dirty="0">
                <a:solidFill>
                  <a:srgbClr val="6C92A8"/>
                </a:solidFill>
                <a:latin typeface="Century Gothic"/>
                <a:cs typeface="Century Gothic"/>
              </a:rPr>
              <a:t>S</a:t>
            </a:r>
            <a:r>
              <a:rPr sz="700" spc="-5" dirty="0">
                <a:solidFill>
                  <a:srgbClr val="6C92A8"/>
                </a:solidFill>
                <a:latin typeface="Century Gothic"/>
                <a:cs typeface="Century Gothic"/>
              </a:rPr>
              <a:t> </a:t>
            </a:r>
            <a:r>
              <a:rPr sz="700" dirty="0">
                <a:solidFill>
                  <a:srgbClr val="6C92A8"/>
                </a:solidFill>
                <a:latin typeface="Century Gothic"/>
                <a:cs typeface="Century Gothic"/>
              </a:rPr>
              <a:t>AXIMA</a:t>
            </a:r>
            <a:endParaRPr sz="700">
              <a:latin typeface="Century Gothic"/>
              <a:cs typeface="Century Gothic"/>
            </a:endParaRPr>
          </a:p>
        </p:txBody>
      </p:sp>
      <p:sp>
        <p:nvSpPr>
          <p:cNvPr id="59" name="object 59"/>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rPr dirty="0">
                <a:latin typeface="Century Gothic"/>
                <a:cs typeface="Century Gothic"/>
              </a:rPr>
              <a:t>I</a:t>
            </a:r>
            <a:r>
              <a:rPr spc="395" dirty="0">
                <a:latin typeface="Century Gothic"/>
                <a:cs typeface="Century Gothic"/>
              </a:rPr>
              <a:t> </a:t>
            </a:r>
            <a:fld id="{81D60167-4931-47E6-BA6A-407CBD079E47}" type="slidenum">
              <a:rPr b="1" dirty="0"/>
              <a:t>6</a:t>
            </a:fld>
            <a:r>
              <a:rPr b="1" spc="395" dirty="0"/>
              <a:t> </a:t>
            </a:r>
            <a:r>
              <a:rPr dirty="0">
                <a:latin typeface="Century Gothic"/>
                <a:cs typeface="Century Gothic"/>
              </a:rPr>
              <a:t>I</a:t>
            </a:r>
          </a:p>
        </p:txBody>
      </p:sp>
      <p:sp>
        <p:nvSpPr>
          <p:cNvPr id="60" name="object 60"/>
          <p:cNvSpPr txBox="1">
            <a:spLocks noGrp="1"/>
          </p:cNvSpPr>
          <p:nvPr>
            <p:ph type="dt" sz="half" idx="6"/>
          </p:nvPr>
        </p:nvSpPr>
        <p:spPr>
          <a:prstGeom prst="rect">
            <a:avLst/>
          </a:prstGeom>
        </p:spPr>
        <p:txBody>
          <a:bodyPr vert="horz" wrap="square" lIns="0" tIns="12700" rIns="0" bIns="0" rtlCol="0">
            <a:spAutoFit/>
          </a:bodyPr>
          <a:lstStyle/>
          <a:p>
            <a:pPr marL="12700">
              <a:lnSpc>
                <a:spcPct val="100000"/>
              </a:lnSpc>
              <a:spcBef>
                <a:spcPts val="100"/>
              </a:spcBef>
            </a:pPr>
            <a:r>
              <a:rPr dirty="0"/>
              <a:t>THE</a:t>
            </a:r>
            <a:r>
              <a:rPr spc="-30" dirty="0"/>
              <a:t> </a:t>
            </a:r>
            <a:r>
              <a:rPr dirty="0"/>
              <a:t>FRENCH</a:t>
            </a:r>
            <a:r>
              <a:rPr spc="-25" dirty="0"/>
              <a:t> </a:t>
            </a:r>
            <a:r>
              <a:rPr dirty="0"/>
              <a:t>NUCLEAR</a:t>
            </a:r>
            <a:r>
              <a:rPr spc="-30" dirty="0"/>
              <a:t> </a:t>
            </a:r>
            <a:r>
              <a:rPr dirty="0"/>
              <a:t>INDUSTRY</a:t>
            </a:r>
          </a:p>
        </p:txBody>
      </p:sp>
      <p:sp>
        <p:nvSpPr>
          <p:cNvPr id="61" name="object 61"/>
          <p:cNvSpPr txBox="1">
            <a:spLocks noGrp="1"/>
          </p:cNvSpPr>
          <p:nvPr>
            <p:ph type="ftr" sz="quarter" idx="5"/>
          </p:nvPr>
        </p:nvSpPr>
        <p:spPr>
          <a:prstGeom prst="rect">
            <a:avLst/>
          </a:prstGeom>
        </p:spPr>
        <p:txBody>
          <a:bodyPr vert="horz" wrap="square" lIns="0" tIns="12700" rIns="0" bIns="0" rtlCol="0">
            <a:spAutoFit/>
          </a:bodyPr>
          <a:lstStyle/>
          <a:p>
            <a:pPr marL="12700">
              <a:lnSpc>
                <a:spcPct val="100000"/>
              </a:lnSpc>
              <a:spcBef>
                <a:spcPts val="100"/>
              </a:spcBef>
            </a:pPr>
            <a:r>
              <a:rPr dirty="0"/>
              <a:t>Focus</a:t>
            </a:r>
            <a:r>
              <a:rPr spc="-20" dirty="0"/>
              <a:t> </a:t>
            </a:r>
            <a:r>
              <a:rPr dirty="0"/>
              <a:t>on</a:t>
            </a:r>
            <a:r>
              <a:rPr spc="-15" dirty="0"/>
              <a:t> </a:t>
            </a:r>
            <a:r>
              <a:rPr spc="-5" dirty="0"/>
              <a:t>EPR</a:t>
            </a:r>
            <a:r>
              <a:rPr spc="-20" dirty="0"/>
              <a:t> </a:t>
            </a:r>
            <a:r>
              <a:rPr dirty="0"/>
              <a:t>technology</a:t>
            </a:r>
            <a:r>
              <a:rPr spc="-15" dirty="0"/>
              <a:t> </a:t>
            </a:r>
            <a:r>
              <a:rPr dirty="0"/>
              <a:t>for</a:t>
            </a:r>
            <a:r>
              <a:rPr spc="-20" dirty="0"/>
              <a:t> </a:t>
            </a:r>
            <a:r>
              <a:rPr dirty="0"/>
              <a:t>Poland</a:t>
            </a:r>
          </a:p>
        </p:txBody>
      </p:sp>
      <p:sp>
        <p:nvSpPr>
          <p:cNvPr id="58" name="object 58"/>
          <p:cNvSpPr txBox="1"/>
          <p:nvPr/>
        </p:nvSpPr>
        <p:spPr>
          <a:xfrm>
            <a:off x="514605" y="942899"/>
            <a:ext cx="922655" cy="147320"/>
          </a:xfrm>
          <a:prstGeom prst="rect">
            <a:avLst/>
          </a:prstGeom>
        </p:spPr>
        <p:txBody>
          <a:bodyPr vert="horz" wrap="square" lIns="0" tIns="12700" rIns="0" bIns="0" rtlCol="0">
            <a:spAutoFit/>
          </a:bodyPr>
          <a:lstStyle/>
          <a:p>
            <a:pPr marL="12700">
              <a:lnSpc>
                <a:spcPct val="100000"/>
              </a:lnSpc>
              <a:spcBef>
                <a:spcPts val="100"/>
              </a:spcBef>
            </a:pPr>
            <a:r>
              <a:rPr sz="800" dirty="0">
                <a:solidFill>
                  <a:srgbClr val="002136"/>
                </a:solidFill>
                <a:latin typeface="Century Gothic"/>
                <a:cs typeface="Century Gothic"/>
              </a:rPr>
              <a:t>AXIMA NUCLEAIRE</a:t>
            </a:r>
            <a:endParaRPr sz="800">
              <a:latin typeface="Century Gothic"/>
              <a:cs typeface="Century Gothic"/>
            </a:endParaRPr>
          </a:p>
        </p:txBody>
      </p:sp>
      <p:grpSp>
        <p:nvGrpSpPr>
          <p:cNvPr id="62" name="object 44">
            <a:extLst>
              <a:ext uri="{FF2B5EF4-FFF2-40B4-BE49-F238E27FC236}">
                <a16:creationId xmlns:a16="http://schemas.microsoft.com/office/drawing/2014/main" id="{B60630A1-56AD-AEFF-BD40-E013C5400ED2}"/>
              </a:ext>
            </a:extLst>
          </p:cNvPr>
          <p:cNvGrpSpPr/>
          <p:nvPr/>
        </p:nvGrpSpPr>
        <p:grpSpPr>
          <a:xfrm>
            <a:off x="0" y="3265666"/>
            <a:ext cx="483234" cy="289560"/>
            <a:chOff x="194101" y="5028030"/>
            <a:chExt cx="483234" cy="289560"/>
          </a:xfrm>
        </p:grpSpPr>
        <p:sp>
          <p:nvSpPr>
            <p:cNvPr id="63" name="object 46">
              <a:extLst>
                <a:ext uri="{FF2B5EF4-FFF2-40B4-BE49-F238E27FC236}">
                  <a16:creationId xmlns:a16="http://schemas.microsoft.com/office/drawing/2014/main" id="{51965416-EC1E-7388-E935-355AF6F8D60E}"/>
                </a:ext>
              </a:extLst>
            </p:cNvPr>
            <p:cNvSpPr/>
            <p:nvPr/>
          </p:nvSpPr>
          <p:spPr>
            <a:xfrm>
              <a:off x="194101" y="5028030"/>
              <a:ext cx="483234" cy="289560"/>
            </a:xfrm>
            <a:custGeom>
              <a:avLst/>
              <a:gdLst/>
              <a:ahLst/>
              <a:cxnLst/>
              <a:rect l="l" t="t" r="r" b="b"/>
              <a:pathLst>
                <a:path w="483234" h="289560">
                  <a:moveTo>
                    <a:pt x="446996" y="0"/>
                  </a:moveTo>
                  <a:lnTo>
                    <a:pt x="0" y="0"/>
                  </a:lnTo>
                  <a:lnTo>
                    <a:pt x="0" y="289140"/>
                  </a:lnTo>
                  <a:lnTo>
                    <a:pt x="446996" y="289140"/>
                  </a:lnTo>
                  <a:lnTo>
                    <a:pt x="461012" y="286312"/>
                  </a:lnTo>
                  <a:lnTo>
                    <a:pt x="472457" y="278598"/>
                  </a:lnTo>
                  <a:lnTo>
                    <a:pt x="480172" y="267157"/>
                  </a:lnTo>
                  <a:lnTo>
                    <a:pt x="483001" y="253149"/>
                  </a:lnTo>
                  <a:lnTo>
                    <a:pt x="483001" y="36004"/>
                  </a:lnTo>
                  <a:lnTo>
                    <a:pt x="480172" y="21988"/>
                  </a:lnTo>
                  <a:lnTo>
                    <a:pt x="472457" y="10544"/>
                  </a:lnTo>
                  <a:lnTo>
                    <a:pt x="461012" y="2828"/>
                  </a:lnTo>
                  <a:lnTo>
                    <a:pt x="446996" y="0"/>
                  </a:lnTo>
                  <a:close/>
                </a:path>
              </a:pathLst>
            </a:custGeom>
            <a:solidFill>
              <a:srgbClr val="498B80"/>
            </a:solidFill>
          </p:spPr>
          <p:txBody>
            <a:bodyPr wrap="square" lIns="0" tIns="0" rIns="0" bIns="0" rtlCol="0"/>
            <a:lstStyle/>
            <a:p>
              <a:endParaRPr/>
            </a:p>
          </p:txBody>
        </p:sp>
        <p:pic>
          <p:nvPicPr>
            <p:cNvPr id="64" name="object 47">
              <a:extLst>
                <a:ext uri="{FF2B5EF4-FFF2-40B4-BE49-F238E27FC236}">
                  <a16:creationId xmlns:a16="http://schemas.microsoft.com/office/drawing/2014/main" id="{4E30016D-FE7D-8EF0-5F60-4BF4F94EDF2F}"/>
                </a:ext>
              </a:extLst>
            </p:cNvPr>
            <p:cNvPicPr/>
            <p:nvPr/>
          </p:nvPicPr>
          <p:blipFill>
            <a:blip r:embed="rId6" cstate="print"/>
            <a:stretch>
              <a:fillRect/>
            </a:stretch>
          </p:blipFill>
          <p:spPr>
            <a:xfrm>
              <a:off x="320566" y="5064429"/>
              <a:ext cx="252528" cy="168286"/>
            </a:xfrm>
            <a:prstGeom prst="rect">
              <a:avLst/>
            </a:prstGeom>
          </p:spPr>
        </p:pic>
      </p:grpSp>
      <p:grpSp>
        <p:nvGrpSpPr>
          <p:cNvPr id="65" name="object 54">
            <a:extLst>
              <a:ext uri="{FF2B5EF4-FFF2-40B4-BE49-F238E27FC236}">
                <a16:creationId xmlns:a16="http://schemas.microsoft.com/office/drawing/2014/main" id="{82A27CE9-9865-6A18-6FBF-FD89FEBECCCC}"/>
              </a:ext>
            </a:extLst>
          </p:cNvPr>
          <p:cNvGrpSpPr/>
          <p:nvPr/>
        </p:nvGrpSpPr>
        <p:grpSpPr>
          <a:xfrm>
            <a:off x="91879" y="5057743"/>
            <a:ext cx="483234" cy="289560"/>
            <a:chOff x="-96562" y="5136940"/>
            <a:chExt cx="483234" cy="289560"/>
          </a:xfrm>
        </p:grpSpPr>
        <p:sp>
          <p:nvSpPr>
            <p:cNvPr id="66" name="object 56">
              <a:extLst>
                <a:ext uri="{FF2B5EF4-FFF2-40B4-BE49-F238E27FC236}">
                  <a16:creationId xmlns:a16="http://schemas.microsoft.com/office/drawing/2014/main" id="{FFFC9335-B99B-E23A-9168-A1B1B871AF3A}"/>
                </a:ext>
              </a:extLst>
            </p:cNvPr>
            <p:cNvSpPr/>
            <p:nvPr/>
          </p:nvSpPr>
          <p:spPr>
            <a:xfrm>
              <a:off x="-96562" y="5136940"/>
              <a:ext cx="483234" cy="289560"/>
            </a:xfrm>
            <a:custGeom>
              <a:avLst/>
              <a:gdLst/>
              <a:ahLst/>
              <a:cxnLst/>
              <a:rect l="l" t="t" r="r" b="b"/>
              <a:pathLst>
                <a:path w="483234" h="289560">
                  <a:moveTo>
                    <a:pt x="482993" y="36004"/>
                  </a:moveTo>
                  <a:lnTo>
                    <a:pt x="480161" y="21983"/>
                  </a:lnTo>
                  <a:lnTo>
                    <a:pt x="472452" y="10541"/>
                  </a:lnTo>
                  <a:lnTo>
                    <a:pt x="461010" y="2819"/>
                  </a:lnTo>
                  <a:lnTo>
                    <a:pt x="446989" y="0"/>
                  </a:lnTo>
                  <a:lnTo>
                    <a:pt x="122402" y="0"/>
                  </a:lnTo>
                  <a:lnTo>
                    <a:pt x="35991" y="0"/>
                  </a:lnTo>
                  <a:lnTo>
                    <a:pt x="0" y="0"/>
                  </a:lnTo>
                  <a:lnTo>
                    <a:pt x="0" y="36004"/>
                  </a:lnTo>
                  <a:lnTo>
                    <a:pt x="0" y="253149"/>
                  </a:lnTo>
                  <a:lnTo>
                    <a:pt x="0" y="289128"/>
                  </a:lnTo>
                  <a:lnTo>
                    <a:pt x="35928" y="289128"/>
                  </a:lnTo>
                  <a:lnTo>
                    <a:pt x="446989" y="289140"/>
                  </a:lnTo>
                  <a:lnTo>
                    <a:pt x="461010" y="286308"/>
                  </a:lnTo>
                  <a:lnTo>
                    <a:pt x="472452" y="278587"/>
                  </a:lnTo>
                  <a:lnTo>
                    <a:pt x="480161" y="267157"/>
                  </a:lnTo>
                  <a:lnTo>
                    <a:pt x="482993" y="253149"/>
                  </a:lnTo>
                  <a:lnTo>
                    <a:pt x="482993" y="36004"/>
                  </a:lnTo>
                  <a:close/>
                </a:path>
              </a:pathLst>
            </a:custGeom>
            <a:solidFill>
              <a:srgbClr val="498B80"/>
            </a:solidFill>
          </p:spPr>
          <p:txBody>
            <a:bodyPr wrap="square" lIns="0" tIns="0" rIns="0" bIns="0" rtlCol="0"/>
            <a:lstStyle/>
            <a:p>
              <a:endParaRPr/>
            </a:p>
          </p:txBody>
        </p:sp>
        <p:pic>
          <p:nvPicPr>
            <p:cNvPr id="67" name="object 57">
              <a:extLst>
                <a:ext uri="{FF2B5EF4-FFF2-40B4-BE49-F238E27FC236}">
                  <a16:creationId xmlns:a16="http://schemas.microsoft.com/office/drawing/2014/main" id="{C79DB5AD-5443-4455-17DF-1FA20E8800F7}"/>
                </a:ext>
              </a:extLst>
            </p:cNvPr>
            <p:cNvPicPr/>
            <p:nvPr/>
          </p:nvPicPr>
          <p:blipFill>
            <a:blip r:embed="rId7" cstate="print"/>
            <a:stretch>
              <a:fillRect/>
            </a:stretch>
          </p:blipFill>
          <p:spPr>
            <a:xfrm>
              <a:off x="54333" y="5190998"/>
              <a:ext cx="181444" cy="181444"/>
            </a:xfrm>
            <a:prstGeom prst="rect">
              <a:avLst/>
            </a:prstGeom>
          </p:spPr>
        </p:pic>
      </p:grpSp>
      <p:sp>
        <p:nvSpPr>
          <p:cNvPr id="68" name="object 6">
            <a:extLst>
              <a:ext uri="{FF2B5EF4-FFF2-40B4-BE49-F238E27FC236}">
                <a16:creationId xmlns:a16="http://schemas.microsoft.com/office/drawing/2014/main" id="{5949B7B1-20A3-A9A5-2639-205F75E41F01}"/>
              </a:ext>
            </a:extLst>
          </p:cNvPr>
          <p:cNvSpPr/>
          <p:nvPr/>
        </p:nvSpPr>
        <p:spPr>
          <a:xfrm>
            <a:off x="44036" y="2316915"/>
            <a:ext cx="483234" cy="289560"/>
          </a:xfrm>
          <a:custGeom>
            <a:avLst/>
            <a:gdLst/>
            <a:ahLst/>
            <a:cxnLst/>
            <a:rect l="l" t="t" r="r" b="b"/>
            <a:pathLst>
              <a:path w="483234" h="289560">
                <a:moveTo>
                  <a:pt x="446998" y="0"/>
                </a:moveTo>
                <a:lnTo>
                  <a:pt x="0" y="0"/>
                </a:lnTo>
                <a:lnTo>
                  <a:pt x="0" y="289140"/>
                </a:lnTo>
                <a:lnTo>
                  <a:pt x="446998" y="289140"/>
                </a:lnTo>
                <a:lnTo>
                  <a:pt x="461014" y="286312"/>
                </a:lnTo>
                <a:lnTo>
                  <a:pt x="472458" y="278598"/>
                </a:lnTo>
                <a:lnTo>
                  <a:pt x="480173" y="267157"/>
                </a:lnTo>
                <a:lnTo>
                  <a:pt x="483002" y="253149"/>
                </a:lnTo>
                <a:lnTo>
                  <a:pt x="483002" y="36004"/>
                </a:lnTo>
                <a:lnTo>
                  <a:pt x="480173" y="21988"/>
                </a:lnTo>
                <a:lnTo>
                  <a:pt x="472458" y="10544"/>
                </a:lnTo>
                <a:lnTo>
                  <a:pt x="461014" y="2828"/>
                </a:lnTo>
                <a:lnTo>
                  <a:pt x="446998" y="0"/>
                </a:lnTo>
                <a:close/>
              </a:path>
            </a:pathLst>
          </a:custGeom>
          <a:solidFill>
            <a:srgbClr val="488C81"/>
          </a:solidFill>
        </p:spPr>
        <p:txBody>
          <a:bodyPr wrap="square" lIns="0" tIns="0" rIns="0" bIns="0" rtlCol="0"/>
          <a:lstStyle/>
          <a:p>
            <a:endParaRPr/>
          </a:p>
        </p:txBody>
      </p:sp>
      <p:sp>
        <p:nvSpPr>
          <p:cNvPr id="52" name="object 26">
            <a:extLst>
              <a:ext uri="{FF2B5EF4-FFF2-40B4-BE49-F238E27FC236}">
                <a16:creationId xmlns:a16="http://schemas.microsoft.com/office/drawing/2014/main" id="{E62E8EAF-DED0-18F3-7F19-3273770534A0}"/>
              </a:ext>
            </a:extLst>
          </p:cNvPr>
          <p:cNvSpPr txBox="1"/>
          <p:nvPr/>
        </p:nvSpPr>
        <p:spPr>
          <a:xfrm>
            <a:off x="67557" y="2725049"/>
            <a:ext cx="1705610" cy="382156"/>
          </a:xfrm>
          <a:prstGeom prst="rect">
            <a:avLst/>
          </a:prstGeom>
        </p:spPr>
        <p:txBody>
          <a:bodyPr vert="horz" wrap="square" lIns="0" tIns="12700" rIns="0" bIns="0" rtlCol="0">
            <a:spAutoFit/>
          </a:bodyPr>
          <a:lstStyle/>
          <a:p>
            <a:pPr marL="12700">
              <a:lnSpc>
                <a:spcPct val="100000"/>
              </a:lnSpc>
              <a:spcBef>
                <a:spcPts val="100"/>
              </a:spcBef>
              <a:tabLst>
                <a:tab pos="340995" algn="l"/>
                <a:tab pos="727075" algn="l"/>
                <a:tab pos="993140" algn="l"/>
                <a:tab pos="1529715" algn="l"/>
              </a:tabLst>
            </a:pPr>
            <a:r>
              <a:rPr lang="fr-FR" sz="800" dirty="0">
                <a:latin typeface="Century Gothic"/>
                <a:cs typeface="Century Gothic"/>
              </a:rPr>
              <a:t>EQUANS AXIMA </a:t>
            </a:r>
            <a:r>
              <a:rPr lang="fr-FR" sz="800" dirty="0" err="1">
                <a:latin typeface="Century Gothic"/>
                <a:cs typeface="Century Gothic"/>
              </a:rPr>
              <a:t>is</a:t>
            </a:r>
            <a:r>
              <a:rPr lang="fr-FR" sz="800" dirty="0">
                <a:latin typeface="Century Gothic"/>
                <a:cs typeface="Century Gothic"/>
              </a:rPr>
              <a:t> </a:t>
            </a:r>
            <a:r>
              <a:rPr lang="fr-FR" sz="800" dirty="0" err="1">
                <a:latin typeface="Century Gothic"/>
                <a:cs typeface="Century Gothic"/>
              </a:rPr>
              <a:t>already</a:t>
            </a:r>
            <a:r>
              <a:rPr lang="fr-FR" sz="800" dirty="0">
                <a:latin typeface="Century Gothic"/>
                <a:cs typeface="Century Gothic"/>
              </a:rPr>
              <a:t> </a:t>
            </a:r>
            <a:r>
              <a:rPr lang="fr-FR" sz="800" dirty="0" err="1">
                <a:latin typeface="Century Gothic"/>
                <a:cs typeface="Century Gothic"/>
              </a:rPr>
              <a:t>implement</a:t>
            </a:r>
            <a:r>
              <a:rPr lang="fr-FR" sz="800" dirty="0">
                <a:latin typeface="Century Gothic"/>
                <a:cs typeface="Century Gothic"/>
              </a:rPr>
              <a:t> </a:t>
            </a:r>
            <a:r>
              <a:rPr lang="fr-FR" sz="800" dirty="0" err="1">
                <a:latin typeface="Century Gothic"/>
                <a:cs typeface="Century Gothic"/>
              </a:rPr>
              <a:t>iin</a:t>
            </a:r>
            <a:r>
              <a:rPr lang="fr-FR" sz="800" dirty="0">
                <a:latin typeface="Century Gothic"/>
                <a:cs typeface="Century Gothic"/>
              </a:rPr>
              <a:t> the UK </a:t>
            </a:r>
            <a:r>
              <a:rPr lang="fr-FR" sz="800" dirty="0" err="1">
                <a:latin typeface="Century Gothic"/>
                <a:cs typeface="Century Gothic"/>
              </a:rPr>
              <a:t>through</a:t>
            </a:r>
            <a:r>
              <a:rPr lang="fr-FR" sz="800" dirty="0">
                <a:latin typeface="Century Gothic"/>
                <a:cs typeface="Century Gothic"/>
              </a:rPr>
              <a:t> </a:t>
            </a:r>
            <a:r>
              <a:rPr lang="fr-FR" sz="800" dirty="0" err="1">
                <a:latin typeface="Century Gothic"/>
                <a:cs typeface="Century Gothic"/>
              </a:rPr>
              <a:t>its</a:t>
            </a:r>
            <a:r>
              <a:rPr lang="fr-FR" sz="800" dirty="0">
                <a:latin typeface="Century Gothic"/>
                <a:cs typeface="Century Gothic"/>
              </a:rPr>
              <a:t> </a:t>
            </a:r>
            <a:r>
              <a:rPr lang="fr-FR" sz="800" dirty="0" err="1">
                <a:latin typeface="Century Gothic"/>
                <a:cs typeface="Century Gothic"/>
              </a:rPr>
              <a:t>subsidiary</a:t>
            </a:r>
            <a:endParaRPr sz="800" dirty="0">
              <a:latin typeface="Century Gothic"/>
              <a:cs typeface="Century Gothic"/>
            </a:endParaRPr>
          </a:p>
        </p:txBody>
      </p:sp>
      <p:pic>
        <p:nvPicPr>
          <p:cNvPr id="50" name="Picture 4" descr="Flag of the United Kingdom - Wikipedia">
            <a:extLst>
              <a:ext uri="{FF2B5EF4-FFF2-40B4-BE49-F238E27FC236}">
                <a16:creationId xmlns:a16="http://schemas.microsoft.com/office/drawing/2014/main" id="{7A757E1E-7A31-40E2-898E-9B57532B0E4F}"/>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1400" r="14246"/>
          <a:stretch/>
        </p:blipFill>
        <p:spPr bwMode="auto">
          <a:xfrm>
            <a:off x="118666" y="2366841"/>
            <a:ext cx="252000" cy="16945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027299" y="140629"/>
            <a:ext cx="1544955" cy="177800"/>
          </a:xfrm>
          <a:prstGeom prst="rect">
            <a:avLst/>
          </a:prstGeom>
        </p:spPr>
        <p:txBody>
          <a:bodyPr vert="horz" wrap="square" lIns="0" tIns="12700" rIns="0" bIns="0" rtlCol="0">
            <a:spAutoFit/>
          </a:bodyPr>
          <a:lstStyle/>
          <a:p>
            <a:pPr marL="12700">
              <a:lnSpc>
                <a:spcPct val="100000"/>
              </a:lnSpc>
              <a:spcBef>
                <a:spcPts val="100"/>
              </a:spcBef>
            </a:pPr>
            <a:r>
              <a:rPr sz="1000" dirty="0">
                <a:solidFill>
                  <a:srgbClr val="FFFFFF"/>
                </a:solidFill>
                <a:latin typeface="Rafale BG"/>
                <a:cs typeface="Rafale BG"/>
              </a:rPr>
              <a:t>ENTREPRISE INFORM</a:t>
            </a:r>
            <a:r>
              <a:rPr sz="1000" spc="-70" dirty="0">
                <a:solidFill>
                  <a:srgbClr val="FFFFFF"/>
                </a:solidFill>
                <a:latin typeface="Rafale BG"/>
                <a:cs typeface="Rafale BG"/>
              </a:rPr>
              <a:t>A</a:t>
            </a:r>
            <a:r>
              <a:rPr sz="1000" spc="-30" dirty="0">
                <a:solidFill>
                  <a:srgbClr val="FFFFFF"/>
                </a:solidFill>
                <a:latin typeface="Rafale BG"/>
                <a:cs typeface="Rafale BG"/>
              </a:rPr>
              <a:t>T</a:t>
            </a:r>
            <a:r>
              <a:rPr sz="1000" dirty="0">
                <a:solidFill>
                  <a:srgbClr val="FFFFFF"/>
                </a:solidFill>
                <a:latin typeface="Rafale BG"/>
                <a:cs typeface="Rafale BG"/>
              </a:rPr>
              <a:t>ON</a:t>
            </a:r>
            <a:endParaRPr sz="1000">
              <a:latin typeface="Rafale BG"/>
              <a:cs typeface="Rafale BG"/>
            </a:endParaRPr>
          </a:p>
        </p:txBody>
      </p:sp>
      <p:sp>
        <p:nvSpPr>
          <p:cNvPr id="3" name="object 3"/>
          <p:cNvSpPr txBox="1"/>
          <p:nvPr/>
        </p:nvSpPr>
        <p:spPr>
          <a:xfrm>
            <a:off x="3887341" y="140629"/>
            <a:ext cx="593725" cy="177800"/>
          </a:xfrm>
          <a:prstGeom prst="rect">
            <a:avLst/>
          </a:prstGeom>
        </p:spPr>
        <p:txBody>
          <a:bodyPr vert="horz" wrap="square" lIns="0" tIns="12700" rIns="0" bIns="0" rtlCol="0">
            <a:spAutoFit/>
          </a:bodyPr>
          <a:lstStyle/>
          <a:p>
            <a:pPr marL="12700">
              <a:lnSpc>
                <a:spcPct val="100000"/>
              </a:lnSpc>
              <a:spcBef>
                <a:spcPts val="100"/>
              </a:spcBef>
            </a:pPr>
            <a:r>
              <a:rPr sz="1000" spc="-20" dirty="0">
                <a:solidFill>
                  <a:srgbClr val="FFFFFF"/>
                </a:solidFill>
                <a:latin typeface="Rafale BG"/>
                <a:cs typeface="Rafale BG"/>
              </a:rPr>
              <a:t>CONTACT</a:t>
            </a:r>
            <a:endParaRPr sz="1000">
              <a:latin typeface="Rafale BG"/>
              <a:cs typeface="Rafale BG"/>
            </a:endParaRPr>
          </a:p>
        </p:txBody>
      </p:sp>
      <p:grpSp>
        <p:nvGrpSpPr>
          <p:cNvPr id="11" name="object 11"/>
          <p:cNvGrpSpPr/>
          <p:nvPr/>
        </p:nvGrpSpPr>
        <p:grpSpPr>
          <a:xfrm>
            <a:off x="0" y="0"/>
            <a:ext cx="5766435" cy="2035175"/>
            <a:chOff x="0" y="0"/>
            <a:chExt cx="5766435" cy="2035175"/>
          </a:xfrm>
        </p:grpSpPr>
        <p:sp>
          <p:nvSpPr>
            <p:cNvPr id="12" name="object 12"/>
            <p:cNvSpPr/>
            <p:nvPr/>
          </p:nvSpPr>
          <p:spPr>
            <a:xfrm>
              <a:off x="1871865" y="1773948"/>
              <a:ext cx="3888740" cy="12700"/>
            </a:xfrm>
            <a:custGeom>
              <a:avLst/>
              <a:gdLst/>
              <a:ahLst/>
              <a:cxnLst/>
              <a:rect l="l" t="t" r="r" b="b"/>
              <a:pathLst>
                <a:path w="3888740" h="12700">
                  <a:moveTo>
                    <a:pt x="0" y="12700"/>
                  </a:moveTo>
                  <a:lnTo>
                    <a:pt x="3888130" y="12700"/>
                  </a:lnTo>
                  <a:lnTo>
                    <a:pt x="3888130" y="0"/>
                  </a:lnTo>
                  <a:lnTo>
                    <a:pt x="0" y="0"/>
                  </a:lnTo>
                  <a:lnTo>
                    <a:pt x="0" y="12700"/>
                  </a:lnTo>
                  <a:close/>
                </a:path>
              </a:pathLst>
            </a:custGeom>
            <a:solidFill>
              <a:srgbClr val="498B80"/>
            </a:solidFill>
          </p:spPr>
          <p:txBody>
            <a:bodyPr wrap="square" lIns="0" tIns="0" rIns="0" bIns="0" rtlCol="0"/>
            <a:lstStyle/>
            <a:p>
              <a:endParaRPr/>
            </a:p>
          </p:txBody>
        </p:sp>
        <p:sp>
          <p:nvSpPr>
            <p:cNvPr id="13" name="object 13"/>
            <p:cNvSpPr/>
            <p:nvPr/>
          </p:nvSpPr>
          <p:spPr>
            <a:xfrm>
              <a:off x="1871865" y="1773948"/>
              <a:ext cx="3888740" cy="12700"/>
            </a:xfrm>
            <a:custGeom>
              <a:avLst/>
              <a:gdLst/>
              <a:ahLst/>
              <a:cxnLst/>
              <a:rect l="l" t="t" r="r" b="b"/>
              <a:pathLst>
                <a:path w="3888740" h="12700">
                  <a:moveTo>
                    <a:pt x="0" y="12700"/>
                  </a:moveTo>
                  <a:lnTo>
                    <a:pt x="3888130" y="12700"/>
                  </a:lnTo>
                  <a:lnTo>
                    <a:pt x="3888130" y="0"/>
                  </a:lnTo>
                  <a:lnTo>
                    <a:pt x="0" y="0"/>
                  </a:lnTo>
                  <a:lnTo>
                    <a:pt x="0" y="12700"/>
                  </a:lnTo>
                </a:path>
              </a:pathLst>
            </a:custGeom>
            <a:ln w="12700">
              <a:solidFill>
                <a:srgbClr val="001D18"/>
              </a:solidFill>
            </a:ln>
          </p:spPr>
          <p:txBody>
            <a:bodyPr wrap="square" lIns="0" tIns="0" rIns="0" bIns="0" rtlCol="0"/>
            <a:lstStyle/>
            <a:p>
              <a:endParaRPr/>
            </a:p>
          </p:txBody>
        </p:sp>
        <p:sp>
          <p:nvSpPr>
            <p:cNvPr id="14" name="object 14"/>
            <p:cNvSpPr/>
            <p:nvPr/>
          </p:nvSpPr>
          <p:spPr>
            <a:xfrm>
              <a:off x="0" y="0"/>
              <a:ext cx="1943100" cy="1793239"/>
            </a:xfrm>
            <a:custGeom>
              <a:avLst/>
              <a:gdLst/>
              <a:ahLst/>
              <a:cxnLst/>
              <a:rect l="l" t="t" r="r" b="b"/>
              <a:pathLst>
                <a:path w="1943100" h="1793239">
                  <a:moveTo>
                    <a:pt x="1943100" y="0"/>
                  </a:moveTo>
                  <a:lnTo>
                    <a:pt x="25196" y="0"/>
                  </a:lnTo>
                  <a:lnTo>
                    <a:pt x="0" y="0"/>
                  </a:lnTo>
                  <a:lnTo>
                    <a:pt x="0" y="25196"/>
                  </a:lnTo>
                  <a:lnTo>
                    <a:pt x="0" y="1792795"/>
                  </a:lnTo>
                  <a:lnTo>
                    <a:pt x="25196" y="1792795"/>
                  </a:lnTo>
                  <a:lnTo>
                    <a:pt x="25196" y="25196"/>
                  </a:lnTo>
                  <a:lnTo>
                    <a:pt x="1943100" y="25196"/>
                  </a:lnTo>
                  <a:lnTo>
                    <a:pt x="1943100" y="0"/>
                  </a:lnTo>
                  <a:close/>
                </a:path>
              </a:pathLst>
            </a:custGeom>
            <a:solidFill>
              <a:srgbClr val="001D18"/>
            </a:solidFill>
          </p:spPr>
          <p:txBody>
            <a:bodyPr wrap="square" lIns="0" tIns="0" rIns="0" bIns="0" rtlCol="0"/>
            <a:lstStyle/>
            <a:p>
              <a:endParaRPr/>
            </a:p>
          </p:txBody>
        </p:sp>
        <p:sp>
          <p:nvSpPr>
            <p:cNvPr id="15" name="object 15"/>
            <p:cNvSpPr/>
            <p:nvPr/>
          </p:nvSpPr>
          <p:spPr>
            <a:xfrm>
              <a:off x="5443194" y="1791893"/>
              <a:ext cx="316865" cy="243204"/>
            </a:xfrm>
            <a:custGeom>
              <a:avLst/>
              <a:gdLst/>
              <a:ahLst/>
              <a:cxnLst/>
              <a:rect l="l" t="t" r="r" b="b"/>
              <a:pathLst>
                <a:path w="316864" h="243205">
                  <a:moveTo>
                    <a:pt x="0" y="243001"/>
                  </a:moveTo>
                  <a:lnTo>
                    <a:pt x="316801" y="243001"/>
                  </a:lnTo>
                  <a:lnTo>
                    <a:pt x="316801" y="0"/>
                  </a:lnTo>
                  <a:lnTo>
                    <a:pt x="0" y="0"/>
                  </a:lnTo>
                  <a:lnTo>
                    <a:pt x="0" y="243001"/>
                  </a:lnTo>
                  <a:close/>
                </a:path>
              </a:pathLst>
            </a:custGeom>
            <a:solidFill>
              <a:srgbClr val="FFFFFF">
                <a:alpha val="59999"/>
              </a:srgbClr>
            </a:solidFill>
          </p:spPr>
          <p:txBody>
            <a:bodyPr wrap="square" lIns="0" tIns="0" rIns="0" bIns="0" rtlCol="0"/>
            <a:lstStyle/>
            <a:p>
              <a:endParaRPr/>
            </a:p>
          </p:txBody>
        </p:sp>
        <p:sp>
          <p:nvSpPr>
            <p:cNvPr id="16" name="object 16"/>
            <p:cNvSpPr/>
            <p:nvPr/>
          </p:nvSpPr>
          <p:spPr>
            <a:xfrm>
              <a:off x="2823330" y="1787400"/>
              <a:ext cx="113664" cy="57150"/>
            </a:xfrm>
            <a:custGeom>
              <a:avLst/>
              <a:gdLst/>
              <a:ahLst/>
              <a:cxnLst/>
              <a:rect l="l" t="t" r="r" b="b"/>
              <a:pathLst>
                <a:path w="113664" h="57150">
                  <a:moveTo>
                    <a:pt x="113334" y="0"/>
                  </a:moveTo>
                  <a:lnTo>
                    <a:pt x="0" y="0"/>
                  </a:lnTo>
                  <a:lnTo>
                    <a:pt x="56667" y="56667"/>
                  </a:lnTo>
                  <a:lnTo>
                    <a:pt x="113334" y="0"/>
                  </a:lnTo>
                  <a:close/>
                </a:path>
              </a:pathLst>
            </a:custGeom>
            <a:solidFill>
              <a:srgbClr val="001D18"/>
            </a:solidFill>
          </p:spPr>
          <p:txBody>
            <a:bodyPr wrap="square" lIns="0" tIns="0" rIns="0" bIns="0" rtlCol="0"/>
            <a:lstStyle/>
            <a:p>
              <a:endParaRPr/>
            </a:p>
          </p:txBody>
        </p:sp>
        <p:pic>
          <p:nvPicPr>
            <p:cNvPr id="17" name="object 17"/>
            <p:cNvPicPr/>
            <p:nvPr/>
          </p:nvPicPr>
          <p:blipFill>
            <a:blip r:embed="rId2" cstate="print"/>
            <a:stretch>
              <a:fillRect/>
            </a:stretch>
          </p:blipFill>
          <p:spPr>
            <a:xfrm>
              <a:off x="477194" y="1554646"/>
              <a:ext cx="403335" cy="123559"/>
            </a:xfrm>
            <a:prstGeom prst="rect">
              <a:avLst/>
            </a:prstGeom>
          </p:spPr>
        </p:pic>
      </p:grpSp>
      <p:sp>
        <p:nvSpPr>
          <p:cNvPr id="18" name="object 18"/>
          <p:cNvSpPr txBox="1"/>
          <p:nvPr/>
        </p:nvSpPr>
        <p:spPr>
          <a:xfrm>
            <a:off x="920362" y="1490708"/>
            <a:ext cx="436880" cy="208279"/>
          </a:xfrm>
          <a:prstGeom prst="rect">
            <a:avLst/>
          </a:prstGeom>
        </p:spPr>
        <p:txBody>
          <a:bodyPr vert="horz" wrap="square" lIns="0" tIns="12700" rIns="0" bIns="0" rtlCol="0">
            <a:spAutoFit/>
          </a:bodyPr>
          <a:lstStyle/>
          <a:p>
            <a:pPr marL="12700">
              <a:lnSpc>
                <a:spcPct val="100000"/>
              </a:lnSpc>
              <a:spcBef>
                <a:spcPts val="100"/>
              </a:spcBef>
            </a:pPr>
            <a:r>
              <a:rPr sz="1200" spc="-120" dirty="0">
                <a:solidFill>
                  <a:srgbClr val="1F376B"/>
                </a:solidFill>
                <a:latin typeface="Times New Roman"/>
                <a:cs typeface="Times New Roman"/>
              </a:rPr>
              <a:t>member</a:t>
            </a:r>
            <a:endParaRPr sz="1200">
              <a:latin typeface="Times New Roman"/>
              <a:cs typeface="Times New Roman"/>
            </a:endParaRPr>
          </a:p>
        </p:txBody>
      </p:sp>
      <p:sp>
        <p:nvSpPr>
          <p:cNvPr id="19" name="object 19"/>
          <p:cNvSpPr txBox="1"/>
          <p:nvPr/>
        </p:nvSpPr>
        <p:spPr>
          <a:xfrm>
            <a:off x="4163300" y="1512137"/>
            <a:ext cx="849630" cy="120546"/>
          </a:xfrm>
          <a:prstGeom prst="rect">
            <a:avLst/>
          </a:prstGeom>
        </p:spPr>
        <p:txBody>
          <a:bodyPr vert="horz" wrap="square" lIns="0" tIns="12700" rIns="0" bIns="0" rtlCol="0">
            <a:spAutoFit/>
          </a:bodyPr>
          <a:lstStyle/>
          <a:p>
            <a:pPr marL="12700">
              <a:lnSpc>
                <a:spcPct val="100000"/>
              </a:lnSpc>
              <a:spcBef>
                <a:spcPts val="100"/>
              </a:spcBef>
            </a:pPr>
            <a:r>
              <a:rPr sz="700" b="1" u="sng" dirty="0">
                <a:solidFill>
                  <a:srgbClr val="FFFFFF"/>
                </a:solidFill>
                <a:uFill>
                  <a:solidFill>
                    <a:srgbClr val="FFFFFF"/>
                  </a:solidFill>
                </a:uFill>
                <a:latin typeface="Century Gothic"/>
                <a:cs typeface="Century Gothic"/>
                <a:hlinkClick r:id="rId3"/>
              </a:rPr>
              <a:t>www.e</a:t>
            </a:r>
            <a:r>
              <a:rPr lang="fr-FR" sz="700" b="1" u="sng" dirty="0" err="1">
                <a:solidFill>
                  <a:srgbClr val="FFFFFF"/>
                </a:solidFill>
                <a:uFill>
                  <a:solidFill>
                    <a:srgbClr val="FFFFFF"/>
                  </a:solidFill>
                </a:uFill>
                <a:latin typeface="Century Gothic"/>
                <a:cs typeface="Century Gothic"/>
                <a:hlinkClick r:id="rId3"/>
              </a:rPr>
              <a:t>quans</a:t>
            </a:r>
            <a:r>
              <a:rPr sz="700" b="1" u="sng" dirty="0">
                <a:solidFill>
                  <a:srgbClr val="FFFFFF"/>
                </a:solidFill>
                <a:uFill>
                  <a:solidFill>
                    <a:srgbClr val="FFFFFF"/>
                  </a:solidFill>
                </a:uFill>
                <a:latin typeface="Century Gothic"/>
                <a:cs typeface="Century Gothic"/>
                <a:hlinkClick r:id="rId3"/>
              </a:rPr>
              <a:t>.com</a:t>
            </a:r>
            <a:endParaRPr sz="700" dirty="0">
              <a:latin typeface="Century Gothic"/>
              <a:cs typeface="Century Gothic"/>
            </a:endParaRPr>
          </a:p>
        </p:txBody>
      </p:sp>
      <p:sp>
        <p:nvSpPr>
          <p:cNvPr id="20" name="object 20"/>
          <p:cNvSpPr txBox="1"/>
          <p:nvPr/>
        </p:nvSpPr>
        <p:spPr>
          <a:xfrm>
            <a:off x="563299" y="2301900"/>
            <a:ext cx="1263650" cy="261620"/>
          </a:xfrm>
          <a:prstGeom prst="rect">
            <a:avLst/>
          </a:prstGeom>
        </p:spPr>
        <p:txBody>
          <a:bodyPr vert="horz" wrap="square" lIns="0" tIns="22860" rIns="0" bIns="0" rtlCol="0">
            <a:spAutoFit/>
          </a:bodyPr>
          <a:lstStyle/>
          <a:p>
            <a:pPr marL="12700" marR="5080">
              <a:lnSpc>
                <a:spcPts val="900"/>
              </a:lnSpc>
              <a:spcBef>
                <a:spcPts val="180"/>
              </a:spcBef>
            </a:pPr>
            <a:r>
              <a:rPr sz="800" b="1" dirty="0">
                <a:solidFill>
                  <a:srgbClr val="498B80"/>
                </a:solidFill>
                <a:latin typeface="Century Gothic"/>
                <a:cs typeface="Century Gothic"/>
              </a:rPr>
              <a:t>EQUANS</a:t>
            </a:r>
            <a:r>
              <a:rPr sz="800" b="1" spc="-50" dirty="0">
                <a:solidFill>
                  <a:srgbClr val="498B80"/>
                </a:solidFill>
                <a:latin typeface="Century Gothic"/>
                <a:cs typeface="Century Gothic"/>
              </a:rPr>
              <a:t> </a:t>
            </a:r>
            <a:r>
              <a:rPr sz="800" b="1" dirty="0">
                <a:solidFill>
                  <a:srgbClr val="498B80"/>
                </a:solidFill>
                <a:latin typeface="Century Gothic"/>
                <a:cs typeface="Century Gothic"/>
              </a:rPr>
              <a:t>INEO</a:t>
            </a:r>
            <a:r>
              <a:rPr sz="800" b="1" spc="-50" dirty="0">
                <a:solidFill>
                  <a:srgbClr val="498B80"/>
                </a:solidFill>
                <a:latin typeface="Century Gothic"/>
                <a:cs typeface="Century Gothic"/>
              </a:rPr>
              <a:t> </a:t>
            </a:r>
            <a:r>
              <a:rPr sz="800" b="1" dirty="0">
                <a:solidFill>
                  <a:srgbClr val="498B80"/>
                </a:solidFill>
                <a:latin typeface="Century Gothic"/>
                <a:cs typeface="Century Gothic"/>
              </a:rPr>
              <a:t>NUCLÉAIRE </a:t>
            </a:r>
            <a:r>
              <a:rPr sz="800" b="1" spc="-210" dirty="0">
                <a:solidFill>
                  <a:srgbClr val="498B80"/>
                </a:solidFill>
                <a:latin typeface="Century Gothic"/>
                <a:cs typeface="Century Gothic"/>
              </a:rPr>
              <a:t> </a:t>
            </a:r>
            <a:r>
              <a:rPr sz="800" b="1" dirty="0">
                <a:solidFill>
                  <a:srgbClr val="498B80"/>
                </a:solidFill>
                <a:latin typeface="Century Gothic"/>
                <a:cs typeface="Century Gothic"/>
              </a:rPr>
              <a:t>IN</a:t>
            </a:r>
            <a:r>
              <a:rPr sz="800" b="1" spc="-5" dirty="0">
                <a:solidFill>
                  <a:srgbClr val="498B80"/>
                </a:solidFill>
                <a:latin typeface="Century Gothic"/>
                <a:cs typeface="Century Gothic"/>
              </a:rPr>
              <a:t> </a:t>
            </a:r>
            <a:r>
              <a:rPr lang="fr-FR" sz="800" b="1" spc="-5" dirty="0">
                <a:solidFill>
                  <a:srgbClr val="498B80"/>
                </a:solidFill>
                <a:latin typeface="Century Gothic"/>
                <a:cs typeface="Century Gothic"/>
              </a:rPr>
              <a:t>UK</a:t>
            </a:r>
            <a:endParaRPr sz="800" dirty="0">
              <a:latin typeface="Century Gothic"/>
              <a:cs typeface="Century Gothic"/>
            </a:endParaRPr>
          </a:p>
        </p:txBody>
      </p:sp>
      <p:sp>
        <p:nvSpPr>
          <p:cNvPr id="22" name="object 22"/>
          <p:cNvSpPr txBox="1"/>
          <p:nvPr/>
        </p:nvSpPr>
        <p:spPr>
          <a:xfrm>
            <a:off x="558410" y="3655110"/>
            <a:ext cx="1384690" cy="271869"/>
          </a:xfrm>
          <a:prstGeom prst="rect">
            <a:avLst/>
          </a:prstGeom>
        </p:spPr>
        <p:txBody>
          <a:bodyPr vert="horz" wrap="square" lIns="0" tIns="12700" rIns="0" bIns="0" rtlCol="0">
            <a:spAutoFit/>
          </a:bodyPr>
          <a:lstStyle/>
          <a:p>
            <a:pPr marL="12700">
              <a:lnSpc>
                <a:spcPct val="100000"/>
              </a:lnSpc>
              <a:spcBef>
                <a:spcPts val="100"/>
              </a:spcBef>
            </a:pPr>
            <a:r>
              <a:rPr sz="800" b="1" dirty="0">
                <a:solidFill>
                  <a:srgbClr val="498B80"/>
                </a:solidFill>
                <a:latin typeface="Century Gothic"/>
                <a:cs typeface="Century Gothic"/>
              </a:rPr>
              <a:t>QUANS</a:t>
            </a:r>
            <a:r>
              <a:rPr sz="800" b="1" spc="-45" dirty="0">
                <a:solidFill>
                  <a:srgbClr val="498B80"/>
                </a:solidFill>
                <a:latin typeface="Century Gothic"/>
                <a:cs typeface="Century Gothic"/>
              </a:rPr>
              <a:t> </a:t>
            </a:r>
            <a:r>
              <a:rPr sz="800" b="1" dirty="0">
                <a:solidFill>
                  <a:srgbClr val="498B80"/>
                </a:solidFill>
                <a:latin typeface="Century Gothic"/>
                <a:cs typeface="Century Gothic"/>
              </a:rPr>
              <a:t>INEO</a:t>
            </a:r>
            <a:r>
              <a:rPr sz="800" b="1" spc="-40" dirty="0">
                <a:solidFill>
                  <a:srgbClr val="498B80"/>
                </a:solidFill>
                <a:latin typeface="Century Gothic"/>
                <a:cs typeface="Century Gothic"/>
              </a:rPr>
              <a:t> </a:t>
            </a:r>
            <a:r>
              <a:rPr sz="800" b="1" dirty="0">
                <a:solidFill>
                  <a:srgbClr val="498B80"/>
                </a:solidFill>
                <a:latin typeface="Century Gothic"/>
                <a:cs typeface="Century Gothic"/>
              </a:rPr>
              <a:t>NUCLÉAIR</a:t>
            </a:r>
            <a:r>
              <a:rPr lang="fr-FR" sz="800" b="1" dirty="0">
                <a:solidFill>
                  <a:srgbClr val="498B80"/>
                </a:solidFill>
                <a:latin typeface="Century Gothic"/>
                <a:cs typeface="Century Gothic"/>
              </a:rPr>
              <a:t>E</a:t>
            </a:r>
          </a:p>
          <a:p>
            <a:pPr marL="12700">
              <a:lnSpc>
                <a:spcPct val="100000"/>
              </a:lnSpc>
              <a:spcBef>
                <a:spcPts val="100"/>
              </a:spcBef>
            </a:pPr>
            <a:r>
              <a:rPr lang="fr-FR" sz="800" b="1" dirty="0">
                <a:solidFill>
                  <a:srgbClr val="498B80"/>
                </a:solidFill>
                <a:latin typeface="Century Gothic"/>
                <a:cs typeface="Century Gothic"/>
              </a:rPr>
              <a:t>IN EUROPE</a:t>
            </a:r>
            <a:endParaRPr sz="800" dirty="0">
              <a:latin typeface="Century Gothic"/>
              <a:cs typeface="Century Gothic"/>
            </a:endParaRPr>
          </a:p>
        </p:txBody>
      </p:sp>
      <p:sp>
        <p:nvSpPr>
          <p:cNvPr id="26" name="object 26"/>
          <p:cNvSpPr txBox="1"/>
          <p:nvPr/>
        </p:nvSpPr>
        <p:spPr>
          <a:xfrm>
            <a:off x="167262" y="4042765"/>
            <a:ext cx="1705610" cy="253916"/>
          </a:xfrm>
          <a:prstGeom prst="rect">
            <a:avLst/>
          </a:prstGeom>
        </p:spPr>
        <p:txBody>
          <a:bodyPr vert="horz" wrap="square" lIns="0" tIns="22860" rIns="0" bIns="0" rtlCol="0">
            <a:spAutoFit/>
          </a:bodyPr>
          <a:lstStyle/>
          <a:p>
            <a:pPr marL="12700" marR="5080" algn="just">
              <a:lnSpc>
                <a:spcPts val="900"/>
              </a:lnSpc>
              <a:spcBef>
                <a:spcPts val="565"/>
              </a:spcBef>
            </a:pPr>
            <a:r>
              <a:rPr sz="800" b="1" dirty="0">
                <a:latin typeface="Century Gothic"/>
                <a:cs typeface="Century Gothic"/>
              </a:rPr>
              <a:t>For </a:t>
            </a:r>
            <a:r>
              <a:rPr sz="800" b="1" spc="-5" dirty="0">
                <a:latin typeface="Century Gothic"/>
                <a:cs typeface="Century Gothic"/>
              </a:rPr>
              <a:t>non-nuclear activities: </a:t>
            </a:r>
            <a:r>
              <a:rPr sz="800" spc="-5" dirty="0">
                <a:latin typeface="Century Gothic"/>
                <a:cs typeface="Century Gothic"/>
              </a:rPr>
              <a:t>we are </a:t>
            </a:r>
            <a:r>
              <a:rPr sz="800" dirty="0">
                <a:latin typeface="Century Gothic"/>
                <a:cs typeface="Century Gothic"/>
              </a:rPr>
              <a:t> </a:t>
            </a:r>
            <a:r>
              <a:rPr sz="800" spc="-5" dirty="0">
                <a:latin typeface="Century Gothic"/>
                <a:cs typeface="Century Gothic"/>
              </a:rPr>
              <a:t>present</a:t>
            </a:r>
            <a:r>
              <a:rPr sz="800" spc="-10" dirty="0">
                <a:latin typeface="Century Gothic"/>
                <a:cs typeface="Century Gothic"/>
              </a:rPr>
              <a:t> </a:t>
            </a:r>
            <a:r>
              <a:rPr sz="800" spc="-5" dirty="0">
                <a:latin typeface="Century Gothic"/>
                <a:cs typeface="Century Gothic"/>
              </a:rPr>
              <a:t>all</a:t>
            </a:r>
            <a:r>
              <a:rPr sz="800" spc="-10" dirty="0">
                <a:latin typeface="Century Gothic"/>
                <a:cs typeface="Century Gothic"/>
              </a:rPr>
              <a:t> </a:t>
            </a:r>
            <a:r>
              <a:rPr sz="800" spc="-5" dirty="0">
                <a:latin typeface="Century Gothic"/>
                <a:cs typeface="Century Gothic"/>
              </a:rPr>
              <a:t>accross</a:t>
            </a:r>
            <a:r>
              <a:rPr sz="800" spc="-10" dirty="0">
                <a:latin typeface="Century Gothic"/>
                <a:cs typeface="Century Gothic"/>
              </a:rPr>
              <a:t> </a:t>
            </a:r>
            <a:r>
              <a:rPr sz="800" spc="-5" dirty="0">
                <a:latin typeface="Century Gothic"/>
                <a:cs typeface="Century Gothic"/>
              </a:rPr>
              <a:t>Europe</a:t>
            </a:r>
            <a:endParaRPr sz="800" dirty="0">
              <a:latin typeface="Century Gothic"/>
              <a:cs typeface="Century Gothic"/>
            </a:endParaRPr>
          </a:p>
        </p:txBody>
      </p:sp>
      <p:sp>
        <p:nvSpPr>
          <p:cNvPr id="27" name="object 27"/>
          <p:cNvSpPr txBox="1"/>
          <p:nvPr/>
        </p:nvSpPr>
        <p:spPr>
          <a:xfrm>
            <a:off x="616129" y="4537608"/>
            <a:ext cx="695960" cy="147320"/>
          </a:xfrm>
          <a:prstGeom prst="rect">
            <a:avLst/>
          </a:prstGeom>
        </p:spPr>
        <p:txBody>
          <a:bodyPr vert="horz" wrap="square" lIns="0" tIns="12700" rIns="0" bIns="0" rtlCol="0">
            <a:spAutoFit/>
          </a:bodyPr>
          <a:lstStyle/>
          <a:p>
            <a:pPr marL="12700">
              <a:lnSpc>
                <a:spcPct val="100000"/>
              </a:lnSpc>
              <a:spcBef>
                <a:spcPts val="100"/>
              </a:spcBef>
            </a:pPr>
            <a:r>
              <a:rPr sz="800" b="1" dirty="0">
                <a:solidFill>
                  <a:srgbClr val="498B80"/>
                </a:solidFill>
                <a:latin typeface="Century Gothic"/>
                <a:cs typeface="Century Gothic"/>
              </a:rPr>
              <a:t>TRATEGY AND</a:t>
            </a:r>
            <a:endParaRPr sz="800">
              <a:latin typeface="Century Gothic"/>
              <a:cs typeface="Century Gothic"/>
            </a:endParaRPr>
          </a:p>
        </p:txBody>
      </p:sp>
      <p:sp>
        <p:nvSpPr>
          <p:cNvPr id="28" name="object 28"/>
          <p:cNvSpPr txBox="1"/>
          <p:nvPr/>
        </p:nvSpPr>
        <p:spPr>
          <a:xfrm>
            <a:off x="616129" y="4651908"/>
            <a:ext cx="633095" cy="147320"/>
          </a:xfrm>
          <a:prstGeom prst="rect">
            <a:avLst/>
          </a:prstGeom>
        </p:spPr>
        <p:txBody>
          <a:bodyPr vert="horz" wrap="square" lIns="0" tIns="12700" rIns="0" bIns="0" rtlCol="0">
            <a:spAutoFit/>
          </a:bodyPr>
          <a:lstStyle/>
          <a:p>
            <a:pPr marL="12700">
              <a:lnSpc>
                <a:spcPct val="100000"/>
              </a:lnSpc>
              <a:spcBef>
                <a:spcPts val="100"/>
              </a:spcBef>
            </a:pPr>
            <a:r>
              <a:rPr sz="800" b="1" dirty="0">
                <a:solidFill>
                  <a:srgbClr val="498B80"/>
                </a:solidFill>
                <a:latin typeface="Century Gothic"/>
                <a:cs typeface="Century Gothic"/>
              </a:rPr>
              <a:t>XPECTATION</a:t>
            </a:r>
            <a:endParaRPr sz="800">
              <a:latin typeface="Century Gothic"/>
              <a:cs typeface="Century Gothic"/>
            </a:endParaRPr>
          </a:p>
        </p:txBody>
      </p:sp>
      <p:sp>
        <p:nvSpPr>
          <p:cNvPr id="29" name="object 29"/>
          <p:cNvSpPr txBox="1"/>
          <p:nvPr/>
        </p:nvSpPr>
        <p:spPr>
          <a:xfrm>
            <a:off x="575999" y="4549712"/>
            <a:ext cx="53340" cy="239395"/>
          </a:xfrm>
          <a:prstGeom prst="rect">
            <a:avLst/>
          </a:prstGeom>
        </p:spPr>
        <p:txBody>
          <a:bodyPr vert="horz" wrap="square" lIns="0" tIns="10160" rIns="0" bIns="0" rtlCol="0">
            <a:spAutoFit/>
          </a:bodyPr>
          <a:lstStyle/>
          <a:p>
            <a:pPr>
              <a:lnSpc>
                <a:spcPts val="900"/>
              </a:lnSpc>
              <a:spcBef>
                <a:spcPts val="80"/>
              </a:spcBef>
            </a:pPr>
            <a:r>
              <a:rPr sz="800" b="1" dirty="0">
                <a:solidFill>
                  <a:srgbClr val="498B80"/>
                </a:solidFill>
                <a:latin typeface="Century Gothic"/>
                <a:cs typeface="Century Gothic"/>
              </a:rPr>
              <a:t>S  E</a:t>
            </a:r>
            <a:endParaRPr sz="800">
              <a:latin typeface="Century Gothic"/>
              <a:cs typeface="Century Gothic"/>
            </a:endParaRPr>
          </a:p>
        </p:txBody>
      </p:sp>
      <p:sp>
        <p:nvSpPr>
          <p:cNvPr id="30" name="object 30"/>
          <p:cNvSpPr txBox="1"/>
          <p:nvPr/>
        </p:nvSpPr>
        <p:spPr>
          <a:xfrm>
            <a:off x="167262" y="4874209"/>
            <a:ext cx="1705610" cy="147320"/>
          </a:xfrm>
          <a:prstGeom prst="rect">
            <a:avLst/>
          </a:prstGeom>
        </p:spPr>
        <p:txBody>
          <a:bodyPr vert="horz" wrap="square" lIns="0" tIns="12700" rIns="0" bIns="0" rtlCol="0">
            <a:spAutoFit/>
          </a:bodyPr>
          <a:lstStyle/>
          <a:p>
            <a:pPr marL="12700">
              <a:lnSpc>
                <a:spcPct val="100000"/>
              </a:lnSpc>
              <a:spcBef>
                <a:spcPts val="100"/>
              </a:spcBef>
              <a:tabLst>
                <a:tab pos="340995" algn="l"/>
                <a:tab pos="727075" algn="l"/>
                <a:tab pos="993140" algn="l"/>
                <a:tab pos="1529715" algn="l"/>
              </a:tabLst>
            </a:pPr>
            <a:r>
              <a:rPr sz="800" dirty="0">
                <a:latin typeface="Century Gothic"/>
                <a:cs typeface="Century Gothic"/>
              </a:rPr>
              <a:t>We	</a:t>
            </a:r>
            <a:r>
              <a:rPr sz="800" spc="-5" dirty="0">
                <a:latin typeface="Century Gothic"/>
                <a:cs typeface="Century Gothic"/>
              </a:rPr>
              <a:t>pla</a:t>
            </a:r>
            <a:r>
              <a:rPr sz="800" dirty="0">
                <a:latin typeface="Century Gothic"/>
                <a:cs typeface="Century Gothic"/>
              </a:rPr>
              <a:t>n	to	</a:t>
            </a:r>
            <a:r>
              <a:rPr sz="800" spc="-5" dirty="0">
                <a:latin typeface="Century Gothic"/>
                <a:cs typeface="Century Gothic"/>
              </a:rPr>
              <a:t>suppor</a:t>
            </a:r>
            <a:r>
              <a:rPr sz="800" dirty="0">
                <a:latin typeface="Century Gothic"/>
                <a:cs typeface="Century Gothic"/>
              </a:rPr>
              <a:t>t	the</a:t>
            </a:r>
            <a:endParaRPr sz="800">
              <a:latin typeface="Century Gothic"/>
              <a:cs typeface="Century Gothic"/>
            </a:endParaRPr>
          </a:p>
        </p:txBody>
      </p:sp>
      <p:sp>
        <p:nvSpPr>
          <p:cNvPr id="31" name="object 31"/>
          <p:cNvSpPr txBox="1"/>
          <p:nvPr/>
        </p:nvSpPr>
        <p:spPr>
          <a:xfrm>
            <a:off x="167262" y="4988509"/>
            <a:ext cx="1706245" cy="147320"/>
          </a:xfrm>
          <a:prstGeom prst="rect">
            <a:avLst/>
          </a:prstGeom>
        </p:spPr>
        <p:txBody>
          <a:bodyPr vert="horz" wrap="square" lIns="0" tIns="12700" rIns="0" bIns="0" rtlCol="0">
            <a:spAutoFit/>
          </a:bodyPr>
          <a:lstStyle/>
          <a:p>
            <a:pPr marL="12700">
              <a:lnSpc>
                <a:spcPct val="100000"/>
              </a:lnSpc>
              <a:spcBef>
                <a:spcPts val="100"/>
              </a:spcBef>
            </a:pPr>
            <a:r>
              <a:rPr sz="800" spc="-5" dirty="0">
                <a:latin typeface="Century Gothic"/>
                <a:cs typeface="Century Gothic"/>
              </a:rPr>
              <a:t>development</a:t>
            </a:r>
            <a:r>
              <a:rPr sz="800" spc="515" dirty="0">
                <a:latin typeface="Century Gothic"/>
                <a:cs typeface="Century Gothic"/>
              </a:rPr>
              <a:t> </a:t>
            </a:r>
            <a:r>
              <a:rPr sz="800" dirty="0">
                <a:latin typeface="Century Gothic"/>
                <a:cs typeface="Century Gothic"/>
              </a:rPr>
              <a:t>of  </a:t>
            </a:r>
            <a:r>
              <a:rPr sz="800" spc="80" dirty="0">
                <a:latin typeface="Century Gothic"/>
                <a:cs typeface="Century Gothic"/>
              </a:rPr>
              <a:t> </a:t>
            </a:r>
            <a:r>
              <a:rPr sz="800" dirty="0">
                <a:latin typeface="Century Gothic"/>
                <a:cs typeface="Century Gothic"/>
              </a:rPr>
              <a:t>Nuclear  </a:t>
            </a:r>
            <a:r>
              <a:rPr sz="800" spc="80" dirty="0">
                <a:latin typeface="Century Gothic"/>
                <a:cs typeface="Century Gothic"/>
              </a:rPr>
              <a:t> </a:t>
            </a:r>
            <a:r>
              <a:rPr sz="800" dirty="0">
                <a:latin typeface="Century Gothic"/>
                <a:cs typeface="Century Gothic"/>
              </a:rPr>
              <a:t>New</a:t>
            </a:r>
            <a:endParaRPr sz="800">
              <a:latin typeface="Century Gothic"/>
              <a:cs typeface="Century Gothic"/>
            </a:endParaRPr>
          </a:p>
        </p:txBody>
      </p:sp>
      <p:sp>
        <p:nvSpPr>
          <p:cNvPr id="32" name="object 32"/>
          <p:cNvSpPr txBox="1"/>
          <p:nvPr/>
        </p:nvSpPr>
        <p:spPr>
          <a:xfrm>
            <a:off x="167262" y="5102809"/>
            <a:ext cx="1704975" cy="147320"/>
          </a:xfrm>
          <a:prstGeom prst="rect">
            <a:avLst/>
          </a:prstGeom>
        </p:spPr>
        <p:txBody>
          <a:bodyPr vert="horz" wrap="square" lIns="0" tIns="12700" rIns="0" bIns="0" rtlCol="0">
            <a:spAutoFit/>
          </a:bodyPr>
          <a:lstStyle/>
          <a:p>
            <a:pPr marL="12700">
              <a:lnSpc>
                <a:spcPct val="100000"/>
              </a:lnSpc>
              <a:spcBef>
                <a:spcPts val="100"/>
              </a:spcBef>
            </a:pPr>
            <a:r>
              <a:rPr sz="800" spc="-5" dirty="0">
                <a:latin typeface="Century Gothic"/>
                <a:cs typeface="Century Gothic"/>
              </a:rPr>
              <a:t>Build</a:t>
            </a:r>
            <a:r>
              <a:rPr sz="800" spc="135" dirty="0">
                <a:latin typeface="Century Gothic"/>
                <a:cs typeface="Century Gothic"/>
              </a:rPr>
              <a:t> </a:t>
            </a:r>
            <a:r>
              <a:rPr sz="800" spc="-5" dirty="0">
                <a:latin typeface="Century Gothic"/>
                <a:cs typeface="Century Gothic"/>
              </a:rPr>
              <a:t>projects</a:t>
            </a:r>
            <a:r>
              <a:rPr sz="800" spc="140" dirty="0">
                <a:latin typeface="Century Gothic"/>
                <a:cs typeface="Century Gothic"/>
              </a:rPr>
              <a:t> </a:t>
            </a:r>
            <a:r>
              <a:rPr sz="800" spc="-5" dirty="0">
                <a:latin typeface="Century Gothic"/>
                <a:cs typeface="Century Gothic"/>
              </a:rPr>
              <a:t>(especially</a:t>
            </a:r>
            <a:r>
              <a:rPr sz="800" spc="140" dirty="0">
                <a:latin typeface="Century Gothic"/>
                <a:cs typeface="Century Gothic"/>
              </a:rPr>
              <a:t> </a:t>
            </a:r>
            <a:r>
              <a:rPr sz="800" spc="-5" dirty="0">
                <a:latin typeface="Century Gothic"/>
                <a:cs typeface="Century Gothic"/>
              </a:rPr>
              <a:t>EPRs)</a:t>
            </a:r>
            <a:r>
              <a:rPr sz="800" spc="140" dirty="0">
                <a:latin typeface="Century Gothic"/>
                <a:cs typeface="Century Gothic"/>
              </a:rPr>
              <a:t> </a:t>
            </a:r>
            <a:r>
              <a:rPr sz="800" spc="-5" dirty="0">
                <a:latin typeface="Century Gothic"/>
                <a:cs typeface="Century Gothic"/>
              </a:rPr>
              <a:t>in</a:t>
            </a:r>
            <a:endParaRPr sz="800">
              <a:latin typeface="Century Gothic"/>
              <a:cs typeface="Century Gothic"/>
            </a:endParaRPr>
          </a:p>
        </p:txBody>
      </p:sp>
      <p:sp>
        <p:nvSpPr>
          <p:cNvPr id="33" name="object 33"/>
          <p:cNvSpPr txBox="1"/>
          <p:nvPr/>
        </p:nvSpPr>
        <p:spPr>
          <a:xfrm>
            <a:off x="167262" y="5217109"/>
            <a:ext cx="1706245" cy="1023357"/>
          </a:xfrm>
          <a:prstGeom prst="rect">
            <a:avLst/>
          </a:prstGeom>
        </p:spPr>
        <p:txBody>
          <a:bodyPr vert="horz" wrap="square" lIns="0" tIns="22860" rIns="0" bIns="0" rtlCol="0">
            <a:spAutoFit/>
          </a:bodyPr>
          <a:lstStyle/>
          <a:p>
            <a:pPr marL="12700" marR="5080" algn="just">
              <a:lnSpc>
                <a:spcPts val="900"/>
              </a:lnSpc>
              <a:spcBef>
                <a:spcPts val="180"/>
              </a:spcBef>
            </a:pPr>
            <a:r>
              <a:rPr sz="800" dirty="0">
                <a:latin typeface="Century Gothic"/>
                <a:cs typeface="Century Gothic"/>
              </a:rPr>
              <a:t>the</a:t>
            </a:r>
            <a:r>
              <a:rPr sz="800" spc="5" dirty="0">
                <a:latin typeface="Century Gothic"/>
                <a:cs typeface="Century Gothic"/>
              </a:rPr>
              <a:t> </a:t>
            </a:r>
            <a:r>
              <a:rPr sz="800" dirty="0">
                <a:latin typeface="Century Gothic"/>
                <a:cs typeface="Century Gothic"/>
              </a:rPr>
              <a:t>Poland</a:t>
            </a:r>
            <a:r>
              <a:rPr sz="800" spc="5" dirty="0">
                <a:latin typeface="Century Gothic"/>
                <a:cs typeface="Century Gothic"/>
              </a:rPr>
              <a:t> </a:t>
            </a:r>
            <a:r>
              <a:rPr sz="800" spc="-5" dirty="0">
                <a:latin typeface="Century Gothic"/>
                <a:cs typeface="Century Gothic"/>
              </a:rPr>
              <a:t>by</a:t>
            </a:r>
            <a:r>
              <a:rPr sz="800" dirty="0">
                <a:latin typeface="Century Gothic"/>
                <a:cs typeface="Century Gothic"/>
              </a:rPr>
              <a:t> teaming</a:t>
            </a:r>
            <a:r>
              <a:rPr sz="800" spc="5" dirty="0">
                <a:latin typeface="Century Gothic"/>
                <a:cs typeface="Century Gothic"/>
              </a:rPr>
              <a:t> </a:t>
            </a:r>
            <a:r>
              <a:rPr sz="800" dirty="0">
                <a:latin typeface="Century Gothic"/>
                <a:cs typeface="Century Gothic"/>
              </a:rPr>
              <a:t>up</a:t>
            </a:r>
            <a:r>
              <a:rPr sz="800" spc="5" dirty="0">
                <a:latin typeface="Century Gothic"/>
                <a:cs typeface="Century Gothic"/>
              </a:rPr>
              <a:t> </a:t>
            </a:r>
            <a:r>
              <a:rPr sz="800" spc="-5" dirty="0">
                <a:latin typeface="Century Gothic"/>
                <a:cs typeface="Century Gothic"/>
              </a:rPr>
              <a:t>with </a:t>
            </a:r>
            <a:r>
              <a:rPr sz="800" spc="-210" dirty="0">
                <a:latin typeface="Century Gothic"/>
                <a:cs typeface="Century Gothic"/>
              </a:rPr>
              <a:t> </a:t>
            </a:r>
            <a:r>
              <a:rPr sz="800" spc="-5" dirty="0">
                <a:latin typeface="Century Gothic"/>
                <a:cs typeface="Century Gothic"/>
              </a:rPr>
              <a:t>local</a:t>
            </a:r>
            <a:r>
              <a:rPr sz="800" spc="-10" dirty="0">
                <a:latin typeface="Century Gothic"/>
                <a:cs typeface="Century Gothic"/>
              </a:rPr>
              <a:t> </a:t>
            </a:r>
            <a:r>
              <a:rPr sz="800" dirty="0">
                <a:latin typeface="Century Gothic"/>
                <a:cs typeface="Century Gothic"/>
              </a:rPr>
              <a:t>companies.</a:t>
            </a:r>
          </a:p>
          <a:p>
            <a:pPr marL="12700" marR="5080" algn="just">
              <a:lnSpc>
                <a:spcPts val="900"/>
              </a:lnSpc>
              <a:spcBef>
                <a:spcPts val="565"/>
              </a:spcBef>
            </a:pPr>
            <a:r>
              <a:rPr sz="800" spc="-5" dirty="0">
                <a:latin typeface="Century Gothic"/>
                <a:cs typeface="Century Gothic"/>
              </a:rPr>
              <a:t>Our </a:t>
            </a:r>
            <a:r>
              <a:rPr sz="800" dirty="0">
                <a:latin typeface="Century Gothic"/>
                <a:cs typeface="Century Gothic"/>
              </a:rPr>
              <a:t>objective </a:t>
            </a:r>
            <a:r>
              <a:rPr sz="800" spc="-5" dirty="0">
                <a:latin typeface="Century Gothic"/>
                <a:cs typeface="Century Gothic"/>
              </a:rPr>
              <a:t>is: </a:t>
            </a:r>
            <a:r>
              <a:rPr sz="800" dirty="0">
                <a:latin typeface="Century Gothic"/>
                <a:cs typeface="Century Gothic"/>
              </a:rPr>
              <a:t>make our clients </a:t>
            </a:r>
            <a:r>
              <a:rPr sz="800" spc="5" dirty="0">
                <a:latin typeface="Century Gothic"/>
                <a:cs typeface="Century Gothic"/>
              </a:rPr>
              <a:t> </a:t>
            </a:r>
            <a:r>
              <a:rPr sz="800" spc="-10" dirty="0">
                <a:latin typeface="Century Gothic"/>
                <a:cs typeface="Century Gothic"/>
              </a:rPr>
              <a:t>benefit</a:t>
            </a:r>
            <a:r>
              <a:rPr sz="800" spc="200" dirty="0">
                <a:latin typeface="Century Gothic"/>
                <a:cs typeface="Century Gothic"/>
              </a:rPr>
              <a:t> </a:t>
            </a:r>
            <a:r>
              <a:rPr sz="800" dirty="0">
                <a:latin typeface="Century Gothic"/>
                <a:cs typeface="Century Gothic"/>
              </a:rPr>
              <a:t>from our </a:t>
            </a:r>
            <a:r>
              <a:rPr sz="800" spc="-5" dirty="0">
                <a:latin typeface="Century Gothic"/>
                <a:cs typeface="Century Gothic"/>
              </a:rPr>
              <a:t>vast </a:t>
            </a:r>
            <a:r>
              <a:rPr sz="800" dirty="0">
                <a:latin typeface="Century Gothic"/>
                <a:cs typeface="Century Gothic"/>
              </a:rPr>
              <a:t>experience </a:t>
            </a:r>
            <a:r>
              <a:rPr sz="800" spc="5" dirty="0">
                <a:latin typeface="Century Gothic"/>
                <a:cs typeface="Century Gothic"/>
              </a:rPr>
              <a:t> </a:t>
            </a:r>
            <a:r>
              <a:rPr sz="800" spc="-5" dirty="0">
                <a:latin typeface="Century Gothic"/>
                <a:cs typeface="Century Gothic"/>
              </a:rPr>
              <a:t>in</a:t>
            </a:r>
            <a:r>
              <a:rPr sz="800" dirty="0">
                <a:latin typeface="Century Gothic"/>
                <a:cs typeface="Century Gothic"/>
              </a:rPr>
              <a:t> the</a:t>
            </a:r>
            <a:r>
              <a:rPr sz="800" spc="5" dirty="0">
                <a:latin typeface="Century Gothic"/>
                <a:cs typeface="Century Gothic"/>
              </a:rPr>
              <a:t> </a:t>
            </a:r>
            <a:r>
              <a:rPr sz="800" spc="-5" dirty="0">
                <a:latin typeface="Century Gothic"/>
                <a:cs typeface="Century Gothic"/>
              </a:rPr>
              <a:t>design</a:t>
            </a:r>
            <a:r>
              <a:rPr sz="800" dirty="0">
                <a:latin typeface="Century Gothic"/>
                <a:cs typeface="Century Gothic"/>
              </a:rPr>
              <a:t> </a:t>
            </a:r>
            <a:r>
              <a:rPr sz="800" spc="-5" dirty="0">
                <a:latin typeface="Century Gothic"/>
                <a:cs typeface="Century Gothic"/>
              </a:rPr>
              <a:t>studies,</a:t>
            </a:r>
            <a:r>
              <a:rPr sz="800" dirty="0">
                <a:latin typeface="Century Gothic"/>
                <a:cs typeface="Century Gothic"/>
              </a:rPr>
              <a:t> </a:t>
            </a:r>
            <a:r>
              <a:rPr sz="800" spc="-5" dirty="0">
                <a:latin typeface="Century Gothic"/>
                <a:cs typeface="Century Gothic"/>
              </a:rPr>
              <a:t>supply, </a:t>
            </a:r>
            <a:r>
              <a:rPr sz="800" dirty="0">
                <a:latin typeface="Century Gothic"/>
                <a:cs typeface="Century Gothic"/>
              </a:rPr>
              <a:t> </a:t>
            </a:r>
            <a:r>
              <a:rPr sz="800" spc="-10" dirty="0">
                <a:latin typeface="Century Gothic"/>
                <a:cs typeface="Century Gothic"/>
              </a:rPr>
              <a:t>qualification, </a:t>
            </a:r>
            <a:r>
              <a:rPr sz="800" spc="-5" dirty="0">
                <a:latin typeface="Century Gothic"/>
                <a:cs typeface="Century Gothic"/>
              </a:rPr>
              <a:t>installation, and pre- </a:t>
            </a:r>
            <a:r>
              <a:rPr sz="800" dirty="0">
                <a:latin typeface="Century Gothic"/>
                <a:cs typeface="Century Gothic"/>
              </a:rPr>
              <a:t> commissioning</a:t>
            </a:r>
            <a:r>
              <a:rPr sz="800" spc="-5" dirty="0">
                <a:latin typeface="Century Gothic"/>
                <a:cs typeface="Century Gothic"/>
              </a:rPr>
              <a:t> </a:t>
            </a:r>
            <a:r>
              <a:rPr lang="fr-FR" sz="800" spc="-5" dirty="0">
                <a:latin typeface="Century Gothic"/>
                <a:cs typeface="Century Gothic"/>
              </a:rPr>
              <a:t>on the ITER </a:t>
            </a:r>
            <a:r>
              <a:rPr lang="fr-FR" sz="800" spc="-5" dirty="0" err="1">
                <a:latin typeface="Century Gothic"/>
                <a:cs typeface="Century Gothic"/>
              </a:rPr>
              <a:t>project</a:t>
            </a:r>
            <a:r>
              <a:rPr lang="fr-FR" sz="800" spc="-5">
                <a:latin typeface="Century Gothic"/>
                <a:cs typeface="Century Gothic"/>
              </a:rPr>
              <a:t> and on </a:t>
            </a:r>
            <a:r>
              <a:rPr sz="800" spc="-5">
                <a:latin typeface="Century Gothic"/>
                <a:cs typeface="Century Gothic"/>
              </a:rPr>
              <a:t>EPRs</a:t>
            </a:r>
            <a:endParaRPr sz="800" dirty="0">
              <a:latin typeface="Century Gothic"/>
              <a:cs typeface="Century Gothic"/>
            </a:endParaRPr>
          </a:p>
        </p:txBody>
      </p:sp>
      <p:sp>
        <p:nvSpPr>
          <p:cNvPr id="34" name="object 34"/>
          <p:cNvSpPr txBox="1"/>
          <p:nvPr/>
        </p:nvSpPr>
        <p:spPr>
          <a:xfrm>
            <a:off x="2309295" y="1504340"/>
            <a:ext cx="849630" cy="135935"/>
          </a:xfrm>
          <a:prstGeom prst="rect">
            <a:avLst/>
          </a:prstGeom>
        </p:spPr>
        <p:txBody>
          <a:bodyPr vert="horz" wrap="square" lIns="0" tIns="12700" rIns="0" bIns="0" rtlCol="0">
            <a:spAutoFit/>
          </a:bodyPr>
          <a:lstStyle/>
          <a:p>
            <a:pPr marL="12700">
              <a:lnSpc>
                <a:spcPct val="100000"/>
              </a:lnSpc>
              <a:spcBef>
                <a:spcPts val="100"/>
              </a:spcBef>
            </a:pPr>
            <a:r>
              <a:rPr sz="800" b="1" dirty="0">
                <a:solidFill>
                  <a:srgbClr val="FFFFFF"/>
                </a:solidFill>
                <a:latin typeface="Century Gothic"/>
                <a:cs typeface="Century Gothic"/>
              </a:rPr>
              <a:t>Export</a:t>
            </a:r>
            <a:r>
              <a:rPr sz="800" b="1" spc="-40" dirty="0">
                <a:solidFill>
                  <a:srgbClr val="FFFFFF"/>
                </a:solidFill>
                <a:latin typeface="Century Gothic"/>
                <a:cs typeface="Century Gothic"/>
              </a:rPr>
              <a:t> </a:t>
            </a:r>
            <a:r>
              <a:rPr sz="800" b="1" spc="-5" dirty="0">
                <a:solidFill>
                  <a:srgbClr val="FFFFFF"/>
                </a:solidFill>
                <a:latin typeface="Century Gothic"/>
                <a:cs typeface="Century Gothic"/>
              </a:rPr>
              <a:t>areas:</a:t>
            </a:r>
            <a:r>
              <a:rPr sz="800" b="1" spc="-40" dirty="0">
                <a:solidFill>
                  <a:srgbClr val="FFFFFF"/>
                </a:solidFill>
                <a:latin typeface="Century Gothic"/>
                <a:cs typeface="Century Gothic"/>
              </a:rPr>
              <a:t> </a:t>
            </a:r>
            <a:r>
              <a:rPr lang="fr-FR" sz="800" dirty="0">
                <a:solidFill>
                  <a:srgbClr val="FFFFFF"/>
                </a:solidFill>
                <a:latin typeface="Century Gothic"/>
                <a:cs typeface="Century Gothic"/>
              </a:rPr>
              <a:t>UK</a:t>
            </a:r>
            <a:endParaRPr sz="800" dirty="0">
              <a:latin typeface="Century Gothic"/>
              <a:cs typeface="Century Gothic"/>
            </a:endParaRPr>
          </a:p>
        </p:txBody>
      </p:sp>
      <p:grpSp>
        <p:nvGrpSpPr>
          <p:cNvPr id="35" name="object 35"/>
          <p:cNvGrpSpPr/>
          <p:nvPr/>
        </p:nvGrpSpPr>
        <p:grpSpPr>
          <a:xfrm>
            <a:off x="2148000" y="4770000"/>
            <a:ext cx="120014" cy="12700"/>
            <a:chOff x="2148000" y="4770000"/>
            <a:chExt cx="120014" cy="12700"/>
          </a:xfrm>
        </p:grpSpPr>
        <p:sp>
          <p:nvSpPr>
            <p:cNvPr id="36" name="object 36"/>
            <p:cNvSpPr/>
            <p:nvPr/>
          </p:nvSpPr>
          <p:spPr>
            <a:xfrm>
              <a:off x="2190116" y="4776350"/>
              <a:ext cx="53975" cy="0"/>
            </a:xfrm>
            <a:custGeom>
              <a:avLst/>
              <a:gdLst/>
              <a:ahLst/>
              <a:cxnLst/>
              <a:rect l="l" t="t" r="r" b="b"/>
              <a:pathLst>
                <a:path w="53975">
                  <a:moveTo>
                    <a:pt x="0" y="0"/>
                  </a:moveTo>
                  <a:lnTo>
                    <a:pt x="53644" y="0"/>
                  </a:lnTo>
                </a:path>
              </a:pathLst>
            </a:custGeom>
            <a:ln w="12700">
              <a:solidFill>
                <a:srgbClr val="EF3A47"/>
              </a:solidFill>
              <a:prstDash val="dot"/>
            </a:ln>
          </p:spPr>
          <p:txBody>
            <a:bodyPr wrap="square" lIns="0" tIns="0" rIns="0" bIns="0" rtlCol="0"/>
            <a:lstStyle/>
            <a:p>
              <a:endParaRPr/>
            </a:p>
          </p:txBody>
        </p:sp>
        <p:sp>
          <p:nvSpPr>
            <p:cNvPr id="37" name="object 37"/>
            <p:cNvSpPr/>
            <p:nvPr/>
          </p:nvSpPr>
          <p:spPr>
            <a:xfrm>
              <a:off x="2147989" y="4770005"/>
              <a:ext cx="120014" cy="12700"/>
            </a:xfrm>
            <a:custGeom>
              <a:avLst/>
              <a:gdLst/>
              <a:ahLst/>
              <a:cxnLst/>
              <a:rect l="l" t="t" r="r" b="b"/>
              <a:pathLst>
                <a:path w="120014" h="12700">
                  <a:moveTo>
                    <a:pt x="12700" y="6350"/>
                  </a:moveTo>
                  <a:lnTo>
                    <a:pt x="10845" y="1866"/>
                  </a:lnTo>
                  <a:lnTo>
                    <a:pt x="6350" y="0"/>
                  </a:lnTo>
                  <a:lnTo>
                    <a:pt x="1866" y="1866"/>
                  </a:lnTo>
                  <a:lnTo>
                    <a:pt x="0" y="6350"/>
                  </a:lnTo>
                  <a:lnTo>
                    <a:pt x="1866" y="10845"/>
                  </a:lnTo>
                  <a:lnTo>
                    <a:pt x="6350" y="12700"/>
                  </a:lnTo>
                  <a:lnTo>
                    <a:pt x="10845" y="10845"/>
                  </a:lnTo>
                  <a:lnTo>
                    <a:pt x="12700" y="6350"/>
                  </a:lnTo>
                  <a:close/>
                </a:path>
                <a:path w="120014" h="12700">
                  <a:moveTo>
                    <a:pt x="120002" y="6350"/>
                  </a:moveTo>
                  <a:lnTo>
                    <a:pt x="118148" y="1866"/>
                  </a:lnTo>
                  <a:lnTo>
                    <a:pt x="113652" y="0"/>
                  </a:lnTo>
                  <a:lnTo>
                    <a:pt x="109169" y="1866"/>
                  </a:lnTo>
                  <a:lnTo>
                    <a:pt x="107302" y="6350"/>
                  </a:lnTo>
                  <a:lnTo>
                    <a:pt x="109169" y="10845"/>
                  </a:lnTo>
                  <a:lnTo>
                    <a:pt x="113652" y="12700"/>
                  </a:lnTo>
                  <a:lnTo>
                    <a:pt x="118148" y="10845"/>
                  </a:lnTo>
                  <a:lnTo>
                    <a:pt x="120002" y="6350"/>
                  </a:lnTo>
                  <a:close/>
                </a:path>
              </a:pathLst>
            </a:custGeom>
            <a:solidFill>
              <a:srgbClr val="EF3A47"/>
            </a:solidFill>
          </p:spPr>
          <p:txBody>
            <a:bodyPr wrap="square" lIns="0" tIns="0" rIns="0" bIns="0" rtlCol="0"/>
            <a:lstStyle/>
            <a:p>
              <a:endParaRPr/>
            </a:p>
          </p:txBody>
        </p:sp>
      </p:grpSp>
      <p:grpSp>
        <p:nvGrpSpPr>
          <p:cNvPr id="38" name="object 38"/>
          <p:cNvGrpSpPr/>
          <p:nvPr/>
        </p:nvGrpSpPr>
        <p:grpSpPr>
          <a:xfrm>
            <a:off x="2148000" y="5462201"/>
            <a:ext cx="120014" cy="12700"/>
            <a:chOff x="2148000" y="5462201"/>
            <a:chExt cx="120014" cy="12700"/>
          </a:xfrm>
        </p:grpSpPr>
        <p:sp>
          <p:nvSpPr>
            <p:cNvPr id="39" name="object 39"/>
            <p:cNvSpPr/>
            <p:nvPr/>
          </p:nvSpPr>
          <p:spPr>
            <a:xfrm>
              <a:off x="2190116" y="5468551"/>
              <a:ext cx="53975" cy="0"/>
            </a:xfrm>
            <a:custGeom>
              <a:avLst/>
              <a:gdLst/>
              <a:ahLst/>
              <a:cxnLst/>
              <a:rect l="l" t="t" r="r" b="b"/>
              <a:pathLst>
                <a:path w="53975">
                  <a:moveTo>
                    <a:pt x="0" y="0"/>
                  </a:moveTo>
                  <a:lnTo>
                    <a:pt x="53644" y="0"/>
                  </a:lnTo>
                </a:path>
              </a:pathLst>
            </a:custGeom>
            <a:ln w="12700">
              <a:solidFill>
                <a:srgbClr val="EF3A47"/>
              </a:solidFill>
              <a:prstDash val="dot"/>
            </a:ln>
          </p:spPr>
          <p:txBody>
            <a:bodyPr wrap="square" lIns="0" tIns="0" rIns="0" bIns="0" rtlCol="0"/>
            <a:lstStyle/>
            <a:p>
              <a:endParaRPr/>
            </a:p>
          </p:txBody>
        </p:sp>
        <p:sp>
          <p:nvSpPr>
            <p:cNvPr id="40" name="object 40"/>
            <p:cNvSpPr/>
            <p:nvPr/>
          </p:nvSpPr>
          <p:spPr>
            <a:xfrm>
              <a:off x="2147989" y="5462206"/>
              <a:ext cx="120014" cy="12700"/>
            </a:xfrm>
            <a:custGeom>
              <a:avLst/>
              <a:gdLst/>
              <a:ahLst/>
              <a:cxnLst/>
              <a:rect l="l" t="t" r="r" b="b"/>
              <a:pathLst>
                <a:path w="120014" h="12700">
                  <a:moveTo>
                    <a:pt x="12700" y="6350"/>
                  </a:moveTo>
                  <a:lnTo>
                    <a:pt x="10845" y="1866"/>
                  </a:lnTo>
                  <a:lnTo>
                    <a:pt x="6350" y="0"/>
                  </a:lnTo>
                  <a:lnTo>
                    <a:pt x="1866" y="1866"/>
                  </a:lnTo>
                  <a:lnTo>
                    <a:pt x="0" y="6350"/>
                  </a:lnTo>
                  <a:lnTo>
                    <a:pt x="1866" y="10845"/>
                  </a:lnTo>
                  <a:lnTo>
                    <a:pt x="6350" y="12700"/>
                  </a:lnTo>
                  <a:lnTo>
                    <a:pt x="10845" y="10845"/>
                  </a:lnTo>
                  <a:lnTo>
                    <a:pt x="12700" y="6350"/>
                  </a:lnTo>
                  <a:close/>
                </a:path>
                <a:path w="120014" h="12700">
                  <a:moveTo>
                    <a:pt x="120002" y="6350"/>
                  </a:moveTo>
                  <a:lnTo>
                    <a:pt x="118148" y="1866"/>
                  </a:lnTo>
                  <a:lnTo>
                    <a:pt x="113652" y="0"/>
                  </a:lnTo>
                  <a:lnTo>
                    <a:pt x="109169" y="1866"/>
                  </a:lnTo>
                  <a:lnTo>
                    <a:pt x="107302" y="6350"/>
                  </a:lnTo>
                  <a:lnTo>
                    <a:pt x="109169" y="10845"/>
                  </a:lnTo>
                  <a:lnTo>
                    <a:pt x="113652" y="12700"/>
                  </a:lnTo>
                  <a:lnTo>
                    <a:pt x="118148" y="10845"/>
                  </a:lnTo>
                  <a:lnTo>
                    <a:pt x="120002" y="6350"/>
                  </a:lnTo>
                  <a:close/>
                </a:path>
              </a:pathLst>
            </a:custGeom>
            <a:solidFill>
              <a:srgbClr val="EF3A47"/>
            </a:solidFill>
          </p:spPr>
          <p:txBody>
            <a:bodyPr wrap="square" lIns="0" tIns="0" rIns="0" bIns="0" rtlCol="0"/>
            <a:lstStyle/>
            <a:p>
              <a:endParaRPr/>
            </a:p>
          </p:txBody>
        </p:sp>
      </p:grpSp>
      <p:sp>
        <p:nvSpPr>
          <p:cNvPr id="41" name="object 41"/>
          <p:cNvSpPr txBox="1"/>
          <p:nvPr/>
        </p:nvSpPr>
        <p:spPr>
          <a:xfrm>
            <a:off x="2295773" y="2253788"/>
            <a:ext cx="3296920" cy="2305685"/>
          </a:xfrm>
          <a:prstGeom prst="rect">
            <a:avLst/>
          </a:prstGeom>
        </p:spPr>
        <p:txBody>
          <a:bodyPr vert="horz" wrap="square" lIns="0" tIns="27939" rIns="0" bIns="0" rtlCol="0">
            <a:spAutoFit/>
          </a:bodyPr>
          <a:lstStyle/>
          <a:p>
            <a:pPr marL="12700" marR="5080" algn="just">
              <a:lnSpc>
                <a:spcPts val="850"/>
              </a:lnSpc>
              <a:spcBef>
                <a:spcPts val="219"/>
              </a:spcBef>
            </a:pPr>
            <a:r>
              <a:rPr sz="800" spc="-5" dirty="0">
                <a:solidFill>
                  <a:srgbClr val="231F20"/>
                </a:solidFill>
                <a:latin typeface="Century Gothic"/>
                <a:cs typeface="Century Gothic"/>
              </a:rPr>
              <a:t>Ineo </a:t>
            </a:r>
            <a:r>
              <a:rPr sz="800" dirty="0">
                <a:solidFill>
                  <a:srgbClr val="231F20"/>
                </a:solidFill>
                <a:latin typeface="Century Gothic"/>
                <a:cs typeface="Century Gothic"/>
              </a:rPr>
              <a:t>Nuclear </a:t>
            </a:r>
            <a:r>
              <a:rPr sz="800" spc="-5" dirty="0">
                <a:solidFill>
                  <a:srgbClr val="231F20"/>
                </a:solidFill>
                <a:latin typeface="Century Gothic"/>
                <a:cs typeface="Century Gothic"/>
              </a:rPr>
              <a:t>is </a:t>
            </a:r>
            <a:r>
              <a:rPr sz="800" dirty="0">
                <a:solidFill>
                  <a:srgbClr val="231F20"/>
                </a:solidFill>
                <a:latin typeface="Century Gothic"/>
                <a:cs typeface="Century Gothic"/>
              </a:rPr>
              <a:t>the nuclear electrical engineering expert of the </a:t>
            </a:r>
            <a:r>
              <a:rPr sz="800" spc="5" dirty="0">
                <a:solidFill>
                  <a:srgbClr val="231F20"/>
                </a:solidFill>
                <a:latin typeface="Century Gothic"/>
                <a:cs typeface="Century Gothic"/>
              </a:rPr>
              <a:t> </a:t>
            </a:r>
            <a:r>
              <a:rPr sz="800" spc="-5" dirty="0">
                <a:solidFill>
                  <a:srgbClr val="231F20"/>
                </a:solidFill>
                <a:latin typeface="Century Gothic"/>
                <a:cs typeface="Century Gothic"/>
              </a:rPr>
              <a:t>EQUANS</a:t>
            </a:r>
            <a:r>
              <a:rPr sz="800" dirty="0">
                <a:solidFill>
                  <a:srgbClr val="231F20"/>
                </a:solidFill>
                <a:latin typeface="Century Gothic"/>
                <a:cs typeface="Century Gothic"/>
              </a:rPr>
              <a:t> group.</a:t>
            </a:r>
            <a:r>
              <a:rPr sz="800" spc="5" dirty="0">
                <a:solidFill>
                  <a:srgbClr val="231F20"/>
                </a:solidFill>
                <a:latin typeface="Century Gothic"/>
                <a:cs typeface="Century Gothic"/>
              </a:rPr>
              <a:t> </a:t>
            </a:r>
            <a:r>
              <a:rPr sz="800" dirty="0">
                <a:solidFill>
                  <a:srgbClr val="231F20"/>
                </a:solidFill>
                <a:latin typeface="Century Gothic"/>
                <a:cs typeface="Century Gothic"/>
              </a:rPr>
              <a:t>We</a:t>
            </a:r>
            <a:r>
              <a:rPr sz="800" spc="5" dirty="0">
                <a:solidFill>
                  <a:srgbClr val="231F20"/>
                </a:solidFill>
                <a:latin typeface="Century Gothic"/>
                <a:cs typeface="Century Gothic"/>
              </a:rPr>
              <a:t> </a:t>
            </a:r>
            <a:r>
              <a:rPr sz="800" spc="-5" dirty="0">
                <a:solidFill>
                  <a:srgbClr val="231F20"/>
                </a:solidFill>
                <a:latin typeface="Century Gothic"/>
                <a:cs typeface="Century Gothic"/>
              </a:rPr>
              <a:t>support</a:t>
            </a:r>
            <a:r>
              <a:rPr sz="800" dirty="0">
                <a:solidFill>
                  <a:srgbClr val="231F20"/>
                </a:solidFill>
                <a:latin typeface="Century Gothic"/>
                <a:cs typeface="Century Gothic"/>
              </a:rPr>
              <a:t> the</a:t>
            </a:r>
            <a:r>
              <a:rPr sz="800" spc="5" dirty="0">
                <a:solidFill>
                  <a:srgbClr val="231F20"/>
                </a:solidFill>
                <a:latin typeface="Century Gothic"/>
                <a:cs typeface="Century Gothic"/>
              </a:rPr>
              <a:t> </a:t>
            </a:r>
            <a:r>
              <a:rPr sz="800" dirty="0">
                <a:solidFill>
                  <a:srgbClr val="231F20"/>
                </a:solidFill>
                <a:latin typeface="Century Gothic"/>
                <a:cs typeface="Century Gothic"/>
              </a:rPr>
              <a:t>nuclear</a:t>
            </a:r>
            <a:r>
              <a:rPr sz="800" spc="5" dirty="0">
                <a:solidFill>
                  <a:srgbClr val="231F20"/>
                </a:solidFill>
                <a:latin typeface="Century Gothic"/>
                <a:cs typeface="Century Gothic"/>
              </a:rPr>
              <a:t> </a:t>
            </a:r>
            <a:r>
              <a:rPr sz="800" spc="-5" dirty="0">
                <a:solidFill>
                  <a:srgbClr val="231F20"/>
                </a:solidFill>
                <a:latin typeface="Century Gothic"/>
                <a:cs typeface="Century Gothic"/>
              </a:rPr>
              <a:t>industry</a:t>
            </a:r>
            <a:r>
              <a:rPr sz="800" dirty="0">
                <a:solidFill>
                  <a:srgbClr val="231F20"/>
                </a:solidFill>
                <a:latin typeface="Century Gothic"/>
                <a:cs typeface="Century Gothic"/>
              </a:rPr>
              <a:t> through</a:t>
            </a:r>
            <a:r>
              <a:rPr sz="800" spc="5" dirty="0">
                <a:solidFill>
                  <a:srgbClr val="231F20"/>
                </a:solidFill>
                <a:latin typeface="Century Gothic"/>
                <a:cs typeface="Century Gothic"/>
              </a:rPr>
              <a:t> </a:t>
            </a:r>
            <a:r>
              <a:rPr sz="800" dirty="0">
                <a:solidFill>
                  <a:srgbClr val="231F20"/>
                </a:solidFill>
                <a:latin typeface="Century Gothic"/>
                <a:cs typeface="Century Gothic"/>
              </a:rPr>
              <a:t>our </a:t>
            </a:r>
            <a:r>
              <a:rPr sz="800" spc="5" dirty="0">
                <a:solidFill>
                  <a:srgbClr val="231F20"/>
                </a:solidFill>
                <a:latin typeface="Century Gothic"/>
                <a:cs typeface="Century Gothic"/>
              </a:rPr>
              <a:t> </a:t>
            </a:r>
            <a:r>
              <a:rPr sz="800" dirty="0">
                <a:solidFill>
                  <a:srgbClr val="231F20"/>
                </a:solidFill>
                <a:latin typeface="Century Gothic"/>
                <a:cs typeface="Century Gothic"/>
              </a:rPr>
              <a:t>extensive expertise </a:t>
            </a:r>
            <a:r>
              <a:rPr sz="800" spc="-5" dirty="0">
                <a:solidFill>
                  <a:srgbClr val="231F20"/>
                </a:solidFill>
                <a:latin typeface="Century Gothic"/>
                <a:cs typeface="Century Gothic"/>
              </a:rPr>
              <a:t>based </a:t>
            </a:r>
            <a:r>
              <a:rPr sz="800" dirty="0">
                <a:solidFill>
                  <a:srgbClr val="231F20"/>
                </a:solidFill>
                <a:latin typeface="Century Gothic"/>
                <a:cs typeface="Century Gothic"/>
              </a:rPr>
              <a:t>on </a:t>
            </a:r>
            <a:r>
              <a:rPr sz="800" spc="-5" dirty="0">
                <a:solidFill>
                  <a:srgbClr val="231F20"/>
                </a:solidFill>
                <a:latin typeface="Century Gothic"/>
                <a:cs typeface="Century Gothic"/>
              </a:rPr>
              <a:t>decades </a:t>
            </a:r>
            <a:r>
              <a:rPr sz="800" dirty="0">
                <a:solidFill>
                  <a:srgbClr val="231F20"/>
                </a:solidFill>
                <a:latin typeface="Century Gothic"/>
                <a:cs typeface="Century Gothic"/>
              </a:rPr>
              <a:t>of </a:t>
            </a:r>
            <a:r>
              <a:rPr sz="800" spc="-5" dirty="0">
                <a:solidFill>
                  <a:srgbClr val="231F20"/>
                </a:solidFill>
                <a:latin typeface="Century Gothic"/>
                <a:cs typeface="Century Gothic"/>
              </a:rPr>
              <a:t>lessons learnt and </a:t>
            </a:r>
            <a:r>
              <a:rPr sz="800" dirty="0">
                <a:solidFill>
                  <a:srgbClr val="231F20"/>
                </a:solidFill>
                <a:latin typeface="Century Gothic"/>
                <a:cs typeface="Century Gothic"/>
              </a:rPr>
              <a:t>our </a:t>
            </a:r>
            <a:r>
              <a:rPr sz="800" spc="5" dirty="0">
                <a:solidFill>
                  <a:srgbClr val="231F20"/>
                </a:solidFill>
                <a:latin typeface="Century Gothic"/>
                <a:cs typeface="Century Gothic"/>
              </a:rPr>
              <a:t> </a:t>
            </a:r>
            <a:r>
              <a:rPr sz="800" spc="-5" dirty="0">
                <a:solidFill>
                  <a:srgbClr val="231F20"/>
                </a:solidFill>
                <a:latin typeface="Century Gothic"/>
                <a:cs typeface="Century Gothic"/>
              </a:rPr>
              <a:t>innovation</a:t>
            </a:r>
            <a:r>
              <a:rPr sz="800" spc="-10" dirty="0">
                <a:solidFill>
                  <a:srgbClr val="231F20"/>
                </a:solidFill>
                <a:latin typeface="Century Gothic"/>
                <a:cs typeface="Century Gothic"/>
              </a:rPr>
              <a:t> </a:t>
            </a:r>
            <a:r>
              <a:rPr sz="800" spc="-5" dirty="0">
                <a:solidFill>
                  <a:srgbClr val="231F20"/>
                </a:solidFill>
                <a:latin typeface="Century Gothic"/>
                <a:cs typeface="Century Gothic"/>
              </a:rPr>
              <a:t>spirit.</a:t>
            </a:r>
            <a:endParaRPr sz="800" dirty="0">
              <a:latin typeface="Century Gothic"/>
              <a:cs typeface="Century Gothic"/>
            </a:endParaRPr>
          </a:p>
          <a:p>
            <a:pPr marL="12700" marR="6350" algn="just">
              <a:lnSpc>
                <a:spcPts val="850"/>
              </a:lnSpc>
              <a:spcBef>
                <a:spcPts val="565"/>
              </a:spcBef>
            </a:pPr>
            <a:r>
              <a:rPr sz="800" dirty="0">
                <a:solidFill>
                  <a:srgbClr val="231F20"/>
                </a:solidFill>
                <a:latin typeface="Century Gothic"/>
                <a:cs typeface="Century Gothic"/>
              </a:rPr>
              <a:t>We</a:t>
            </a:r>
            <a:r>
              <a:rPr sz="800" spc="5" dirty="0">
                <a:solidFill>
                  <a:srgbClr val="231F20"/>
                </a:solidFill>
                <a:latin typeface="Century Gothic"/>
                <a:cs typeface="Century Gothic"/>
              </a:rPr>
              <a:t> </a:t>
            </a:r>
            <a:r>
              <a:rPr sz="800" spc="-5" dirty="0">
                <a:solidFill>
                  <a:srgbClr val="231F20"/>
                </a:solidFill>
                <a:latin typeface="Century Gothic"/>
                <a:cs typeface="Century Gothic"/>
              </a:rPr>
              <a:t>are</a:t>
            </a:r>
            <a:r>
              <a:rPr sz="800" dirty="0">
                <a:solidFill>
                  <a:srgbClr val="231F20"/>
                </a:solidFill>
                <a:latin typeface="Century Gothic"/>
                <a:cs typeface="Century Gothic"/>
              </a:rPr>
              <a:t> </a:t>
            </a:r>
            <a:r>
              <a:rPr sz="800" spc="-5" dirty="0">
                <a:solidFill>
                  <a:srgbClr val="231F20"/>
                </a:solidFill>
                <a:latin typeface="Century Gothic"/>
                <a:cs typeface="Century Gothic"/>
              </a:rPr>
              <a:t>able</a:t>
            </a:r>
            <a:r>
              <a:rPr sz="800" dirty="0">
                <a:solidFill>
                  <a:srgbClr val="231F20"/>
                </a:solidFill>
                <a:latin typeface="Century Gothic"/>
                <a:cs typeface="Century Gothic"/>
              </a:rPr>
              <a:t> to</a:t>
            </a:r>
            <a:r>
              <a:rPr sz="800" spc="5" dirty="0">
                <a:solidFill>
                  <a:srgbClr val="231F20"/>
                </a:solidFill>
                <a:latin typeface="Century Gothic"/>
                <a:cs typeface="Century Gothic"/>
              </a:rPr>
              <a:t> </a:t>
            </a:r>
            <a:r>
              <a:rPr sz="800" spc="-5" dirty="0">
                <a:solidFill>
                  <a:srgbClr val="231F20"/>
                </a:solidFill>
                <a:latin typeface="Century Gothic"/>
                <a:cs typeface="Century Gothic"/>
              </a:rPr>
              <a:t>deliver</a:t>
            </a:r>
            <a:r>
              <a:rPr sz="800" dirty="0">
                <a:solidFill>
                  <a:srgbClr val="231F20"/>
                </a:solidFill>
                <a:latin typeface="Century Gothic"/>
                <a:cs typeface="Century Gothic"/>
              </a:rPr>
              <a:t> </a:t>
            </a:r>
            <a:r>
              <a:rPr sz="800" spc="-5" dirty="0">
                <a:solidFill>
                  <a:srgbClr val="231F20"/>
                </a:solidFill>
                <a:latin typeface="Century Gothic"/>
                <a:cs typeface="Century Gothic"/>
              </a:rPr>
              <a:t>large</a:t>
            </a:r>
            <a:r>
              <a:rPr sz="800" dirty="0">
                <a:solidFill>
                  <a:srgbClr val="231F20"/>
                </a:solidFill>
                <a:latin typeface="Century Gothic"/>
                <a:cs typeface="Century Gothic"/>
              </a:rPr>
              <a:t> turnkey</a:t>
            </a:r>
            <a:r>
              <a:rPr sz="800" spc="5" dirty="0">
                <a:solidFill>
                  <a:srgbClr val="231F20"/>
                </a:solidFill>
                <a:latin typeface="Century Gothic"/>
                <a:cs typeface="Century Gothic"/>
              </a:rPr>
              <a:t> </a:t>
            </a:r>
            <a:r>
              <a:rPr sz="800" spc="-5" dirty="0">
                <a:solidFill>
                  <a:srgbClr val="231F20"/>
                </a:solidFill>
                <a:latin typeface="Century Gothic"/>
                <a:cs typeface="Century Gothic"/>
              </a:rPr>
              <a:t>projects</a:t>
            </a:r>
            <a:r>
              <a:rPr sz="800" dirty="0">
                <a:solidFill>
                  <a:srgbClr val="231F20"/>
                </a:solidFill>
                <a:latin typeface="Century Gothic"/>
                <a:cs typeface="Century Gothic"/>
              </a:rPr>
              <a:t> through</a:t>
            </a:r>
            <a:r>
              <a:rPr sz="800" spc="5" dirty="0">
                <a:solidFill>
                  <a:srgbClr val="231F20"/>
                </a:solidFill>
                <a:latin typeface="Century Gothic"/>
                <a:cs typeface="Century Gothic"/>
              </a:rPr>
              <a:t> </a:t>
            </a:r>
            <a:r>
              <a:rPr sz="800" spc="-5" dirty="0">
                <a:solidFill>
                  <a:srgbClr val="231F20"/>
                </a:solidFill>
                <a:latin typeface="Century Gothic"/>
                <a:cs typeface="Century Gothic"/>
              </a:rPr>
              <a:t>design, </a:t>
            </a:r>
            <a:r>
              <a:rPr sz="800" dirty="0">
                <a:solidFill>
                  <a:srgbClr val="231F20"/>
                </a:solidFill>
                <a:latin typeface="Century Gothic"/>
                <a:cs typeface="Century Gothic"/>
              </a:rPr>
              <a:t> engineering,</a:t>
            </a:r>
            <a:r>
              <a:rPr sz="800" spc="-65" dirty="0">
                <a:solidFill>
                  <a:srgbClr val="231F20"/>
                </a:solidFill>
                <a:latin typeface="Century Gothic"/>
                <a:cs typeface="Century Gothic"/>
              </a:rPr>
              <a:t> </a:t>
            </a:r>
            <a:r>
              <a:rPr sz="800" dirty="0">
                <a:solidFill>
                  <a:srgbClr val="231F20"/>
                </a:solidFill>
                <a:latin typeface="Century Gothic"/>
                <a:cs typeface="Century Gothic"/>
              </a:rPr>
              <a:t>calculations,</a:t>
            </a:r>
            <a:r>
              <a:rPr sz="800" spc="-65" dirty="0">
                <a:solidFill>
                  <a:srgbClr val="231F20"/>
                </a:solidFill>
                <a:latin typeface="Century Gothic"/>
                <a:cs typeface="Century Gothic"/>
              </a:rPr>
              <a:t> </a:t>
            </a:r>
            <a:r>
              <a:rPr sz="800" dirty="0">
                <a:solidFill>
                  <a:srgbClr val="231F20"/>
                </a:solidFill>
                <a:latin typeface="Century Gothic"/>
                <a:cs typeface="Century Gothic"/>
              </a:rPr>
              <a:t>manufacturing,</a:t>
            </a:r>
            <a:r>
              <a:rPr sz="800" spc="-65" dirty="0">
                <a:solidFill>
                  <a:srgbClr val="231F20"/>
                </a:solidFill>
                <a:latin typeface="Century Gothic"/>
                <a:cs typeface="Century Gothic"/>
              </a:rPr>
              <a:t> </a:t>
            </a:r>
            <a:r>
              <a:rPr sz="800" spc="-10" dirty="0">
                <a:solidFill>
                  <a:srgbClr val="231F20"/>
                </a:solidFill>
                <a:latin typeface="Century Gothic"/>
                <a:cs typeface="Century Gothic"/>
              </a:rPr>
              <a:t>qualification</a:t>
            </a:r>
            <a:r>
              <a:rPr sz="800" spc="-5" dirty="0">
                <a:solidFill>
                  <a:srgbClr val="231F20"/>
                </a:solidFill>
                <a:latin typeface="Century Gothic"/>
                <a:cs typeface="Century Gothic"/>
              </a:rPr>
              <a:t>,</a:t>
            </a:r>
            <a:r>
              <a:rPr sz="800" spc="-65" dirty="0">
                <a:solidFill>
                  <a:srgbClr val="231F20"/>
                </a:solidFill>
                <a:latin typeface="Century Gothic"/>
                <a:cs typeface="Century Gothic"/>
              </a:rPr>
              <a:t> </a:t>
            </a:r>
            <a:r>
              <a:rPr sz="800" spc="-5" dirty="0">
                <a:solidFill>
                  <a:srgbClr val="231F20"/>
                </a:solidFill>
                <a:latin typeface="Century Gothic"/>
                <a:cs typeface="Century Gothic"/>
              </a:rPr>
              <a:t>installation,  </a:t>
            </a:r>
            <a:r>
              <a:rPr sz="800" dirty="0">
                <a:solidFill>
                  <a:srgbClr val="231F20"/>
                </a:solidFill>
                <a:latin typeface="Century Gothic"/>
                <a:cs typeface="Century Gothic"/>
              </a:rPr>
              <a:t>on-site</a:t>
            </a:r>
            <a:r>
              <a:rPr sz="800" spc="5" dirty="0">
                <a:solidFill>
                  <a:srgbClr val="231F20"/>
                </a:solidFill>
                <a:latin typeface="Century Gothic"/>
                <a:cs typeface="Century Gothic"/>
              </a:rPr>
              <a:t> </a:t>
            </a:r>
            <a:r>
              <a:rPr sz="800" spc="-5" dirty="0">
                <a:solidFill>
                  <a:srgbClr val="231F20"/>
                </a:solidFill>
                <a:latin typeface="Century Gothic"/>
                <a:cs typeface="Century Gothic"/>
              </a:rPr>
              <a:t>supervision,</a:t>
            </a:r>
            <a:r>
              <a:rPr sz="800" dirty="0">
                <a:solidFill>
                  <a:srgbClr val="231F20"/>
                </a:solidFill>
                <a:latin typeface="Century Gothic"/>
                <a:cs typeface="Century Gothic"/>
              </a:rPr>
              <a:t> testing</a:t>
            </a:r>
            <a:r>
              <a:rPr sz="800" spc="5" dirty="0">
                <a:solidFill>
                  <a:srgbClr val="231F20"/>
                </a:solidFill>
                <a:latin typeface="Century Gothic"/>
                <a:cs typeface="Century Gothic"/>
              </a:rPr>
              <a:t> </a:t>
            </a:r>
            <a:r>
              <a:rPr sz="800" spc="-5" dirty="0">
                <a:solidFill>
                  <a:srgbClr val="231F20"/>
                </a:solidFill>
                <a:latin typeface="Century Gothic"/>
                <a:cs typeface="Century Gothic"/>
              </a:rPr>
              <a:t>and</a:t>
            </a:r>
            <a:r>
              <a:rPr sz="800" dirty="0">
                <a:solidFill>
                  <a:srgbClr val="231F20"/>
                </a:solidFill>
                <a:latin typeface="Century Gothic"/>
                <a:cs typeface="Century Gothic"/>
              </a:rPr>
              <a:t> commissioning,</a:t>
            </a:r>
            <a:r>
              <a:rPr sz="800" spc="5" dirty="0">
                <a:solidFill>
                  <a:srgbClr val="231F20"/>
                </a:solidFill>
                <a:latin typeface="Century Gothic"/>
                <a:cs typeface="Century Gothic"/>
              </a:rPr>
              <a:t> </a:t>
            </a:r>
            <a:r>
              <a:rPr sz="800" dirty="0">
                <a:solidFill>
                  <a:srgbClr val="231F20"/>
                </a:solidFill>
                <a:latin typeface="Century Gothic"/>
                <a:cs typeface="Century Gothic"/>
              </a:rPr>
              <a:t>maintenance, </a:t>
            </a:r>
            <a:r>
              <a:rPr sz="800" spc="5" dirty="0">
                <a:solidFill>
                  <a:srgbClr val="231F20"/>
                </a:solidFill>
                <a:latin typeface="Century Gothic"/>
                <a:cs typeface="Century Gothic"/>
              </a:rPr>
              <a:t> </a:t>
            </a:r>
            <a:r>
              <a:rPr sz="800" dirty="0">
                <a:solidFill>
                  <a:srgbClr val="231F20"/>
                </a:solidFill>
                <a:latin typeface="Century Gothic"/>
                <a:cs typeface="Century Gothic"/>
              </a:rPr>
              <a:t>obsolescence</a:t>
            </a:r>
            <a:r>
              <a:rPr sz="800" spc="-5" dirty="0">
                <a:solidFill>
                  <a:srgbClr val="231F20"/>
                </a:solidFill>
                <a:latin typeface="Century Gothic"/>
                <a:cs typeface="Century Gothic"/>
              </a:rPr>
              <a:t> </a:t>
            </a:r>
            <a:r>
              <a:rPr sz="800" dirty="0">
                <a:solidFill>
                  <a:srgbClr val="231F20"/>
                </a:solidFill>
                <a:latin typeface="Century Gothic"/>
                <a:cs typeface="Century Gothic"/>
              </a:rPr>
              <a:t>management</a:t>
            </a:r>
            <a:r>
              <a:rPr sz="800" spc="-5" dirty="0">
                <a:solidFill>
                  <a:srgbClr val="231F20"/>
                </a:solidFill>
                <a:latin typeface="Century Gothic"/>
                <a:cs typeface="Century Gothic"/>
              </a:rPr>
              <a:t> and </a:t>
            </a:r>
            <a:r>
              <a:rPr sz="800" dirty="0">
                <a:solidFill>
                  <a:srgbClr val="231F20"/>
                </a:solidFill>
                <a:latin typeface="Century Gothic"/>
                <a:cs typeface="Century Gothic"/>
              </a:rPr>
              <a:t>decommissioning.</a:t>
            </a:r>
            <a:endParaRPr sz="800" dirty="0">
              <a:latin typeface="Century Gothic"/>
              <a:cs typeface="Century Gothic"/>
            </a:endParaRPr>
          </a:p>
          <a:p>
            <a:pPr marL="12700" marR="5080" algn="just">
              <a:lnSpc>
                <a:spcPts val="850"/>
              </a:lnSpc>
              <a:spcBef>
                <a:spcPts val="565"/>
              </a:spcBef>
            </a:pPr>
            <a:r>
              <a:rPr sz="800" spc="-5" dirty="0">
                <a:solidFill>
                  <a:srgbClr val="231F20"/>
                </a:solidFill>
                <a:latin typeface="Century Gothic"/>
                <a:cs typeface="Century Gothic"/>
              </a:rPr>
              <a:t>Ineo</a:t>
            </a:r>
            <a:r>
              <a:rPr sz="800" spc="95" dirty="0">
                <a:solidFill>
                  <a:srgbClr val="231F20"/>
                </a:solidFill>
                <a:latin typeface="Century Gothic"/>
                <a:cs typeface="Century Gothic"/>
              </a:rPr>
              <a:t> </a:t>
            </a:r>
            <a:r>
              <a:rPr sz="800" dirty="0">
                <a:solidFill>
                  <a:srgbClr val="231F20"/>
                </a:solidFill>
                <a:latin typeface="Century Gothic"/>
                <a:cs typeface="Century Gothic"/>
              </a:rPr>
              <a:t>nuclear</a:t>
            </a:r>
            <a:r>
              <a:rPr sz="800" spc="95" dirty="0">
                <a:solidFill>
                  <a:srgbClr val="231F20"/>
                </a:solidFill>
                <a:latin typeface="Century Gothic"/>
                <a:cs typeface="Century Gothic"/>
              </a:rPr>
              <a:t> </a:t>
            </a:r>
            <a:r>
              <a:rPr sz="800" dirty="0">
                <a:solidFill>
                  <a:srgbClr val="231F20"/>
                </a:solidFill>
                <a:latin typeface="Century Gothic"/>
                <a:cs typeface="Century Gothic"/>
              </a:rPr>
              <a:t>can</a:t>
            </a:r>
            <a:r>
              <a:rPr sz="800" spc="100" dirty="0">
                <a:solidFill>
                  <a:srgbClr val="231F20"/>
                </a:solidFill>
                <a:latin typeface="Century Gothic"/>
                <a:cs typeface="Century Gothic"/>
              </a:rPr>
              <a:t> </a:t>
            </a:r>
            <a:r>
              <a:rPr sz="800" spc="-5" dirty="0">
                <a:solidFill>
                  <a:srgbClr val="231F20"/>
                </a:solidFill>
                <a:latin typeface="Century Gothic"/>
                <a:cs typeface="Century Gothic"/>
              </a:rPr>
              <a:t>address</a:t>
            </a:r>
            <a:r>
              <a:rPr sz="800" spc="95" dirty="0">
                <a:solidFill>
                  <a:srgbClr val="231F20"/>
                </a:solidFill>
                <a:latin typeface="Century Gothic"/>
                <a:cs typeface="Century Gothic"/>
              </a:rPr>
              <a:t> </a:t>
            </a:r>
            <a:r>
              <a:rPr sz="800" dirty="0">
                <a:solidFill>
                  <a:srgbClr val="231F20"/>
                </a:solidFill>
                <a:latin typeface="Century Gothic"/>
                <a:cs typeface="Century Gothic"/>
              </a:rPr>
              <a:t>the</a:t>
            </a:r>
            <a:r>
              <a:rPr sz="800" spc="100" dirty="0">
                <a:solidFill>
                  <a:srgbClr val="231F20"/>
                </a:solidFill>
                <a:latin typeface="Century Gothic"/>
                <a:cs typeface="Century Gothic"/>
              </a:rPr>
              <a:t> </a:t>
            </a:r>
            <a:r>
              <a:rPr sz="800" spc="-5" dirty="0">
                <a:solidFill>
                  <a:srgbClr val="231F20"/>
                </a:solidFill>
                <a:latin typeface="Century Gothic"/>
                <a:cs typeface="Century Gothic"/>
              </a:rPr>
              <a:t>whole</a:t>
            </a:r>
            <a:r>
              <a:rPr sz="800" spc="95" dirty="0">
                <a:solidFill>
                  <a:srgbClr val="231F20"/>
                </a:solidFill>
                <a:latin typeface="Century Gothic"/>
                <a:cs typeface="Century Gothic"/>
              </a:rPr>
              <a:t> </a:t>
            </a:r>
            <a:r>
              <a:rPr sz="800" dirty="0">
                <a:solidFill>
                  <a:srgbClr val="231F20"/>
                </a:solidFill>
                <a:latin typeface="Century Gothic"/>
                <a:cs typeface="Century Gothic"/>
              </a:rPr>
              <a:t>nuclear</a:t>
            </a:r>
            <a:r>
              <a:rPr sz="800" spc="100" dirty="0">
                <a:solidFill>
                  <a:srgbClr val="231F20"/>
                </a:solidFill>
                <a:latin typeface="Century Gothic"/>
                <a:cs typeface="Century Gothic"/>
              </a:rPr>
              <a:t> </a:t>
            </a:r>
            <a:r>
              <a:rPr sz="800" spc="-5" dirty="0">
                <a:solidFill>
                  <a:srgbClr val="231F20"/>
                </a:solidFill>
                <a:latin typeface="Century Gothic"/>
                <a:cs typeface="Century Gothic"/>
              </a:rPr>
              <a:t>sector</a:t>
            </a:r>
            <a:r>
              <a:rPr sz="800" spc="95" dirty="0">
                <a:solidFill>
                  <a:srgbClr val="231F20"/>
                </a:solidFill>
                <a:latin typeface="Century Gothic"/>
                <a:cs typeface="Century Gothic"/>
              </a:rPr>
              <a:t> </a:t>
            </a:r>
            <a:r>
              <a:rPr sz="800" spc="-5" dirty="0">
                <a:solidFill>
                  <a:srgbClr val="231F20"/>
                </a:solidFill>
                <a:latin typeface="Century Gothic"/>
                <a:cs typeface="Century Gothic"/>
              </a:rPr>
              <a:t>and</a:t>
            </a:r>
            <a:r>
              <a:rPr sz="800" spc="95" dirty="0">
                <a:solidFill>
                  <a:srgbClr val="231F20"/>
                </a:solidFill>
                <a:latin typeface="Century Gothic"/>
                <a:cs typeface="Century Gothic"/>
              </a:rPr>
              <a:t> </a:t>
            </a:r>
            <a:r>
              <a:rPr sz="800" spc="-5" dirty="0">
                <a:solidFill>
                  <a:srgbClr val="231F20"/>
                </a:solidFill>
                <a:latin typeface="Century Gothic"/>
                <a:cs typeface="Century Gothic"/>
              </a:rPr>
              <a:t>provide </a:t>
            </a:r>
            <a:r>
              <a:rPr sz="800" spc="-210" dirty="0">
                <a:solidFill>
                  <a:srgbClr val="231F20"/>
                </a:solidFill>
                <a:latin typeface="Century Gothic"/>
                <a:cs typeface="Century Gothic"/>
              </a:rPr>
              <a:t> </a:t>
            </a:r>
            <a:r>
              <a:rPr sz="800" spc="-5" dirty="0">
                <a:solidFill>
                  <a:srgbClr val="231F20"/>
                </a:solidFill>
                <a:latin typeface="Century Gothic"/>
                <a:cs typeface="Century Gothic"/>
              </a:rPr>
              <a:t>its </a:t>
            </a:r>
            <a:r>
              <a:rPr sz="800" dirty="0">
                <a:solidFill>
                  <a:srgbClr val="231F20"/>
                </a:solidFill>
                <a:latin typeface="Century Gothic"/>
                <a:cs typeface="Century Gothic"/>
              </a:rPr>
              <a:t>extensive expertise on </a:t>
            </a:r>
            <a:r>
              <a:rPr sz="800" spc="-5" dirty="0">
                <a:solidFill>
                  <a:srgbClr val="231F20"/>
                </a:solidFill>
                <a:latin typeface="Century Gothic"/>
                <a:cs typeface="Century Gothic"/>
              </a:rPr>
              <a:t>all </a:t>
            </a:r>
            <a:r>
              <a:rPr sz="800" dirty="0">
                <a:solidFill>
                  <a:srgbClr val="231F20"/>
                </a:solidFill>
                <a:latin typeface="Century Gothic"/>
                <a:cs typeface="Century Gothic"/>
              </a:rPr>
              <a:t>type of nuclear </a:t>
            </a:r>
            <a:r>
              <a:rPr sz="800" spc="-5" dirty="0">
                <a:solidFill>
                  <a:srgbClr val="231F20"/>
                </a:solidFill>
                <a:latin typeface="Century Gothic"/>
                <a:cs typeface="Century Gothic"/>
              </a:rPr>
              <a:t>sites such as </a:t>
            </a:r>
            <a:r>
              <a:rPr sz="800" dirty="0">
                <a:solidFill>
                  <a:srgbClr val="231F20"/>
                </a:solidFill>
                <a:latin typeface="Century Gothic"/>
                <a:cs typeface="Century Gothic"/>
              </a:rPr>
              <a:t>nuclear </a:t>
            </a:r>
            <a:r>
              <a:rPr sz="800" spc="5" dirty="0">
                <a:solidFill>
                  <a:srgbClr val="231F20"/>
                </a:solidFill>
                <a:latin typeface="Century Gothic"/>
                <a:cs typeface="Century Gothic"/>
              </a:rPr>
              <a:t> </a:t>
            </a:r>
            <a:r>
              <a:rPr sz="800" spc="-5" dirty="0">
                <a:solidFill>
                  <a:srgbClr val="231F20"/>
                </a:solidFill>
                <a:latin typeface="Century Gothic"/>
                <a:cs typeface="Century Gothic"/>
              </a:rPr>
              <a:t>power</a:t>
            </a:r>
            <a:r>
              <a:rPr sz="800" dirty="0">
                <a:solidFill>
                  <a:srgbClr val="231F20"/>
                </a:solidFill>
                <a:latin typeface="Century Gothic"/>
                <a:cs typeface="Century Gothic"/>
              </a:rPr>
              <a:t> </a:t>
            </a:r>
            <a:r>
              <a:rPr sz="800" spc="-5" dirty="0">
                <a:solidFill>
                  <a:srgbClr val="231F20"/>
                </a:solidFill>
                <a:latin typeface="Century Gothic"/>
                <a:cs typeface="Century Gothic"/>
              </a:rPr>
              <a:t>plants,</a:t>
            </a:r>
            <a:r>
              <a:rPr sz="800" dirty="0">
                <a:solidFill>
                  <a:srgbClr val="231F20"/>
                </a:solidFill>
                <a:latin typeface="Century Gothic"/>
                <a:cs typeface="Century Gothic"/>
              </a:rPr>
              <a:t> uranium</a:t>
            </a:r>
            <a:r>
              <a:rPr sz="800" spc="5" dirty="0">
                <a:solidFill>
                  <a:srgbClr val="231F20"/>
                </a:solidFill>
                <a:latin typeface="Century Gothic"/>
                <a:cs typeface="Century Gothic"/>
              </a:rPr>
              <a:t> </a:t>
            </a:r>
            <a:r>
              <a:rPr sz="800" dirty="0">
                <a:solidFill>
                  <a:srgbClr val="231F20"/>
                </a:solidFill>
                <a:latin typeface="Century Gothic"/>
                <a:cs typeface="Century Gothic"/>
              </a:rPr>
              <a:t>cycle</a:t>
            </a:r>
            <a:r>
              <a:rPr sz="800" spc="5" dirty="0">
                <a:solidFill>
                  <a:srgbClr val="231F20"/>
                </a:solidFill>
                <a:latin typeface="Century Gothic"/>
                <a:cs typeface="Century Gothic"/>
              </a:rPr>
              <a:t> </a:t>
            </a:r>
            <a:r>
              <a:rPr sz="800" spc="-5" dirty="0">
                <a:solidFill>
                  <a:srgbClr val="231F20"/>
                </a:solidFill>
                <a:latin typeface="Century Gothic"/>
                <a:cs typeface="Century Gothic"/>
              </a:rPr>
              <a:t>plants,</a:t>
            </a:r>
            <a:r>
              <a:rPr sz="800" dirty="0">
                <a:solidFill>
                  <a:srgbClr val="231F20"/>
                </a:solidFill>
                <a:latin typeface="Century Gothic"/>
                <a:cs typeface="Century Gothic"/>
              </a:rPr>
              <a:t> radioactive</a:t>
            </a:r>
            <a:r>
              <a:rPr sz="800" spc="5" dirty="0">
                <a:solidFill>
                  <a:srgbClr val="231F20"/>
                </a:solidFill>
                <a:latin typeface="Century Gothic"/>
                <a:cs typeface="Century Gothic"/>
              </a:rPr>
              <a:t> </a:t>
            </a:r>
            <a:r>
              <a:rPr sz="800" spc="-5" dirty="0">
                <a:solidFill>
                  <a:srgbClr val="231F20"/>
                </a:solidFill>
                <a:latin typeface="Century Gothic"/>
                <a:cs typeface="Century Gothic"/>
              </a:rPr>
              <a:t>waste</a:t>
            </a:r>
            <a:r>
              <a:rPr sz="800" dirty="0">
                <a:solidFill>
                  <a:srgbClr val="231F20"/>
                </a:solidFill>
                <a:latin typeface="Century Gothic"/>
                <a:cs typeface="Century Gothic"/>
              </a:rPr>
              <a:t> </a:t>
            </a:r>
            <a:r>
              <a:rPr sz="800" spc="-5" dirty="0">
                <a:solidFill>
                  <a:srgbClr val="231F20"/>
                </a:solidFill>
                <a:latin typeface="Century Gothic"/>
                <a:cs typeface="Century Gothic"/>
              </a:rPr>
              <a:t>storage </a:t>
            </a:r>
            <a:r>
              <a:rPr sz="800" spc="-210" dirty="0">
                <a:solidFill>
                  <a:srgbClr val="231F20"/>
                </a:solidFill>
                <a:latin typeface="Century Gothic"/>
                <a:cs typeface="Century Gothic"/>
              </a:rPr>
              <a:t> </a:t>
            </a:r>
            <a:r>
              <a:rPr sz="800" dirty="0">
                <a:solidFill>
                  <a:srgbClr val="231F20"/>
                </a:solidFill>
                <a:latin typeface="Century Gothic"/>
                <a:cs typeface="Century Gothic"/>
              </a:rPr>
              <a:t>facilities,</a:t>
            </a:r>
            <a:r>
              <a:rPr sz="800" spc="5" dirty="0">
                <a:solidFill>
                  <a:srgbClr val="231F20"/>
                </a:solidFill>
                <a:latin typeface="Century Gothic"/>
                <a:cs typeface="Century Gothic"/>
              </a:rPr>
              <a:t> </a:t>
            </a:r>
            <a:r>
              <a:rPr sz="800" dirty="0">
                <a:solidFill>
                  <a:srgbClr val="231F20"/>
                </a:solidFill>
                <a:latin typeface="Century Gothic"/>
                <a:cs typeface="Century Gothic"/>
              </a:rPr>
              <a:t>fusion</a:t>
            </a:r>
            <a:r>
              <a:rPr sz="800" spc="5" dirty="0">
                <a:solidFill>
                  <a:srgbClr val="231F20"/>
                </a:solidFill>
                <a:latin typeface="Century Gothic"/>
                <a:cs typeface="Century Gothic"/>
              </a:rPr>
              <a:t> </a:t>
            </a:r>
            <a:r>
              <a:rPr sz="800" dirty="0">
                <a:solidFill>
                  <a:srgbClr val="231F20"/>
                </a:solidFill>
                <a:latin typeface="Century Gothic"/>
                <a:cs typeface="Century Gothic"/>
              </a:rPr>
              <a:t>research</a:t>
            </a:r>
            <a:r>
              <a:rPr sz="800" spc="5" dirty="0">
                <a:solidFill>
                  <a:srgbClr val="231F20"/>
                </a:solidFill>
                <a:latin typeface="Century Gothic"/>
                <a:cs typeface="Century Gothic"/>
              </a:rPr>
              <a:t> </a:t>
            </a:r>
            <a:r>
              <a:rPr sz="800" spc="-5" dirty="0">
                <a:solidFill>
                  <a:srgbClr val="231F20"/>
                </a:solidFill>
                <a:latin typeface="Century Gothic"/>
                <a:cs typeface="Century Gothic"/>
              </a:rPr>
              <a:t>facilities,</a:t>
            </a:r>
            <a:r>
              <a:rPr sz="800" dirty="0">
                <a:solidFill>
                  <a:srgbClr val="231F20"/>
                </a:solidFill>
                <a:latin typeface="Century Gothic"/>
                <a:cs typeface="Century Gothic"/>
              </a:rPr>
              <a:t> research</a:t>
            </a:r>
            <a:r>
              <a:rPr sz="800" spc="5" dirty="0">
                <a:solidFill>
                  <a:srgbClr val="231F20"/>
                </a:solidFill>
                <a:latin typeface="Century Gothic"/>
                <a:cs typeface="Century Gothic"/>
              </a:rPr>
              <a:t> </a:t>
            </a:r>
            <a:r>
              <a:rPr sz="800" dirty="0">
                <a:solidFill>
                  <a:srgbClr val="231F20"/>
                </a:solidFill>
                <a:latin typeface="Century Gothic"/>
                <a:cs typeface="Century Gothic"/>
              </a:rPr>
              <a:t>reactors</a:t>
            </a:r>
            <a:r>
              <a:rPr sz="800" spc="5" dirty="0">
                <a:solidFill>
                  <a:srgbClr val="231F20"/>
                </a:solidFill>
                <a:latin typeface="Century Gothic"/>
                <a:cs typeface="Century Gothic"/>
              </a:rPr>
              <a:t> </a:t>
            </a:r>
            <a:r>
              <a:rPr sz="800" dirty="0">
                <a:solidFill>
                  <a:srgbClr val="231F20"/>
                </a:solidFill>
                <a:latin typeface="Century Gothic"/>
                <a:cs typeface="Century Gothic"/>
              </a:rPr>
              <a:t>or</a:t>
            </a:r>
            <a:r>
              <a:rPr sz="800" spc="5" dirty="0">
                <a:solidFill>
                  <a:srgbClr val="231F20"/>
                </a:solidFill>
                <a:latin typeface="Century Gothic"/>
                <a:cs typeface="Century Gothic"/>
              </a:rPr>
              <a:t> </a:t>
            </a:r>
            <a:r>
              <a:rPr sz="800" dirty="0">
                <a:solidFill>
                  <a:srgbClr val="231F20"/>
                </a:solidFill>
                <a:latin typeface="Century Gothic"/>
                <a:cs typeface="Century Gothic"/>
              </a:rPr>
              <a:t>nuclear </a:t>
            </a:r>
            <a:r>
              <a:rPr sz="800" spc="-210" dirty="0">
                <a:solidFill>
                  <a:srgbClr val="231F20"/>
                </a:solidFill>
                <a:latin typeface="Century Gothic"/>
                <a:cs typeface="Century Gothic"/>
              </a:rPr>
              <a:t> </a:t>
            </a:r>
            <a:r>
              <a:rPr sz="800" spc="-5" dirty="0">
                <a:solidFill>
                  <a:srgbClr val="231F20"/>
                </a:solidFill>
                <a:latin typeface="Century Gothic"/>
                <a:cs typeface="Century Gothic"/>
              </a:rPr>
              <a:t>submarines.</a:t>
            </a:r>
            <a:endParaRPr sz="800" dirty="0">
              <a:latin typeface="Century Gothic"/>
              <a:cs typeface="Century Gothic"/>
            </a:endParaRPr>
          </a:p>
          <a:p>
            <a:pPr marL="12700" marR="6350" algn="just">
              <a:lnSpc>
                <a:spcPts val="850"/>
              </a:lnSpc>
              <a:spcBef>
                <a:spcPts val="565"/>
              </a:spcBef>
            </a:pPr>
            <a:r>
              <a:rPr sz="800" dirty="0">
                <a:solidFill>
                  <a:srgbClr val="231F20"/>
                </a:solidFill>
                <a:latin typeface="Century Gothic"/>
                <a:cs typeface="Century Gothic"/>
              </a:rPr>
              <a:t>We have </a:t>
            </a:r>
            <a:r>
              <a:rPr sz="800" spc="-5" dirty="0">
                <a:solidFill>
                  <a:srgbClr val="231F20"/>
                </a:solidFill>
                <a:latin typeface="Century Gothic"/>
                <a:cs typeface="Century Gothic"/>
              </a:rPr>
              <a:t>an </a:t>
            </a:r>
            <a:r>
              <a:rPr sz="800" dirty="0">
                <a:solidFill>
                  <a:srgbClr val="231F20"/>
                </a:solidFill>
                <a:latin typeface="Century Gothic"/>
                <a:cs typeface="Century Gothic"/>
              </a:rPr>
              <a:t>extensive experience of </a:t>
            </a:r>
            <a:r>
              <a:rPr sz="800" spc="-5" dirty="0">
                <a:solidFill>
                  <a:srgbClr val="231F20"/>
                </a:solidFill>
                <a:latin typeface="Century Gothic"/>
                <a:cs typeface="Century Gothic"/>
              </a:rPr>
              <a:t>large international </a:t>
            </a:r>
            <a:r>
              <a:rPr sz="800" dirty="0">
                <a:solidFill>
                  <a:srgbClr val="231F20"/>
                </a:solidFill>
                <a:latin typeface="Century Gothic"/>
                <a:cs typeface="Century Gothic"/>
              </a:rPr>
              <a:t>nuclear </a:t>
            </a:r>
            <a:r>
              <a:rPr sz="800" spc="5" dirty="0">
                <a:solidFill>
                  <a:srgbClr val="231F20"/>
                </a:solidFill>
                <a:latin typeface="Century Gothic"/>
                <a:cs typeface="Century Gothic"/>
              </a:rPr>
              <a:t> </a:t>
            </a:r>
            <a:r>
              <a:rPr sz="800" spc="-5" dirty="0">
                <a:solidFill>
                  <a:srgbClr val="231F20"/>
                </a:solidFill>
                <a:latin typeface="Century Gothic"/>
                <a:cs typeface="Century Gothic"/>
              </a:rPr>
              <a:t>projects</a:t>
            </a:r>
            <a:r>
              <a:rPr sz="800" dirty="0">
                <a:solidFill>
                  <a:srgbClr val="231F20"/>
                </a:solidFill>
                <a:latin typeface="Century Gothic"/>
                <a:cs typeface="Century Gothic"/>
              </a:rPr>
              <a:t> </a:t>
            </a:r>
            <a:r>
              <a:rPr sz="800" spc="-5" dirty="0">
                <a:solidFill>
                  <a:srgbClr val="231F20"/>
                </a:solidFill>
                <a:latin typeface="Century Gothic"/>
                <a:cs typeface="Century Gothic"/>
              </a:rPr>
              <a:t>while</a:t>
            </a:r>
            <a:r>
              <a:rPr sz="800" dirty="0">
                <a:solidFill>
                  <a:srgbClr val="231F20"/>
                </a:solidFill>
                <a:latin typeface="Century Gothic"/>
                <a:cs typeface="Century Gothic"/>
              </a:rPr>
              <a:t> </a:t>
            </a:r>
            <a:r>
              <a:rPr sz="800" spc="-5" dirty="0">
                <a:solidFill>
                  <a:srgbClr val="231F20"/>
                </a:solidFill>
                <a:latin typeface="Century Gothic"/>
                <a:cs typeface="Century Gothic"/>
              </a:rPr>
              <a:t>working</a:t>
            </a:r>
            <a:r>
              <a:rPr sz="800" dirty="0">
                <a:solidFill>
                  <a:srgbClr val="231F20"/>
                </a:solidFill>
                <a:latin typeface="Century Gothic"/>
                <a:cs typeface="Century Gothic"/>
              </a:rPr>
              <a:t> collaboratively</a:t>
            </a:r>
            <a:r>
              <a:rPr sz="800" spc="5" dirty="0">
                <a:solidFill>
                  <a:srgbClr val="231F20"/>
                </a:solidFill>
                <a:latin typeface="Century Gothic"/>
                <a:cs typeface="Century Gothic"/>
              </a:rPr>
              <a:t> </a:t>
            </a:r>
            <a:r>
              <a:rPr sz="800" spc="-5" dirty="0">
                <a:solidFill>
                  <a:srgbClr val="231F20"/>
                </a:solidFill>
                <a:latin typeface="Century Gothic"/>
                <a:cs typeface="Century Gothic"/>
              </a:rPr>
              <a:t>with</a:t>
            </a:r>
            <a:r>
              <a:rPr sz="800" dirty="0">
                <a:solidFill>
                  <a:srgbClr val="231F20"/>
                </a:solidFill>
                <a:latin typeface="Century Gothic"/>
                <a:cs typeface="Century Gothic"/>
              </a:rPr>
              <a:t> </a:t>
            </a:r>
            <a:r>
              <a:rPr sz="800" spc="-5" dirty="0">
                <a:solidFill>
                  <a:srgbClr val="231F20"/>
                </a:solidFill>
                <a:latin typeface="Century Gothic"/>
                <a:cs typeface="Century Gothic"/>
              </a:rPr>
              <a:t>local</a:t>
            </a:r>
            <a:r>
              <a:rPr sz="800" dirty="0">
                <a:solidFill>
                  <a:srgbClr val="231F20"/>
                </a:solidFill>
                <a:latin typeface="Century Gothic"/>
                <a:cs typeface="Century Gothic"/>
              </a:rPr>
              <a:t> </a:t>
            </a:r>
            <a:r>
              <a:rPr sz="800" spc="-5" dirty="0">
                <a:solidFill>
                  <a:srgbClr val="231F20"/>
                </a:solidFill>
                <a:latin typeface="Century Gothic"/>
                <a:cs typeface="Century Gothic"/>
              </a:rPr>
              <a:t>industries.</a:t>
            </a:r>
            <a:r>
              <a:rPr sz="800" dirty="0">
                <a:solidFill>
                  <a:srgbClr val="231F20"/>
                </a:solidFill>
                <a:latin typeface="Century Gothic"/>
                <a:cs typeface="Century Gothic"/>
              </a:rPr>
              <a:t> </a:t>
            </a:r>
            <a:r>
              <a:rPr sz="800" spc="-5" dirty="0">
                <a:solidFill>
                  <a:srgbClr val="231F20"/>
                </a:solidFill>
                <a:latin typeface="Century Gothic"/>
                <a:cs typeface="Century Gothic"/>
              </a:rPr>
              <a:t>Our </a:t>
            </a:r>
            <a:r>
              <a:rPr sz="800" dirty="0">
                <a:solidFill>
                  <a:srgbClr val="231F20"/>
                </a:solidFill>
                <a:latin typeface="Century Gothic"/>
                <a:cs typeface="Century Gothic"/>
              </a:rPr>
              <a:t> experience</a:t>
            </a:r>
            <a:r>
              <a:rPr sz="800" spc="-125" dirty="0">
                <a:solidFill>
                  <a:srgbClr val="231F20"/>
                </a:solidFill>
                <a:latin typeface="Century Gothic"/>
                <a:cs typeface="Century Gothic"/>
              </a:rPr>
              <a:t> </a:t>
            </a:r>
            <a:r>
              <a:rPr sz="800" dirty="0">
                <a:solidFill>
                  <a:srgbClr val="231F20"/>
                </a:solidFill>
                <a:latin typeface="Century Gothic"/>
                <a:cs typeface="Century Gothic"/>
              </a:rPr>
              <a:t>of</a:t>
            </a:r>
            <a:r>
              <a:rPr sz="800" spc="-120" dirty="0">
                <a:solidFill>
                  <a:srgbClr val="231F20"/>
                </a:solidFill>
                <a:latin typeface="Century Gothic"/>
                <a:cs typeface="Century Gothic"/>
              </a:rPr>
              <a:t> </a:t>
            </a:r>
            <a:r>
              <a:rPr sz="800" spc="-5" dirty="0">
                <a:solidFill>
                  <a:srgbClr val="231F20"/>
                </a:solidFill>
                <a:latin typeface="Century Gothic"/>
                <a:cs typeface="Century Gothic"/>
              </a:rPr>
              <a:t>internationa</a:t>
            </a:r>
            <a:r>
              <a:rPr sz="800" dirty="0">
                <a:solidFill>
                  <a:srgbClr val="231F20"/>
                </a:solidFill>
                <a:latin typeface="Century Gothic"/>
                <a:cs typeface="Century Gothic"/>
              </a:rPr>
              <a:t>l</a:t>
            </a:r>
            <a:r>
              <a:rPr sz="800" spc="-125" dirty="0">
                <a:solidFill>
                  <a:srgbClr val="231F20"/>
                </a:solidFill>
                <a:latin typeface="Century Gothic"/>
                <a:cs typeface="Century Gothic"/>
              </a:rPr>
              <a:t> </a:t>
            </a:r>
            <a:r>
              <a:rPr sz="800" dirty="0">
                <a:solidFill>
                  <a:srgbClr val="231F20"/>
                </a:solidFill>
                <a:latin typeface="Century Gothic"/>
                <a:cs typeface="Century Gothic"/>
              </a:rPr>
              <a:t>consortia,</a:t>
            </a:r>
            <a:r>
              <a:rPr sz="800" spc="-125" dirty="0">
                <a:solidFill>
                  <a:srgbClr val="231F20"/>
                </a:solidFill>
                <a:latin typeface="Century Gothic"/>
                <a:cs typeface="Century Gothic"/>
              </a:rPr>
              <a:t> </a:t>
            </a:r>
            <a:r>
              <a:rPr sz="800" spc="-5" dirty="0">
                <a:solidFill>
                  <a:srgbClr val="231F20"/>
                </a:solidFill>
                <a:latin typeface="Century Gothic"/>
                <a:cs typeface="Century Gothic"/>
              </a:rPr>
              <a:t>joint-venture</a:t>
            </a:r>
            <a:r>
              <a:rPr sz="800" dirty="0">
                <a:solidFill>
                  <a:srgbClr val="231F20"/>
                </a:solidFill>
                <a:latin typeface="Century Gothic"/>
                <a:cs typeface="Century Gothic"/>
              </a:rPr>
              <a:t>s</a:t>
            </a:r>
            <a:r>
              <a:rPr sz="800" spc="-125" dirty="0">
                <a:solidFill>
                  <a:srgbClr val="231F20"/>
                </a:solidFill>
                <a:latin typeface="Century Gothic"/>
                <a:cs typeface="Century Gothic"/>
              </a:rPr>
              <a:t> </a:t>
            </a:r>
            <a:r>
              <a:rPr sz="800" spc="-5" dirty="0">
                <a:solidFill>
                  <a:srgbClr val="231F20"/>
                </a:solidFill>
                <a:latin typeface="Century Gothic"/>
                <a:cs typeface="Century Gothic"/>
              </a:rPr>
              <a:t>an</a:t>
            </a:r>
            <a:r>
              <a:rPr sz="800" dirty="0">
                <a:solidFill>
                  <a:srgbClr val="231F20"/>
                </a:solidFill>
                <a:latin typeface="Century Gothic"/>
                <a:cs typeface="Century Gothic"/>
              </a:rPr>
              <a:t>d</a:t>
            </a:r>
            <a:r>
              <a:rPr sz="800" spc="-125" dirty="0">
                <a:solidFill>
                  <a:srgbClr val="231F20"/>
                </a:solidFill>
                <a:latin typeface="Century Gothic"/>
                <a:cs typeface="Century Gothic"/>
              </a:rPr>
              <a:t> </a:t>
            </a:r>
            <a:r>
              <a:rPr sz="800" spc="-5" dirty="0">
                <a:solidFill>
                  <a:srgbClr val="231F20"/>
                </a:solidFill>
                <a:latin typeface="Century Gothic"/>
                <a:cs typeface="Century Gothic"/>
              </a:rPr>
              <a:t>intercultural  aspects</a:t>
            </a:r>
            <a:r>
              <a:rPr sz="800" spc="-35" dirty="0">
                <a:solidFill>
                  <a:srgbClr val="231F20"/>
                </a:solidFill>
                <a:latin typeface="Century Gothic"/>
                <a:cs typeface="Century Gothic"/>
              </a:rPr>
              <a:t> </a:t>
            </a:r>
            <a:r>
              <a:rPr sz="800" spc="-5" dirty="0">
                <a:solidFill>
                  <a:srgbClr val="231F20"/>
                </a:solidFill>
                <a:latin typeface="Century Gothic"/>
                <a:cs typeface="Century Gothic"/>
              </a:rPr>
              <a:t>and</a:t>
            </a:r>
            <a:r>
              <a:rPr sz="800" spc="-30" dirty="0">
                <a:solidFill>
                  <a:srgbClr val="231F20"/>
                </a:solidFill>
                <a:latin typeface="Century Gothic"/>
                <a:cs typeface="Century Gothic"/>
              </a:rPr>
              <a:t> </a:t>
            </a:r>
            <a:r>
              <a:rPr sz="800" dirty="0">
                <a:solidFill>
                  <a:srgbClr val="231F20"/>
                </a:solidFill>
                <a:latin typeface="Century Gothic"/>
                <a:cs typeface="Century Gothic"/>
              </a:rPr>
              <a:t>our</a:t>
            </a:r>
            <a:r>
              <a:rPr sz="800" spc="-30" dirty="0">
                <a:solidFill>
                  <a:srgbClr val="231F20"/>
                </a:solidFill>
                <a:latin typeface="Century Gothic"/>
                <a:cs typeface="Century Gothic"/>
              </a:rPr>
              <a:t> </a:t>
            </a:r>
            <a:r>
              <a:rPr sz="800" dirty="0">
                <a:solidFill>
                  <a:srgbClr val="231F20"/>
                </a:solidFill>
                <a:latin typeface="Century Gothic"/>
                <a:cs typeface="Century Gothic"/>
              </a:rPr>
              <a:t>commitment</a:t>
            </a:r>
            <a:r>
              <a:rPr sz="800" spc="-30" dirty="0">
                <a:solidFill>
                  <a:srgbClr val="231F20"/>
                </a:solidFill>
                <a:latin typeface="Century Gothic"/>
                <a:cs typeface="Century Gothic"/>
              </a:rPr>
              <a:t> </a:t>
            </a:r>
            <a:r>
              <a:rPr sz="800" spc="-5" dirty="0">
                <a:solidFill>
                  <a:srgbClr val="231F20"/>
                </a:solidFill>
                <a:latin typeface="Century Gothic"/>
                <a:cs typeface="Century Gothic"/>
              </a:rPr>
              <a:t>in</a:t>
            </a:r>
            <a:r>
              <a:rPr sz="800" spc="-30" dirty="0">
                <a:solidFill>
                  <a:srgbClr val="231F20"/>
                </a:solidFill>
                <a:latin typeface="Century Gothic"/>
                <a:cs typeface="Century Gothic"/>
              </a:rPr>
              <a:t> </a:t>
            </a:r>
            <a:r>
              <a:rPr sz="800" spc="-5" dirty="0">
                <a:solidFill>
                  <a:srgbClr val="231F20"/>
                </a:solidFill>
                <a:latin typeface="Century Gothic"/>
                <a:cs typeface="Century Gothic"/>
              </a:rPr>
              <a:t>international</a:t>
            </a:r>
            <a:r>
              <a:rPr sz="800" spc="-30" dirty="0">
                <a:solidFill>
                  <a:srgbClr val="231F20"/>
                </a:solidFill>
                <a:latin typeface="Century Gothic"/>
                <a:cs typeface="Century Gothic"/>
              </a:rPr>
              <a:t> </a:t>
            </a:r>
            <a:r>
              <a:rPr sz="800" dirty="0">
                <a:solidFill>
                  <a:srgbClr val="231F20"/>
                </a:solidFill>
                <a:latin typeface="Century Gothic"/>
                <a:cs typeface="Century Gothic"/>
              </a:rPr>
              <a:t>collaborations,</a:t>
            </a:r>
            <a:r>
              <a:rPr sz="800" spc="-30" dirty="0">
                <a:solidFill>
                  <a:srgbClr val="231F20"/>
                </a:solidFill>
                <a:latin typeface="Century Gothic"/>
                <a:cs typeface="Century Gothic"/>
              </a:rPr>
              <a:t> </a:t>
            </a:r>
            <a:r>
              <a:rPr sz="800" dirty="0">
                <a:solidFill>
                  <a:srgbClr val="231F20"/>
                </a:solidFill>
                <a:latin typeface="Century Gothic"/>
                <a:cs typeface="Century Gothic"/>
              </a:rPr>
              <a:t>make </a:t>
            </a:r>
            <a:r>
              <a:rPr sz="800" spc="-210" dirty="0">
                <a:solidFill>
                  <a:srgbClr val="231F20"/>
                </a:solidFill>
                <a:latin typeface="Century Gothic"/>
                <a:cs typeface="Century Gothic"/>
              </a:rPr>
              <a:t> </a:t>
            </a:r>
            <a:r>
              <a:rPr sz="800" spc="-5" dirty="0">
                <a:solidFill>
                  <a:srgbClr val="231F20"/>
                </a:solidFill>
                <a:latin typeface="Century Gothic"/>
                <a:cs typeface="Century Gothic"/>
              </a:rPr>
              <a:t>EQUANS Ineo </a:t>
            </a:r>
            <a:r>
              <a:rPr sz="800" dirty="0">
                <a:solidFill>
                  <a:srgbClr val="231F20"/>
                </a:solidFill>
                <a:latin typeface="Century Gothic"/>
                <a:cs typeface="Century Gothic"/>
              </a:rPr>
              <a:t>a </a:t>
            </a:r>
            <a:r>
              <a:rPr sz="800" spc="-5" dirty="0">
                <a:solidFill>
                  <a:srgbClr val="231F20"/>
                </a:solidFill>
                <a:latin typeface="Century Gothic"/>
                <a:cs typeface="Century Gothic"/>
              </a:rPr>
              <a:t>first-in-class partner </a:t>
            </a:r>
            <a:r>
              <a:rPr sz="800" dirty="0">
                <a:solidFill>
                  <a:srgbClr val="231F20"/>
                </a:solidFill>
                <a:latin typeface="Century Gothic"/>
                <a:cs typeface="Century Gothic"/>
              </a:rPr>
              <a:t>to </a:t>
            </a:r>
            <a:r>
              <a:rPr sz="800" spc="-5" dirty="0">
                <a:solidFill>
                  <a:srgbClr val="231F20"/>
                </a:solidFill>
                <a:latin typeface="Century Gothic"/>
                <a:cs typeface="Century Gothic"/>
              </a:rPr>
              <a:t>support </a:t>
            </a:r>
            <a:r>
              <a:rPr sz="800" dirty="0">
                <a:solidFill>
                  <a:srgbClr val="231F20"/>
                </a:solidFill>
                <a:latin typeface="Century Gothic"/>
                <a:cs typeface="Century Gothic"/>
              </a:rPr>
              <a:t>the </a:t>
            </a:r>
            <a:r>
              <a:rPr sz="800" spc="-5" dirty="0">
                <a:solidFill>
                  <a:srgbClr val="231F20"/>
                </a:solidFill>
                <a:latin typeface="Century Gothic"/>
                <a:cs typeface="Century Gothic"/>
              </a:rPr>
              <a:t>development </a:t>
            </a:r>
            <a:r>
              <a:rPr sz="800" dirty="0">
                <a:solidFill>
                  <a:srgbClr val="231F20"/>
                </a:solidFill>
                <a:latin typeface="Century Gothic"/>
                <a:cs typeface="Century Gothic"/>
              </a:rPr>
              <a:t>of </a:t>
            </a:r>
            <a:r>
              <a:rPr sz="800" spc="5" dirty="0">
                <a:solidFill>
                  <a:srgbClr val="231F20"/>
                </a:solidFill>
                <a:latin typeface="Century Gothic"/>
                <a:cs typeface="Century Gothic"/>
              </a:rPr>
              <a:t> </a:t>
            </a:r>
            <a:r>
              <a:rPr sz="800" dirty="0">
                <a:solidFill>
                  <a:srgbClr val="231F20"/>
                </a:solidFill>
                <a:latin typeface="Century Gothic"/>
                <a:cs typeface="Century Gothic"/>
              </a:rPr>
              <a:t>Nuclear</a:t>
            </a:r>
            <a:r>
              <a:rPr sz="800" spc="-5" dirty="0">
                <a:solidFill>
                  <a:srgbClr val="231F20"/>
                </a:solidFill>
                <a:latin typeface="Century Gothic"/>
                <a:cs typeface="Century Gothic"/>
              </a:rPr>
              <a:t> </a:t>
            </a:r>
            <a:r>
              <a:rPr sz="800" dirty="0">
                <a:solidFill>
                  <a:srgbClr val="231F20"/>
                </a:solidFill>
                <a:latin typeface="Century Gothic"/>
                <a:cs typeface="Century Gothic"/>
              </a:rPr>
              <a:t>New </a:t>
            </a:r>
            <a:r>
              <a:rPr sz="800" spc="-5" dirty="0">
                <a:solidFill>
                  <a:srgbClr val="231F20"/>
                </a:solidFill>
                <a:latin typeface="Century Gothic"/>
                <a:cs typeface="Century Gothic"/>
              </a:rPr>
              <a:t>Build </a:t>
            </a:r>
            <a:r>
              <a:rPr sz="800" dirty="0">
                <a:solidFill>
                  <a:srgbClr val="231F20"/>
                </a:solidFill>
                <a:latin typeface="Century Gothic"/>
                <a:cs typeface="Century Gothic"/>
              </a:rPr>
              <a:t>worldwide.</a:t>
            </a:r>
            <a:endParaRPr sz="800" dirty="0">
              <a:latin typeface="Century Gothic"/>
              <a:cs typeface="Century Gothic"/>
            </a:endParaRPr>
          </a:p>
        </p:txBody>
      </p:sp>
      <p:sp>
        <p:nvSpPr>
          <p:cNvPr id="42" name="object 42"/>
          <p:cNvSpPr txBox="1"/>
          <p:nvPr/>
        </p:nvSpPr>
        <p:spPr>
          <a:xfrm>
            <a:off x="2196181" y="4657811"/>
            <a:ext cx="3423285" cy="1333698"/>
          </a:xfrm>
          <a:prstGeom prst="rect">
            <a:avLst/>
          </a:prstGeom>
        </p:spPr>
        <p:txBody>
          <a:bodyPr vert="horz" wrap="square" lIns="0" tIns="0" rIns="0" bIns="0" rtlCol="0">
            <a:spAutoFit/>
          </a:bodyPr>
          <a:lstStyle/>
          <a:p>
            <a:pPr marL="167640" indent="-130175">
              <a:lnSpc>
                <a:spcPts val="1565"/>
              </a:lnSpc>
              <a:buSzPct val="150000"/>
              <a:buFont typeface="Century Gothic"/>
              <a:buChar char="•"/>
              <a:tabLst>
                <a:tab pos="168275" algn="l"/>
              </a:tabLst>
            </a:pPr>
            <a:r>
              <a:rPr sz="1000" dirty="0">
                <a:solidFill>
                  <a:srgbClr val="EF3A47"/>
                </a:solidFill>
                <a:latin typeface="Rafale BG"/>
                <a:cs typeface="Rafale BG"/>
              </a:rPr>
              <a:t>Our</a:t>
            </a:r>
            <a:r>
              <a:rPr sz="1000" spc="-25" dirty="0">
                <a:solidFill>
                  <a:srgbClr val="EF3A47"/>
                </a:solidFill>
                <a:latin typeface="Rafale BG"/>
                <a:cs typeface="Rafale BG"/>
              </a:rPr>
              <a:t> </a:t>
            </a:r>
            <a:r>
              <a:rPr sz="1000" dirty="0">
                <a:solidFill>
                  <a:srgbClr val="EF3A47"/>
                </a:solidFill>
                <a:latin typeface="Rafale BG"/>
                <a:cs typeface="Rafale BG"/>
              </a:rPr>
              <a:t>products</a:t>
            </a:r>
            <a:r>
              <a:rPr sz="1000" spc="-25" dirty="0">
                <a:solidFill>
                  <a:srgbClr val="EF3A47"/>
                </a:solidFill>
                <a:latin typeface="Rafale BG"/>
                <a:cs typeface="Rafale BG"/>
              </a:rPr>
              <a:t> </a:t>
            </a:r>
            <a:r>
              <a:rPr sz="1000" dirty="0">
                <a:solidFill>
                  <a:srgbClr val="EF3A47"/>
                </a:solidFill>
                <a:latin typeface="Rafale BG"/>
                <a:cs typeface="Rafale BG"/>
              </a:rPr>
              <a:t>&amp;</a:t>
            </a:r>
            <a:r>
              <a:rPr sz="1000" spc="-20" dirty="0">
                <a:solidFill>
                  <a:srgbClr val="EF3A47"/>
                </a:solidFill>
                <a:latin typeface="Rafale BG"/>
                <a:cs typeface="Rafale BG"/>
              </a:rPr>
              <a:t> </a:t>
            </a:r>
            <a:r>
              <a:rPr sz="1000" dirty="0">
                <a:solidFill>
                  <a:srgbClr val="EF3A47"/>
                </a:solidFill>
                <a:latin typeface="Rafale BG"/>
                <a:cs typeface="Rafale BG"/>
              </a:rPr>
              <a:t>Services</a:t>
            </a:r>
            <a:endParaRPr sz="1000" dirty="0">
              <a:latin typeface="Rafale BG"/>
              <a:cs typeface="Rafale BG"/>
            </a:endParaRPr>
          </a:p>
          <a:p>
            <a:pPr marL="185420" algn="just">
              <a:lnSpc>
                <a:spcPts val="905"/>
              </a:lnSpc>
              <a:spcBef>
                <a:spcPts val="30"/>
              </a:spcBef>
            </a:pPr>
            <a:r>
              <a:rPr sz="800" spc="-5" dirty="0">
                <a:solidFill>
                  <a:srgbClr val="231F20"/>
                </a:solidFill>
                <a:latin typeface="Century Gothic"/>
                <a:cs typeface="Century Gothic"/>
              </a:rPr>
              <a:t>Our</a:t>
            </a:r>
            <a:r>
              <a:rPr sz="800" spc="40" dirty="0">
                <a:solidFill>
                  <a:srgbClr val="231F20"/>
                </a:solidFill>
                <a:latin typeface="Century Gothic"/>
                <a:cs typeface="Century Gothic"/>
              </a:rPr>
              <a:t> </a:t>
            </a:r>
            <a:r>
              <a:rPr sz="800" dirty="0">
                <a:solidFill>
                  <a:srgbClr val="231F20"/>
                </a:solidFill>
                <a:latin typeface="Century Gothic"/>
                <a:cs typeface="Century Gothic"/>
              </a:rPr>
              <a:t>core</a:t>
            </a:r>
            <a:r>
              <a:rPr sz="800" spc="45" dirty="0">
                <a:solidFill>
                  <a:srgbClr val="231F20"/>
                </a:solidFill>
                <a:latin typeface="Century Gothic"/>
                <a:cs typeface="Century Gothic"/>
              </a:rPr>
              <a:t> </a:t>
            </a:r>
            <a:r>
              <a:rPr sz="800" spc="-5" dirty="0">
                <a:solidFill>
                  <a:srgbClr val="231F20"/>
                </a:solidFill>
                <a:latin typeface="Century Gothic"/>
                <a:cs typeface="Century Gothic"/>
              </a:rPr>
              <a:t>businesses</a:t>
            </a:r>
            <a:r>
              <a:rPr sz="800" spc="45" dirty="0">
                <a:solidFill>
                  <a:srgbClr val="231F20"/>
                </a:solidFill>
                <a:latin typeface="Century Gothic"/>
                <a:cs typeface="Century Gothic"/>
              </a:rPr>
              <a:t> </a:t>
            </a:r>
            <a:r>
              <a:rPr sz="800" spc="-5" dirty="0">
                <a:solidFill>
                  <a:srgbClr val="231F20"/>
                </a:solidFill>
                <a:latin typeface="Century Gothic"/>
                <a:cs typeface="Century Gothic"/>
              </a:rPr>
              <a:t>are</a:t>
            </a:r>
            <a:r>
              <a:rPr sz="800" spc="40" dirty="0">
                <a:solidFill>
                  <a:srgbClr val="231F20"/>
                </a:solidFill>
                <a:latin typeface="Century Gothic"/>
                <a:cs typeface="Century Gothic"/>
              </a:rPr>
              <a:t> </a:t>
            </a:r>
            <a:r>
              <a:rPr sz="800" spc="-5" dirty="0">
                <a:solidFill>
                  <a:srgbClr val="231F20"/>
                </a:solidFill>
                <a:latin typeface="Century Gothic"/>
                <a:cs typeface="Century Gothic"/>
              </a:rPr>
              <a:t>low</a:t>
            </a:r>
            <a:r>
              <a:rPr sz="800" spc="45" dirty="0">
                <a:solidFill>
                  <a:srgbClr val="231F20"/>
                </a:solidFill>
                <a:latin typeface="Century Gothic"/>
                <a:cs typeface="Century Gothic"/>
              </a:rPr>
              <a:t> </a:t>
            </a:r>
            <a:r>
              <a:rPr sz="800" spc="-5" dirty="0">
                <a:solidFill>
                  <a:srgbClr val="231F20"/>
                </a:solidFill>
                <a:latin typeface="Century Gothic"/>
                <a:cs typeface="Century Gothic"/>
              </a:rPr>
              <a:t>voltage</a:t>
            </a:r>
            <a:r>
              <a:rPr sz="800" spc="45" dirty="0">
                <a:solidFill>
                  <a:srgbClr val="231F20"/>
                </a:solidFill>
                <a:latin typeface="Century Gothic"/>
                <a:cs typeface="Century Gothic"/>
              </a:rPr>
              <a:t> </a:t>
            </a:r>
            <a:r>
              <a:rPr sz="800" spc="-5" dirty="0">
                <a:solidFill>
                  <a:srgbClr val="231F20"/>
                </a:solidFill>
                <a:latin typeface="Century Gothic"/>
                <a:cs typeface="Century Gothic"/>
              </a:rPr>
              <a:t>and</a:t>
            </a:r>
            <a:r>
              <a:rPr sz="800" spc="40" dirty="0">
                <a:solidFill>
                  <a:srgbClr val="231F20"/>
                </a:solidFill>
                <a:latin typeface="Century Gothic"/>
                <a:cs typeface="Century Gothic"/>
              </a:rPr>
              <a:t> </a:t>
            </a:r>
            <a:r>
              <a:rPr sz="800" dirty="0">
                <a:solidFill>
                  <a:srgbClr val="231F20"/>
                </a:solidFill>
                <a:latin typeface="Century Gothic"/>
                <a:cs typeface="Century Gothic"/>
              </a:rPr>
              <a:t>high</a:t>
            </a:r>
            <a:r>
              <a:rPr sz="800" spc="45" dirty="0">
                <a:solidFill>
                  <a:srgbClr val="231F20"/>
                </a:solidFill>
                <a:latin typeface="Century Gothic"/>
                <a:cs typeface="Century Gothic"/>
              </a:rPr>
              <a:t> </a:t>
            </a:r>
            <a:r>
              <a:rPr sz="800" spc="-5" dirty="0">
                <a:solidFill>
                  <a:srgbClr val="231F20"/>
                </a:solidFill>
                <a:latin typeface="Century Gothic"/>
                <a:cs typeface="Century Gothic"/>
              </a:rPr>
              <a:t>voltage</a:t>
            </a:r>
            <a:r>
              <a:rPr sz="800" spc="45" dirty="0">
                <a:solidFill>
                  <a:srgbClr val="231F20"/>
                </a:solidFill>
                <a:latin typeface="Century Gothic"/>
                <a:cs typeface="Century Gothic"/>
              </a:rPr>
              <a:t> </a:t>
            </a:r>
            <a:r>
              <a:rPr sz="800" dirty="0">
                <a:solidFill>
                  <a:srgbClr val="231F20"/>
                </a:solidFill>
                <a:latin typeface="Century Gothic"/>
                <a:cs typeface="Century Gothic"/>
              </a:rPr>
              <a:t>electrical</a:t>
            </a:r>
            <a:endParaRPr sz="800" dirty="0">
              <a:latin typeface="Century Gothic"/>
              <a:cs typeface="Century Gothic"/>
            </a:endParaRPr>
          </a:p>
          <a:p>
            <a:pPr marL="185420" marR="30480" lvl="1" algn="just">
              <a:lnSpc>
                <a:spcPts val="850"/>
              </a:lnSpc>
              <a:spcBef>
                <a:spcPts val="65"/>
              </a:spcBef>
              <a:buClr>
                <a:srgbClr val="6C92A8"/>
              </a:buClr>
              <a:buChar char="•"/>
              <a:tabLst>
                <a:tab pos="283845" algn="l"/>
              </a:tabLst>
            </a:pPr>
            <a:r>
              <a:rPr sz="800" dirty="0">
                <a:solidFill>
                  <a:srgbClr val="231F20"/>
                </a:solidFill>
                <a:latin typeface="Century Gothic"/>
                <a:cs typeface="Century Gothic"/>
              </a:rPr>
              <a:t>cable </a:t>
            </a:r>
            <a:r>
              <a:rPr sz="800" spc="-5" dirty="0">
                <a:solidFill>
                  <a:srgbClr val="231F20"/>
                </a:solidFill>
                <a:latin typeface="Century Gothic"/>
                <a:cs typeface="Century Gothic"/>
              </a:rPr>
              <a:t>and </a:t>
            </a:r>
            <a:r>
              <a:rPr sz="800" dirty="0">
                <a:solidFill>
                  <a:srgbClr val="231F20"/>
                </a:solidFill>
                <a:latin typeface="Century Gothic"/>
                <a:cs typeface="Century Gothic"/>
              </a:rPr>
              <a:t>cable tray routing </a:t>
            </a:r>
            <a:r>
              <a:rPr sz="800" dirty="0">
                <a:solidFill>
                  <a:srgbClr val="6C92A8"/>
                </a:solidFill>
                <a:latin typeface="Century Gothic"/>
                <a:cs typeface="Century Gothic"/>
              </a:rPr>
              <a:t>• </a:t>
            </a:r>
            <a:r>
              <a:rPr sz="800" spc="-5" dirty="0">
                <a:solidFill>
                  <a:srgbClr val="231F20"/>
                </a:solidFill>
                <a:latin typeface="Century Gothic"/>
                <a:cs typeface="Century Gothic"/>
              </a:rPr>
              <a:t>installation security </a:t>
            </a:r>
            <a:r>
              <a:rPr sz="800" dirty="0">
                <a:solidFill>
                  <a:srgbClr val="6C92A8"/>
                </a:solidFill>
                <a:latin typeface="Century Gothic"/>
                <a:cs typeface="Century Gothic"/>
              </a:rPr>
              <a:t>• </a:t>
            </a:r>
            <a:r>
              <a:rPr sz="800" dirty="0">
                <a:solidFill>
                  <a:srgbClr val="231F20"/>
                </a:solidFill>
                <a:latin typeface="Century Gothic"/>
                <a:cs typeface="Century Gothic"/>
              </a:rPr>
              <a:t>radiation </a:t>
            </a:r>
            <a:r>
              <a:rPr sz="800" spc="5" dirty="0">
                <a:solidFill>
                  <a:srgbClr val="231F20"/>
                </a:solidFill>
                <a:latin typeface="Century Gothic"/>
                <a:cs typeface="Century Gothic"/>
              </a:rPr>
              <a:t> </a:t>
            </a:r>
            <a:r>
              <a:rPr sz="800" spc="-5" dirty="0">
                <a:solidFill>
                  <a:srgbClr val="231F20"/>
                </a:solidFill>
                <a:latin typeface="Century Gothic"/>
                <a:cs typeface="Century Gothic"/>
              </a:rPr>
              <a:t>protection</a:t>
            </a:r>
            <a:r>
              <a:rPr sz="800" spc="-45" dirty="0">
                <a:solidFill>
                  <a:srgbClr val="231F20"/>
                </a:solidFill>
                <a:latin typeface="Century Gothic"/>
                <a:cs typeface="Century Gothic"/>
              </a:rPr>
              <a:t> </a:t>
            </a:r>
            <a:r>
              <a:rPr sz="800" dirty="0">
                <a:solidFill>
                  <a:srgbClr val="6C92A8"/>
                </a:solidFill>
                <a:latin typeface="Century Gothic"/>
                <a:cs typeface="Century Gothic"/>
              </a:rPr>
              <a:t>•</a:t>
            </a:r>
            <a:r>
              <a:rPr sz="800" spc="-45" dirty="0">
                <a:solidFill>
                  <a:srgbClr val="6C92A8"/>
                </a:solidFill>
                <a:latin typeface="Century Gothic"/>
                <a:cs typeface="Century Gothic"/>
              </a:rPr>
              <a:t> </a:t>
            </a:r>
            <a:r>
              <a:rPr sz="800" dirty="0">
                <a:solidFill>
                  <a:srgbClr val="231F20"/>
                </a:solidFill>
                <a:latin typeface="Century Gothic"/>
                <a:cs typeface="Century Gothic"/>
              </a:rPr>
              <a:t>nuclear</a:t>
            </a:r>
            <a:r>
              <a:rPr sz="800" spc="-45" dirty="0">
                <a:solidFill>
                  <a:srgbClr val="231F20"/>
                </a:solidFill>
                <a:latin typeface="Century Gothic"/>
                <a:cs typeface="Century Gothic"/>
              </a:rPr>
              <a:t> </a:t>
            </a:r>
            <a:r>
              <a:rPr sz="800" spc="-5" dirty="0">
                <a:solidFill>
                  <a:srgbClr val="231F20"/>
                </a:solidFill>
                <a:latin typeface="Century Gothic"/>
                <a:cs typeface="Century Gothic"/>
              </a:rPr>
              <a:t>safety</a:t>
            </a:r>
            <a:r>
              <a:rPr sz="800" spc="-40" dirty="0">
                <a:solidFill>
                  <a:srgbClr val="231F20"/>
                </a:solidFill>
                <a:latin typeface="Century Gothic"/>
                <a:cs typeface="Century Gothic"/>
              </a:rPr>
              <a:t> </a:t>
            </a:r>
            <a:r>
              <a:rPr sz="800" dirty="0">
                <a:solidFill>
                  <a:srgbClr val="6C92A8"/>
                </a:solidFill>
                <a:latin typeface="Century Gothic"/>
                <a:cs typeface="Century Gothic"/>
              </a:rPr>
              <a:t>•</a:t>
            </a:r>
            <a:r>
              <a:rPr sz="800" spc="-45" dirty="0">
                <a:solidFill>
                  <a:srgbClr val="6C92A8"/>
                </a:solidFill>
                <a:latin typeface="Century Gothic"/>
                <a:cs typeface="Century Gothic"/>
              </a:rPr>
              <a:t> </a:t>
            </a:r>
            <a:r>
              <a:rPr sz="800" spc="-5" dirty="0">
                <a:solidFill>
                  <a:srgbClr val="231F20"/>
                </a:solidFill>
                <a:latin typeface="Century Gothic"/>
                <a:cs typeface="Century Gothic"/>
              </a:rPr>
              <a:t>IT</a:t>
            </a:r>
            <a:r>
              <a:rPr sz="800" spc="-50" dirty="0">
                <a:solidFill>
                  <a:srgbClr val="231F20"/>
                </a:solidFill>
                <a:latin typeface="Century Gothic"/>
                <a:cs typeface="Century Gothic"/>
              </a:rPr>
              <a:t> </a:t>
            </a:r>
            <a:r>
              <a:rPr sz="800" spc="-5" dirty="0">
                <a:solidFill>
                  <a:srgbClr val="231F20"/>
                </a:solidFill>
                <a:latin typeface="Century Gothic"/>
                <a:cs typeface="Century Gothic"/>
              </a:rPr>
              <a:t>and</a:t>
            </a:r>
            <a:r>
              <a:rPr sz="800" spc="-45" dirty="0">
                <a:solidFill>
                  <a:srgbClr val="231F20"/>
                </a:solidFill>
                <a:latin typeface="Century Gothic"/>
                <a:cs typeface="Century Gothic"/>
              </a:rPr>
              <a:t> </a:t>
            </a:r>
            <a:r>
              <a:rPr sz="800" dirty="0">
                <a:solidFill>
                  <a:srgbClr val="231F20"/>
                </a:solidFill>
                <a:latin typeface="Century Gothic"/>
                <a:cs typeface="Century Gothic"/>
              </a:rPr>
              <a:t>comms</a:t>
            </a:r>
            <a:r>
              <a:rPr sz="800" spc="-40" dirty="0">
                <a:solidFill>
                  <a:srgbClr val="231F20"/>
                </a:solidFill>
                <a:latin typeface="Century Gothic"/>
                <a:cs typeface="Century Gothic"/>
              </a:rPr>
              <a:t> </a:t>
            </a:r>
            <a:r>
              <a:rPr sz="800" dirty="0">
                <a:solidFill>
                  <a:srgbClr val="6C92A8"/>
                </a:solidFill>
                <a:latin typeface="Century Gothic"/>
                <a:cs typeface="Century Gothic"/>
              </a:rPr>
              <a:t>•</a:t>
            </a:r>
            <a:r>
              <a:rPr sz="800" spc="-50" dirty="0">
                <a:solidFill>
                  <a:srgbClr val="6C92A8"/>
                </a:solidFill>
                <a:latin typeface="Century Gothic"/>
                <a:cs typeface="Century Gothic"/>
              </a:rPr>
              <a:t> </a:t>
            </a:r>
            <a:r>
              <a:rPr sz="800" spc="-5" dirty="0">
                <a:solidFill>
                  <a:srgbClr val="231F20"/>
                </a:solidFill>
                <a:latin typeface="Century Gothic"/>
                <a:cs typeface="Century Gothic"/>
              </a:rPr>
              <a:t>instrumentation</a:t>
            </a:r>
            <a:r>
              <a:rPr sz="800" spc="-45" dirty="0">
                <a:solidFill>
                  <a:srgbClr val="231F20"/>
                </a:solidFill>
                <a:latin typeface="Century Gothic"/>
                <a:cs typeface="Century Gothic"/>
              </a:rPr>
              <a:t> </a:t>
            </a:r>
            <a:r>
              <a:rPr sz="800" spc="-5" dirty="0">
                <a:solidFill>
                  <a:srgbClr val="231F20"/>
                </a:solidFill>
                <a:latin typeface="Century Gothic"/>
                <a:cs typeface="Century Gothic"/>
              </a:rPr>
              <a:t>and </a:t>
            </a:r>
            <a:r>
              <a:rPr sz="800" dirty="0">
                <a:solidFill>
                  <a:srgbClr val="231F20"/>
                </a:solidFill>
                <a:latin typeface="Century Gothic"/>
                <a:cs typeface="Century Gothic"/>
              </a:rPr>
              <a:t> control</a:t>
            </a:r>
            <a:r>
              <a:rPr sz="800" spc="-10" dirty="0">
                <a:solidFill>
                  <a:srgbClr val="231F20"/>
                </a:solidFill>
                <a:latin typeface="Century Gothic"/>
                <a:cs typeface="Century Gothic"/>
              </a:rPr>
              <a:t> </a:t>
            </a:r>
            <a:r>
              <a:rPr sz="800" dirty="0">
                <a:solidFill>
                  <a:srgbClr val="6C92A8"/>
                </a:solidFill>
                <a:latin typeface="Century Gothic"/>
                <a:cs typeface="Century Gothic"/>
              </a:rPr>
              <a:t>• </a:t>
            </a:r>
            <a:r>
              <a:rPr sz="800" dirty="0">
                <a:solidFill>
                  <a:srgbClr val="231F20"/>
                </a:solidFill>
                <a:latin typeface="Century Gothic"/>
                <a:cs typeface="Century Gothic"/>
              </a:rPr>
              <a:t>multi-technical</a:t>
            </a:r>
            <a:r>
              <a:rPr sz="800" spc="-5" dirty="0">
                <a:solidFill>
                  <a:srgbClr val="231F20"/>
                </a:solidFill>
                <a:latin typeface="Century Gothic"/>
                <a:cs typeface="Century Gothic"/>
              </a:rPr>
              <a:t> </a:t>
            </a:r>
            <a:r>
              <a:rPr sz="800" dirty="0">
                <a:solidFill>
                  <a:srgbClr val="231F20"/>
                </a:solidFill>
                <a:latin typeface="Century Gothic"/>
                <a:cs typeface="Century Gothic"/>
              </a:rPr>
              <a:t>maintenance</a:t>
            </a:r>
            <a:r>
              <a:rPr sz="800" spc="-5" dirty="0">
                <a:solidFill>
                  <a:srgbClr val="231F20"/>
                </a:solidFill>
                <a:latin typeface="Century Gothic"/>
                <a:cs typeface="Century Gothic"/>
              </a:rPr>
              <a:t> </a:t>
            </a:r>
            <a:r>
              <a:rPr sz="800" dirty="0">
                <a:solidFill>
                  <a:srgbClr val="6C92A8"/>
                </a:solidFill>
                <a:latin typeface="Century Gothic"/>
                <a:cs typeface="Century Gothic"/>
              </a:rPr>
              <a:t>•</a:t>
            </a:r>
            <a:endParaRPr sz="800" dirty="0">
              <a:latin typeface="Century Gothic"/>
              <a:cs typeface="Century Gothic"/>
            </a:endParaRPr>
          </a:p>
          <a:p>
            <a:pPr marL="167640" indent="-130175">
              <a:lnSpc>
                <a:spcPct val="100000"/>
              </a:lnSpc>
              <a:spcBef>
                <a:spcPts val="100"/>
              </a:spcBef>
              <a:buSzPct val="150000"/>
              <a:buFont typeface="Century Gothic"/>
              <a:buChar char="•"/>
              <a:tabLst>
                <a:tab pos="168275" algn="l"/>
              </a:tabLst>
            </a:pPr>
            <a:r>
              <a:rPr sz="1000" spc="-5" dirty="0">
                <a:solidFill>
                  <a:srgbClr val="EF3A47"/>
                </a:solidFill>
                <a:latin typeface="Rafale BG"/>
                <a:cs typeface="Rafale BG"/>
              </a:rPr>
              <a:t>Market</a:t>
            </a:r>
            <a:r>
              <a:rPr sz="1000" spc="-35" dirty="0">
                <a:solidFill>
                  <a:srgbClr val="EF3A47"/>
                </a:solidFill>
                <a:latin typeface="Rafale BG"/>
                <a:cs typeface="Rafale BG"/>
              </a:rPr>
              <a:t> </a:t>
            </a:r>
            <a:r>
              <a:rPr sz="1000" dirty="0">
                <a:solidFill>
                  <a:srgbClr val="EF3A47"/>
                </a:solidFill>
                <a:latin typeface="Rafale BG"/>
                <a:cs typeface="Rafale BG"/>
              </a:rPr>
              <a:t>segment</a:t>
            </a:r>
            <a:endParaRPr sz="1000" dirty="0">
              <a:latin typeface="Rafale BG"/>
              <a:cs typeface="Rafale BG"/>
            </a:endParaRPr>
          </a:p>
          <a:p>
            <a:pPr marL="185420" marR="30480" algn="just">
              <a:lnSpc>
                <a:spcPts val="850"/>
              </a:lnSpc>
              <a:spcBef>
                <a:spcPts val="155"/>
              </a:spcBef>
            </a:pPr>
            <a:r>
              <a:rPr sz="800" dirty="0">
                <a:solidFill>
                  <a:srgbClr val="231F20"/>
                </a:solidFill>
                <a:latin typeface="Century Gothic"/>
                <a:cs typeface="Century Gothic"/>
              </a:rPr>
              <a:t>Nuclear</a:t>
            </a:r>
            <a:r>
              <a:rPr sz="800" spc="220" dirty="0">
                <a:solidFill>
                  <a:srgbClr val="231F20"/>
                </a:solidFill>
                <a:latin typeface="Century Gothic"/>
                <a:cs typeface="Century Gothic"/>
              </a:rPr>
              <a:t> </a:t>
            </a:r>
            <a:r>
              <a:rPr sz="800" dirty="0">
                <a:solidFill>
                  <a:srgbClr val="231F20"/>
                </a:solidFill>
                <a:latin typeface="Century Gothic"/>
                <a:cs typeface="Century Gothic"/>
              </a:rPr>
              <a:t>Power</a:t>
            </a:r>
            <a:r>
              <a:rPr sz="800" spc="220" dirty="0">
                <a:solidFill>
                  <a:srgbClr val="231F20"/>
                </a:solidFill>
                <a:latin typeface="Century Gothic"/>
                <a:cs typeface="Century Gothic"/>
              </a:rPr>
              <a:t> </a:t>
            </a:r>
            <a:r>
              <a:rPr sz="800" dirty="0">
                <a:solidFill>
                  <a:srgbClr val="231F20"/>
                </a:solidFill>
                <a:latin typeface="Century Gothic"/>
                <a:cs typeface="Century Gothic"/>
              </a:rPr>
              <a:t>Plant</a:t>
            </a:r>
            <a:r>
              <a:rPr sz="800" spc="220" dirty="0">
                <a:solidFill>
                  <a:srgbClr val="231F20"/>
                </a:solidFill>
                <a:latin typeface="Century Gothic"/>
                <a:cs typeface="Century Gothic"/>
              </a:rPr>
              <a:t> </a:t>
            </a:r>
            <a:r>
              <a:rPr sz="800" spc="-5" dirty="0">
                <a:solidFill>
                  <a:srgbClr val="231F20"/>
                </a:solidFill>
                <a:latin typeface="Century Gothic"/>
                <a:cs typeface="Century Gothic"/>
              </a:rPr>
              <a:t>Construction</a:t>
            </a:r>
            <a:r>
              <a:rPr sz="800" spc="215" dirty="0">
                <a:solidFill>
                  <a:srgbClr val="231F20"/>
                </a:solidFill>
                <a:latin typeface="Century Gothic"/>
                <a:cs typeface="Century Gothic"/>
              </a:rPr>
              <a:t> </a:t>
            </a:r>
            <a:r>
              <a:rPr sz="800" dirty="0">
                <a:solidFill>
                  <a:srgbClr val="6C92A8"/>
                </a:solidFill>
                <a:latin typeface="Century Gothic"/>
                <a:cs typeface="Century Gothic"/>
              </a:rPr>
              <a:t>•</a:t>
            </a:r>
            <a:r>
              <a:rPr sz="800" spc="220" dirty="0">
                <a:solidFill>
                  <a:srgbClr val="6C92A8"/>
                </a:solidFill>
                <a:latin typeface="Century Gothic"/>
                <a:cs typeface="Century Gothic"/>
              </a:rPr>
              <a:t> </a:t>
            </a:r>
            <a:r>
              <a:rPr sz="800" dirty="0">
                <a:solidFill>
                  <a:srgbClr val="231F20"/>
                </a:solidFill>
                <a:latin typeface="Century Gothic"/>
                <a:cs typeface="Century Gothic"/>
              </a:rPr>
              <a:t>Nuclear</a:t>
            </a:r>
            <a:r>
              <a:rPr sz="800" spc="220" dirty="0">
                <a:solidFill>
                  <a:srgbClr val="231F20"/>
                </a:solidFill>
                <a:latin typeface="Century Gothic"/>
                <a:cs typeface="Century Gothic"/>
              </a:rPr>
              <a:t> </a:t>
            </a:r>
            <a:r>
              <a:rPr sz="800" dirty="0">
                <a:solidFill>
                  <a:srgbClr val="231F20"/>
                </a:solidFill>
                <a:latin typeface="Century Gothic"/>
                <a:cs typeface="Century Gothic"/>
              </a:rPr>
              <a:t>Plant</a:t>
            </a:r>
            <a:r>
              <a:rPr sz="800" spc="225" dirty="0">
                <a:solidFill>
                  <a:srgbClr val="231F20"/>
                </a:solidFill>
                <a:latin typeface="Century Gothic"/>
                <a:cs typeface="Century Gothic"/>
              </a:rPr>
              <a:t> </a:t>
            </a:r>
            <a:r>
              <a:rPr sz="800" dirty="0">
                <a:solidFill>
                  <a:srgbClr val="231F20"/>
                </a:solidFill>
                <a:latin typeface="Century Gothic"/>
                <a:cs typeface="Century Gothic"/>
              </a:rPr>
              <a:t>operation </a:t>
            </a:r>
            <a:r>
              <a:rPr sz="800" spc="5" dirty="0">
                <a:solidFill>
                  <a:srgbClr val="231F20"/>
                </a:solidFill>
                <a:latin typeface="Century Gothic"/>
                <a:cs typeface="Century Gothic"/>
              </a:rPr>
              <a:t> </a:t>
            </a:r>
            <a:r>
              <a:rPr sz="800" dirty="0">
                <a:solidFill>
                  <a:srgbClr val="231F20"/>
                </a:solidFill>
                <a:latin typeface="Century Gothic"/>
                <a:cs typeface="Century Gothic"/>
              </a:rPr>
              <a:t>&amp;</a:t>
            </a:r>
            <a:r>
              <a:rPr sz="800" spc="5" dirty="0">
                <a:solidFill>
                  <a:srgbClr val="231F20"/>
                </a:solidFill>
                <a:latin typeface="Century Gothic"/>
                <a:cs typeface="Century Gothic"/>
              </a:rPr>
              <a:t> </a:t>
            </a:r>
            <a:r>
              <a:rPr sz="800" dirty="0">
                <a:solidFill>
                  <a:srgbClr val="231F20"/>
                </a:solidFill>
                <a:latin typeface="Century Gothic"/>
                <a:cs typeface="Century Gothic"/>
              </a:rPr>
              <a:t>maintenance</a:t>
            </a:r>
            <a:r>
              <a:rPr sz="800" spc="5" dirty="0">
                <a:solidFill>
                  <a:srgbClr val="231F20"/>
                </a:solidFill>
                <a:latin typeface="Century Gothic"/>
                <a:cs typeface="Century Gothic"/>
              </a:rPr>
              <a:t> </a:t>
            </a:r>
            <a:r>
              <a:rPr sz="800" dirty="0">
                <a:solidFill>
                  <a:srgbClr val="6C92A8"/>
                </a:solidFill>
                <a:latin typeface="Century Gothic"/>
                <a:cs typeface="Century Gothic"/>
              </a:rPr>
              <a:t>•</a:t>
            </a:r>
            <a:r>
              <a:rPr sz="800" spc="5" dirty="0">
                <a:solidFill>
                  <a:srgbClr val="6C92A8"/>
                </a:solidFill>
                <a:latin typeface="Century Gothic"/>
                <a:cs typeface="Century Gothic"/>
              </a:rPr>
              <a:t> </a:t>
            </a:r>
            <a:r>
              <a:rPr lang="en-GB" sz="800" spc="-5" dirty="0">
                <a:solidFill>
                  <a:srgbClr val="231F20"/>
                </a:solidFill>
                <a:latin typeface="Century Gothic"/>
              </a:rPr>
              <a:t>Fusion  and Research </a:t>
            </a:r>
            <a:r>
              <a:rPr lang="en-GB" sz="800" dirty="0">
                <a:solidFill>
                  <a:srgbClr val="231F20"/>
                </a:solidFill>
                <a:latin typeface="Century Gothic"/>
                <a:cs typeface="Century Gothic"/>
              </a:rPr>
              <a:t>reactor</a:t>
            </a:r>
            <a:r>
              <a:rPr lang="en-GB" sz="800" spc="-10" dirty="0">
                <a:solidFill>
                  <a:srgbClr val="231F20"/>
                </a:solidFill>
                <a:latin typeface="Century Gothic"/>
                <a:cs typeface="Century Gothic"/>
              </a:rPr>
              <a:t> </a:t>
            </a:r>
            <a:r>
              <a:rPr sz="800" dirty="0">
                <a:solidFill>
                  <a:srgbClr val="231F20"/>
                </a:solidFill>
                <a:latin typeface="Century Gothic"/>
                <a:cs typeface="Century Gothic"/>
              </a:rPr>
              <a:t>Fuel</a:t>
            </a:r>
            <a:r>
              <a:rPr sz="800" spc="5" dirty="0">
                <a:solidFill>
                  <a:srgbClr val="231F20"/>
                </a:solidFill>
                <a:latin typeface="Century Gothic"/>
                <a:cs typeface="Century Gothic"/>
              </a:rPr>
              <a:t> </a:t>
            </a:r>
            <a:r>
              <a:rPr sz="800" dirty="0">
                <a:solidFill>
                  <a:srgbClr val="231F20"/>
                </a:solidFill>
                <a:latin typeface="Century Gothic"/>
                <a:cs typeface="Century Gothic"/>
              </a:rPr>
              <a:t>cycle</a:t>
            </a:r>
            <a:r>
              <a:rPr sz="800" spc="5" dirty="0">
                <a:solidFill>
                  <a:srgbClr val="231F20"/>
                </a:solidFill>
                <a:latin typeface="Century Gothic"/>
                <a:cs typeface="Century Gothic"/>
              </a:rPr>
              <a:t> </a:t>
            </a:r>
            <a:r>
              <a:rPr sz="800" spc="-5" dirty="0">
                <a:solidFill>
                  <a:srgbClr val="231F20"/>
                </a:solidFill>
                <a:latin typeface="Century Gothic"/>
                <a:cs typeface="Century Gothic"/>
              </a:rPr>
              <a:t>activities</a:t>
            </a:r>
            <a:r>
              <a:rPr sz="800" dirty="0">
                <a:solidFill>
                  <a:srgbClr val="231F20"/>
                </a:solidFill>
                <a:latin typeface="Century Gothic"/>
                <a:cs typeface="Century Gothic"/>
              </a:rPr>
              <a:t> </a:t>
            </a:r>
            <a:r>
              <a:rPr sz="800" dirty="0">
                <a:solidFill>
                  <a:srgbClr val="6C92A8"/>
                </a:solidFill>
                <a:latin typeface="Century Gothic"/>
                <a:cs typeface="Century Gothic"/>
              </a:rPr>
              <a:t>•</a:t>
            </a:r>
            <a:r>
              <a:rPr sz="800" spc="5" dirty="0">
                <a:solidFill>
                  <a:srgbClr val="6C92A8"/>
                </a:solidFill>
                <a:latin typeface="Century Gothic"/>
                <a:cs typeface="Century Gothic"/>
              </a:rPr>
              <a:t> </a:t>
            </a:r>
            <a:r>
              <a:rPr sz="800" spc="-5" dirty="0">
                <a:solidFill>
                  <a:srgbClr val="231F20"/>
                </a:solidFill>
                <a:latin typeface="Century Gothic"/>
                <a:cs typeface="Century Gothic"/>
              </a:rPr>
              <a:t>Decommissioning</a:t>
            </a:r>
            <a:r>
              <a:rPr sz="800" dirty="0">
                <a:solidFill>
                  <a:srgbClr val="231F20"/>
                </a:solidFill>
                <a:latin typeface="Century Gothic"/>
                <a:cs typeface="Century Gothic"/>
              </a:rPr>
              <a:t> &amp; </a:t>
            </a:r>
            <a:r>
              <a:rPr sz="800" spc="5" dirty="0">
                <a:solidFill>
                  <a:srgbClr val="231F20"/>
                </a:solidFill>
                <a:latin typeface="Century Gothic"/>
                <a:cs typeface="Century Gothic"/>
              </a:rPr>
              <a:t> </a:t>
            </a:r>
            <a:r>
              <a:rPr sz="800" spc="-5" dirty="0">
                <a:solidFill>
                  <a:srgbClr val="231F20"/>
                </a:solidFill>
                <a:latin typeface="Century Gothic"/>
                <a:cs typeface="Century Gothic"/>
              </a:rPr>
              <a:t>dismantling </a:t>
            </a:r>
            <a:r>
              <a:rPr lang="en-GB" sz="800" dirty="0">
                <a:solidFill>
                  <a:srgbClr val="6C92A8"/>
                </a:solidFill>
                <a:latin typeface="Century Gothic"/>
                <a:cs typeface="Century Gothic"/>
              </a:rPr>
              <a:t>•</a:t>
            </a:r>
            <a:r>
              <a:rPr sz="800" spc="-5" dirty="0">
                <a:solidFill>
                  <a:srgbClr val="231F20"/>
                </a:solidFill>
                <a:latin typeface="Century Gothic"/>
                <a:cs typeface="Century Gothic"/>
              </a:rPr>
              <a:t> waste </a:t>
            </a:r>
            <a:r>
              <a:rPr sz="800" dirty="0">
                <a:solidFill>
                  <a:srgbClr val="231F20"/>
                </a:solidFill>
                <a:latin typeface="Century Gothic"/>
                <a:cs typeface="Century Gothic"/>
              </a:rPr>
              <a:t>management </a:t>
            </a:r>
            <a:r>
              <a:rPr sz="800" dirty="0">
                <a:solidFill>
                  <a:srgbClr val="6C92A8"/>
                </a:solidFill>
                <a:latin typeface="Century Gothic"/>
                <a:cs typeface="Century Gothic"/>
              </a:rPr>
              <a:t>•</a:t>
            </a:r>
            <a:endParaRPr sz="800" dirty="0">
              <a:latin typeface="Century Gothic"/>
              <a:cs typeface="Century Gothic"/>
            </a:endParaRPr>
          </a:p>
        </p:txBody>
      </p:sp>
      <p:sp>
        <p:nvSpPr>
          <p:cNvPr id="43" name="object 43"/>
          <p:cNvSpPr txBox="1"/>
          <p:nvPr/>
        </p:nvSpPr>
        <p:spPr>
          <a:xfrm>
            <a:off x="2001898" y="6063451"/>
            <a:ext cx="3604260" cy="1556836"/>
          </a:xfrm>
          <a:prstGeom prst="rect">
            <a:avLst/>
          </a:prstGeom>
        </p:spPr>
        <p:txBody>
          <a:bodyPr vert="horz" wrap="square" lIns="0" tIns="0" rIns="0" bIns="0" rtlCol="0">
            <a:spAutoFit/>
          </a:bodyPr>
          <a:lstStyle/>
          <a:p>
            <a:pPr marL="289560" indent="-252095">
              <a:lnSpc>
                <a:spcPts val="1700"/>
              </a:lnSpc>
              <a:buSzPct val="300000"/>
              <a:buFont typeface="Century Gothic"/>
              <a:buChar char="•"/>
              <a:tabLst>
                <a:tab pos="290195" algn="l"/>
              </a:tabLst>
            </a:pPr>
            <a:r>
              <a:rPr sz="1000" b="1" spc="-5" dirty="0">
                <a:solidFill>
                  <a:srgbClr val="EF3A47"/>
                </a:solidFill>
                <a:latin typeface="Century Gothic"/>
                <a:cs typeface="Century Gothic"/>
              </a:rPr>
              <a:t>REFERENCES</a:t>
            </a:r>
            <a:endParaRPr sz="1000" dirty="0">
              <a:latin typeface="Century Gothic"/>
              <a:cs typeface="Century Gothic"/>
            </a:endParaRPr>
          </a:p>
          <a:p>
            <a:pPr marL="451484" lvl="1" indent="-144145">
              <a:lnSpc>
                <a:spcPct val="100000"/>
              </a:lnSpc>
              <a:spcBef>
                <a:spcPts val="815"/>
              </a:spcBef>
              <a:buClr>
                <a:srgbClr val="001D18"/>
              </a:buClr>
              <a:buSzPct val="125000"/>
              <a:buFont typeface="Century Gothic"/>
              <a:buChar char="•"/>
              <a:tabLst>
                <a:tab pos="452120" algn="l"/>
              </a:tabLst>
            </a:pPr>
            <a:r>
              <a:rPr sz="800" b="1" dirty="0">
                <a:solidFill>
                  <a:srgbClr val="231F20"/>
                </a:solidFill>
                <a:latin typeface="Century Gothic"/>
                <a:cs typeface="Century Gothic"/>
              </a:rPr>
              <a:t>Nuclear</a:t>
            </a:r>
            <a:r>
              <a:rPr sz="800" b="1" spc="-50" dirty="0">
                <a:solidFill>
                  <a:srgbClr val="231F20"/>
                </a:solidFill>
                <a:latin typeface="Century Gothic"/>
                <a:cs typeface="Century Gothic"/>
              </a:rPr>
              <a:t> </a:t>
            </a:r>
            <a:r>
              <a:rPr sz="800" b="1" spc="-5" dirty="0">
                <a:solidFill>
                  <a:srgbClr val="231F20"/>
                </a:solidFill>
                <a:latin typeface="Century Gothic"/>
                <a:cs typeface="Century Gothic"/>
              </a:rPr>
              <a:t>certificationsI:</a:t>
            </a:r>
            <a:endParaRPr sz="800" dirty="0">
              <a:latin typeface="Century Gothic"/>
              <a:cs typeface="Century Gothic"/>
            </a:endParaRPr>
          </a:p>
          <a:p>
            <a:pPr marL="451484">
              <a:lnSpc>
                <a:spcPct val="100000"/>
              </a:lnSpc>
              <a:spcBef>
                <a:spcPts val="175"/>
              </a:spcBef>
            </a:pPr>
            <a:r>
              <a:rPr lang="fr-FR" sz="800" spc="-5" dirty="0">
                <a:solidFill>
                  <a:srgbClr val="231F20"/>
                </a:solidFill>
                <a:latin typeface="Century Gothic"/>
                <a:cs typeface="Century Gothic"/>
              </a:rPr>
              <a:t>I</a:t>
            </a:r>
            <a:r>
              <a:rPr sz="800" spc="-5" dirty="0">
                <a:solidFill>
                  <a:srgbClr val="231F20"/>
                </a:solidFill>
                <a:latin typeface="Century Gothic"/>
                <a:cs typeface="Century Gothic"/>
              </a:rPr>
              <a:t>SO</a:t>
            </a:r>
            <a:r>
              <a:rPr sz="800" spc="-10" dirty="0">
                <a:solidFill>
                  <a:srgbClr val="231F20"/>
                </a:solidFill>
                <a:latin typeface="Century Gothic"/>
                <a:cs typeface="Century Gothic"/>
              </a:rPr>
              <a:t> </a:t>
            </a:r>
            <a:r>
              <a:rPr lang="fr-FR" sz="800" spc="-10" dirty="0">
                <a:solidFill>
                  <a:srgbClr val="231F20"/>
                </a:solidFill>
                <a:latin typeface="Century Gothic"/>
                <a:cs typeface="Century Gothic"/>
              </a:rPr>
              <a:t>19443, ISO </a:t>
            </a:r>
            <a:r>
              <a:rPr sz="800" spc="-5" dirty="0">
                <a:solidFill>
                  <a:srgbClr val="231F20"/>
                </a:solidFill>
                <a:latin typeface="Century Gothic"/>
                <a:cs typeface="Century Gothic"/>
              </a:rPr>
              <a:t>9001,</a:t>
            </a:r>
            <a:r>
              <a:rPr sz="800" spc="-15" dirty="0">
                <a:solidFill>
                  <a:srgbClr val="231F20"/>
                </a:solidFill>
                <a:latin typeface="Century Gothic"/>
                <a:cs typeface="Century Gothic"/>
              </a:rPr>
              <a:t> </a:t>
            </a:r>
            <a:r>
              <a:rPr sz="800" spc="-5" dirty="0">
                <a:solidFill>
                  <a:srgbClr val="231F20"/>
                </a:solidFill>
                <a:latin typeface="Century Gothic"/>
                <a:cs typeface="Century Gothic"/>
              </a:rPr>
              <a:t>ISO 14001,</a:t>
            </a:r>
            <a:r>
              <a:rPr sz="800" spc="-15" dirty="0">
                <a:solidFill>
                  <a:srgbClr val="231F20"/>
                </a:solidFill>
                <a:latin typeface="Century Gothic"/>
                <a:cs typeface="Century Gothic"/>
              </a:rPr>
              <a:t> </a:t>
            </a:r>
            <a:r>
              <a:rPr sz="800" spc="-5" dirty="0">
                <a:solidFill>
                  <a:srgbClr val="231F20"/>
                </a:solidFill>
                <a:latin typeface="Century Gothic"/>
                <a:cs typeface="Century Gothic"/>
              </a:rPr>
              <a:t>ISO 45001,</a:t>
            </a:r>
            <a:r>
              <a:rPr sz="800" spc="-15" dirty="0">
                <a:solidFill>
                  <a:srgbClr val="231F20"/>
                </a:solidFill>
                <a:latin typeface="Century Gothic"/>
                <a:cs typeface="Century Gothic"/>
              </a:rPr>
              <a:t> </a:t>
            </a:r>
            <a:r>
              <a:rPr sz="800" dirty="0">
                <a:solidFill>
                  <a:srgbClr val="231F20"/>
                </a:solidFill>
                <a:latin typeface="Century Gothic"/>
                <a:cs typeface="Century Gothic"/>
              </a:rPr>
              <a:t>RCC-E,</a:t>
            </a:r>
            <a:r>
              <a:rPr sz="800" spc="-5" dirty="0">
                <a:solidFill>
                  <a:srgbClr val="231F20"/>
                </a:solidFill>
                <a:latin typeface="Century Gothic"/>
                <a:cs typeface="Century Gothic"/>
              </a:rPr>
              <a:t> </a:t>
            </a:r>
            <a:r>
              <a:rPr sz="800" dirty="0">
                <a:solidFill>
                  <a:srgbClr val="231F20"/>
                </a:solidFill>
                <a:latin typeface="Century Gothic"/>
                <a:cs typeface="Century Gothic"/>
              </a:rPr>
              <a:t>CEFRI,</a:t>
            </a:r>
            <a:r>
              <a:rPr sz="800" spc="-10" dirty="0">
                <a:solidFill>
                  <a:srgbClr val="231F20"/>
                </a:solidFill>
                <a:latin typeface="Century Gothic"/>
                <a:cs typeface="Century Gothic"/>
              </a:rPr>
              <a:t> </a:t>
            </a:r>
            <a:r>
              <a:rPr sz="800" dirty="0">
                <a:solidFill>
                  <a:srgbClr val="231F20"/>
                </a:solidFill>
                <a:latin typeface="Century Gothic"/>
                <a:cs typeface="Century Gothic"/>
              </a:rPr>
              <a:t>MASE</a:t>
            </a:r>
            <a:endParaRPr sz="800" dirty="0">
              <a:latin typeface="Century Gothic"/>
              <a:cs typeface="Century Gothic"/>
            </a:endParaRPr>
          </a:p>
          <a:p>
            <a:pPr marL="451484" lvl="1" indent="-144145">
              <a:lnSpc>
                <a:spcPct val="100000"/>
              </a:lnSpc>
              <a:spcBef>
                <a:spcPts val="690"/>
              </a:spcBef>
              <a:buClr>
                <a:srgbClr val="001D18"/>
              </a:buClr>
              <a:buSzPct val="125000"/>
              <a:buFont typeface="Century Gothic"/>
              <a:buChar char="•"/>
              <a:tabLst>
                <a:tab pos="452120" algn="l"/>
              </a:tabLst>
            </a:pPr>
            <a:r>
              <a:rPr sz="800" b="1" dirty="0">
                <a:solidFill>
                  <a:srgbClr val="231F20"/>
                </a:solidFill>
                <a:latin typeface="Century Gothic"/>
                <a:cs typeface="Century Gothic"/>
              </a:rPr>
              <a:t>Nuclear</a:t>
            </a:r>
            <a:r>
              <a:rPr sz="800" b="1" spc="-30" dirty="0">
                <a:solidFill>
                  <a:srgbClr val="231F20"/>
                </a:solidFill>
                <a:latin typeface="Century Gothic"/>
                <a:cs typeface="Century Gothic"/>
              </a:rPr>
              <a:t> </a:t>
            </a:r>
            <a:r>
              <a:rPr sz="800" b="1" spc="-5" dirty="0">
                <a:solidFill>
                  <a:srgbClr val="231F20"/>
                </a:solidFill>
                <a:latin typeface="Century Gothic"/>
                <a:cs typeface="Century Gothic"/>
              </a:rPr>
              <a:t>customer</a:t>
            </a:r>
            <a:r>
              <a:rPr sz="800" b="1" spc="-30" dirty="0">
                <a:solidFill>
                  <a:srgbClr val="231F20"/>
                </a:solidFill>
                <a:latin typeface="Century Gothic"/>
                <a:cs typeface="Century Gothic"/>
              </a:rPr>
              <a:t> </a:t>
            </a:r>
            <a:r>
              <a:rPr sz="800" b="1" dirty="0">
                <a:solidFill>
                  <a:srgbClr val="231F20"/>
                </a:solidFill>
                <a:latin typeface="Century Gothic"/>
                <a:cs typeface="Century Gothic"/>
              </a:rPr>
              <a:t>reference:</a:t>
            </a:r>
            <a:endParaRPr sz="800" dirty="0">
              <a:latin typeface="Century Gothic"/>
              <a:cs typeface="Century Gothic"/>
            </a:endParaRPr>
          </a:p>
          <a:p>
            <a:pPr marL="451484" marR="17780">
              <a:lnSpc>
                <a:spcPts val="850"/>
              </a:lnSpc>
              <a:spcBef>
                <a:spcPts val="295"/>
              </a:spcBef>
            </a:pPr>
            <a:r>
              <a:rPr sz="800" spc="-5" dirty="0">
                <a:solidFill>
                  <a:srgbClr val="231F20"/>
                </a:solidFill>
                <a:latin typeface="Century Gothic"/>
                <a:cs typeface="Century Gothic"/>
              </a:rPr>
              <a:t>EDF,</a:t>
            </a:r>
            <a:r>
              <a:rPr sz="800" spc="50" dirty="0">
                <a:solidFill>
                  <a:srgbClr val="231F20"/>
                </a:solidFill>
                <a:latin typeface="Century Gothic"/>
                <a:cs typeface="Century Gothic"/>
              </a:rPr>
              <a:t> </a:t>
            </a:r>
            <a:r>
              <a:rPr sz="800" spc="-5" dirty="0">
                <a:solidFill>
                  <a:srgbClr val="231F20"/>
                </a:solidFill>
                <a:latin typeface="Century Gothic"/>
                <a:cs typeface="Century Gothic"/>
              </a:rPr>
              <a:t>ITER,</a:t>
            </a:r>
            <a:r>
              <a:rPr sz="800" spc="50" dirty="0">
                <a:solidFill>
                  <a:srgbClr val="231F20"/>
                </a:solidFill>
                <a:latin typeface="Century Gothic"/>
                <a:cs typeface="Century Gothic"/>
              </a:rPr>
              <a:t> </a:t>
            </a:r>
            <a:r>
              <a:rPr sz="800" dirty="0">
                <a:solidFill>
                  <a:srgbClr val="231F20"/>
                </a:solidFill>
                <a:latin typeface="Century Gothic"/>
                <a:cs typeface="Century Gothic"/>
              </a:rPr>
              <a:t>F4E,</a:t>
            </a:r>
            <a:r>
              <a:rPr sz="800" spc="45" dirty="0">
                <a:solidFill>
                  <a:srgbClr val="231F20"/>
                </a:solidFill>
                <a:latin typeface="Century Gothic"/>
                <a:cs typeface="Century Gothic"/>
              </a:rPr>
              <a:t> </a:t>
            </a:r>
            <a:r>
              <a:rPr lang="en-GB" sz="800" spc="-5" dirty="0">
                <a:solidFill>
                  <a:srgbClr val="231F20"/>
                </a:solidFill>
                <a:latin typeface="Century Gothic"/>
                <a:cs typeface="Century Gothic"/>
              </a:rPr>
              <a:t>ORANO, </a:t>
            </a:r>
            <a:r>
              <a:rPr sz="800" dirty="0">
                <a:solidFill>
                  <a:srgbClr val="231F20"/>
                </a:solidFill>
                <a:latin typeface="Century Gothic"/>
                <a:cs typeface="Century Gothic"/>
              </a:rPr>
              <a:t>CEA,</a:t>
            </a:r>
            <a:r>
              <a:rPr sz="800" spc="45" dirty="0">
                <a:solidFill>
                  <a:srgbClr val="231F20"/>
                </a:solidFill>
                <a:latin typeface="Century Gothic"/>
                <a:cs typeface="Century Gothic"/>
              </a:rPr>
              <a:t> </a:t>
            </a:r>
            <a:r>
              <a:rPr sz="800" dirty="0">
                <a:solidFill>
                  <a:srgbClr val="231F20"/>
                </a:solidFill>
                <a:latin typeface="Century Gothic"/>
                <a:cs typeface="Century Gothic"/>
              </a:rPr>
              <a:t>NNB</a:t>
            </a:r>
            <a:r>
              <a:rPr sz="800" spc="45" dirty="0">
                <a:solidFill>
                  <a:srgbClr val="231F20"/>
                </a:solidFill>
                <a:latin typeface="Century Gothic"/>
                <a:cs typeface="Century Gothic"/>
              </a:rPr>
              <a:t> </a:t>
            </a:r>
            <a:r>
              <a:rPr sz="800" spc="-5" dirty="0">
                <a:solidFill>
                  <a:srgbClr val="231F20"/>
                </a:solidFill>
                <a:latin typeface="Century Gothic"/>
                <a:cs typeface="Century Gothic"/>
              </a:rPr>
              <a:t>GENCO,</a:t>
            </a:r>
            <a:r>
              <a:rPr sz="800" spc="50" dirty="0">
                <a:solidFill>
                  <a:srgbClr val="231F20"/>
                </a:solidFill>
                <a:latin typeface="Century Gothic"/>
                <a:cs typeface="Century Gothic"/>
              </a:rPr>
              <a:t> </a:t>
            </a:r>
            <a:r>
              <a:rPr sz="800" dirty="0">
                <a:solidFill>
                  <a:srgbClr val="231F20"/>
                </a:solidFill>
                <a:latin typeface="Century Gothic"/>
                <a:cs typeface="Century Gothic"/>
              </a:rPr>
              <a:t>ANDRA,</a:t>
            </a:r>
            <a:r>
              <a:rPr sz="800" spc="45" dirty="0">
                <a:solidFill>
                  <a:srgbClr val="231F20"/>
                </a:solidFill>
                <a:latin typeface="Century Gothic"/>
                <a:cs typeface="Century Gothic"/>
              </a:rPr>
              <a:t> </a:t>
            </a:r>
            <a:r>
              <a:rPr sz="800" dirty="0">
                <a:solidFill>
                  <a:srgbClr val="231F20"/>
                </a:solidFill>
                <a:latin typeface="Century Gothic"/>
                <a:cs typeface="Century Gothic"/>
              </a:rPr>
              <a:t>NAVAL </a:t>
            </a:r>
            <a:r>
              <a:rPr sz="800" spc="-210" dirty="0">
                <a:solidFill>
                  <a:srgbClr val="231F20"/>
                </a:solidFill>
                <a:latin typeface="Century Gothic"/>
                <a:cs typeface="Century Gothic"/>
              </a:rPr>
              <a:t> </a:t>
            </a:r>
            <a:r>
              <a:rPr sz="800" spc="-5" dirty="0">
                <a:solidFill>
                  <a:srgbClr val="231F20"/>
                </a:solidFill>
                <a:latin typeface="Century Gothic"/>
                <a:cs typeface="Century Gothic"/>
              </a:rPr>
              <a:t>GROUP</a:t>
            </a:r>
            <a:endParaRPr sz="800" dirty="0">
              <a:latin typeface="Century Gothic"/>
              <a:cs typeface="Century Gothic"/>
            </a:endParaRPr>
          </a:p>
          <a:p>
            <a:pPr marL="451484" lvl="1" indent="-144145">
              <a:lnSpc>
                <a:spcPct val="100000"/>
              </a:lnSpc>
              <a:spcBef>
                <a:spcPts val="680"/>
              </a:spcBef>
              <a:buClr>
                <a:srgbClr val="001D18"/>
              </a:buClr>
              <a:buSzPct val="125000"/>
              <a:buFont typeface="Century Gothic"/>
              <a:buChar char="•"/>
              <a:tabLst>
                <a:tab pos="452120" algn="l"/>
              </a:tabLst>
            </a:pPr>
            <a:r>
              <a:rPr sz="800" b="1" dirty="0">
                <a:solidFill>
                  <a:srgbClr val="231F20"/>
                </a:solidFill>
                <a:latin typeface="Century Gothic"/>
                <a:cs typeface="Century Gothic"/>
              </a:rPr>
              <a:t>Nuclear</a:t>
            </a:r>
            <a:r>
              <a:rPr sz="800" b="1" spc="-30" dirty="0">
                <a:solidFill>
                  <a:srgbClr val="231F20"/>
                </a:solidFill>
                <a:latin typeface="Century Gothic"/>
                <a:cs typeface="Century Gothic"/>
              </a:rPr>
              <a:t> </a:t>
            </a:r>
            <a:r>
              <a:rPr sz="800" b="1" spc="-5" dirty="0">
                <a:solidFill>
                  <a:srgbClr val="231F20"/>
                </a:solidFill>
                <a:latin typeface="Century Gothic"/>
                <a:cs typeface="Century Gothic"/>
              </a:rPr>
              <a:t>project</a:t>
            </a:r>
            <a:r>
              <a:rPr sz="800" b="1" spc="-35" dirty="0">
                <a:solidFill>
                  <a:srgbClr val="231F20"/>
                </a:solidFill>
                <a:latin typeface="Century Gothic"/>
                <a:cs typeface="Century Gothic"/>
              </a:rPr>
              <a:t> </a:t>
            </a:r>
            <a:r>
              <a:rPr sz="800" b="1" dirty="0">
                <a:solidFill>
                  <a:srgbClr val="231F20"/>
                </a:solidFill>
                <a:latin typeface="Century Gothic"/>
                <a:cs typeface="Century Gothic"/>
              </a:rPr>
              <a:t>references:</a:t>
            </a:r>
            <a:endParaRPr sz="800" dirty="0">
              <a:latin typeface="Century Gothic"/>
              <a:cs typeface="Century Gothic"/>
            </a:endParaRPr>
          </a:p>
          <a:p>
            <a:pPr marL="451484" marR="18415">
              <a:lnSpc>
                <a:spcPts val="850"/>
              </a:lnSpc>
              <a:spcBef>
                <a:spcPts val="290"/>
              </a:spcBef>
            </a:pPr>
            <a:r>
              <a:rPr lang="fr-FR" sz="800" spc="-5" dirty="0">
                <a:solidFill>
                  <a:srgbClr val="231F20"/>
                </a:solidFill>
                <a:latin typeface="Century Gothic"/>
                <a:cs typeface="Century Gothic"/>
              </a:rPr>
              <a:t>I</a:t>
            </a:r>
            <a:r>
              <a:rPr sz="800" spc="-5" dirty="0">
                <a:solidFill>
                  <a:srgbClr val="231F20"/>
                </a:solidFill>
                <a:latin typeface="Century Gothic"/>
                <a:cs typeface="Century Gothic"/>
              </a:rPr>
              <a:t>TER,</a:t>
            </a:r>
            <a:r>
              <a:rPr sz="800" spc="20" dirty="0">
                <a:solidFill>
                  <a:srgbClr val="231F20"/>
                </a:solidFill>
                <a:latin typeface="Century Gothic"/>
                <a:cs typeface="Century Gothic"/>
              </a:rPr>
              <a:t> </a:t>
            </a:r>
            <a:r>
              <a:rPr sz="800" dirty="0">
                <a:solidFill>
                  <a:srgbClr val="231F20"/>
                </a:solidFill>
                <a:latin typeface="Century Gothic"/>
                <a:cs typeface="Century Gothic"/>
              </a:rPr>
              <a:t>Jules</a:t>
            </a:r>
            <a:r>
              <a:rPr sz="800" spc="15" dirty="0">
                <a:solidFill>
                  <a:srgbClr val="231F20"/>
                </a:solidFill>
                <a:latin typeface="Century Gothic"/>
                <a:cs typeface="Century Gothic"/>
              </a:rPr>
              <a:t> </a:t>
            </a:r>
            <a:r>
              <a:rPr sz="800" spc="-5" dirty="0">
                <a:solidFill>
                  <a:srgbClr val="231F20"/>
                </a:solidFill>
                <a:latin typeface="Century Gothic"/>
                <a:cs typeface="Century Gothic"/>
              </a:rPr>
              <a:t>Horowitz </a:t>
            </a:r>
            <a:r>
              <a:rPr sz="800" spc="-210" dirty="0">
                <a:solidFill>
                  <a:srgbClr val="231F20"/>
                </a:solidFill>
                <a:latin typeface="Century Gothic"/>
                <a:cs typeface="Century Gothic"/>
              </a:rPr>
              <a:t> </a:t>
            </a:r>
            <a:r>
              <a:rPr sz="800" dirty="0">
                <a:solidFill>
                  <a:srgbClr val="231F20"/>
                </a:solidFill>
                <a:latin typeface="Century Gothic"/>
                <a:cs typeface="Century Gothic"/>
              </a:rPr>
              <a:t>research</a:t>
            </a:r>
            <a:r>
              <a:rPr sz="800" spc="-5" dirty="0">
                <a:solidFill>
                  <a:srgbClr val="231F20"/>
                </a:solidFill>
                <a:latin typeface="Century Gothic"/>
                <a:cs typeface="Century Gothic"/>
              </a:rPr>
              <a:t> </a:t>
            </a:r>
            <a:r>
              <a:rPr sz="800" dirty="0">
                <a:solidFill>
                  <a:srgbClr val="231F20"/>
                </a:solidFill>
                <a:latin typeface="Century Gothic"/>
                <a:cs typeface="Century Gothic"/>
              </a:rPr>
              <a:t>reactor </a:t>
            </a:r>
            <a:r>
              <a:rPr sz="800" spc="-5" dirty="0">
                <a:solidFill>
                  <a:srgbClr val="231F20"/>
                </a:solidFill>
                <a:latin typeface="Century Gothic"/>
                <a:cs typeface="Century Gothic"/>
              </a:rPr>
              <a:t>(France)</a:t>
            </a:r>
            <a:r>
              <a:rPr lang="fr-FR" sz="800" spc="-5" dirty="0">
                <a:solidFill>
                  <a:srgbClr val="231F20"/>
                </a:solidFill>
                <a:latin typeface="Century Gothic"/>
                <a:cs typeface="Century Gothic"/>
              </a:rPr>
              <a:t>, </a:t>
            </a:r>
            <a:r>
              <a:rPr lang="en-GB" sz="800" spc="-5" dirty="0">
                <a:solidFill>
                  <a:srgbClr val="231F20"/>
                </a:solidFill>
                <a:latin typeface="Century Gothic"/>
                <a:cs typeface="Century Gothic"/>
              </a:rPr>
              <a:t>EPR</a:t>
            </a:r>
            <a:r>
              <a:rPr lang="en-GB" sz="800" spc="20" dirty="0">
                <a:solidFill>
                  <a:srgbClr val="231F20"/>
                </a:solidFill>
                <a:latin typeface="Century Gothic"/>
                <a:cs typeface="Century Gothic"/>
              </a:rPr>
              <a:t> </a:t>
            </a:r>
            <a:r>
              <a:rPr lang="en-GB" sz="800" dirty="0" err="1">
                <a:solidFill>
                  <a:srgbClr val="231F20"/>
                </a:solidFill>
                <a:latin typeface="Century Gothic"/>
                <a:cs typeface="Century Gothic"/>
              </a:rPr>
              <a:t>Flamanville</a:t>
            </a:r>
            <a:r>
              <a:rPr lang="en-GB" sz="800" spc="15" dirty="0">
                <a:solidFill>
                  <a:srgbClr val="231F20"/>
                </a:solidFill>
                <a:latin typeface="Century Gothic"/>
                <a:cs typeface="Century Gothic"/>
              </a:rPr>
              <a:t> </a:t>
            </a:r>
            <a:r>
              <a:rPr lang="en-GB" sz="800" spc="-5" dirty="0">
                <a:solidFill>
                  <a:srgbClr val="231F20"/>
                </a:solidFill>
                <a:latin typeface="Century Gothic"/>
                <a:cs typeface="Century Gothic"/>
              </a:rPr>
              <a:t>(France),</a:t>
            </a:r>
            <a:r>
              <a:rPr lang="en-GB" sz="800" spc="20" dirty="0">
                <a:solidFill>
                  <a:srgbClr val="231F20"/>
                </a:solidFill>
                <a:latin typeface="Century Gothic"/>
                <a:cs typeface="Century Gothic"/>
              </a:rPr>
              <a:t> </a:t>
            </a:r>
            <a:r>
              <a:rPr lang="en-GB" sz="800" spc="-5" dirty="0">
                <a:solidFill>
                  <a:srgbClr val="231F20"/>
                </a:solidFill>
                <a:latin typeface="Century Gothic"/>
                <a:cs typeface="Century Gothic"/>
              </a:rPr>
              <a:t>EPR</a:t>
            </a:r>
            <a:r>
              <a:rPr lang="en-GB" sz="800" spc="20" dirty="0">
                <a:solidFill>
                  <a:srgbClr val="231F20"/>
                </a:solidFill>
                <a:latin typeface="Century Gothic"/>
                <a:cs typeface="Century Gothic"/>
              </a:rPr>
              <a:t> </a:t>
            </a:r>
            <a:r>
              <a:rPr lang="en-GB" sz="800" spc="-5" dirty="0">
                <a:solidFill>
                  <a:srgbClr val="231F20"/>
                </a:solidFill>
                <a:latin typeface="Century Gothic"/>
                <a:cs typeface="Century Gothic"/>
              </a:rPr>
              <a:t>HPC</a:t>
            </a:r>
            <a:r>
              <a:rPr lang="en-GB" sz="800" spc="20" dirty="0">
                <a:solidFill>
                  <a:srgbClr val="231F20"/>
                </a:solidFill>
                <a:latin typeface="Century Gothic"/>
                <a:cs typeface="Century Gothic"/>
              </a:rPr>
              <a:t> </a:t>
            </a:r>
            <a:r>
              <a:rPr lang="en-GB" sz="800" spc="-5" dirty="0">
                <a:solidFill>
                  <a:srgbClr val="231F20"/>
                </a:solidFill>
                <a:latin typeface="Century Gothic"/>
                <a:cs typeface="Century Gothic"/>
              </a:rPr>
              <a:t>(UK)</a:t>
            </a:r>
            <a:endParaRPr sz="800" dirty="0">
              <a:latin typeface="Century Gothic"/>
              <a:cs typeface="Century Gothic"/>
            </a:endParaRPr>
          </a:p>
        </p:txBody>
      </p:sp>
      <p:sp>
        <p:nvSpPr>
          <p:cNvPr id="44" name="object 44"/>
          <p:cNvSpPr txBox="1"/>
          <p:nvPr/>
        </p:nvSpPr>
        <p:spPr>
          <a:xfrm>
            <a:off x="2309300" y="335942"/>
            <a:ext cx="985519" cy="695062"/>
          </a:xfrm>
          <a:prstGeom prst="rect">
            <a:avLst/>
          </a:prstGeom>
        </p:spPr>
        <p:txBody>
          <a:bodyPr vert="horz" wrap="square" lIns="0" tIns="17780" rIns="0" bIns="0" rtlCol="0">
            <a:spAutoFit/>
          </a:bodyPr>
          <a:lstStyle/>
          <a:p>
            <a:pPr marL="12700">
              <a:lnSpc>
                <a:spcPct val="100000"/>
              </a:lnSpc>
              <a:spcBef>
                <a:spcPts val="140"/>
              </a:spcBef>
            </a:pPr>
            <a:r>
              <a:rPr sz="700" dirty="0">
                <a:solidFill>
                  <a:srgbClr val="FFFFFF"/>
                </a:solidFill>
                <a:latin typeface="Century Gothic"/>
                <a:cs typeface="Century Gothic"/>
              </a:rPr>
              <a:t>Annual</a:t>
            </a:r>
            <a:r>
              <a:rPr sz="700" spc="-50" dirty="0">
                <a:solidFill>
                  <a:srgbClr val="FFFFFF"/>
                </a:solidFill>
                <a:latin typeface="Century Gothic"/>
                <a:cs typeface="Century Gothic"/>
              </a:rPr>
              <a:t> </a:t>
            </a:r>
            <a:r>
              <a:rPr sz="700" dirty="0">
                <a:solidFill>
                  <a:srgbClr val="FFFFFF"/>
                </a:solidFill>
                <a:latin typeface="Century Gothic"/>
                <a:cs typeface="Century Gothic"/>
              </a:rPr>
              <a:t>turnover</a:t>
            </a:r>
            <a:endParaRPr sz="700" dirty="0">
              <a:latin typeface="Century Gothic"/>
              <a:cs typeface="Century Gothic"/>
            </a:endParaRPr>
          </a:p>
          <a:p>
            <a:pPr marL="12700">
              <a:lnSpc>
                <a:spcPct val="100000"/>
              </a:lnSpc>
              <a:spcBef>
                <a:spcPts val="60"/>
              </a:spcBef>
            </a:pPr>
            <a:r>
              <a:rPr sz="1000" b="1" spc="-5" dirty="0">
                <a:solidFill>
                  <a:srgbClr val="FFFFFF"/>
                </a:solidFill>
                <a:latin typeface="Century Gothic"/>
                <a:cs typeface="Century Gothic"/>
              </a:rPr>
              <a:t>14</a:t>
            </a:r>
            <a:r>
              <a:rPr lang="fr-FR" sz="1000" b="1" spc="-5" dirty="0">
                <a:solidFill>
                  <a:srgbClr val="FFFFFF"/>
                </a:solidFill>
                <a:latin typeface="Century Gothic"/>
                <a:cs typeface="Century Gothic"/>
              </a:rPr>
              <a:t>5</a:t>
            </a:r>
            <a:r>
              <a:rPr sz="1000" b="1" spc="-45" dirty="0">
                <a:solidFill>
                  <a:srgbClr val="FFFFFF"/>
                </a:solidFill>
                <a:latin typeface="Century Gothic"/>
                <a:cs typeface="Century Gothic"/>
              </a:rPr>
              <a:t> </a:t>
            </a:r>
            <a:r>
              <a:rPr sz="1000" b="1" dirty="0">
                <a:solidFill>
                  <a:srgbClr val="FFFFFF"/>
                </a:solidFill>
                <a:latin typeface="Century Gothic"/>
                <a:cs typeface="Century Gothic"/>
              </a:rPr>
              <a:t>M€</a:t>
            </a:r>
            <a:endParaRPr sz="1000" dirty="0">
              <a:latin typeface="Century Gothic"/>
              <a:cs typeface="Century Gothic"/>
            </a:endParaRPr>
          </a:p>
          <a:p>
            <a:pPr marL="12700">
              <a:lnSpc>
                <a:spcPct val="100000"/>
              </a:lnSpc>
              <a:spcBef>
                <a:spcPts val="1000"/>
              </a:spcBef>
            </a:pPr>
            <a:r>
              <a:rPr sz="700" dirty="0">
                <a:solidFill>
                  <a:srgbClr val="FFFFFF"/>
                </a:solidFill>
                <a:latin typeface="Century Gothic"/>
                <a:cs typeface="Century Gothic"/>
              </a:rPr>
              <a:t>Number</a:t>
            </a:r>
            <a:r>
              <a:rPr sz="700" spc="-40" dirty="0">
                <a:solidFill>
                  <a:srgbClr val="FFFFFF"/>
                </a:solidFill>
                <a:latin typeface="Century Gothic"/>
                <a:cs typeface="Century Gothic"/>
              </a:rPr>
              <a:t> </a:t>
            </a:r>
            <a:r>
              <a:rPr sz="700" dirty="0">
                <a:solidFill>
                  <a:srgbClr val="FFFFFF"/>
                </a:solidFill>
                <a:latin typeface="Century Gothic"/>
                <a:cs typeface="Century Gothic"/>
              </a:rPr>
              <a:t>of</a:t>
            </a:r>
            <a:r>
              <a:rPr sz="700" spc="-40" dirty="0">
                <a:solidFill>
                  <a:srgbClr val="FFFFFF"/>
                </a:solidFill>
                <a:latin typeface="Century Gothic"/>
                <a:cs typeface="Century Gothic"/>
              </a:rPr>
              <a:t> </a:t>
            </a:r>
            <a:r>
              <a:rPr sz="700" dirty="0">
                <a:solidFill>
                  <a:srgbClr val="FFFFFF"/>
                </a:solidFill>
                <a:latin typeface="Century Gothic"/>
                <a:cs typeface="Century Gothic"/>
              </a:rPr>
              <a:t>employees</a:t>
            </a:r>
            <a:endParaRPr sz="700" dirty="0">
              <a:latin typeface="Century Gothic"/>
              <a:cs typeface="Century Gothic"/>
            </a:endParaRPr>
          </a:p>
          <a:p>
            <a:pPr marL="12700">
              <a:lnSpc>
                <a:spcPct val="100000"/>
              </a:lnSpc>
              <a:spcBef>
                <a:spcPts val="60"/>
              </a:spcBef>
            </a:pPr>
            <a:r>
              <a:rPr lang="fr-FR" sz="1000" b="1" spc="-5" dirty="0">
                <a:solidFill>
                  <a:srgbClr val="FFFFFF"/>
                </a:solidFill>
                <a:latin typeface="Century Gothic"/>
                <a:cs typeface="Century Gothic"/>
              </a:rPr>
              <a:t>10</a:t>
            </a:r>
            <a:r>
              <a:rPr sz="1000" b="1" spc="-5" dirty="0">
                <a:solidFill>
                  <a:srgbClr val="FFFFFF"/>
                </a:solidFill>
                <a:latin typeface="Century Gothic"/>
                <a:cs typeface="Century Gothic"/>
              </a:rPr>
              <a:t>00</a:t>
            </a:r>
            <a:endParaRPr sz="1000" dirty="0">
              <a:latin typeface="Century Gothic"/>
              <a:cs typeface="Century Gothic"/>
            </a:endParaRPr>
          </a:p>
        </p:txBody>
      </p:sp>
      <p:sp>
        <p:nvSpPr>
          <p:cNvPr id="45" name="object 45"/>
          <p:cNvSpPr txBox="1"/>
          <p:nvPr/>
        </p:nvSpPr>
        <p:spPr>
          <a:xfrm>
            <a:off x="4167767" y="366895"/>
            <a:ext cx="1412240" cy="252095"/>
          </a:xfrm>
          <a:prstGeom prst="rect">
            <a:avLst/>
          </a:prstGeom>
        </p:spPr>
        <p:txBody>
          <a:bodyPr vert="horz" wrap="square" lIns="0" tIns="12700" rIns="0" bIns="0" rtlCol="0">
            <a:spAutoFit/>
          </a:bodyPr>
          <a:lstStyle/>
          <a:p>
            <a:pPr marL="12700">
              <a:lnSpc>
                <a:spcPts val="950"/>
              </a:lnSpc>
              <a:spcBef>
                <a:spcPts val="100"/>
              </a:spcBef>
            </a:pPr>
            <a:r>
              <a:rPr sz="800" b="1" dirty="0">
                <a:solidFill>
                  <a:srgbClr val="FFFFFF"/>
                </a:solidFill>
                <a:latin typeface="Century Gothic"/>
                <a:cs typeface="Century Gothic"/>
              </a:rPr>
              <a:t>Thierry</a:t>
            </a:r>
            <a:r>
              <a:rPr sz="800" b="1" spc="-50" dirty="0">
                <a:solidFill>
                  <a:srgbClr val="FFFFFF"/>
                </a:solidFill>
                <a:latin typeface="Century Gothic"/>
                <a:cs typeface="Century Gothic"/>
              </a:rPr>
              <a:t> </a:t>
            </a:r>
            <a:r>
              <a:rPr sz="800" b="1" spc="-5" dirty="0">
                <a:solidFill>
                  <a:srgbClr val="FFFFFF"/>
                </a:solidFill>
                <a:latin typeface="Century Gothic"/>
                <a:cs typeface="Century Gothic"/>
              </a:rPr>
              <a:t>ROBOT</a:t>
            </a:r>
            <a:endParaRPr sz="800">
              <a:latin typeface="Century Gothic"/>
              <a:cs typeface="Century Gothic"/>
            </a:endParaRPr>
          </a:p>
          <a:p>
            <a:pPr marL="12700">
              <a:lnSpc>
                <a:spcPts val="830"/>
              </a:lnSpc>
            </a:pPr>
            <a:r>
              <a:rPr sz="700" spc="-5" dirty="0">
                <a:solidFill>
                  <a:srgbClr val="FFFFFF"/>
                </a:solidFill>
                <a:latin typeface="Century Gothic"/>
                <a:cs typeface="Century Gothic"/>
              </a:rPr>
              <a:t>Director</a:t>
            </a:r>
            <a:r>
              <a:rPr sz="700" spc="-30" dirty="0">
                <a:solidFill>
                  <a:srgbClr val="FFFFFF"/>
                </a:solidFill>
                <a:latin typeface="Century Gothic"/>
                <a:cs typeface="Century Gothic"/>
              </a:rPr>
              <a:t> </a:t>
            </a:r>
            <a:r>
              <a:rPr sz="700" dirty="0">
                <a:solidFill>
                  <a:srgbClr val="FFFFFF"/>
                </a:solidFill>
                <a:latin typeface="Century Gothic"/>
                <a:cs typeface="Century Gothic"/>
              </a:rPr>
              <a:t>of</a:t>
            </a:r>
            <a:r>
              <a:rPr sz="700" spc="-20" dirty="0">
                <a:solidFill>
                  <a:srgbClr val="FFFFFF"/>
                </a:solidFill>
                <a:latin typeface="Century Gothic"/>
                <a:cs typeface="Century Gothic"/>
              </a:rPr>
              <a:t> </a:t>
            </a:r>
            <a:r>
              <a:rPr sz="700" spc="-5" dirty="0">
                <a:solidFill>
                  <a:srgbClr val="FFFFFF"/>
                </a:solidFill>
                <a:latin typeface="Century Gothic"/>
                <a:cs typeface="Century Gothic"/>
              </a:rPr>
              <a:t>International</a:t>
            </a:r>
            <a:r>
              <a:rPr sz="700" spc="-25" dirty="0">
                <a:solidFill>
                  <a:srgbClr val="FFFFFF"/>
                </a:solidFill>
                <a:latin typeface="Century Gothic"/>
                <a:cs typeface="Century Gothic"/>
              </a:rPr>
              <a:t> </a:t>
            </a:r>
            <a:r>
              <a:rPr sz="700" dirty="0">
                <a:solidFill>
                  <a:srgbClr val="FFFFFF"/>
                </a:solidFill>
                <a:latin typeface="Century Gothic"/>
                <a:cs typeface="Century Gothic"/>
              </a:rPr>
              <a:t>Agency</a:t>
            </a:r>
            <a:endParaRPr sz="700">
              <a:latin typeface="Century Gothic"/>
              <a:cs typeface="Century Gothic"/>
            </a:endParaRPr>
          </a:p>
        </p:txBody>
      </p:sp>
      <p:sp>
        <p:nvSpPr>
          <p:cNvPr id="46" name="object 46"/>
          <p:cNvSpPr txBox="1"/>
          <p:nvPr/>
        </p:nvSpPr>
        <p:spPr>
          <a:xfrm>
            <a:off x="1756261" y="1826724"/>
            <a:ext cx="2248535" cy="517525"/>
          </a:xfrm>
          <a:prstGeom prst="rect">
            <a:avLst/>
          </a:prstGeom>
        </p:spPr>
        <p:txBody>
          <a:bodyPr vert="horz" wrap="square" lIns="0" tIns="12700" rIns="0" bIns="0" rtlCol="0">
            <a:spAutoFit/>
          </a:bodyPr>
          <a:lstStyle/>
          <a:p>
            <a:pPr marL="38100">
              <a:lnSpc>
                <a:spcPts val="735"/>
              </a:lnSpc>
              <a:spcBef>
                <a:spcPts val="100"/>
              </a:spcBef>
            </a:pPr>
            <a:r>
              <a:rPr sz="1000" b="1" dirty="0">
                <a:solidFill>
                  <a:srgbClr val="FFFFFF"/>
                </a:solidFill>
                <a:latin typeface="Century Gothic"/>
                <a:cs typeface="Century Gothic"/>
              </a:rPr>
              <a:t>NUCLEAR</a:t>
            </a:r>
            <a:r>
              <a:rPr sz="1000" b="1" spc="-35" dirty="0">
                <a:solidFill>
                  <a:srgbClr val="FFFFFF"/>
                </a:solidFill>
                <a:latin typeface="Century Gothic"/>
                <a:cs typeface="Century Gothic"/>
              </a:rPr>
              <a:t> </a:t>
            </a:r>
            <a:r>
              <a:rPr sz="1000" b="1" dirty="0">
                <a:solidFill>
                  <a:srgbClr val="FFFFFF"/>
                </a:solidFill>
                <a:latin typeface="Century Gothic"/>
                <a:cs typeface="Century Gothic"/>
              </a:rPr>
              <a:t>ELECTRICAL</a:t>
            </a:r>
            <a:r>
              <a:rPr sz="1000" b="1" spc="-30" dirty="0">
                <a:solidFill>
                  <a:srgbClr val="FFFFFF"/>
                </a:solidFill>
                <a:latin typeface="Century Gothic"/>
                <a:cs typeface="Century Gothic"/>
              </a:rPr>
              <a:t> </a:t>
            </a:r>
            <a:r>
              <a:rPr sz="1000" b="1" dirty="0">
                <a:solidFill>
                  <a:srgbClr val="FFFFFF"/>
                </a:solidFill>
                <a:latin typeface="Century Gothic"/>
                <a:cs typeface="Century Gothic"/>
              </a:rPr>
              <a:t>ENGINEERING</a:t>
            </a:r>
            <a:endParaRPr sz="1000">
              <a:latin typeface="Century Gothic"/>
              <a:cs typeface="Century Gothic"/>
            </a:endParaRPr>
          </a:p>
          <a:p>
            <a:pPr marL="535305" indent="-252729">
              <a:lnSpc>
                <a:spcPts val="3135"/>
              </a:lnSpc>
              <a:buSzPct val="300000"/>
              <a:buFont typeface="Century Gothic"/>
              <a:buChar char="•"/>
              <a:tabLst>
                <a:tab pos="535940" algn="l"/>
              </a:tabLst>
            </a:pPr>
            <a:r>
              <a:rPr sz="1000" b="1" dirty="0">
                <a:solidFill>
                  <a:srgbClr val="EF3A47"/>
                </a:solidFill>
                <a:latin typeface="Century Gothic"/>
                <a:cs typeface="Century Gothic"/>
              </a:rPr>
              <a:t>SHORT</a:t>
            </a:r>
            <a:r>
              <a:rPr sz="1000" b="1" spc="-50" dirty="0">
                <a:solidFill>
                  <a:srgbClr val="EF3A47"/>
                </a:solidFill>
                <a:latin typeface="Century Gothic"/>
                <a:cs typeface="Century Gothic"/>
              </a:rPr>
              <a:t> </a:t>
            </a:r>
            <a:r>
              <a:rPr sz="1000" b="1" spc="-5" dirty="0">
                <a:solidFill>
                  <a:srgbClr val="EF3A47"/>
                </a:solidFill>
                <a:latin typeface="Century Gothic"/>
                <a:cs typeface="Century Gothic"/>
              </a:rPr>
              <a:t>PROFILE</a:t>
            </a:r>
            <a:endParaRPr sz="1000">
              <a:latin typeface="Century Gothic"/>
              <a:cs typeface="Century Gothic"/>
            </a:endParaRPr>
          </a:p>
        </p:txBody>
      </p:sp>
      <p:sp>
        <p:nvSpPr>
          <p:cNvPr id="47" name="object 47"/>
          <p:cNvSpPr txBox="1"/>
          <p:nvPr/>
        </p:nvSpPr>
        <p:spPr>
          <a:xfrm>
            <a:off x="4166299" y="1157237"/>
            <a:ext cx="1155001" cy="120546"/>
          </a:xfrm>
          <a:prstGeom prst="rect">
            <a:avLst/>
          </a:prstGeom>
        </p:spPr>
        <p:txBody>
          <a:bodyPr vert="horz" wrap="square" lIns="0" tIns="12700" rIns="0" bIns="0" rtlCol="0">
            <a:spAutoFit/>
          </a:bodyPr>
          <a:lstStyle/>
          <a:p>
            <a:pPr marL="12700">
              <a:lnSpc>
                <a:spcPct val="100000"/>
              </a:lnSpc>
              <a:spcBef>
                <a:spcPts val="100"/>
              </a:spcBef>
            </a:pPr>
            <a:r>
              <a:rPr sz="700" b="1" u="sng" dirty="0" err="1">
                <a:solidFill>
                  <a:srgbClr val="FFFFFF"/>
                </a:solidFill>
                <a:uFill>
                  <a:solidFill>
                    <a:srgbClr val="FFFFFF"/>
                  </a:solidFill>
                </a:uFill>
                <a:latin typeface="Century Gothic"/>
                <a:cs typeface="Century Gothic"/>
                <a:hlinkClick r:id="rId4"/>
              </a:rPr>
              <a:t>thierry.robot@e</a:t>
            </a:r>
            <a:r>
              <a:rPr lang="fr-FR" sz="700" b="1" u="sng" dirty="0" err="1">
                <a:solidFill>
                  <a:srgbClr val="FFFFFF"/>
                </a:solidFill>
                <a:uFill>
                  <a:solidFill>
                    <a:srgbClr val="FFFFFF"/>
                  </a:solidFill>
                </a:uFill>
                <a:latin typeface="Century Gothic"/>
                <a:cs typeface="Century Gothic"/>
                <a:hlinkClick r:id="rId4"/>
              </a:rPr>
              <a:t>quans</a:t>
            </a:r>
            <a:r>
              <a:rPr sz="700" b="1" u="sng" dirty="0">
                <a:solidFill>
                  <a:srgbClr val="FFFFFF"/>
                </a:solidFill>
                <a:uFill>
                  <a:solidFill>
                    <a:srgbClr val="FFFFFF"/>
                  </a:solidFill>
                </a:uFill>
                <a:latin typeface="Century Gothic"/>
                <a:cs typeface="Century Gothic"/>
                <a:hlinkClick r:id="rId4"/>
              </a:rPr>
              <a:t>.com</a:t>
            </a:r>
            <a:endParaRPr sz="700" dirty="0">
              <a:latin typeface="Century Gothic"/>
              <a:cs typeface="Century Gothic"/>
            </a:endParaRPr>
          </a:p>
        </p:txBody>
      </p:sp>
      <p:sp>
        <p:nvSpPr>
          <p:cNvPr id="48" name="object 48"/>
          <p:cNvSpPr txBox="1"/>
          <p:nvPr/>
        </p:nvSpPr>
        <p:spPr>
          <a:xfrm>
            <a:off x="4163277" y="808305"/>
            <a:ext cx="744220" cy="132080"/>
          </a:xfrm>
          <a:prstGeom prst="rect">
            <a:avLst/>
          </a:prstGeom>
        </p:spPr>
        <p:txBody>
          <a:bodyPr vert="horz" wrap="square" lIns="0" tIns="12700" rIns="0" bIns="0" rtlCol="0">
            <a:spAutoFit/>
          </a:bodyPr>
          <a:lstStyle/>
          <a:p>
            <a:pPr marL="12700">
              <a:lnSpc>
                <a:spcPct val="100000"/>
              </a:lnSpc>
              <a:spcBef>
                <a:spcPts val="100"/>
              </a:spcBef>
            </a:pPr>
            <a:r>
              <a:rPr sz="700" dirty="0">
                <a:solidFill>
                  <a:srgbClr val="FFFFFF"/>
                </a:solidFill>
                <a:latin typeface="Century Gothic"/>
                <a:cs typeface="Century Gothic"/>
              </a:rPr>
              <a:t>+33</a:t>
            </a:r>
            <a:r>
              <a:rPr sz="700" spc="-20" dirty="0">
                <a:solidFill>
                  <a:srgbClr val="FFFFFF"/>
                </a:solidFill>
                <a:latin typeface="Century Gothic"/>
                <a:cs typeface="Century Gothic"/>
              </a:rPr>
              <a:t> </a:t>
            </a:r>
            <a:r>
              <a:rPr sz="700" dirty="0">
                <a:solidFill>
                  <a:srgbClr val="FFFFFF"/>
                </a:solidFill>
                <a:latin typeface="Century Gothic"/>
                <a:cs typeface="Century Gothic"/>
              </a:rPr>
              <a:t>6</a:t>
            </a:r>
            <a:r>
              <a:rPr sz="700" spc="-15" dirty="0">
                <a:solidFill>
                  <a:srgbClr val="FFFFFF"/>
                </a:solidFill>
                <a:latin typeface="Century Gothic"/>
                <a:cs typeface="Century Gothic"/>
              </a:rPr>
              <a:t> </a:t>
            </a:r>
            <a:r>
              <a:rPr sz="700" spc="-5" dirty="0">
                <a:solidFill>
                  <a:srgbClr val="FFFFFF"/>
                </a:solidFill>
                <a:latin typeface="Century Gothic"/>
                <a:cs typeface="Century Gothic"/>
              </a:rPr>
              <a:t>76</a:t>
            </a:r>
            <a:r>
              <a:rPr sz="700" spc="-20" dirty="0">
                <a:solidFill>
                  <a:srgbClr val="FFFFFF"/>
                </a:solidFill>
                <a:latin typeface="Century Gothic"/>
                <a:cs typeface="Century Gothic"/>
              </a:rPr>
              <a:t> </a:t>
            </a:r>
            <a:r>
              <a:rPr sz="700" spc="-5" dirty="0">
                <a:solidFill>
                  <a:srgbClr val="FFFFFF"/>
                </a:solidFill>
                <a:latin typeface="Century Gothic"/>
                <a:cs typeface="Century Gothic"/>
              </a:rPr>
              <a:t>98</a:t>
            </a:r>
            <a:r>
              <a:rPr sz="700" spc="-20" dirty="0">
                <a:solidFill>
                  <a:srgbClr val="FFFFFF"/>
                </a:solidFill>
                <a:latin typeface="Century Gothic"/>
                <a:cs typeface="Century Gothic"/>
              </a:rPr>
              <a:t> </a:t>
            </a:r>
            <a:r>
              <a:rPr sz="700" spc="-5" dirty="0">
                <a:solidFill>
                  <a:srgbClr val="FFFFFF"/>
                </a:solidFill>
                <a:latin typeface="Century Gothic"/>
                <a:cs typeface="Century Gothic"/>
              </a:rPr>
              <a:t>57</a:t>
            </a:r>
            <a:r>
              <a:rPr sz="700" spc="-20" dirty="0">
                <a:solidFill>
                  <a:srgbClr val="FFFFFF"/>
                </a:solidFill>
                <a:latin typeface="Century Gothic"/>
                <a:cs typeface="Century Gothic"/>
              </a:rPr>
              <a:t> </a:t>
            </a:r>
            <a:r>
              <a:rPr sz="700" spc="-5" dirty="0">
                <a:solidFill>
                  <a:srgbClr val="FFFFFF"/>
                </a:solidFill>
                <a:latin typeface="Century Gothic"/>
                <a:cs typeface="Century Gothic"/>
              </a:rPr>
              <a:t>48</a:t>
            </a:r>
            <a:endParaRPr sz="700">
              <a:latin typeface="Century Gothic"/>
              <a:cs typeface="Century Gothic"/>
            </a:endParaRPr>
          </a:p>
        </p:txBody>
      </p:sp>
      <p:sp>
        <p:nvSpPr>
          <p:cNvPr id="49" name="object 49"/>
          <p:cNvSpPr txBox="1"/>
          <p:nvPr/>
        </p:nvSpPr>
        <p:spPr>
          <a:xfrm>
            <a:off x="167299" y="145075"/>
            <a:ext cx="619760" cy="132080"/>
          </a:xfrm>
          <a:prstGeom prst="rect">
            <a:avLst/>
          </a:prstGeom>
        </p:spPr>
        <p:txBody>
          <a:bodyPr vert="horz" wrap="square" lIns="0" tIns="12700" rIns="0" bIns="0" rtlCol="0">
            <a:spAutoFit/>
          </a:bodyPr>
          <a:lstStyle/>
          <a:p>
            <a:pPr marL="12700">
              <a:lnSpc>
                <a:spcPct val="100000"/>
              </a:lnSpc>
              <a:spcBef>
                <a:spcPts val="100"/>
              </a:spcBef>
            </a:pPr>
            <a:r>
              <a:rPr sz="700" spc="-5" dirty="0">
                <a:solidFill>
                  <a:srgbClr val="6C92A8"/>
                </a:solidFill>
                <a:latin typeface="Century Gothic"/>
                <a:cs typeface="Century Gothic"/>
              </a:rPr>
              <a:t>EQUAN</a:t>
            </a:r>
            <a:r>
              <a:rPr sz="700" dirty="0">
                <a:solidFill>
                  <a:srgbClr val="6C92A8"/>
                </a:solidFill>
                <a:latin typeface="Century Gothic"/>
                <a:cs typeface="Century Gothic"/>
              </a:rPr>
              <a:t>S</a:t>
            </a:r>
            <a:r>
              <a:rPr sz="700" spc="-5" dirty="0">
                <a:solidFill>
                  <a:srgbClr val="6C92A8"/>
                </a:solidFill>
                <a:latin typeface="Century Gothic"/>
                <a:cs typeface="Century Gothic"/>
              </a:rPr>
              <a:t> INEO</a:t>
            </a:r>
            <a:endParaRPr sz="700">
              <a:latin typeface="Century Gothic"/>
              <a:cs typeface="Century Gothic"/>
            </a:endParaRPr>
          </a:p>
        </p:txBody>
      </p:sp>
      <p:pic>
        <p:nvPicPr>
          <p:cNvPr id="50" name="object 50"/>
          <p:cNvPicPr/>
          <p:nvPr/>
        </p:nvPicPr>
        <p:blipFill>
          <a:blip r:embed="rId5" cstate="print"/>
          <a:stretch>
            <a:fillRect/>
          </a:stretch>
        </p:blipFill>
        <p:spPr>
          <a:xfrm>
            <a:off x="184505" y="409333"/>
            <a:ext cx="1574990" cy="571665"/>
          </a:xfrm>
          <a:prstGeom prst="rect">
            <a:avLst/>
          </a:prstGeom>
        </p:spPr>
      </p:pic>
      <p:sp>
        <p:nvSpPr>
          <p:cNvPr id="51" name="object 51"/>
          <p:cNvSpPr txBox="1"/>
          <p:nvPr/>
        </p:nvSpPr>
        <p:spPr>
          <a:xfrm>
            <a:off x="558410" y="942899"/>
            <a:ext cx="835025" cy="147320"/>
          </a:xfrm>
          <a:prstGeom prst="rect">
            <a:avLst/>
          </a:prstGeom>
        </p:spPr>
        <p:txBody>
          <a:bodyPr vert="horz" wrap="square" lIns="0" tIns="12700" rIns="0" bIns="0" rtlCol="0">
            <a:spAutoFit/>
          </a:bodyPr>
          <a:lstStyle/>
          <a:p>
            <a:pPr marL="12700">
              <a:lnSpc>
                <a:spcPct val="100000"/>
              </a:lnSpc>
              <a:spcBef>
                <a:spcPts val="100"/>
              </a:spcBef>
            </a:pPr>
            <a:r>
              <a:rPr sz="800" spc="-5" dirty="0">
                <a:solidFill>
                  <a:srgbClr val="002136"/>
                </a:solidFill>
                <a:latin typeface="Century Gothic"/>
                <a:cs typeface="Century Gothic"/>
              </a:rPr>
              <a:t>INE</a:t>
            </a:r>
            <a:r>
              <a:rPr sz="800" dirty="0">
                <a:solidFill>
                  <a:srgbClr val="002136"/>
                </a:solidFill>
                <a:latin typeface="Century Gothic"/>
                <a:cs typeface="Century Gothic"/>
              </a:rPr>
              <a:t>O NUCLEAIRE</a:t>
            </a:r>
            <a:endParaRPr sz="800">
              <a:latin typeface="Century Gothic"/>
              <a:cs typeface="Century Gothic"/>
            </a:endParaRPr>
          </a:p>
        </p:txBody>
      </p:sp>
      <p:sp>
        <p:nvSpPr>
          <p:cNvPr id="62" name="object 62"/>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rPr dirty="0">
                <a:latin typeface="Century Gothic"/>
                <a:cs typeface="Century Gothic"/>
              </a:rPr>
              <a:t>I</a:t>
            </a:r>
            <a:r>
              <a:rPr spc="395" dirty="0">
                <a:latin typeface="Century Gothic"/>
                <a:cs typeface="Century Gothic"/>
              </a:rPr>
              <a:t> </a:t>
            </a:r>
            <a:fld id="{81D60167-4931-47E6-BA6A-407CBD079E47}" type="slidenum">
              <a:rPr b="1" dirty="0"/>
              <a:t>7</a:t>
            </a:fld>
            <a:r>
              <a:rPr b="1" spc="395" dirty="0"/>
              <a:t> </a:t>
            </a:r>
            <a:r>
              <a:rPr dirty="0">
                <a:latin typeface="Century Gothic"/>
                <a:cs typeface="Century Gothic"/>
              </a:rPr>
              <a:t>I</a:t>
            </a:r>
          </a:p>
        </p:txBody>
      </p:sp>
      <p:sp>
        <p:nvSpPr>
          <p:cNvPr id="63" name="object 63"/>
          <p:cNvSpPr txBox="1">
            <a:spLocks noGrp="1"/>
          </p:cNvSpPr>
          <p:nvPr>
            <p:ph type="dt" sz="half" idx="6"/>
          </p:nvPr>
        </p:nvSpPr>
        <p:spPr>
          <a:prstGeom prst="rect">
            <a:avLst/>
          </a:prstGeom>
        </p:spPr>
        <p:txBody>
          <a:bodyPr vert="horz" wrap="square" lIns="0" tIns="12700" rIns="0" bIns="0" rtlCol="0">
            <a:spAutoFit/>
          </a:bodyPr>
          <a:lstStyle/>
          <a:p>
            <a:pPr marL="12700">
              <a:lnSpc>
                <a:spcPct val="100000"/>
              </a:lnSpc>
              <a:spcBef>
                <a:spcPts val="100"/>
              </a:spcBef>
            </a:pPr>
            <a:r>
              <a:rPr dirty="0"/>
              <a:t>THE</a:t>
            </a:r>
            <a:r>
              <a:rPr spc="-30" dirty="0"/>
              <a:t> </a:t>
            </a:r>
            <a:r>
              <a:rPr dirty="0"/>
              <a:t>FRENCH</a:t>
            </a:r>
            <a:r>
              <a:rPr spc="-25" dirty="0"/>
              <a:t> </a:t>
            </a:r>
            <a:r>
              <a:rPr dirty="0"/>
              <a:t>NUCLEAR</a:t>
            </a:r>
            <a:r>
              <a:rPr spc="-30" dirty="0"/>
              <a:t> </a:t>
            </a:r>
            <a:r>
              <a:rPr dirty="0"/>
              <a:t>INDUSTRY</a:t>
            </a:r>
          </a:p>
        </p:txBody>
      </p:sp>
      <p:sp>
        <p:nvSpPr>
          <p:cNvPr id="64" name="object 64"/>
          <p:cNvSpPr txBox="1">
            <a:spLocks noGrp="1"/>
          </p:cNvSpPr>
          <p:nvPr>
            <p:ph type="ftr" sz="quarter" idx="5"/>
          </p:nvPr>
        </p:nvSpPr>
        <p:spPr>
          <a:prstGeom prst="rect">
            <a:avLst/>
          </a:prstGeom>
        </p:spPr>
        <p:txBody>
          <a:bodyPr vert="horz" wrap="square" lIns="0" tIns="12700" rIns="0" bIns="0" rtlCol="0">
            <a:spAutoFit/>
          </a:bodyPr>
          <a:lstStyle/>
          <a:p>
            <a:pPr marL="12700">
              <a:lnSpc>
                <a:spcPct val="100000"/>
              </a:lnSpc>
              <a:spcBef>
                <a:spcPts val="100"/>
              </a:spcBef>
            </a:pPr>
            <a:r>
              <a:rPr dirty="0"/>
              <a:t>Focus</a:t>
            </a:r>
            <a:r>
              <a:rPr spc="-20" dirty="0"/>
              <a:t> </a:t>
            </a:r>
            <a:r>
              <a:rPr dirty="0"/>
              <a:t>on</a:t>
            </a:r>
            <a:r>
              <a:rPr spc="-15" dirty="0"/>
              <a:t> </a:t>
            </a:r>
            <a:r>
              <a:rPr spc="-5" dirty="0"/>
              <a:t>EPR</a:t>
            </a:r>
            <a:r>
              <a:rPr spc="-20" dirty="0"/>
              <a:t> </a:t>
            </a:r>
            <a:r>
              <a:rPr dirty="0"/>
              <a:t>technology</a:t>
            </a:r>
            <a:r>
              <a:rPr spc="-15" dirty="0"/>
              <a:t> </a:t>
            </a:r>
            <a:r>
              <a:rPr dirty="0"/>
              <a:t>for</a:t>
            </a:r>
            <a:r>
              <a:rPr spc="-20" dirty="0"/>
              <a:t> </a:t>
            </a:r>
            <a:r>
              <a:rPr dirty="0"/>
              <a:t>Poland</a:t>
            </a:r>
          </a:p>
        </p:txBody>
      </p:sp>
      <p:grpSp>
        <p:nvGrpSpPr>
          <p:cNvPr id="65" name="object 54">
            <a:extLst>
              <a:ext uri="{FF2B5EF4-FFF2-40B4-BE49-F238E27FC236}">
                <a16:creationId xmlns:a16="http://schemas.microsoft.com/office/drawing/2014/main" id="{7976EDA6-F5BB-AB2C-9AE2-7CC45B38871A}"/>
              </a:ext>
            </a:extLst>
          </p:cNvPr>
          <p:cNvGrpSpPr/>
          <p:nvPr/>
        </p:nvGrpSpPr>
        <p:grpSpPr>
          <a:xfrm>
            <a:off x="0" y="4499058"/>
            <a:ext cx="483234" cy="289560"/>
            <a:chOff x="-96562" y="5136940"/>
            <a:chExt cx="483234" cy="289560"/>
          </a:xfrm>
        </p:grpSpPr>
        <p:sp>
          <p:nvSpPr>
            <p:cNvPr id="66" name="object 56">
              <a:extLst>
                <a:ext uri="{FF2B5EF4-FFF2-40B4-BE49-F238E27FC236}">
                  <a16:creationId xmlns:a16="http://schemas.microsoft.com/office/drawing/2014/main" id="{611C28B6-8571-6AA4-42A1-C2ABF0AF3843}"/>
                </a:ext>
              </a:extLst>
            </p:cNvPr>
            <p:cNvSpPr/>
            <p:nvPr/>
          </p:nvSpPr>
          <p:spPr>
            <a:xfrm>
              <a:off x="-96562" y="5136940"/>
              <a:ext cx="483234" cy="289560"/>
            </a:xfrm>
            <a:custGeom>
              <a:avLst/>
              <a:gdLst/>
              <a:ahLst/>
              <a:cxnLst/>
              <a:rect l="l" t="t" r="r" b="b"/>
              <a:pathLst>
                <a:path w="483234" h="289560">
                  <a:moveTo>
                    <a:pt x="482993" y="36004"/>
                  </a:moveTo>
                  <a:lnTo>
                    <a:pt x="480161" y="21983"/>
                  </a:lnTo>
                  <a:lnTo>
                    <a:pt x="472452" y="10541"/>
                  </a:lnTo>
                  <a:lnTo>
                    <a:pt x="461010" y="2819"/>
                  </a:lnTo>
                  <a:lnTo>
                    <a:pt x="446989" y="0"/>
                  </a:lnTo>
                  <a:lnTo>
                    <a:pt x="122402" y="0"/>
                  </a:lnTo>
                  <a:lnTo>
                    <a:pt x="35991" y="0"/>
                  </a:lnTo>
                  <a:lnTo>
                    <a:pt x="0" y="0"/>
                  </a:lnTo>
                  <a:lnTo>
                    <a:pt x="0" y="36004"/>
                  </a:lnTo>
                  <a:lnTo>
                    <a:pt x="0" y="253149"/>
                  </a:lnTo>
                  <a:lnTo>
                    <a:pt x="0" y="289128"/>
                  </a:lnTo>
                  <a:lnTo>
                    <a:pt x="35928" y="289128"/>
                  </a:lnTo>
                  <a:lnTo>
                    <a:pt x="446989" y="289140"/>
                  </a:lnTo>
                  <a:lnTo>
                    <a:pt x="461010" y="286308"/>
                  </a:lnTo>
                  <a:lnTo>
                    <a:pt x="472452" y="278587"/>
                  </a:lnTo>
                  <a:lnTo>
                    <a:pt x="480161" y="267157"/>
                  </a:lnTo>
                  <a:lnTo>
                    <a:pt x="482993" y="253149"/>
                  </a:lnTo>
                  <a:lnTo>
                    <a:pt x="482993" y="36004"/>
                  </a:lnTo>
                  <a:close/>
                </a:path>
              </a:pathLst>
            </a:custGeom>
            <a:solidFill>
              <a:srgbClr val="498B80"/>
            </a:solidFill>
          </p:spPr>
          <p:txBody>
            <a:bodyPr wrap="square" lIns="0" tIns="0" rIns="0" bIns="0" rtlCol="0"/>
            <a:lstStyle/>
            <a:p>
              <a:endParaRPr/>
            </a:p>
          </p:txBody>
        </p:sp>
        <p:pic>
          <p:nvPicPr>
            <p:cNvPr id="67" name="object 57">
              <a:extLst>
                <a:ext uri="{FF2B5EF4-FFF2-40B4-BE49-F238E27FC236}">
                  <a16:creationId xmlns:a16="http://schemas.microsoft.com/office/drawing/2014/main" id="{1E752850-0331-7CAF-666D-909C5D0EE2D1}"/>
                </a:ext>
              </a:extLst>
            </p:cNvPr>
            <p:cNvPicPr/>
            <p:nvPr/>
          </p:nvPicPr>
          <p:blipFill>
            <a:blip r:embed="rId6" cstate="print"/>
            <a:stretch>
              <a:fillRect/>
            </a:stretch>
          </p:blipFill>
          <p:spPr>
            <a:xfrm>
              <a:off x="54333" y="5190998"/>
              <a:ext cx="181444" cy="181444"/>
            </a:xfrm>
            <a:prstGeom prst="rect">
              <a:avLst/>
            </a:prstGeom>
          </p:spPr>
        </p:pic>
      </p:grpSp>
      <p:grpSp>
        <p:nvGrpSpPr>
          <p:cNvPr id="68" name="object 44">
            <a:extLst>
              <a:ext uri="{FF2B5EF4-FFF2-40B4-BE49-F238E27FC236}">
                <a16:creationId xmlns:a16="http://schemas.microsoft.com/office/drawing/2014/main" id="{4E5D30E0-0172-79FD-5A0B-48D153F72ABD}"/>
              </a:ext>
            </a:extLst>
          </p:cNvPr>
          <p:cNvGrpSpPr/>
          <p:nvPr/>
        </p:nvGrpSpPr>
        <p:grpSpPr>
          <a:xfrm>
            <a:off x="12918" y="3713353"/>
            <a:ext cx="483234" cy="289560"/>
            <a:chOff x="194101" y="5028030"/>
            <a:chExt cx="483234" cy="289560"/>
          </a:xfrm>
        </p:grpSpPr>
        <p:sp>
          <p:nvSpPr>
            <p:cNvPr id="69" name="object 46">
              <a:extLst>
                <a:ext uri="{FF2B5EF4-FFF2-40B4-BE49-F238E27FC236}">
                  <a16:creationId xmlns:a16="http://schemas.microsoft.com/office/drawing/2014/main" id="{02274BEE-B3C9-DC93-D417-FF87F416F8E1}"/>
                </a:ext>
              </a:extLst>
            </p:cNvPr>
            <p:cNvSpPr/>
            <p:nvPr/>
          </p:nvSpPr>
          <p:spPr>
            <a:xfrm>
              <a:off x="194101" y="5028030"/>
              <a:ext cx="483234" cy="289560"/>
            </a:xfrm>
            <a:custGeom>
              <a:avLst/>
              <a:gdLst/>
              <a:ahLst/>
              <a:cxnLst/>
              <a:rect l="l" t="t" r="r" b="b"/>
              <a:pathLst>
                <a:path w="483234" h="289560">
                  <a:moveTo>
                    <a:pt x="446996" y="0"/>
                  </a:moveTo>
                  <a:lnTo>
                    <a:pt x="0" y="0"/>
                  </a:lnTo>
                  <a:lnTo>
                    <a:pt x="0" y="289140"/>
                  </a:lnTo>
                  <a:lnTo>
                    <a:pt x="446996" y="289140"/>
                  </a:lnTo>
                  <a:lnTo>
                    <a:pt x="461012" y="286312"/>
                  </a:lnTo>
                  <a:lnTo>
                    <a:pt x="472457" y="278598"/>
                  </a:lnTo>
                  <a:lnTo>
                    <a:pt x="480172" y="267157"/>
                  </a:lnTo>
                  <a:lnTo>
                    <a:pt x="483001" y="253149"/>
                  </a:lnTo>
                  <a:lnTo>
                    <a:pt x="483001" y="36004"/>
                  </a:lnTo>
                  <a:lnTo>
                    <a:pt x="480172" y="21988"/>
                  </a:lnTo>
                  <a:lnTo>
                    <a:pt x="472457" y="10544"/>
                  </a:lnTo>
                  <a:lnTo>
                    <a:pt x="461012" y="2828"/>
                  </a:lnTo>
                  <a:lnTo>
                    <a:pt x="446996" y="0"/>
                  </a:lnTo>
                  <a:close/>
                </a:path>
              </a:pathLst>
            </a:custGeom>
            <a:solidFill>
              <a:srgbClr val="498B80"/>
            </a:solidFill>
          </p:spPr>
          <p:txBody>
            <a:bodyPr wrap="square" lIns="0" tIns="0" rIns="0" bIns="0" rtlCol="0"/>
            <a:lstStyle/>
            <a:p>
              <a:endParaRPr/>
            </a:p>
          </p:txBody>
        </p:sp>
        <p:pic>
          <p:nvPicPr>
            <p:cNvPr id="70" name="object 47">
              <a:extLst>
                <a:ext uri="{FF2B5EF4-FFF2-40B4-BE49-F238E27FC236}">
                  <a16:creationId xmlns:a16="http://schemas.microsoft.com/office/drawing/2014/main" id="{E388E68C-CCDE-D25D-C74F-5F6DB1466CDD}"/>
                </a:ext>
              </a:extLst>
            </p:cNvPr>
            <p:cNvPicPr/>
            <p:nvPr/>
          </p:nvPicPr>
          <p:blipFill>
            <a:blip r:embed="rId7" cstate="print"/>
            <a:stretch>
              <a:fillRect/>
            </a:stretch>
          </p:blipFill>
          <p:spPr>
            <a:xfrm>
              <a:off x="320566" y="5064429"/>
              <a:ext cx="252528" cy="168286"/>
            </a:xfrm>
            <a:prstGeom prst="rect">
              <a:avLst/>
            </a:prstGeom>
          </p:spPr>
        </p:pic>
      </p:grpSp>
      <p:sp>
        <p:nvSpPr>
          <p:cNvPr id="71" name="object 6">
            <a:extLst>
              <a:ext uri="{FF2B5EF4-FFF2-40B4-BE49-F238E27FC236}">
                <a16:creationId xmlns:a16="http://schemas.microsoft.com/office/drawing/2014/main" id="{39D1DD70-21A0-863B-7023-12AA7690017D}"/>
              </a:ext>
            </a:extLst>
          </p:cNvPr>
          <p:cNvSpPr/>
          <p:nvPr/>
        </p:nvSpPr>
        <p:spPr>
          <a:xfrm>
            <a:off x="26835" y="2316922"/>
            <a:ext cx="483234" cy="289560"/>
          </a:xfrm>
          <a:custGeom>
            <a:avLst/>
            <a:gdLst/>
            <a:ahLst/>
            <a:cxnLst/>
            <a:rect l="l" t="t" r="r" b="b"/>
            <a:pathLst>
              <a:path w="483234" h="289560">
                <a:moveTo>
                  <a:pt x="446998" y="0"/>
                </a:moveTo>
                <a:lnTo>
                  <a:pt x="0" y="0"/>
                </a:lnTo>
                <a:lnTo>
                  <a:pt x="0" y="289140"/>
                </a:lnTo>
                <a:lnTo>
                  <a:pt x="446998" y="289140"/>
                </a:lnTo>
                <a:lnTo>
                  <a:pt x="461014" y="286312"/>
                </a:lnTo>
                <a:lnTo>
                  <a:pt x="472458" y="278598"/>
                </a:lnTo>
                <a:lnTo>
                  <a:pt x="480173" y="267157"/>
                </a:lnTo>
                <a:lnTo>
                  <a:pt x="483002" y="253149"/>
                </a:lnTo>
                <a:lnTo>
                  <a:pt x="483002" y="36004"/>
                </a:lnTo>
                <a:lnTo>
                  <a:pt x="480173" y="21988"/>
                </a:lnTo>
                <a:lnTo>
                  <a:pt x="472458" y="10544"/>
                </a:lnTo>
                <a:lnTo>
                  <a:pt x="461014" y="2828"/>
                </a:lnTo>
                <a:lnTo>
                  <a:pt x="446998" y="0"/>
                </a:lnTo>
                <a:close/>
              </a:path>
            </a:pathLst>
          </a:custGeom>
          <a:solidFill>
            <a:srgbClr val="488C81"/>
          </a:solidFill>
        </p:spPr>
        <p:txBody>
          <a:bodyPr wrap="square" lIns="0" tIns="0" rIns="0" bIns="0" rtlCol="0"/>
          <a:lstStyle/>
          <a:p>
            <a:endParaRPr/>
          </a:p>
        </p:txBody>
      </p:sp>
      <p:sp>
        <p:nvSpPr>
          <p:cNvPr id="54" name="object 26">
            <a:extLst>
              <a:ext uri="{FF2B5EF4-FFF2-40B4-BE49-F238E27FC236}">
                <a16:creationId xmlns:a16="http://schemas.microsoft.com/office/drawing/2014/main" id="{5714ADF7-582C-157F-9390-1846FA6B051B}"/>
              </a:ext>
            </a:extLst>
          </p:cNvPr>
          <p:cNvSpPr txBox="1"/>
          <p:nvPr/>
        </p:nvSpPr>
        <p:spPr>
          <a:xfrm>
            <a:off x="176074" y="2759546"/>
            <a:ext cx="1705610" cy="600164"/>
          </a:xfrm>
          <a:prstGeom prst="rect">
            <a:avLst/>
          </a:prstGeom>
        </p:spPr>
        <p:txBody>
          <a:bodyPr vert="horz" wrap="square" lIns="0" tIns="22860" rIns="0" bIns="0" rtlCol="0">
            <a:spAutoFit/>
          </a:bodyPr>
          <a:lstStyle/>
          <a:p>
            <a:pPr marL="12700" marR="5080" algn="just">
              <a:lnSpc>
                <a:spcPts val="900"/>
              </a:lnSpc>
              <a:spcBef>
                <a:spcPts val="180"/>
              </a:spcBef>
            </a:pPr>
            <a:r>
              <a:rPr lang="fr-FR" sz="800" b="1" dirty="0">
                <a:latin typeface="Century Gothic"/>
                <a:cs typeface="Century Gothic"/>
              </a:rPr>
              <a:t>In the </a:t>
            </a:r>
            <a:r>
              <a:rPr lang="fr-FR" sz="800" b="1" dirty="0" err="1">
                <a:latin typeface="Century Gothic"/>
                <a:cs typeface="Century Gothic"/>
              </a:rPr>
              <a:t>nuclear</a:t>
            </a:r>
            <a:r>
              <a:rPr lang="fr-FR" sz="800" b="1" dirty="0">
                <a:latin typeface="Century Gothic"/>
                <a:cs typeface="Century Gothic"/>
              </a:rPr>
              <a:t> </a:t>
            </a:r>
            <a:r>
              <a:rPr lang="fr-FR" sz="800" b="1" dirty="0" err="1">
                <a:latin typeface="Century Gothic"/>
                <a:cs typeface="Century Gothic"/>
              </a:rPr>
              <a:t>domain</a:t>
            </a:r>
            <a:r>
              <a:rPr lang="fr-FR" sz="800" b="1" dirty="0">
                <a:latin typeface="Century Gothic"/>
                <a:cs typeface="Century Gothic"/>
              </a:rPr>
              <a:t> </a:t>
            </a:r>
            <a:r>
              <a:rPr lang="fr-FR" sz="800" dirty="0">
                <a:latin typeface="Century Gothic"/>
                <a:cs typeface="Century Gothic"/>
              </a:rPr>
              <a:t>: </a:t>
            </a:r>
            <a:r>
              <a:rPr sz="800" dirty="0">
                <a:latin typeface="Century Gothic"/>
                <a:cs typeface="Century Gothic"/>
              </a:rPr>
              <a:t>a</a:t>
            </a:r>
            <a:r>
              <a:rPr sz="800" spc="5" dirty="0">
                <a:latin typeface="Century Gothic"/>
                <a:cs typeface="Century Gothic"/>
              </a:rPr>
              <a:t> </a:t>
            </a:r>
            <a:r>
              <a:rPr sz="800" spc="-5" dirty="0">
                <a:latin typeface="Century Gothic"/>
                <a:cs typeface="Century Gothic"/>
              </a:rPr>
              <a:t>subsidiary</a:t>
            </a:r>
            <a:r>
              <a:rPr sz="800" dirty="0">
                <a:latin typeface="Century Gothic"/>
                <a:cs typeface="Century Gothic"/>
              </a:rPr>
              <a:t> </a:t>
            </a:r>
            <a:r>
              <a:rPr sz="800" spc="-5" dirty="0">
                <a:latin typeface="Century Gothic"/>
                <a:cs typeface="Century Gothic"/>
              </a:rPr>
              <a:t>in</a:t>
            </a:r>
            <a:r>
              <a:rPr sz="800" dirty="0">
                <a:latin typeface="Century Gothic"/>
                <a:cs typeface="Century Gothic"/>
              </a:rPr>
              <a:t> the</a:t>
            </a:r>
            <a:r>
              <a:rPr sz="800" spc="5" dirty="0">
                <a:latin typeface="Century Gothic"/>
                <a:cs typeface="Century Gothic"/>
              </a:rPr>
              <a:t> </a:t>
            </a:r>
            <a:r>
              <a:rPr sz="800" dirty="0">
                <a:latin typeface="Century Gothic"/>
                <a:cs typeface="Century Gothic"/>
              </a:rPr>
              <a:t>UK</a:t>
            </a:r>
            <a:r>
              <a:rPr sz="800" spc="5" dirty="0">
                <a:latin typeface="Century Gothic"/>
                <a:cs typeface="Century Gothic"/>
              </a:rPr>
              <a:t> </a:t>
            </a:r>
            <a:r>
              <a:rPr lang="fr-FR" sz="800" spc="5" dirty="0">
                <a:latin typeface="Century Gothic"/>
                <a:cs typeface="Century Gothic"/>
              </a:rPr>
              <a:t>(Ineo </a:t>
            </a:r>
            <a:r>
              <a:rPr lang="fr-FR" sz="800" spc="5" dirty="0" err="1">
                <a:latin typeface="Century Gothic"/>
                <a:cs typeface="Century Gothic"/>
              </a:rPr>
              <a:t>Nuclear</a:t>
            </a:r>
            <a:r>
              <a:rPr lang="fr-FR" sz="800" spc="5" dirty="0">
                <a:latin typeface="Century Gothic"/>
                <a:cs typeface="Century Gothic"/>
              </a:rPr>
              <a:t> UK) </a:t>
            </a:r>
            <a:r>
              <a:rPr sz="800" spc="-5" dirty="0">
                <a:latin typeface="Century Gothic"/>
                <a:cs typeface="Century Gothic"/>
              </a:rPr>
              <a:t>and</a:t>
            </a:r>
            <a:r>
              <a:rPr sz="800" dirty="0">
                <a:latin typeface="Century Gothic"/>
                <a:cs typeface="Century Gothic"/>
              </a:rPr>
              <a:t> </a:t>
            </a:r>
            <a:r>
              <a:rPr sz="800" spc="-5" dirty="0">
                <a:latin typeface="Century Gothic"/>
                <a:cs typeface="Century Gothic"/>
              </a:rPr>
              <a:t>are </a:t>
            </a:r>
            <a:r>
              <a:rPr sz="800" dirty="0">
                <a:latin typeface="Century Gothic"/>
                <a:cs typeface="Century Gothic"/>
              </a:rPr>
              <a:t> </a:t>
            </a:r>
            <a:r>
              <a:rPr sz="800" spc="-5" dirty="0">
                <a:latin typeface="Century Gothic"/>
                <a:cs typeface="Century Gothic"/>
              </a:rPr>
              <a:t>delivering </a:t>
            </a:r>
            <a:r>
              <a:rPr sz="800" dirty="0">
                <a:latin typeface="Century Gothic"/>
                <a:cs typeface="Century Gothic"/>
              </a:rPr>
              <a:t>major electrical </a:t>
            </a:r>
            <a:r>
              <a:rPr sz="800" spc="-5" dirty="0">
                <a:latin typeface="Century Gothic"/>
                <a:cs typeface="Century Gothic"/>
              </a:rPr>
              <a:t>design </a:t>
            </a:r>
            <a:r>
              <a:rPr sz="800" dirty="0">
                <a:latin typeface="Century Gothic"/>
                <a:cs typeface="Century Gothic"/>
              </a:rPr>
              <a:t> </a:t>
            </a:r>
            <a:r>
              <a:rPr sz="800" spc="-5" dirty="0">
                <a:latin typeface="Century Gothic"/>
                <a:cs typeface="Century Gothic"/>
              </a:rPr>
              <a:t>packages </a:t>
            </a:r>
            <a:r>
              <a:rPr sz="800" dirty="0">
                <a:latin typeface="Century Gothic"/>
                <a:cs typeface="Century Gothic"/>
              </a:rPr>
              <a:t>to the </a:t>
            </a:r>
            <a:r>
              <a:rPr sz="800" spc="-5" dirty="0">
                <a:latin typeface="Century Gothic"/>
                <a:cs typeface="Century Gothic"/>
              </a:rPr>
              <a:t>Hinkley </a:t>
            </a:r>
            <a:r>
              <a:rPr sz="800" dirty="0">
                <a:latin typeface="Century Gothic"/>
                <a:cs typeface="Century Gothic"/>
              </a:rPr>
              <a:t>Point C </a:t>
            </a:r>
            <a:r>
              <a:rPr sz="800" spc="5" dirty="0">
                <a:latin typeface="Century Gothic"/>
                <a:cs typeface="Century Gothic"/>
              </a:rPr>
              <a:t> </a:t>
            </a:r>
            <a:r>
              <a:rPr sz="800" spc="-5" dirty="0">
                <a:latin typeface="Century Gothic"/>
                <a:cs typeface="Century Gothic"/>
              </a:rPr>
              <a:t>project.</a:t>
            </a:r>
            <a:endParaRPr sz="800" dirty="0">
              <a:latin typeface="Century Gothic"/>
              <a:cs typeface="Century Gothic"/>
            </a:endParaRPr>
          </a:p>
        </p:txBody>
      </p:sp>
      <p:pic>
        <p:nvPicPr>
          <p:cNvPr id="55" name="Picture 4" descr="Flag of the United Kingdom - Wikipedia">
            <a:extLst>
              <a:ext uri="{FF2B5EF4-FFF2-40B4-BE49-F238E27FC236}">
                <a16:creationId xmlns:a16="http://schemas.microsoft.com/office/drawing/2014/main" id="{04D123B9-86F9-2B78-61FA-125A0C734307}"/>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1400" r="14246"/>
          <a:stretch/>
        </p:blipFill>
        <p:spPr bwMode="auto">
          <a:xfrm>
            <a:off x="118666" y="2366841"/>
            <a:ext cx="252000" cy="16945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871865" y="1773948"/>
            <a:ext cx="3882390" cy="12700"/>
          </a:xfrm>
          <a:custGeom>
            <a:avLst/>
            <a:gdLst/>
            <a:ahLst/>
            <a:cxnLst/>
            <a:rect l="l" t="t" r="r" b="b"/>
            <a:pathLst>
              <a:path w="3882390" h="12700">
                <a:moveTo>
                  <a:pt x="0" y="12700"/>
                </a:moveTo>
                <a:lnTo>
                  <a:pt x="3881780" y="12700"/>
                </a:lnTo>
                <a:lnTo>
                  <a:pt x="3881780" y="0"/>
                </a:lnTo>
                <a:lnTo>
                  <a:pt x="0" y="0"/>
                </a:lnTo>
                <a:lnTo>
                  <a:pt x="0" y="12700"/>
                </a:lnTo>
                <a:close/>
              </a:path>
            </a:pathLst>
          </a:custGeom>
          <a:ln w="12700">
            <a:solidFill>
              <a:srgbClr val="214182"/>
            </a:solidFill>
          </a:ln>
        </p:spPr>
        <p:txBody>
          <a:bodyPr wrap="square" lIns="0" tIns="0" rIns="0" bIns="0" rtlCol="0"/>
          <a:lstStyle/>
          <a:p>
            <a:endParaRPr/>
          </a:p>
        </p:txBody>
      </p:sp>
      <p:sp>
        <p:nvSpPr>
          <p:cNvPr id="6" name="object 6"/>
          <p:cNvSpPr txBox="1"/>
          <p:nvPr/>
        </p:nvSpPr>
        <p:spPr>
          <a:xfrm>
            <a:off x="4163299" y="1521138"/>
            <a:ext cx="1477607" cy="228268"/>
          </a:xfrm>
          <a:prstGeom prst="rect">
            <a:avLst/>
          </a:prstGeom>
        </p:spPr>
        <p:txBody>
          <a:bodyPr vert="horz" wrap="square" lIns="0" tIns="12700" rIns="0" bIns="0" rtlCol="0">
            <a:spAutoFit/>
          </a:bodyPr>
          <a:lstStyle/>
          <a:p>
            <a:pPr marL="12700">
              <a:lnSpc>
                <a:spcPct val="100000"/>
              </a:lnSpc>
              <a:spcBef>
                <a:spcPts val="100"/>
              </a:spcBef>
            </a:pPr>
            <a:r>
              <a:rPr lang="fr-FR" sz="700" b="1" u="sng" dirty="0">
                <a:solidFill>
                  <a:srgbClr val="FFFFFF"/>
                </a:solidFill>
                <a:uFill>
                  <a:solidFill>
                    <a:srgbClr val="FFFFFF"/>
                  </a:solidFill>
                </a:uFill>
                <a:latin typeface="Century Gothic"/>
                <a:cs typeface="Century Gothic"/>
              </a:rPr>
              <a:t>https://www.snef.fr/snefpowerservices/</a:t>
            </a:r>
            <a:endParaRPr sz="700" dirty="0">
              <a:latin typeface="Century Gothic"/>
              <a:cs typeface="Century Gothic"/>
            </a:endParaRPr>
          </a:p>
        </p:txBody>
      </p:sp>
      <p:sp>
        <p:nvSpPr>
          <p:cNvPr id="13" name="object 13"/>
          <p:cNvSpPr txBox="1"/>
          <p:nvPr/>
        </p:nvSpPr>
        <p:spPr>
          <a:xfrm>
            <a:off x="2309300" y="455576"/>
            <a:ext cx="1030800" cy="166712"/>
          </a:xfrm>
          <a:prstGeom prst="rect">
            <a:avLst/>
          </a:prstGeom>
        </p:spPr>
        <p:txBody>
          <a:bodyPr vert="horz" wrap="square" lIns="0" tIns="12700" rIns="0" bIns="0" rtlCol="0" anchor="t">
            <a:spAutoFit/>
          </a:bodyPr>
          <a:lstStyle/>
          <a:p>
            <a:pPr marL="12700">
              <a:lnSpc>
                <a:spcPct val="100000"/>
              </a:lnSpc>
              <a:spcBef>
                <a:spcPts val="100"/>
              </a:spcBef>
            </a:pPr>
            <a:r>
              <a:rPr lang="fr-FR" sz="1000" b="1" spc="-5" dirty="0">
                <a:solidFill>
                  <a:srgbClr val="FFFFFF"/>
                </a:solidFill>
                <a:latin typeface="Century Gothic"/>
                <a:cs typeface="Century Gothic"/>
              </a:rPr>
              <a:t>160 Million euros</a:t>
            </a:r>
            <a:endParaRPr sz="1000" dirty="0">
              <a:latin typeface="Century Gothic"/>
              <a:cs typeface="Century Gothic"/>
            </a:endParaRPr>
          </a:p>
        </p:txBody>
      </p:sp>
      <p:sp>
        <p:nvSpPr>
          <p:cNvPr id="14" name="object 14"/>
          <p:cNvSpPr txBox="1"/>
          <p:nvPr/>
        </p:nvSpPr>
        <p:spPr>
          <a:xfrm>
            <a:off x="2309300" y="1151457"/>
            <a:ext cx="1233170" cy="135935"/>
          </a:xfrm>
          <a:prstGeom prst="rect">
            <a:avLst/>
          </a:prstGeom>
        </p:spPr>
        <p:txBody>
          <a:bodyPr vert="horz" wrap="square" lIns="0" tIns="12700" rIns="0" bIns="0" rtlCol="0" anchor="ctr">
            <a:spAutoFit/>
          </a:bodyPr>
          <a:lstStyle/>
          <a:p>
            <a:pPr marL="12700">
              <a:lnSpc>
                <a:spcPct val="100000"/>
              </a:lnSpc>
              <a:spcBef>
                <a:spcPts val="100"/>
              </a:spcBef>
            </a:pPr>
            <a:r>
              <a:rPr lang="fr-FR" sz="800" b="1" dirty="0">
                <a:solidFill>
                  <a:srgbClr val="FFFFFF"/>
                </a:solidFill>
                <a:latin typeface="Century Gothic"/>
                <a:cs typeface="Century Gothic"/>
              </a:rPr>
              <a:t>Large </a:t>
            </a:r>
            <a:r>
              <a:rPr sz="800" b="1" dirty="0">
                <a:solidFill>
                  <a:srgbClr val="FFFFFF"/>
                </a:solidFill>
                <a:latin typeface="Century Gothic"/>
                <a:cs typeface="Century Gothic"/>
              </a:rPr>
              <a:t>Enterprise</a:t>
            </a:r>
            <a:endParaRPr sz="800" dirty="0">
              <a:latin typeface="Century Gothic"/>
              <a:cs typeface="Century Gothic"/>
            </a:endParaRPr>
          </a:p>
        </p:txBody>
      </p:sp>
      <p:sp>
        <p:nvSpPr>
          <p:cNvPr id="15" name="object 15"/>
          <p:cNvSpPr txBox="1"/>
          <p:nvPr/>
        </p:nvSpPr>
        <p:spPr>
          <a:xfrm>
            <a:off x="4167767" y="369028"/>
            <a:ext cx="1458314" cy="346249"/>
          </a:xfrm>
          <a:prstGeom prst="rect">
            <a:avLst/>
          </a:prstGeom>
        </p:spPr>
        <p:txBody>
          <a:bodyPr vert="horz" wrap="square" lIns="0" tIns="12700" rIns="0" bIns="0" rtlCol="0">
            <a:spAutoFit/>
          </a:bodyPr>
          <a:lstStyle/>
          <a:p>
            <a:pPr marL="12700">
              <a:lnSpc>
                <a:spcPts val="950"/>
              </a:lnSpc>
              <a:spcBef>
                <a:spcPts val="100"/>
              </a:spcBef>
            </a:pPr>
            <a:r>
              <a:rPr lang="en-GB" sz="800" b="1" dirty="0">
                <a:solidFill>
                  <a:srgbClr val="FFFFFF"/>
                </a:solidFill>
                <a:latin typeface="Century Gothic"/>
                <a:cs typeface="Century Gothic"/>
              </a:rPr>
              <a:t>Matthieu LE PRIOL</a:t>
            </a:r>
            <a:endParaRPr lang="en-GB" sz="800" dirty="0">
              <a:latin typeface="Century Gothic"/>
              <a:cs typeface="Century Gothic"/>
            </a:endParaRPr>
          </a:p>
          <a:p>
            <a:pPr marL="12700">
              <a:lnSpc>
                <a:spcPts val="830"/>
              </a:lnSpc>
            </a:pPr>
            <a:r>
              <a:rPr lang="en-GB" sz="700" dirty="0">
                <a:solidFill>
                  <a:srgbClr val="FFFFFF"/>
                </a:solidFill>
                <a:latin typeface="Century Gothic"/>
                <a:cs typeface="Century Gothic"/>
              </a:rPr>
              <a:t>Head of Export Business Development</a:t>
            </a:r>
            <a:endParaRPr lang="en-GB" sz="700" dirty="0">
              <a:latin typeface="Century Gothic"/>
              <a:cs typeface="Century Gothic"/>
            </a:endParaRPr>
          </a:p>
        </p:txBody>
      </p:sp>
      <p:sp>
        <p:nvSpPr>
          <p:cNvPr id="16" name="object 16"/>
          <p:cNvSpPr txBox="1"/>
          <p:nvPr/>
        </p:nvSpPr>
        <p:spPr>
          <a:xfrm>
            <a:off x="7040" y="1826724"/>
            <a:ext cx="5747216" cy="166712"/>
          </a:xfrm>
          <a:prstGeom prst="rect">
            <a:avLst/>
          </a:prstGeom>
        </p:spPr>
        <p:txBody>
          <a:bodyPr vert="horz" wrap="square" lIns="0" tIns="12700" rIns="0" bIns="0" rtlCol="0">
            <a:spAutoFit/>
          </a:bodyPr>
          <a:lstStyle/>
          <a:p>
            <a:pPr marL="12700" algn="ctr">
              <a:lnSpc>
                <a:spcPct val="100000"/>
              </a:lnSpc>
              <a:spcBef>
                <a:spcPts val="100"/>
              </a:spcBef>
            </a:pPr>
            <a:r>
              <a:rPr lang="fr-FR" sz="1000" b="1" dirty="0">
                <a:solidFill>
                  <a:srgbClr val="FFFFFF"/>
                </a:solidFill>
                <a:latin typeface="Century Gothic"/>
                <a:cs typeface="Century Gothic"/>
              </a:rPr>
              <a:t>SERVICES IN : ELECTRICITY – INSTRUMENTATION – PHYSICAL PROTECTION</a:t>
            </a:r>
            <a:endParaRPr lang="fr-FR" sz="1000" dirty="0">
              <a:latin typeface="Century Gothic"/>
              <a:cs typeface="Century Gothic"/>
            </a:endParaRPr>
          </a:p>
        </p:txBody>
      </p:sp>
      <p:sp>
        <p:nvSpPr>
          <p:cNvPr id="24" name="object 24"/>
          <p:cNvSpPr txBox="1"/>
          <p:nvPr/>
        </p:nvSpPr>
        <p:spPr>
          <a:xfrm>
            <a:off x="4166299" y="1157237"/>
            <a:ext cx="1304290" cy="120546"/>
          </a:xfrm>
          <a:prstGeom prst="rect">
            <a:avLst/>
          </a:prstGeom>
        </p:spPr>
        <p:txBody>
          <a:bodyPr vert="horz" wrap="square" lIns="0" tIns="12700" rIns="0" bIns="0" rtlCol="0">
            <a:spAutoFit/>
          </a:bodyPr>
          <a:lstStyle/>
          <a:p>
            <a:pPr marL="12700">
              <a:lnSpc>
                <a:spcPct val="100000"/>
              </a:lnSpc>
              <a:spcBef>
                <a:spcPts val="100"/>
              </a:spcBef>
            </a:pPr>
            <a:r>
              <a:rPr lang="fr-FR" sz="700" b="1" u="sng" dirty="0">
                <a:solidFill>
                  <a:srgbClr val="FFFFFF"/>
                </a:solidFill>
                <a:uFill>
                  <a:solidFill>
                    <a:srgbClr val="FFFFFF"/>
                  </a:solidFill>
                </a:uFill>
                <a:latin typeface="Century Gothic"/>
                <a:cs typeface="Century Gothic"/>
              </a:rPr>
              <a:t>matthieu.le.priol@snef.fr</a:t>
            </a:r>
            <a:endParaRPr sz="700" dirty="0">
              <a:latin typeface="Century Gothic"/>
              <a:cs typeface="Century Gothic"/>
            </a:endParaRPr>
          </a:p>
        </p:txBody>
      </p:sp>
      <p:sp>
        <p:nvSpPr>
          <p:cNvPr id="25" name="object 25"/>
          <p:cNvSpPr txBox="1"/>
          <p:nvPr/>
        </p:nvSpPr>
        <p:spPr>
          <a:xfrm>
            <a:off x="4163277" y="808305"/>
            <a:ext cx="744220" cy="120546"/>
          </a:xfrm>
          <a:prstGeom prst="rect">
            <a:avLst/>
          </a:prstGeom>
        </p:spPr>
        <p:txBody>
          <a:bodyPr vert="horz" wrap="square" lIns="0" tIns="12700" rIns="0" bIns="0" rtlCol="0">
            <a:spAutoFit/>
          </a:bodyPr>
          <a:lstStyle/>
          <a:p>
            <a:pPr marL="12700">
              <a:lnSpc>
                <a:spcPct val="100000"/>
              </a:lnSpc>
              <a:spcBef>
                <a:spcPts val="100"/>
              </a:spcBef>
            </a:pPr>
            <a:r>
              <a:rPr sz="700" dirty="0">
                <a:solidFill>
                  <a:srgbClr val="FFFFFF"/>
                </a:solidFill>
                <a:latin typeface="Century Gothic"/>
                <a:cs typeface="Century Gothic"/>
              </a:rPr>
              <a:t>+</a:t>
            </a:r>
            <a:r>
              <a:rPr lang="fr-FR" sz="700" dirty="0">
                <a:solidFill>
                  <a:srgbClr val="FFFFFF"/>
                </a:solidFill>
                <a:latin typeface="Century Gothic"/>
                <a:cs typeface="Century Gothic"/>
              </a:rPr>
              <a:t>33 6 28 10 98 89</a:t>
            </a:r>
            <a:endParaRPr sz="700" dirty="0">
              <a:latin typeface="Century Gothic"/>
              <a:cs typeface="Century Gothic"/>
            </a:endParaRPr>
          </a:p>
        </p:txBody>
      </p:sp>
      <p:grpSp>
        <p:nvGrpSpPr>
          <p:cNvPr id="57" name="Groupe 56">
            <a:extLst>
              <a:ext uri="{FF2B5EF4-FFF2-40B4-BE49-F238E27FC236}">
                <a16:creationId xmlns:a16="http://schemas.microsoft.com/office/drawing/2014/main" id="{087D283E-2ABD-D44B-928D-CE53E7A46364}"/>
              </a:ext>
            </a:extLst>
          </p:cNvPr>
          <p:cNvGrpSpPr/>
          <p:nvPr/>
        </p:nvGrpSpPr>
        <p:grpSpPr>
          <a:xfrm>
            <a:off x="2177051" y="2165701"/>
            <a:ext cx="3463856" cy="1829181"/>
            <a:chOff x="2177051" y="2165701"/>
            <a:chExt cx="3463856" cy="1829181"/>
          </a:xfrm>
        </p:grpSpPr>
        <p:sp>
          <p:nvSpPr>
            <p:cNvPr id="45" name="Rectangle 44">
              <a:extLst>
                <a:ext uri="{FF2B5EF4-FFF2-40B4-BE49-F238E27FC236}">
                  <a16:creationId xmlns:a16="http://schemas.microsoft.com/office/drawing/2014/main" id="{7337EB87-D52B-E54C-8A77-0C9125518EE4}"/>
                </a:ext>
              </a:extLst>
            </p:cNvPr>
            <p:cNvSpPr/>
            <p:nvPr/>
          </p:nvSpPr>
          <p:spPr>
            <a:xfrm>
              <a:off x="2177051" y="2363666"/>
              <a:ext cx="3463856" cy="1631216"/>
            </a:xfrm>
            <a:prstGeom prst="rect">
              <a:avLst/>
            </a:prstGeom>
          </p:spPr>
          <p:txBody>
            <a:bodyPr wrap="square">
              <a:spAutoFit/>
            </a:bodyPr>
            <a:lstStyle/>
            <a:p>
              <a:pPr marL="6350" marR="55880" algn="just">
                <a:lnSpc>
                  <a:spcPts val="850"/>
                </a:lnSpc>
                <a:spcBef>
                  <a:spcPts val="135"/>
                </a:spcBef>
              </a:pPr>
              <a:r>
                <a:rPr lang="en-US" sz="800" dirty="0">
                  <a:solidFill>
                    <a:srgbClr val="231F20"/>
                  </a:solidFill>
                  <a:latin typeface="Century Gothic"/>
                  <a:cs typeface="Century Gothic"/>
                </a:rPr>
                <a:t>Born from the merger of the SNEF’s nuclear activities and General Electric’s business unit (formerly Alstom Power Service, expert in electrical auxiliaries), SNEF Power Services offers wide range of products and services in the fields of electricity, instrumentation, physical protection, water and gas treatment for the nuclear industry. </a:t>
              </a:r>
            </a:p>
            <a:p>
              <a:pPr marL="6350" marR="55880" algn="just">
                <a:lnSpc>
                  <a:spcPts val="850"/>
                </a:lnSpc>
                <a:spcBef>
                  <a:spcPts val="135"/>
                </a:spcBef>
              </a:pPr>
              <a:r>
                <a:rPr lang="en-US" sz="800" dirty="0">
                  <a:solidFill>
                    <a:srgbClr val="231F20"/>
                  </a:solidFill>
                  <a:latin typeface="Century Gothic"/>
                  <a:cs typeface="Century Gothic"/>
                </a:rPr>
                <a:t>We are involved at every stage of the nuclear life cycle alongside key players in the French nuclear industry.</a:t>
              </a:r>
            </a:p>
            <a:p>
              <a:pPr marL="6350" marR="55880" algn="just">
                <a:lnSpc>
                  <a:spcPts val="850"/>
                </a:lnSpc>
                <a:spcBef>
                  <a:spcPts val="135"/>
                </a:spcBef>
              </a:pPr>
              <a:r>
                <a:rPr lang="en-US" sz="800" dirty="0">
                  <a:solidFill>
                    <a:srgbClr val="231F20"/>
                  </a:solidFill>
                  <a:latin typeface="Century Gothic"/>
                  <a:cs typeface="Century Gothic"/>
                </a:rPr>
                <a:t>SNEF Power Services headquarters are located in Marseille (France) and employs about 1 000 employees.</a:t>
              </a:r>
            </a:p>
            <a:p>
              <a:pPr marL="6350" marR="55880" algn="just">
                <a:lnSpc>
                  <a:spcPts val="850"/>
                </a:lnSpc>
                <a:spcBef>
                  <a:spcPts val="135"/>
                </a:spcBef>
              </a:pPr>
              <a:r>
                <a:rPr lang="en-US" sz="800" dirty="0">
                  <a:solidFill>
                    <a:srgbClr val="231F20"/>
                  </a:solidFill>
                  <a:latin typeface="Century Gothic"/>
                  <a:cs typeface="Century Gothic"/>
                </a:rPr>
                <a:t>SNEF Power Services is the leading </a:t>
              </a:r>
              <a:r>
                <a:rPr lang="en-US" sz="800" dirty="0" err="1">
                  <a:solidFill>
                    <a:srgbClr val="231F20"/>
                  </a:solidFill>
                  <a:latin typeface="Century Gothic"/>
                  <a:cs typeface="Century Gothic"/>
                </a:rPr>
                <a:t>comparny</a:t>
              </a:r>
              <a:r>
                <a:rPr lang="en-US" sz="800" dirty="0">
                  <a:solidFill>
                    <a:srgbClr val="231F20"/>
                  </a:solidFill>
                  <a:latin typeface="Century Gothic"/>
                  <a:cs typeface="Century Gothic"/>
                </a:rPr>
                <a:t> of SNEF nuclear business (</a:t>
              </a:r>
              <a:r>
                <a:rPr lang="en-US" sz="800" dirty="0" err="1">
                  <a:solidFill>
                    <a:srgbClr val="231F20"/>
                  </a:solidFill>
                  <a:latin typeface="Century Gothic"/>
                  <a:cs typeface="Century Gothic"/>
                </a:rPr>
                <a:t>Snef</a:t>
              </a:r>
              <a:r>
                <a:rPr lang="en-US" sz="800" dirty="0">
                  <a:solidFill>
                    <a:srgbClr val="231F20"/>
                  </a:solidFill>
                  <a:latin typeface="Century Gothic"/>
                  <a:cs typeface="Century Gothic"/>
                </a:rPr>
                <a:t> Power Services, EKIUM, </a:t>
              </a:r>
              <a:r>
                <a:rPr lang="en-US" sz="800" dirty="0" err="1">
                  <a:solidFill>
                    <a:srgbClr val="231F20"/>
                  </a:solidFill>
                  <a:latin typeface="Century Gothic"/>
                  <a:cs typeface="Century Gothic"/>
                </a:rPr>
                <a:t>Fouré</a:t>
              </a:r>
              <a:r>
                <a:rPr lang="en-US" sz="800" dirty="0">
                  <a:solidFill>
                    <a:srgbClr val="231F20"/>
                  </a:solidFill>
                  <a:latin typeface="Century Gothic"/>
                  <a:cs typeface="Century Gothic"/>
                </a:rPr>
                <a:t> </a:t>
              </a:r>
              <a:r>
                <a:rPr lang="en-US" sz="800" dirty="0" err="1">
                  <a:solidFill>
                    <a:srgbClr val="231F20"/>
                  </a:solidFill>
                  <a:latin typeface="Century Gothic"/>
                  <a:cs typeface="Century Gothic"/>
                </a:rPr>
                <a:t>Lagadec</a:t>
              </a:r>
              <a:r>
                <a:rPr lang="en-US" sz="800" dirty="0">
                  <a:solidFill>
                    <a:srgbClr val="231F20"/>
                  </a:solidFill>
                  <a:latin typeface="Century Gothic"/>
                  <a:cs typeface="Century Gothic"/>
                </a:rPr>
                <a:t>, SNEF Lab, IMSAT)</a:t>
              </a:r>
            </a:p>
          </p:txBody>
        </p:sp>
        <p:pic>
          <p:nvPicPr>
            <p:cNvPr id="56" name="Image 55">
              <a:extLst>
                <a:ext uri="{FF2B5EF4-FFF2-40B4-BE49-F238E27FC236}">
                  <a16:creationId xmlns:a16="http://schemas.microsoft.com/office/drawing/2014/main" id="{C1C980BD-CF63-7E48-9E55-4AB67A48FA4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8375" t="14689" r="10979" b="25644"/>
            <a:stretch/>
          </p:blipFill>
          <p:spPr>
            <a:xfrm>
              <a:off x="2267876" y="2165701"/>
              <a:ext cx="891049" cy="166712"/>
            </a:xfrm>
            <a:prstGeom prst="rect">
              <a:avLst/>
            </a:prstGeom>
          </p:spPr>
        </p:pic>
      </p:grpSp>
      <p:grpSp>
        <p:nvGrpSpPr>
          <p:cNvPr id="61" name="Groupe 60">
            <a:extLst>
              <a:ext uri="{FF2B5EF4-FFF2-40B4-BE49-F238E27FC236}">
                <a16:creationId xmlns:a16="http://schemas.microsoft.com/office/drawing/2014/main" id="{293BBACE-2A6F-274F-BF65-CC051D80EEE5}"/>
              </a:ext>
            </a:extLst>
          </p:cNvPr>
          <p:cNvGrpSpPr/>
          <p:nvPr/>
        </p:nvGrpSpPr>
        <p:grpSpPr>
          <a:xfrm>
            <a:off x="2162225" y="4138789"/>
            <a:ext cx="3463856" cy="610324"/>
            <a:chOff x="2162225" y="4814596"/>
            <a:chExt cx="3463856" cy="610324"/>
          </a:xfrm>
        </p:grpSpPr>
        <p:sp>
          <p:nvSpPr>
            <p:cNvPr id="51" name="Rectangle 50">
              <a:extLst>
                <a:ext uri="{FF2B5EF4-FFF2-40B4-BE49-F238E27FC236}">
                  <a16:creationId xmlns:a16="http://schemas.microsoft.com/office/drawing/2014/main" id="{A03879AA-32EF-BB4B-B6AF-C96A5F50BD94}"/>
                </a:ext>
              </a:extLst>
            </p:cNvPr>
            <p:cNvSpPr/>
            <p:nvPr/>
          </p:nvSpPr>
          <p:spPr>
            <a:xfrm>
              <a:off x="2162225" y="4973514"/>
              <a:ext cx="3463856" cy="451406"/>
            </a:xfrm>
            <a:prstGeom prst="rect">
              <a:avLst/>
            </a:prstGeom>
          </p:spPr>
          <p:txBody>
            <a:bodyPr wrap="square">
              <a:spAutoFit/>
            </a:bodyPr>
            <a:lstStyle/>
            <a:p>
              <a:pPr marL="6350" marR="55880" algn="just">
                <a:lnSpc>
                  <a:spcPts val="850"/>
                </a:lnSpc>
                <a:spcBef>
                  <a:spcPts val="135"/>
                </a:spcBef>
              </a:pPr>
              <a:r>
                <a:rPr lang="en-US" sz="800" dirty="0">
                  <a:solidFill>
                    <a:srgbClr val="6C92A8"/>
                  </a:solidFill>
                  <a:latin typeface="Century Gothic"/>
                  <a:cs typeface="Century Gothic"/>
                </a:rPr>
                <a:t>• </a:t>
              </a:r>
              <a:r>
                <a:rPr lang="en-US" sz="800" dirty="0">
                  <a:solidFill>
                    <a:srgbClr val="231F20"/>
                  </a:solidFill>
                  <a:latin typeface="Century Gothic"/>
                  <a:cs typeface="Century Gothic"/>
                </a:rPr>
                <a:t>Solutions in the fields of electricity </a:t>
              </a:r>
              <a:r>
                <a:rPr lang="en-US" sz="800" dirty="0">
                  <a:solidFill>
                    <a:srgbClr val="6C92A8"/>
                  </a:solidFill>
                  <a:latin typeface="Century Gothic"/>
                  <a:cs typeface="Century Gothic"/>
                </a:rPr>
                <a:t>•</a:t>
              </a:r>
              <a:r>
                <a:rPr lang="en-US" sz="800" dirty="0">
                  <a:solidFill>
                    <a:srgbClr val="231F20"/>
                  </a:solidFill>
                  <a:latin typeface="Century Gothic"/>
                  <a:cs typeface="Century Gothic"/>
                </a:rPr>
                <a:t> Instrumentation </a:t>
              </a:r>
              <a:r>
                <a:rPr lang="en-US" sz="800" dirty="0">
                  <a:solidFill>
                    <a:srgbClr val="6C92A8"/>
                  </a:solidFill>
                  <a:latin typeface="Century Gothic"/>
                  <a:cs typeface="Century Gothic"/>
                </a:rPr>
                <a:t>• </a:t>
              </a:r>
              <a:r>
                <a:rPr lang="en-US" sz="800" dirty="0">
                  <a:solidFill>
                    <a:srgbClr val="231F20"/>
                  </a:solidFill>
                  <a:latin typeface="Century Gothic"/>
                  <a:cs typeface="Century Gothic"/>
                </a:rPr>
                <a:t>Physical protection </a:t>
              </a:r>
              <a:r>
                <a:rPr lang="en-US" sz="800" dirty="0">
                  <a:solidFill>
                    <a:srgbClr val="6C92A8"/>
                  </a:solidFill>
                  <a:latin typeface="Century Gothic"/>
                  <a:cs typeface="Century Gothic"/>
                </a:rPr>
                <a:t>• </a:t>
              </a:r>
              <a:r>
                <a:rPr lang="en-US" sz="800" dirty="0">
                  <a:solidFill>
                    <a:srgbClr val="231F20"/>
                  </a:solidFill>
                  <a:latin typeface="Century Gothic"/>
                  <a:cs typeface="Century Gothic"/>
                </a:rPr>
                <a:t>Water &amp; gas treatment </a:t>
              </a:r>
              <a:r>
                <a:rPr lang="en-US" sz="800" dirty="0">
                  <a:solidFill>
                    <a:srgbClr val="6C92A8"/>
                  </a:solidFill>
                  <a:latin typeface="Century Gothic"/>
                  <a:cs typeface="Century Gothic"/>
                </a:rPr>
                <a:t>•</a:t>
              </a:r>
              <a:r>
                <a:rPr lang="en-US" sz="800" dirty="0">
                  <a:solidFill>
                    <a:srgbClr val="231F20"/>
                  </a:solidFill>
                  <a:latin typeface="Century Gothic"/>
                  <a:cs typeface="Century Gothic"/>
                </a:rPr>
                <a:t> </a:t>
              </a:r>
            </a:p>
            <a:p>
              <a:pPr marL="6350" marR="55880" algn="just">
                <a:lnSpc>
                  <a:spcPts val="850"/>
                </a:lnSpc>
                <a:spcBef>
                  <a:spcPts val="135"/>
                </a:spcBef>
              </a:pPr>
              <a:endParaRPr lang="en-US" sz="800" dirty="0">
                <a:solidFill>
                  <a:srgbClr val="231F20"/>
                </a:solidFill>
                <a:latin typeface="Century Gothic"/>
                <a:cs typeface="Century Gothic"/>
              </a:endParaRPr>
            </a:p>
          </p:txBody>
        </p:sp>
        <p:pic>
          <p:nvPicPr>
            <p:cNvPr id="60" name="Image 59">
              <a:extLst>
                <a:ext uri="{FF2B5EF4-FFF2-40B4-BE49-F238E27FC236}">
                  <a16:creationId xmlns:a16="http://schemas.microsoft.com/office/drawing/2014/main" id="{069AFE8E-D943-384B-880A-1F67D234AD0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857" t="18019" r="5941" b="25644"/>
            <a:stretch/>
          </p:blipFill>
          <p:spPr>
            <a:xfrm>
              <a:off x="2267876" y="4814596"/>
              <a:ext cx="1478624" cy="157408"/>
            </a:xfrm>
            <a:prstGeom prst="rect">
              <a:avLst/>
            </a:prstGeom>
          </p:spPr>
        </p:pic>
      </p:grpSp>
      <p:pic>
        <p:nvPicPr>
          <p:cNvPr id="74" name="Image 73">
            <a:extLst>
              <a:ext uri="{FF2B5EF4-FFF2-40B4-BE49-F238E27FC236}">
                <a16:creationId xmlns:a16="http://schemas.microsoft.com/office/drawing/2014/main" id="{9DEB5F82-99AB-C940-B0B4-3E37960A0FE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450" t="14952" r="8319" b="17050"/>
          <a:stretch/>
        </p:blipFill>
        <p:spPr>
          <a:xfrm>
            <a:off x="2238538" y="4771296"/>
            <a:ext cx="1026944" cy="170306"/>
          </a:xfrm>
          <a:prstGeom prst="rect">
            <a:avLst/>
          </a:prstGeom>
        </p:spPr>
      </p:pic>
      <p:sp>
        <p:nvSpPr>
          <p:cNvPr id="81" name="object 13">
            <a:extLst>
              <a:ext uri="{FF2B5EF4-FFF2-40B4-BE49-F238E27FC236}">
                <a16:creationId xmlns:a16="http://schemas.microsoft.com/office/drawing/2014/main" id="{FD1B6A5D-BB1F-9D4F-9BBC-F632B67A6F04}"/>
              </a:ext>
            </a:extLst>
          </p:cNvPr>
          <p:cNvSpPr txBox="1"/>
          <p:nvPr/>
        </p:nvSpPr>
        <p:spPr>
          <a:xfrm>
            <a:off x="2309300" y="847462"/>
            <a:ext cx="985519" cy="166712"/>
          </a:xfrm>
          <a:prstGeom prst="rect">
            <a:avLst/>
          </a:prstGeom>
        </p:spPr>
        <p:txBody>
          <a:bodyPr vert="horz" wrap="square" lIns="0" tIns="12700" rIns="0" bIns="0" rtlCol="0" anchor="t">
            <a:spAutoFit/>
          </a:bodyPr>
          <a:lstStyle/>
          <a:p>
            <a:pPr marL="12700">
              <a:lnSpc>
                <a:spcPct val="100000"/>
              </a:lnSpc>
              <a:spcBef>
                <a:spcPts val="100"/>
              </a:spcBef>
            </a:pPr>
            <a:r>
              <a:rPr lang="fr-FR" sz="1000" b="1" spc="-5" dirty="0">
                <a:solidFill>
                  <a:srgbClr val="FFFFFF"/>
                </a:solidFill>
                <a:latin typeface="Century Gothic"/>
                <a:cs typeface="Century Gothic"/>
              </a:rPr>
              <a:t>1000</a:t>
            </a:r>
            <a:endParaRPr sz="1000" dirty="0">
              <a:latin typeface="Century Gothic"/>
              <a:cs typeface="Century Gothic"/>
            </a:endParaRPr>
          </a:p>
        </p:txBody>
      </p:sp>
      <p:sp>
        <p:nvSpPr>
          <p:cNvPr id="83" name="object 10">
            <a:extLst>
              <a:ext uri="{FF2B5EF4-FFF2-40B4-BE49-F238E27FC236}">
                <a16:creationId xmlns:a16="http://schemas.microsoft.com/office/drawing/2014/main" id="{AA4B0085-7941-5846-A79D-ACF1D355A153}"/>
              </a:ext>
            </a:extLst>
          </p:cNvPr>
          <p:cNvSpPr txBox="1"/>
          <p:nvPr/>
        </p:nvSpPr>
        <p:spPr>
          <a:xfrm>
            <a:off x="2309300" y="1533818"/>
            <a:ext cx="1411800" cy="135935"/>
          </a:xfrm>
          <a:prstGeom prst="rect">
            <a:avLst/>
          </a:prstGeom>
        </p:spPr>
        <p:txBody>
          <a:bodyPr vert="horz" wrap="square" lIns="0" tIns="12700" rIns="0" bIns="0" rtlCol="0" anchor="ctr">
            <a:spAutoFit/>
          </a:bodyPr>
          <a:lstStyle/>
          <a:p>
            <a:pPr marL="12700">
              <a:spcBef>
                <a:spcPts val="100"/>
              </a:spcBef>
            </a:pPr>
            <a:r>
              <a:rPr sz="800" b="1" dirty="0">
                <a:solidFill>
                  <a:srgbClr val="FFFFFF"/>
                </a:solidFill>
                <a:latin typeface="Century Gothic"/>
                <a:cs typeface="Century Gothic"/>
              </a:rPr>
              <a:t>Export </a:t>
            </a:r>
            <a:r>
              <a:rPr sz="800" b="1" spc="-5" dirty="0">
                <a:solidFill>
                  <a:srgbClr val="FFFFFF"/>
                </a:solidFill>
                <a:latin typeface="Century Gothic"/>
                <a:cs typeface="Century Gothic"/>
              </a:rPr>
              <a:t>areas:</a:t>
            </a:r>
            <a:r>
              <a:rPr lang="fr-FR" sz="800" b="1" spc="-5" dirty="0">
                <a:solidFill>
                  <a:srgbClr val="FFFFFF"/>
                </a:solidFill>
                <a:latin typeface="Century Gothic"/>
                <a:cs typeface="Century Gothic"/>
              </a:rPr>
              <a:t> </a:t>
            </a:r>
            <a:r>
              <a:rPr lang="fr-FR" sz="800" dirty="0">
                <a:solidFill>
                  <a:srgbClr val="FFFFFF"/>
                </a:solidFill>
                <a:latin typeface="Century Gothic"/>
                <a:cs typeface="Century Gothic"/>
              </a:rPr>
              <a:t>UK</a:t>
            </a:r>
            <a:endParaRPr lang="fr-FR" sz="800" dirty="0"/>
          </a:p>
        </p:txBody>
      </p:sp>
      <p:sp>
        <p:nvSpPr>
          <p:cNvPr id="58" name="Rectangle 57">
            <a:extLst>
              <a:ext uri="{FF2B5EF4-FFF2-40B4-BE49-F238E27FC236}">
                <a16:creationId xmlns:a16="http://schemas.microsoft.com/office/drawing/2014/main" id="{010C1C23-53A9-9149-B1B6-D34996C18C34}"/>
              </a:ext>
            </a:extLst>
          </p:cNvPr>
          <p:cNvSpPr/>
          <p:nvPr/>
        </p:nvSpPr>
        <p:spPr>
          <a:xfrm>
            <a:off x="17421" y="6301707"/>
            <a:ext cx="1878448" cy="900246"/>
          </a:xfrm>
          <a:prstGeom prst="rect">
            <a:avLst/>
          </a:prstGeom>
        </p:spPr>
        <p:txBody>
          <a:bodyPr wrap="square">
            <a:spAutoFit/>
          </a:bodyPr>
          <a:lstStyle/>
          <a:p>
            <a:pPr marL="12700" marR="5080">
              <a:lnSpc>
                <a:spcPts val="900"/>
              </a:lnSpc>
              <a:spcBef>
                <a:spcPts val="850"/>
              </a:spcBef>
            </a:pPr>
            <a:r>
              <a:rPr lang="en-GB" sz="800" dirty="0">
                <a:latin typeface="Century Gothic"/>
              </a:rPr>
              <a:t>In the frame of its abroad growth strategy, SNEF Power Services is open to partnerships with local companies and wishes to offer products and/or services for Fusion and other nuclear programmes.</a:t>
            </a:r>
            <a:endParaRPr lang="en-GB" sz="800" dirty="0">
              <a:effectLst/>
              <a:latin typeface="Century Gothic" panose="020B0502020202020204" pitchFamily="34" charset="0"/>
              <a:ea typeface="Calibri" panose="020F0502020204030204" pitchFamily="34" charset="0"/>
              <a:cs typeface="Times New Roman" panose="02020603050405020304" pitchFamily="18" charset="0"/>
            </a:endParaRPr>
          </a:p>
        </p:txBody>
      </p:sp>
      <p:grpSp>
        <p:nvGrpSpPr>
          <p:cNvPr id="37" name="Groupe 36">
            <a:extLst>
              <a:ext uri="{FF2B5EF4-FFF2-40B4-BE49-F238E27FC236}">
                <a16:creationId xmlns:a16="http://schemas.microsoft.com/office/drawing/2014/main" id="{168DB73E-6F94-9845-94BE-504F8EE566A8}"/>
              </a:ext>
            </a:extLst>
          </p:cNvPr>
          <p:cNvGrpSpPr/>
          <p:nvPr/>
        </p:nvGrpSpPr>
        <p:grpSpPr>
          <a:xfrm>
            <a:off x="2221501" y="5815013"/>
            <a:ext cx="3391711" cy="755735"/>
            <a:chOff x="2234370" y="4405525"/>
            <a:chExt cx="3391711" cy="755735"/>
          </a:xfrm>
        </p:grpSpPr>
        <p:pic>
          <p:nvPicPr>
            <p:cNvPr id="78" name="Image 77" descr="Une image contenant texte&#10;&#10;Description générée automatiquement">
              <a:extLst>
                <a:ext uri="{FF2B5EF4-FFF2-40B4-BE49-F238E27FC236}">
                  <a16:creationId xmlns:a16="http://schemas.microsoft.com/office/drawing/2014/main" id="{5F0C30C4-4E56-1947-87C6-596EBC59BFA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7054" t="21798" r="11873" b="27282"/>
            <a:stretch/>
          </p:blipFill>
          <p:spPr>
            <a:xfrm>
              <a:off x="2273371" y="4405525"/>
              <a:ext cx="761929" cy="142271"/>
            </a:xfrm>
            <a:prstGeom prst="rect">
              <a:avLst/>
            </a:prstGeom>
          </p:spPr>
        </p:pic>
        <p:grpSp>
          <p:nvGrpSpPr>
            <p:cNvPr id="36" name="Groupe 35">
              <a:extLst>
                <a:ext uri="{FF2B5EF4-FFF2-40B4-BE49-F238E27FC236}">
                  <a16:creationId xmlns:a16="http://schemas.microsoft.com/office/drawing/2014/main" id="{92D6D75F-55EE-FE45-814F-2DA49DA976D9}"/>
                </a:ext>
              </a:extLst>
            </p:cNvPr>
            <p:cNvGrpSpPr/>
            <p:nvPr/>
          </p:nvGrpSpPr>
          <p:grpSpPr>
            <a:xfrm>
              <a:off x="2234370" y="4530282"/>
              <a:ext cx="3391711" cy="630978"/>
              <a:chOff x="2234370" y="4466798"/>
              <a:chExt cx="3391711" cy="630978"/>
            </a:xfrm>
          </p:grpSpPr>
          <p:pic>
            <p:nvPicPr>
              <p:cNvPr id="29" name="Image 28">
                <a:extLst>
                  <a:ext uri="{FF2B5EF4-FFF2-40B4-BE49-F238E27FC236}">
                    <a16:creationId xmlns:a16="http://schemas.microsoft.com/office/drawing/2014/main" id="{6E99BAB4-0CA8-3940-B6BE-468EC2AC86A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34370" y="4466798"/>
                <a:ext cx="1308100" cy="279400"/>
              </a:xfrm>
              <a:prstGeom prst="rect">
                <a:avLst/>
              </a:prstGeom>
            </p:spPr>
          </p:pic>
          <p:sp>
            <p:nvSpPr>
              <p:cNvPr id="69" name="Rectangle 68">
                <a:extLst>
                  <a:ext uri="{FF2B5EF4-FFF2-40B4-BE49-F238E27FC236}">
                    <a16:creationId xmlns:a16="http://schemas.microsoft.com/office/drawing/2014/main" id="{77DE93A1-01B5-0B48-B914-67D5E74FD62F}"/>
                  </a:ext>
                </a:extLst>
              </p:cNvPr>
              <p:cNvSpPr/>
              <p:nvPr/>
            </p:nvSpPr>
            <p:spPr>
              <a:xfrm>
                <a:off x="2355594" y="4659194"/>
                <a:ext cx="3270487" cy="438582"/>
              </a:xfrm>
              <a:prstGeom prst="rect">
                <a:avLst/>
              </a:prstGeom>
            </p:spPr>
            <p:txBody>
              <a:bodyPr wrap="square">
                <a:spAutoFit/>
              </a:bodyPr>
              <a:lstStyle/>
              <a:p>
                <a:pPr marL="12700" marR="5080" algn="just">
                  <a:lnSpc>
                    <a:spcPts val="900"/>
                  </a:lnSpc>
                  <a:spcBef>
                    <a:spcPts val="850"/>
                  </a:spcBef>
                </a:pPr>
                <a:r>
                  <a:rPr lang="fr-FR" sz="800" dirty="0">
                    <a:latin typeface="Century Gothic"/>
                    <a:cs typeface="Century Gothic"/>
                  </a:rPr>
                  <a:t>ISO 9001, ISO 14001,  ISO 45001, ISO 19443 , CAEAR D3, D4 ORANO, APSAD F7, QUALIFOUDRE, QUALIFELEC, RCCM ,  RCCE.</a:t>
                </a:r>
                <a:endParaRPr lang="fr-FR" sz="800" dirty="0"/>
              </a:p>
            </p:txBody>
          </p:sp>
        </p:grpSp>
      </p:grpSp>
      <p:grpSp>
        <p:nvGrpSpPr>
          <p:cNvPr id="34" name="Groupe 33">
            <a:extLst>
              <a:ext uri="{FF2B5EF4-FFF2-40B4-BE49-F238E27FC236}">
                <a16:creationId xmlns:a16="http://schemas.microsoft.com/office/drawing/2014/main" id="{E74E81B6-CECB-1B43-BA80-9D83351179D2}"/>
              </a:ext>
            </a:extLst>
          </p:cNvPr>
          <p:cNvGrpSpPr/>
          <p:nvPr/>
        </p:nvGrpSpPr>
        <p:grpSpPr>
          <a:xfrm>
            <a:off x="2207596" y="6704181"/>
            <a:ext cx="3397231" cy="406088"/>
            <a:chOff x="2228850" y="5154538"/>
            <a:chExt cx="3397231" cy="406088"/>
          </a:xfrm>
        </p:grpSpPr>
        <p:pic>
          <p:nvPicPr>
            <p:cNvPr id="31" name="Image 30">
              <a:extLst>
                <a:ext uri="{FF2B5EF4-FFF2-40B4-BE49-F238E27FC236}">
                  <a16:creationId xmlns:a16="http://schemas.microsoft.com/office/drawing/2014/main" id="{503923B4-B1CB-7740-8F67-93F04171C2A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228850" y="5154538"/>
              <a:ext cx="1651000" cy="266700"/>
            </a:xfrm>
            <a:prstGeom prst="rect">
              <a:avLst/>
            </a:prstGeom>
          </p:spPr>
        </p:pic>
        <p:sp>
          <p:nvSpPr>
            <p:cNvPr id="70" name="Rectangle 69">
              <a:extLst>
                <a:ext uri="{FF2B5EF4-FFF2-40B4-BE49-F238E27FC236}">
                  <a16:creationId xmlns:a16="http://schemas.microsoft.com/office/drawing/2014/main" id="{F3CBC4D4-AB7B-AF43-A4EB-AF0E84BE95FC}"/>
                </a:ext>
              </a:extLst>
            </p:cNvPr>
            <p:cNvSpPr/>
            <p:nvPr/>
          </p:nvSpPr>
          <p:spPr>
            <a:xfrm>
              <a:off x="2355594" y="5352877"/>
              <a:ext cx="3270487" cy="207749"/>
            </a:xfrm>
            <a:prstGeom prst="rect">
              <a:avLst/>
            </a:prstGeom>
          </p:spPr>
          <p:txBody>
            <a:bodyPr wrap="square">
              <a:spAutoFit/>
            </a:bodyPr>
            <a:lstStyle/>
            <a:p>
              <a:pPr marL="12700" marR="5080" algn="just">
                <a:lnSpc>
                  <a:spcPts val="900"/>
                </a:lnSpc>
                <a:spcBef>
                  <a:spcPts val="850"/>
                </a:spcBef>
              </a:pPr>
              <a:r>
                <a:rPr lang="fr-FR" sz="800" dirty="0">
                  <a:latin typeface="Century Gothic"/>
                  <a:cs typeface="Century Gothic"/>
                </a:rPr>
                <a:t>EDF , ORANO , FRAMATOME, CEA ,  NNB , etc.. </a:t>
              </a:r>
              <a:endParaRPr lang="fr-FR" sz="800" dirty="0"/>
            </a:p>
          </p:txBody>
        </p:sp>
      </p:grpSp>
      <p:grpSp>
        <p:nvGrpSpPr>
          <p:cNvPr id="35" name="Groupe 34">
            <a:extLst>
              <a:ext uri="{FF2B5EF4-FFF2-40B4-BE49-F238E27FC236}">
                <a16:creationId xmlns:a16="http://schemas.microsoft.com/office/drawing/2014/main" id="{D4570758-D495-AD4A-B305-F577B7630BB8}"/>
              </a:ext>
            </a:extLst>
          </p:cNvPr>
          <p:cNvGrpSpPr/>
          <p:nvPr/>
        </p:nvGrpSpPr>
        <p:grpSpPr>
          <a:xfrm>
            <a:off x="2228850" y="7316387"/>
            <a:ext cx="3397231" cy="753361"/>
            <a:chOff x="2228850" y="5726766"/>
            <a:chExt cx="3397231" cy="753361"/>
          </a:xfrm>
        </p:grpSpPr>
        <p:pic>
          <p:nvPicPr>
            <p:cNvPr id="33" name="Image 32" descr="Une image contenant texte&#10;&#10;Description générée automatiquement">
              <a:extLst>
                <a:ext uri="{FF2B5EF4-FFF2-40B4-BE49-F238E27FC236}">
                  <a16:creationId xmlns:a16="http://schemas.microsoft.com/office/drawing/2014/main" id="{C3C72E74-962A-304E-94C1-1036E6F3B3C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28850" y="5726766"/>
              <a:ext cx="2184400" cy="266700"/>
            </a:xfrm>
            <a:prstGeom prst="rect">
              <a:avLst/>
            </a:prstGeom>
          </p:spPr>
        </p:pic>
        <p:sp>
          <p:nvSpPr>
            <p:cNvPr id="75" name="Rectangle 74">
              <a:extLst>
                <a:ext uri="{FF2B5EF4-FFF2-40B4-BE49-F238E27FC236}">
                  <a16:creationId xmlns:a16="http://schemas.microsoft.com/office/drawing/2014/main" id="{C2155A27-D3D5-A84D-B471-6204D2A4ADF3}"/>
                </a:ext>
              </a:extLst>
            </p:cNvPr>
            <p:cNvSpPr/>
            <p:nvPr/>
          </p:nvSpPr>
          <p:spPr>
            <a:xfrm>
              <a:off x="2355594" y="5926129"/>
              <a:ext cx="3270487" cy="553998"/>
            </a:xfrm>
            <a:prstGeom prst="rect">
              <a:avLst/>
            </a:prstGeom>
          </p:spPr>
          <p:txBody>
            <a:bodyPr wrap="square">
              <a:spAutoFit/>
            </a:bodyPr>
            <a:lstStyle/>
            <a:p>
              <a:pPr marL="12700" marR="5080" algn="just">
                <a:lnSpc>
                  <a:spcPts val="900"/>
                </a:lnSpc>
              </a:pPr>
              <a:r>
                <a:rPr lang="fr-FR" sz="800" dirty="0">
                  <a:latin typeface="Century Gothic"/>
                  <a:cs typeface="Century Gothic"/>
                </a:rPr>
                <a:t>EPR FA3 , EPR HPC , FRENCH GK, </a:t>
              </a:r>
              <a:r>
                <a:rPr lang="en-US" sz="800" dirty="0">
                  <a:solidFill>
                    <a:srgbClr val="231F20"/>
                  </a:solidFill>
                  <a:latin typeface="Century Gothic"/>
                  <a:cs typeface="Century Gothic"/>
                </a:rPr>
                <a:t>Jules</a:t>
              </a:r>
              <a:r>
                <a:rPr lang="en-US" sz="800" spc="15" dirty="0">
                  <a:solidFill>
                    <a:srgbClr val="231F20"/>
                  </a:solidFill>
                  <a:latin typeface="Century Gothic"/>
                  <a:cs typeface="Century Gothic"/>
                </a:rPr>
                <a:t> </a:t>
              </a:r>
              <a:r>
                <a:rPr lang="en-US" sz="800" spc="-5" dirty="0">
                  <a:solidFill>
                    <a:srgbClr val="231F20"/>
                  </a:solidFill>
                  <a:latin typeface="Century Gothic"/>
                  <a:cs typeface="Century Gothic"/>
                </a:rPr>
                <a:t>Horowitz </a:t>
              </a:r>
              <a:r>
                <a:rPr lang="en-US" sz="800" spc="-210" dirty="0">
                  <a:solidFill>
                    <a:srgbClr val="231F20"/>
                  </a:solidFill>
                  <a:latin typeface="Century Gothic"/>
                  <a:cs typeface="Century Gothic"/>
                </a:rPr>
                <a:t> </a:t>
              </a:r>
              <a:r>
                <a:rPr lang="en-US" sz="800" dirty="0">
                  <a:solidFill>
                    <a:srgbClr val="231F20"/>
                  </a:solidFill>
                  <a:latin typeface="Century Gothic"/>
                  <a:cs typeface="Century Gothic"/>
                </a:rPr>
                <a:t>research</a:t>
              </a:r>
              <a:r>
                <a:rPr lang="en-US" sz="800" spc="-5" dirty="0">
                  <a:solidFill>
                    <a:srgbClr val="231F20"/>
                  </a:solidFill>
                  <a:latin typeface="Century Gothic"/>
                  <a:cs typeface="Century Gothic"/>
                </a:rPr>
                <a:t> </a:t>
              </a:r>
              <a:r>
                <a:rPr lang="en-US" sz="800" dirty="0">
                  <a:solidFill>
                    <a:srgbClr val="231F20"/>
                  </a:solidFill>
                  <a:latin typeface="Century Gothic"/>
                  <a:cs typeface="Century Gothic"/>
                </a:rPr>
                <a:t>reactor </a:t>
              </a:r>
              <a:r>
                <a:rPr lang="en-US" sz="800" spc="-5" dirty="0">
                  <a:solidFill>
                    <a:srgbClr val="231F20"/>
                  </a:solidFill>
                  <a:latin typeface="Century Gothic"/>
                  <a:cs typeface="Century Gothic"/>
                </a:rPr>
                <a:t>(France) </a:t>
              </a:r>
              <a:r>
                <a:rPr lang="en-US" sz="800" spc="-5" dirty="0" err="1">
                  <a:solidFill>
                    <a:srgbClr val="231F20"/>
                  </a:solidFill>
                  <a:latin typeface="Century Gothic"/>
                  <a:cs typeface="Century Gothic"/>
                </a:rPr>
                <a:t>Orano</a:t>
              </a:r>
              <a:r>
                <a:rPr lang="en-US" sz="800" spc="-5" dirty="0">
                  <a:solidFill>
                    <a:srgbClr val="231F20"/>
                  </a:solidFill>
                  <a:latin typeface="Century Gothic"/>
                  <a:cs typeface="Century Gothic"/>
                </a:rPr>
                <a:t> La Hague, </a:t>
              </a:r>
              <a:r>
                <a:rPr lang="en-US" sz="800" spc="-5" dirty="0" err="1">
                  <a:solidFill>
                    <a:srgbClr val="231F20"/>
                  </a:solidFill>
                  <a:latin typeface="Century Gothic"/>
                  <a:cs typeface="Century Gothic"/>
                </a:rPr>
                <a:t>Orano</a:t>
              </a:r>
              <a:r>
                <a:rPr lang="en-US" sz="800" spc="-5" dirty="0">
                  <a:solidFill>
                    <a:srgbClr val="231F20"/>
                  </a:solidFill>
                  <a:latin typeface="Century Gothic"/>
                  <a:cs typeface="Century Gothic"/>
                </a:rPr>
                <a:t> Georges-</a:t>
              </a:r>
              <a:r>
                <a:rPr lang="en-US" sz="800" spc="-5" dirty="0" err="1">
                  <a:solidFill>
                    <a:srgbClr val="231F20"/>
                  </a:solidFill>
                  <a:latin typeface="Century Gothic"/>
                  <a:cs typeface="Century Gothic"/>
                </a:rPr>
                <a:t>Besse</a:t>
              </a:r>
              <a:r>
                <a:rPr lang="en-US" sz="800" spc="-5">
                  <a:solidFill>
                    <a:srgbClr val="231F20"/>
                  </a:solidFill>
                  <a:latin typeface="Century Gothic"/>
                  <a:cs typeface="Century Gothic"/>
                </a:rPr>
                <a:t> II</a:t>
              </a:r>
              <a:r>
                <a:rPr lang="fr-FR" sz="800">
                  <a:latin typeface="Century Gothic"/>
                  <a:cs typeface="Century Gothic"/>
                </a:rPr>
                <a:t>, </a:t>
              </a:r>
              <a:r>
                <a:rPr lang="fr-FR" sz="800" dirty="0">
                  <a:latin typeface="Century Gothic"/>
                  <a:cs typeface="Century Gothic"/>
                </a:rPr>
                <a:t>CEA </a:t>
              </a:r>
              <a:r>
                <a:rPr lang="fr-FR" sz="800" dirty="0" err="1">
                  <a:latin typeface="Century Gothic"/>
                  <a:cs typeface="Century Gothic"/>
                </a:rPr>
                <a:t>military</a:t>
              </a:r>
              <a:r>
                <a:rPr lang="fr-FR" sz="800" dirty="0">
                  <a:latin typeface="Century Gothic"/>
                  <a:cs typeface="Century Gothic"/>
                </a:rPr>
                <a:t> </a:t>
              </a:r>
              <a:r>
                <a:rPr lang="fr-FR" sz="800" dirty="0" err="1">
                  <a:latin typeface="Century Gothic"/>
                  <a:cs typeface="Century Gothic"/>
                </a:rPr>
                <a:t>projects</a:t>
              </a:r>
              <a:r>
                <a:rPr lang="fr-FR" sz="800" dirty="0">
                  <a:latin typeface="Century Gothic"/>
                  <a:cs typeface="Century Gothic"/>
                </a:rPr>
                <a:t>  </a:t>
              </a:r>
            </a:p>
            <a:p>
              <a:pPr marL="12700" marR="5080" algn="just">
                <a:lnSpc>
                  <a:spcPts val="900"/>
                </a:lnSpc>
              </a:pPr>
              <a:r>
                <a:rPr lang="fr-FR" sz="800" dirty="0">
                  <a:latin typeface="Century Gothic"/>
                  <a:cs typeface="Century Gothic"/>
                </a:rPr>
                <a:t>Tender phase:  EPR SZC , French EPR2 </a:t>
              </a:r>
              <a:endParaRPr lang="fr-FR" sz="800" dirty="0"/>
            </a:p>
          </p:txBody>
        </p:sp>
      </p:grpSp>
      <p:sp>
        <p:nvSpPr>
          <p:cNvPr id="44" name="ZoneTexte 22">
            <a:extLst>
              <a:ext uri="{FF2B5EF4-FFF2-40B4-BE49-F238E27FC236}">
                <a16:creationId xmlns:a16="http://schemas.microsoft.com/office/drawing/2014/main" id="{6484CFD7-FBAB-4B0B-BEFD-C20C7A5FEE62}"/>
              </a:ext>
            </a:extLst>
          </p:cNvPr>
          <p:cNvSpPr txBox="1"/>
          <p:nvPr/>
        </p:nvSpPr>
        <p:spPr>
          <a:xfrm>
            <a:off x="2162225" y="4951741"/>
            <a:ext cx="3736926" cy="343492"/>
          </a:xfrm>
          <a:prstGeom prst="rect">
            <a:avLst/>
          </a:prstGeom>
          <a:noFill/>
          <a:ln>
            <a:noFill/>
          </a:ln>
        </p:spPr>
        <p:txBody>
          <a:bodyPr wrap="square">
            <a:spAutoFit/>
          </a:bodyPr>
          <a:lstStyle/>
          <a:p>
            <a:pPr>
              <a:lnSpc>
                <a:spcPct val="106000"/>
              </a:lnSpc>
            </a:pPr>
            <a:r>
              <a:rPr lang="en-US" sz="8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Nuclear Power Plant Construction </a:t>
            </a:r>
            <a:r>
              <a:rPr lang="fr-FR" sz="800" dirty="0">
                <a:solidFill>
                  <a:srgbClr val="6C92A8"/>
                </a:solidFill>
                <a:latin typeface="Century Gothic"/>
                <a:cs typeface="Century Gothic"/>
              </a:rPr>
              <a:t>• </a:t>
            </a:r>
            <a:r>
              <a:rPr lang="en-US" sz="800" dirty="0">
                <a:solidFill>
                  <a:srgbClr val="000000"/>
                </a:solidFill>
                <a:latin typeface="Century Gothic" panose="020B0502020202020204" pitchFamily="34" charset="0"/>
                <a:cs typeface="Times New Roman" panose="02020603050405020304" pitchFamily="18" charset="0"/>
              </a:rPr>
              <a:t> </a:t>
            </a:r>
            <a:r>
              <a:rPr lang="en-US" sz="8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Nuclear Plant operation &amp; maintenance </a:t>
            </a:r>
            <a:r>
              <a:rPr lang="fr-FR" sz="800" dirty="0">
                <a:solidFill>
                  <a:srgbClr val="6C92A8"/>
                </a:solidFill>
                <a:latin typeface="Century Gothic"/>
                <a:cs typeface="Century Gothic"/>
              </a:rPr>
              <a:t>•</a:t>
            </a:r>
            <a:r>
              <a:rPr lang="en-US" sz="8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 </a:t>
            </a:r>
            <a:r>
              <a:rPr lang="en-US" sz="800" kern="1200"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Fuel cycle activities </a:t>
            </a:r>
            <a:r>
              <a:rPr lang="fr-FR" sz="800" dirty="0">
                <a:solidFill>
                  <a:srgbClr val="6C92A8"/>
                </a:solidFill>
                <a:latin typeface="Century Gothic"/>
                <a:cs typeface="Century Gothic"/>
              </a:rPr>
              <a:t>• </a:t>
            </a:r>
            <a:endParaRPr lang="fr-FR" sz="8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endParaRPr>
          </a:p>
        </p:txBody>
      </p:sp>
      <p:sp>
        <p:nvSpPr>
          <p:cNvPr id="55" name="Rectangle 54">
            <a:extLst>
              <a:ext uri="{FF2B5EF4-FFF2-40B4-BE49-F238E27FC236}">
                <a16:creationId xmlns:a16="http://schemas.microsoft.com/office/drawing/2014/main" id="{CDEFE620-92A9-2F4F-8265-A7C2A6160C41}"/>
              </a:ext>
            </a:extLst>
          </p:cNvPr>
          <p:cNvSpPr/>
          <p:nvPr/>
        </p:nvSpPr>
        <p:spPr>
          <a:xfrm>
            <a:off x="7040" y="4065959"/>
            <a:ext cx="1878448" cy="784830"/>
          </a:xfrm>
          <a:prstGeom prst="rect">
            <a:avLst/>
          </a:prstGeom>
        </p:spPr>
        <p:txBody>
          <a:bodyPr wrap="square">
            <a:spAutoFit/>
          </a:bodyPr>
          <a:lstStyle/>
          <a:p>
            <a:pPr marL="12700" marR="5080" algn="just">
              <a:lnSpc>
                <a:spcPts val="900"/>
              </a:lnSpc>
              <a:spcBef>
                <a:spcPts val="850"/>
              </a:spcBef>
            </a:pPr>
            <a:r>
              <a:rPr lang="fr-FR" sz="800" dirty="0">
                <a:latin typeface="Century Gothic"/>
                <a:cs typeface="Century Gothic"/>
              </a:rPr>
              <a:t>In the </a:t>
            </a:r>
            <a:r>
              <a:rPr lang="fr-FR" sz="800" dirty="0" err="1">
                <a:latin typeface="Century Gothic"/>
                <a:cs typeface="Century Gothic"/>
              </a:rPr>
              <a:t>nuclear</a:t>
            </a:r>
            <a:r>
              <a:rPr lang="fr-FR" sz="800" dirty="0">
                <a:latin typeface="Century Gothic"/>
                <a:cs typeface="Century Gothic"/>
              </a:rPr>
              <a:t> </a:t>
            </a:r>
            <a:r>
              <a:rPr lang="fr-FR" sz="800" dirty="0" err="1">
                <a:latin typeface="Century Gothic"/>
                <a:cs typeface="Century Gothic"/>
              </a:rPr>
              <a:t>domain</a:t>
            </a:r>
            <a:r>
              <a:rPr lang="fr-FR" sz="800" dirty="0">
                <a:latin typeface="Century Gothic"/>
                <a:cs typeface="Century Gothic"/>
              </a:rPr>
              <a:t>,  SNEF Power Services </a:t>
            </a:r>
            <a:r>
              <a:rPr lang="fr-FR" sz="800" dirty="0" err="1">
                <a:latin typeface="Century Gothic"/>
                <a:cs typeface="Century Gothic"/>
              </a:rPr>
              <a:t>is</a:t>
            </a:r>
            <a:r>
              <a:rPr lang="fr-FR" sz="800" dirty="0">
                <a:latin typeface="Century Gothic"/>
                <a:cs typeface="Century Gothic"/>
              </a:rPr>
              <a:t> </a:t>
            </a:r>
            <a:r>
              <a:rPr lang="fr-FR" sz="800" dirty="0" err="1">
                <a:latin typeface="Century Gothic"/>
                <a:cs typeface="Century Gothic"/>
              </a:rPr>
              <a:t>proudly</a:t>
            </a:r>
            <a:r>
              <a:rPr lang="fr-FR" sz="800" dirty="0">
                <a:latin typeface="Century Gothic"/>
                <a:cs typeface="Century Gothic"/>
              </a:rPr>
              <a:t> </a:t>
            </a:r>
            <a:r>
              <a:rPr lang="fr-FR" sz="800" dirty="0" err="1">
                <a:latin typeface="Century Gothic"/>
                <a:cs typeface="Century Gothic"/>
              </a:rPr>
              <a:t>involved</a:t>
            </a:r>
            <a:r>
              <a:rPr lang="fr-FR" sz="800" dirty="0">
                <a:latin typeface="Century Gothic"/>
                <a:cs typeface="Century Gothic"/>
              </a:rPr>
              <a:t> in EPR </a:t>
            </a:r>
            <a:r>
              <a:rPr lang="fr-FR" sz="800" dirty="0" err="1">
                <a:latin typeface="Century Gothic"/>
                <a:cs typeface="Century Gothic"/>
              </a:rPr>
              <a:t>project</a:t>
            </a:r>
            <a:r>
              <a:rPr lang="fr-FR" sz="800" dirty="0">
                <a:latin typeface="Century Gothic"/>
                <a:cs typeface="Century Gothic"/>
              </a:rPr>
              <a:t> </a:t>
            </a:r>
            <a:r>
              <a:rPr lang="fr-FR" sz="800" dirty="0" err="1">
                <a:latin typeface="Century Gothic"/>
                <a:cs typeface="Century Gothic"/>
              </a:rPr>
              <a:t>though</a:t>
            </a:r>
            <a:r>
              <a:rPr lang="fr-FR" sz="800" dirty="0">
                <a:latin typeface="Century Gothic"/>
                <a:cs typeface="Century Gothic"/>
              </a:rPr>
              <a:t> Flamanville 3, HPC, SZC and EPR2 programmes.</a:t>
            </a:r>
          </a:p>
          <a:p>
            <a:pPr marL="12700" marR="5080" algn="just">
              <a:lnSpc>
                <a:spcPts val="900"/>
              </a:lnSpc>
            </a:pPr>
            <a:endParaRPr lang="fr-FR" sz="800" dirty="0">
              <a:latin typeface="Century Gothic"/>
            </a:endParaRPr>
          </a:p>
        </p:txBody>
      </p:sp>
      <p:sp>
        <p:nvSpPr>
          <p:cNvPr id="43" name="Rectangle 42">
            <a:extLst>
              <a:ext uri="{FF2B5EF4-FFF2-40B4-BE49-F238E27FC236}">
                <a16:creationId xmlns:a16="http://schemas.microsoft.com/office/drawing/2014/main" id="{ABAD7F70-0C81-2E42-A280-C1D72A509AE0}"/>
              </a:ext>
            </a:extLst>
          </p:cNvPr>
          <p:cNvSpPr/>
          <p:nvPr/>
        </p:nvSpPr>
        <p:spPr>
          <a:xfrm>
            <a:off x="-11548" y="2553671"/>
            <a:ext cx="1878448" cy="438582"/>
          </a:xfrm>
          <a:prstGeom prst="rect">
            <a:avLst/>
          </a:prstGeom>
        </p:spPr>
        <p:txBody>
          <a:bodyPr wrap="square">
            <a:spAutoFit/>
          </a:bodyPr>
          <a:lstStyle/>
          <a:p>
            <a:pPr marL="12700" marR="5080" algn="just">
              <a:lnSpc>
                <a:spcPts val="900"/>
              </a:lnSpc>
            </a:pPr>
            <a:r>
              <a:rPr lang="fr-FR" sz="800" dirty="0">
                <a:latin typeface="Century Gothic"/>
                <a:cs typeface="Century Gothic"/>
              </a:rPr>
              <a:t>Not </a:t>
            </a:r>
            <a:r>
              <a:rPr lang="fr-FR" sz="800" dirty="0" err="1">
                <a:latin typeface="Century Gothic"/>
                <a:cs typeface="Century Gothic"/>
              </a:rPr>
              <a:t>yet</a:t>
            </a:r>
            <a:r>
              <a:rPr lang="fr-FR" sz="800" dirty="0">
                <a:latin typeface="Century Gothic"/>
                <a:cs typeface="Century Gothic"/>
              </a:rPr>
              <a:t> </a:t>
            </a:r>
            <a:r>
              <a:rPr lang="fr-FR" sz="800" dirty="0" err="1">
                <a:latin typeface="Century Gothic"/>
                <a:cs typeface="Century Gothic"/>
              </a:rPr>
              <a:t>implemented</a:t>
            </a:r>
            <a:r>
              <a:rPr lang="fr-FR" sz="800" dirty="0">
                <a:latin typeface="Century Gothic"/>
                <a:cs typeface="Century Gothic"/>
              </a:rPr>
              <a:t> </a:t>
            </a:r>
            <a:r>
              <a:rPr lang="fr-FR" sz="800" dirty="0" err="1">
                <a:latin typeface="Century Gothic"/>
                <a:cs typeface="Century Gothic"/>
              </a:rPr>
              <a:t>locally</a:t>
            </a:r>
            <a:r>
              <a:rPr lang="fr-FR" sz="800" dirty="0">
                <a:latin typeface="Century Gothic"/>
                <a:cs typeface="Century Gothic"/>
              </a:rPr>
              <a:t> in the UK, but </a:t>
            </a:r>
            <a:r>
              <a:rPr lang="fr-FR" sz="800" dirty="0" err="1">
                <a:latin typeface="Century Gothic"/>
                <a:cs typeface="Century Gothic"/>
              </a:rPr>
              <a:t>strongly</a:t>
            </a:r>
            <a:r>
              <a:rPr lang="fr-FR" sz="800" dirty="0">
                <a:latin typeface="Century Gothic"/>
                <a:cs typeface="Century Gothic"/>
              </a:rPr>
              <a:t> </a:t>
            </a:r>
            <a:r>
              <a:rPr lang="fr-FR" sz="800" dirty="0" err="1">
                <a:latin typeface="Century Gothic"/>
                <a:cs typeface="Century Gothic"/>
              </a:rPr>
              <a:t>involved</a:t>
            </a:r>
            <a:r>
              <a:rPr lang="fr-FR" sz="800" dirty="0">
                <a:latin typeface="Century Gothic"/>
                <a:cs typeface="Century Gothic"/>
              </a:rPr>
              <a:t> in HPC and SZC </a:t>
            </a:r>
            <a:r>
              <a:rPr lang="fr-FR" sz="800" dirty="0" err="1">
                <a:latin typeface="Century Gothic"/>
                <a:cs typeface="Century Gothic"/>
              </a:rPr>
              <a:t>projects</a:t>
            </a:r>
            <a:endParaRPr lang="fr-FR" sz="800" dirty="0">
              <a:latin typeface="Century Gothic"/>
            </a:endParaRPr>
          </a:p>
        </p:txBody>
      </p:sp>
      <p:pic>
        <p:nvPicPr>
          <p:cNvPr id="8" name="Image 7">
            <a:extLst>
              <a:ext uri="{FF2B5EF4-FFF2-40B4-BE49-F238E27FC236}">
                <a16:creationId xmlns:a16="http://schemas.microsoft.com/office/drawing/2014/main" id="{9B4ADB36-9463-4D2E-A345-4ABF8B54A9A5}"/>
              </a:ext>
            </a:extLst>
          </p:cNvPr>
          <p:cNvPicPr>
            <a:picLocks noChangeAspect="1"/>
          </p:cNvPicPr>
          <p:nvPr/>
        </p:nvPicPr>
        <p:blipFill>
          <a:blip r:embed="rId9"/>
          <a:stretch>
            <a:fillRect/>
          </a:stretch>
        </p:blipFill>
        <p:spPr>
          <a:xfrm>
            <a:off x="156376" y="358112"/>
            <a:ext cx="1593247" cy="528352"/>
          </a:xfrm>
          <a:prstGeom prst="rect">
            <a:avLst/>
          </a:prstGeom>
        </p:spPr>
      </p:pic>
      <p:grpSp>
        <p:nvGrpSpPr>
          <p:cNvPr id="46" name="object 43">
            <a:extLst>
              <a:ext uri="{FF2B5EF4-FFF2-40B4-BE49-F238E27FC236}">
                <a16:creationId xmlns:a16="http://schemas.microsoft.com/office/drawing/2014/main" id="{3B5D422E-ED3A-9C07-0105-94760C4B696E}"/>
              </a:ext>
            </a:extLst>
          </p:cNvPr>
          <p:cNvGrpSpPr/>
          <p:nvPr/>
        </p:nvGrpSpPr>
        <p:grpSpPr>
          <a:xfrm>
            <a:off x="63500" y="5803340"/>
            <a:ext cx="483234" cy="289560"/>
            <a:chOff x="0" y="4527000"/>
            <a:chExt cx="483234" cy="289560"/>
          </a:xfrm>
        </p:grpSpPr>
        <p:sp>
          <p:nvSpPr>
            <p:cNvPr id="47" name="object 45">
              <a:extLst>
                <a:ext uri="{FF2B5EF4-FFF2-40B4-BE49-F238E27FC236}">
                  <a16:creationId xmlns:a16="http://schemas.microsoft.com/office/drawing/2014/main" id="{000FAEC0-0847-982B-D0DF-D4A63ED92563}"/>
                </a:ext>
              </a:extLst>
            </p:cNvPr>
            <p:cNvSpPr/>
            <p:nvPr/>
          </p:nvSpPr>
          <p:spPr>
            <a:xfrm>
              <a:off x="0" y="4527000"/>
              <a:ext cx="483234" cy="289560"/>
            </a:xfrm>
            <a:custGeom>
              <a:avLst/>
              <a:gdLst/>
              <a:ahLst/>
              <a:cxnLst/>
              <a:rect l="l" t="t" r="r" b="b"/>
              <a:pathLst>
                <a:path w="483234" h="289560">
                  <a:moveTo>
                    <a:pt x="446996" y="0"/>
                  </a:moveTo>
                  <a:lnTo>
                    <a:pt x="0" y="0"/>
                  </a:lnTo>
                  <a:lnTo>
                    <a:pt x="0" y="289140"/>
                  </a:lnTo>
                  <a:lnTo>
                    <a:pt x="446996" y="289140"/>
                  </a:lnTo>
                  <a:lnTo>
                    <a:pt x="461012" y="286312"/>
                  </a:lnTo>
                  <a:lnTo>
                    <a:pt x="472457" y="278598"/>
                  </a:lnTo>
                  <a:lnTo>
                    <a:pt x="480172" y="267157"/>
                  </a:lnTo>
                  <a:lnTo>
                    <a:pt x="483001" y="253149"/>
                  </a:lnTo>
                  <a:lnTo>
                    <a:pt x="483001" y="36004"/>
                  </a:lnTo>
                  <a:lnTo>
                    <a:pt x="480172" y="21988"/>
                  </a:lnTo>
                  <a:lnTo>
                    <a:pt x="472457" y="10544"/>
                  </a:lnTo>
                  <a:lnTo>
                    <a:pt x="461012" y="2828"/>
                  </a:lnTo>
                  <a:lnTo>
                    <a:pt x="446996" y="0"/>
                  </a:lnTo>
                  <a:close/>
                </a:path>
              </a:pathLst>
            </a:custGeom>
            <a:solidFill>
              <a:srgbClr val="488C81"/>
            </a:solidFill>
          </p:spPr>
          <p:txBody>
            <a:bodyPr wrap="square" lIns="0" tIns="0" rIns="0" bIns="0" rtlCol="0"/>
            <a:lstStyle/>
            <a:p>
              <a:endParaRPr/>
            </a:p>
          </p:txBody>
        </p:sp>
        <p:pic>
          <p:nvPicPr>
            <p:cNvPr id="48" name="object 46">
              <a:extLst>
                <a:ext uri="{FF2B5EF4-FFF2-40B4-BE49-F238E27FC236}">
                  <a16:creationId xmlns:a16="http://schemas.microsoft.com/office/drawing/2014/main" id="{6836CB19-1DBE-F872-40F8-7035FF925C10}"/>
                </a:ext>
              </a:extLst>
            </p:cNvPr>
            <p:cNvPicPr/>
            <p:nvPr/>
          </p:nvPicPr>
          <p:blipFill>
            <a:blip r:embed="rId10" cstate="print"/>
            <a:stretch>
              <a:fillRect/>
            </a:stretch>
          </p:blipFill>
          <p:spPr>
            <a:xfrm>
              <a:off x="254274" y="4582076"/>
              <a:ext cx="181444" cy="181444"/>
            </a:xfrm>
            <a:prstGeom prst="rect">
              <a:avLst/>
            </a:prstGeom>
          </p:spPr>
        </p:pic>
      </p:grpSp>
      <p:sp>
        <p:nvSpPr>
          <p:cNvPr id="49" name="object 26">
            <a:extLst>
              <a:ext uri="{FF2B5EF4-FFF2-40B4-BE49-F238E27FC236}">
                <a16:creationId xmlns:a16="http://schemas.microsoft.com/office/drawing/2014/main" id="{926D8FDE-7805-CA79-EC18-0675A53E3A05}"/>
              </a:ext>
            </a:extLst>
          </p:cNvPr>
          <p:cNvSpPr txBox="1"/>
          <p:nvPr/>
        </p:nvSpPr>
        <p:spPr>
          <a:xfrm>
            <a:off x="615317" y="5836816"/>
            <a:ext cx="749300" cy="261620"/>
          </a:xfrm>
          <a:prstGeom prst="rect">
            <a:avLst/>
          </a:prstGeom>
        </p:spPr>
        <p:txBody>
          <a:bodyPr vert="horz" wrap="square" lIns="0" tIns="22860" rIns="0" bIns="0" rtlCol="0">
            <a:spAutoFit/>
          </a:bodyPr>
          <a:lstStyle/>
          <a:p>
            <a:pPr marL="12700" marR="5080">
              <a:lnSpc>
                <a:spcPts val="900"/>
              </a:lnSpc>
              <a:spcBef>
                <a:spcPts val="180"/>
              </a:spcBef>
            </a:pPr>
            <a:r>
              <a:rPr sz="800" b="1" dirty="0">
                <a:solidFill>
                  <a:srgbClr val="498B80"/>
                </a:solidFill>
                <a:latin typeface="Century Gothic"/>
                <a:cs typeface="Century Gothic"/>
              </a:rPr>
              <a:t>STRATEGY AND  EXPECTATION</a:t>
            </a:r>
            <a:endParaRPr sz="800" dirty="0">
              <a:latin typeface="Century Gothic"/>
              <a:cs typeface="Century Gothic"/>
            </a:endParaRPr>
          </a:p>
        </p:txBody>
      </p:sp>
      <p:sp>
        <p:nvSpPr>
          <p:cNvPr id="50" name="object 6">
            <a:extLst>
              <a:ext uri="{FF2B5EF4-FFF2-40B4-BE49-F238E27FC236}">
                <a16:creationId xmlns:a16="http://schemas.microsoft.com/office/drawing/2014/main" id="{8125AE1E-588B-D1BC-4B1F-11A9E1FCF5D0}"/>
              </a:ext>
            </a:extLst>
          </p:cNvPr>
          <p:cNvSpPr/>
          <p:nvPr/>
        </p:nvSpPr>
        <p:spPr>
          <a:xfrm>
            <a:off x="23964" y="3705924"/>
            <a:ext cx="483234" cy="289560"/>
          </a:xfrm>
          <a:custGeom>
            <a:avLst/>
            <a:gdLst/>
            <a:ahLst/>
            <a:cxnLst/>
            <a:rect l="l" t="t" r="r" b="b"/>
            <a:pathLst>
              <a:path w="483234" h="289560">
                <a:moveTo>
                  <a:pt x="446998" y="0"/>
                </a:moveTo>
                <a:lnTo>
                  <a:pt x="0" y="0"/>
                </a:lnTo>
                <a:lnTo>
                  <a:pt x="0" y="289140"/>
                </a:lnTo>
                <a:lnTo>
                  <a:pt x="446998" y="289140"/>
                </a:lnTo>
                <a:lnTo>
                  <a:pt x="461014" y="286312"/>
                </a:lnTo>
                <a:lnTo>
                  <a:pt x="472458" y="278598"/>
                </a:lnTo>
                <a:lnTo>
                  <a:pt x="480173" y="267157"/>
                </a:lnTo>
                <a:lnTo>
                  <a:pt x="483002" y="253149"/>
                </a:lnTo>
                <a:lnTo>
                  <a:pt x="483002" y="36004"/>
                </a:lnTo>
                <a:lnTo>
                  <a:pt x="480173" y="21988"/>
                </a:lnTo>
                <a:lnTo>
                  <a:pt x="472458" y="10544"/>
                </a:lnTo>
                <a:lnTo>
                  <a:pt x="461014" y="2828"/>
                </a:lnTo>
                <a:lnTo>
                  <a:pt x="446998" y="0"/>
                </a:lnTo>
                <a:close/>
              </a:path>
            </a:pathLst>
          </a:custGeom>
          <a:solidFill>
            <a:srgbClr val="488C81"/>
          </a:solidFill>
        </p:spPr>
        <p:txBody>
          <a:bodyPr wrap="square" lIns="0" tIns="0" rIns="0" bIns="0" rtlCol="0"/>
          <a:lstStyle/>
          <a:p>
            <a:endParaRPr/>
          </a:p>
        </p:txBody>
      </p:sp>
      <p:sp>
        <p:nvSpPr>
          <p:cNvPr id="52" name="object 26">
            <a:extLst>
              <a:ext uri="{FF2B5EF4-FFF2-40B4-BE49-F238E27FC236}">
                <a16:creationId xmlns:a16="http://schemas.microsoft.com/office/drawing/2014/main" id="{6D24690F-2F7A-0447-2D30-BD0E0D00C279}"/>
              </a:ext>
            </a:extLst>
          </p:cNvPr>
          <p:cNvSpPr txBox="1"/>
          <p:nvPr/>
        </p:nvSpPr>
        <p:spPr>
          <a:xfrm>
            <a:off x="592824" y="3721685"/>
            <a:ext cx="749300" cy="279564"/>
          </a:xfrm>
          <a:prstGeom prst="rect">
            <a:avLst/>
          </a:prstGeom>
        </p:spPr>
        <p:txBody>
          <a:bodyPr vert="horz" wrap="square" lIns="0" tIns="22860" rIns="0" bIns="0" rtlCol="0">
            <a:spAutoFit/>
          </a:bodyPr>
          <a:lstStyle/>
          <a:p>
            <a:pPr marL="12700" marR="5080">
              <a:lnSpc>
                <a:spcPts val="900"/>
              </a:lnSpc>
              <a:spcBef>
                <a:spcPts val="180"/>
              </a:spcBef>
            </a:pPr>
            <a:r>
              <a:rPr sz="800" b="1" dirty="0">
                <a:solidFill>
                  <a:srgbClr val="498B80"/>
                </a:solidFill>
                <a:latin typeface="Century Gothic"/>
                <a:cs typeface="Century Gothic"/>
              </a:rPr>
              <a:t>S</a:t>
            </a:r>
            <a:r>
              <a:rPr lang="fr-FR" sz="800" b="1" dirty="0">
                <a:solidFill>
                  <a:srgbClr val="498B80"/>
                </a:solidFill>
                <a:latin typeface="Century Gothic"/>
                <a:cs typeface="Century Gothic"/>
              </a:rPr>
              <a:t>NEF IN</a:t>
            </a:r>
          </a:p>
          <a:p>
            <a:pPr marL="12700" marR="5080">
              <a:lnSpc>
                <a:spcPts val="900"/>
              </a:lnSpc>
              <a:spcBef>
                <a:spcPts val="180"/>
              </a:spcBef>
            </a:pPr>
            <a:r>
              <a:rPr lang="fr-FR" sz="800" b="1" dirty="0">
                <a:solidFill>
                  <a:srgbClr val="498B80"/>
                </a:solidFill>
                <a:latin typeface="Century Gothic"/>
                <a:cs typeface="Century Gothic"/>
              </a:rPr>
              <a:t>EUROPE</a:t>
            </a:r>
            <a:endParaRPr sz="800" dirty="0">
              <a:latin typeface="Century Gothic"/>
              <a:cs typeface="Century Gothic"/>
            </a:endParaRPr>
          </a:p>
        </p:txBody>
      </p:sp>
      <p:sp>
        <p:nvSpPr>
          <p:cNvPr id="53" name="object 26">
            <a:extLst>
              <a:ext uri="{FF2B5EF4-FFF2-40B4-BE49-F238E27FC236}">
                <a16:creationId xmlns:a16="http://schemas.microsoft.com/office/drawing/2014/main" id="{A36FD40D-0047-E8F8-23ED-BD0140307C10}"/>
              </a:ext>
            </a:extLst>
          </p:cNvPr>
          <p:cNvSpPr txBox="1"/>
          <p:nvPr/>
        </p:nvSpPr>
        <p:spPr>
          <a:xfrm>
            <a:off x="639914" y="2337866"/>
            <a:ext cx="749300" cy="279564"/>
          </a:xfrm>
          <a:prstGeom prst="rect">
            <a:avLst/>
          </a:prstGeom>
        </p:spPr>
        <p:txBody>
          <a:bodyPr vert="horz" wrap="square" lIns="0" tIns="22860" rIns="0" bIns="0" rtlCol="0">
            <a:spAutoFit/>
          </a:bodyPr>
          <a:lstStyle/>
          <a:p>
            <a:pPr marL="12700" marR="5080">
              <a:lnSpc>
                <a:spcPts val="900"/>
              </a:lnSpc>
              <a:spcBef>
                <a:spcPts val="180"/>
              </a:spcBef>
            </a:pPr>
            <a:r>
              <a:rPr sz="800" b="1" dirty="0">
                <a:solidFill>
                  <a:srgbClr val="498B80"/>
                </a:solidFill>
                <a:latin typeface="Century Gothic"/>
                <a:cs typeface="Century Gothic"/>
              </a:rPr>
              <a:t>S</a:t>
            </a:r>
            <a:r>
              <a:rPr lang="fr-FR" sz="800" b="1" dirty="0">
                <a:solidFill>
                  <a:srgbClr val="498B80"/>
                </a:solidFill>
                <a:latin typeface="Century Gothic"/>
                <a:cs typeface="Century Gothic"/>
              </a:rPr>
              <a:t>NEF</a:t>
            </a:r>
          </a:p>
          <a:p>
            <a:pPr marL="12700" marR="5080">
              <a:lnSpc>
                <a:spcPts val="900"/>
              </a:lnSpc>
              <a:spcBef>
                <a:spcPts val="180"/>
              </a:spcBef>
            </a:pPr>
            <a:r>
              <a:rPr lang="fr-FR" sz="800" b="1" dirty="0">
                <a:solidFill>
                  <a:srgbClr val="498B80"/>
                </a:solidFill>
                <a:latin typeface="Century Gothic"/>
                <a:cs typeface="Century Gothic"/>
              </a:rPr>
              <a:t>IN UK</a:t>
            </a:r>
            <a:endParaRPr sz="800" dirty="0">
              <a:latin typeface="Century Gothic"/>
              <a:cs typeface="Century Gothic"/>
            </a:endParaRPr>
          </a:p>
        </p:txBody>
      </p:sp>
      <p:sp>
        <p:nvSpPr>
          <p:cNvPr id="62" name="object 6">
            <a:extLst>
              <a:ext uri="{FF2B5EF4-FFF2-40B4-BE49-F238E27FC236}">
                <a16:creationId xmlns:a16="http://schemas.microsoft.com/office/drawing/2014/main" id="{7FBE08B6-0982-B9C4-F300-94531A2CC307}"/>
              </a:ext>
            </a:extLst>
          </p:cNvPr>
          <p:cNvSpPr/>
          <p:nvPr/>
        </p:nvSpPr>
        <p:spPr>
          <a:xfrm>
            <a:off x="50403" y="2298437"/>
            <a:ext cx="483234" cy="289560"/>
          </a:xfrm>
          <a:custGeom>
            <a:avLst/>
            <a:gdLst/>
            <a:ahLst/>
            <a:cxnLst/>
            <a:rect l="l" t="t" r="r" b="b"/>
            <a:pathLst>
              <a:path w="483234" h="289560">
                <a:moveTo>
                  <a:pt x="446998" y="0"/>
                </a:moveTo>
                <a:lnTo>
                  <a:pt x="0" y="0"/>
                </a:lnTo>
                <a:lnTo>
                  <a:pt x="0" y="289140"/>
                </a:lnTo>
                <a:lnTo>
                  <a:pt x="446998" y="289140"/>
                </a:lnTo>
                <a:lnTo>
                  <a:pt x="461014" y="286312"/>
                </a:lnTo>
                <a:lnTo>
                  <a:pt x="472458" y="278598"/>
                </a:lnTo>
                <a:lnTo>
                  <a:pt x="480173" y="267157"/>
                </a:lnTo>
                <a:lnTo>
                  <a:pt x="483002" y="253149"/>
                </a:lnTo>
                <a:lnTo>
                  <a:pt x="483002" y="36004"/>
                </a:lnTo>
                <a:lnTo>
                  <a:pt x="480173" y="21988"/>
                </a:lnTo>
                <a:lnTo>
                  <a:pt x="472458" y="10544"/>
                </a:lnTo>
                <a:lnTo>
                  <a:pt x="461014" y="2828"/>
                </a:lnTo>
                <a:lnTo>
                  <a:pt x="446998" y="0"/>
                </a:lnTo>
                <a:close/>
              </a:path>
            </a:pathLst>
          </a:custGeom>
          <a:solidFill>
            <a:srgbClr val="488C81"/>
          </a:solidFill>
        </p:spPr>
        <p:txBody>
          <a:bodyPr wrap="square" lIns="0" tIns="0" rIns="0" bIns="0" rtlCol="0"/>
          <a:lstStyle/>
          <a:p>
            <a:endParaRPr/>
          </a:p>
        </p:txBody>
      </p:sp>
      <p:pic>
        <p:nvPicPr>
          <p:cNvPr id="64" name="Picture 4" descr="Flag of the United Kingdom - Wikipedia">
            <a:extLst>
              <a:ext uri="{FF2B5EF4-FFF2-40B4-BE49-F238E27FC236}">
                <a16:creationId xmlns:a16="http://schemas.microsoft.com/office/drawing/2014/main" id="{37622840-C904-4EA3-8CCB-254550289E8E}"/>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1400" r="14246"/>
          <a:stretch/>
        </p:blipFill>
        <p:spPr bwMode="auto">
          <a:xfrm>
            <a:off x="168140" y="2381575"/>
            <a:ext cx="252000" cy="169458"/>
          </a:xfrm>
          <a:prstGeom prst="rect">
            <a:avLst/>
          </a:prstGeom>
          <a:noFill/>
          <a:extLst>
            <a:ext uri="{909E8E84-426E-40DD-AFC4-6F175D3DCCD1}">
              <a14:hiddenFill xmlns:a14="http://schemas.microsoft.com/office/drawing/2010/main">
                <a:solidFill>
                  <a:srgbClr val="FFFFFF"/>
                </a:solidFill>
              </a14:hiddenFill>
            </a:ext>
          </a:extLst>
        </p:spPr>
      </p:pic>
      <p:pic>
        <p:nvPicPr>
          <p:cNvPr id="66" name="object 47">
            <a:extLst>
              <a:ext uri="{FF2B5EF4-FFF2-40B4-BE49-F238E27FC236}">
                <a16:creationId xmlns:a16="http://schemas.microsoft.com/office/drawing/2014/main" id="{1C72F900-493F-2C5B-8F28-9A1D4D5C7C0B}"/>
              </a:ext>
            </a:extLst>
          </p:cNvPr>
          <p:cNvPicPr/>
          <p:nvPr/>
        </p:nvPicPr>
        <p:blipFill>
          <a:blip r:embed="rId12" cstate="print"/>
          <a:stretch>
            <a:fillRect/>
          </a:stretch>
        </p:blipFill>
        <p:spPr>
          <a:xfrm>
            <a:off x="124893" y="3776518"/>
            <a:ext cx="252528" cy="168286"/>
          </a:xfrm>
          <a:prstGeom prst="rect">
            <a:avLst/>
          </a:prstGeom>
        </p:spPr>
      </p:pic>
    </p:spTree>
    <p:extLst>
      <p:ext uri="{BB962C8B-B14F-4D97-AF65-F5344CB8AC3E}">
        <p14:creationId xmlns:p14="http://schemas.microsoft.com/office/powerpoint/2010/main" val="3938967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027299" y="140629"/>
            <a:ext cx="1544955" cy="177800"/>
          </a:xfrm>
          <a:prstGeom prst="rect">
            <a:avLst/>
          </a:prstGeom>
        </p:spPr>
        <p:txBody>
          <a:bodyPr vert="horz" wrap="square" lIns="0" tIns="12700" rIns="0" bIns="0" rtlCol="0">
            <a:spAutoFit/>
          </a:bodyPr>
          <a:lstStyle/>
          <a:p>
            <a:pPr marL="12700">
              <a:lnSpc>
                <a:spcPct val="100000"/>
              </a:lnSpc>
              <a:spcBef>
                <a:spcPts val="100"/>
              </a:spcBef>
            </a:pPr>
            <a:r>
              <a:rPr sz="1000" dirty="0">
                <a:solidFill>
                  <a:srgbClr val="FFFFFF"/>
                </a:solidFill>
                <a:latin typeface="Rafale BG"/>
                <a:cs typeface="Rafale BG"/>
              </a:rPr>
              <a:t>ENTREPRISE INFORM</a:t>
            </a:r>
            <a:r>
              <a:rPr sz="1000" spc="-70" dirty="0">
                <a:solidFill>
                  <a:srgbClr val="FFFFFF"/>
                </a:solidFill>
                <a:latin typeface="Rafale BG"/>
                <a:cs typeface="Rafale BG"/>
              </a:rPr>
              <a:t>A</a:t>
            </a:r>
            <a:r>
              <a:rPr sz="1000" spc="-30" dirty="0">
                <a:solidFill>
                  <a:srgbClr val="FFFFFF"/>
                </a:solidFill>
                <a:latin typeface="Rafale BG"/>
                <a:cs typeface="Rafale BG"/>
              </a:rPr>
              <a:t>T</a:t>
            </a:r>
            <a:r>
              <a:rPr sz="1000" dirty="0">
                <a:solidFill>
                  <a:srgbClr val="FFFFFF"/>
                </a:solidFill>
                <a:latin typeface="Rafale BG"/>
                <a:cs typeface="Rafale BG"/>
              </a:rPr>
              <a:t>ON</a:t>
            </a:r>
            <a:endParaRPr sz="1000">
              <a:latin typeface="Rafale BG"/>
              <a:cs typeface="Rafale BG"/>
            </a:endParaRPr>
          </a:p>
        </p:txBody>
      </p:sp>
      <p:sp>
        <p:nvSpPr>
          <p:cNvPr id="3" name="object 3"/>
          <p:cNvSpPr txBox="1"/>
          <p:nvPr/>
        </p:nvSpPr>
        <p:spPr>
          <a:xfrm>
            <a:off x="3887341" y="140629"/>
            <a:ext cx="593725" cy="177800"/>
          </a:xfrm>
          <a:prstGeom prst="rect">
            <a:avLst/>
          </a:prstGeom>
        </p:spPr>
        <p:txBody>
          <a:bodyPr vert="horz" wrap="square" lIns="0" tIns="12700" rIns="0" bIns="0" rtlCol="0">
            <a:spAutoFit/>
          </a:bodyPr>
          <a:lstStyle/>
          <a:p>
            <a:pPr marL="12700">
              <a:lnSpc>
                <a:spcPct val="100000"/>
              </a:lnSpc>
              <a:spcBef>
                <a:spcPts val="100"/>
              </a:spcBef>
            </a:pPr>
            <a:r>
              <a:rPr sz="1000" spc="-20" dirty="0">
                <a:solidFill>
                  <a:srgbClr val="FFFFFF"/>
                </a:solidFill>
                <a:latin typeface="Rafale BG"/>
                <a:cs typeface="Rafale BG"/>
              </a:rPr>
              <a:t>CONTACT</a:t>
            </a:r>
            <a:endParaRPr sz="1000">
              <a:latin typeface="Rafale BG"/>
              <a:cs typeface="Rafale BG"/>
            </a:endParaRPr>
          </a:p>
        </p:txBody>
      </p:sp>
      <p:grpSp>
        <p:nvGrpSpPr>
          <p:cNvPr id="11" name="object 11"/>
          <p:cNvGrpSpPr/>
          <p:nvPr/>
        </p:nvGrpSpPr>
        <p:grpSpPr>
          <a:xfrm>
            <a:off x="0" y="0"/>
            <a:ext cx="5766435" cy="2035175"/>
            <a:chOff x="0" y="0"/>
            <a:chExt cx="5766435" cy="2035175"/>
          </a:xfrm>
        </p:grpSpPr>
        <p:sp>
          <p:nvSpPr>
            <p:cNvPr id="12" name="object 12"/>
            <p:cNvSpPr/>
            <p:nvPr/>
          </p:nvSpPr>
          <p:spPr>
            <a:xfrm>
              <a:off x="1871865" y="1773948"/>
              <a:ext cx="3888740" cy="12700"/>
            </a:xfrm>
            <a:custGeom>
              <a:avLst/>
              <a:gdLst/>
              <a:ahLst/>
              <a:cxnLst/>
              <a:rect l="l" t="t" r="r" b="b"/>
              <a:pathLst>
                <a:path w="3888740" h="12700">
                  <a:moveTo>
                    <a:pt x="0" y="12700"/>
                  </a:moveTo>
                  <a:lnTo>
                    <a:pt x="3888130" y="12700"/>
                  </a:lnTo>
                  <a:lnTo>
                    <a:pt x="3888130" y="0"/>
                  </a:lnTo>
                  <a:lnTo>
                    <a:pt x="0" y="0"/>
                  </a:lnTo>
                  <a:lnTo>
                    <a:pt x="0" y="12700"/>
                  </a:lnTo>
                  <a:close/>
                </a:path>
              </a:pathLst>
            </a:custGeom>
            <a:solidFill>
              <a:srgbClr val="498B80"/>
            </a:solidFill>
          </p:spPr>
          <p:txBody>
            <a:bodyPr wrap="square" lIns="0" tIns="0" rIns="0" bIns="0" rtlCol="0"/>
            <a:lstStyle/>
            <a:p>
              <a:endParaRPr/>
            </a:p>
          </p:txBody>
        </p:sp>
        <p:sp>
          <p:nvSpPr>
            <p:cNvPr id="13" name="object 13"/>
            <p:cNvSpPr/>
            <p:nvPr/>
          </p:nvSpPr>
          <p:spPr>
            <a:xfrm>
              <a:off x="1871865" y="1773948"/>
              <a:ext cx="3888740" cy="12700"/>
            </a:xfrm>
            <a:custGeom>
              <a:avLst/>
              <a:gdLst/>
              <a:ahLst/>
              <a:cxnLst/>
              <a:rect l="l" t="t" r="r" b="b"/>
              <a:pathLst>
                <a:path w="3888740" h="12700">
                  <a:moveTo>
                    <a:pt x="0" y="12700"/>
                  </a:moveTo>
                  <a:lnTo>
                    <a:pt x="3888130" y="12700"/>
                  </a:lnTo>
                  <a:lnTo>
                    <a:pt x="3888130" y="0"/>
                  </a:lnTo>
                  <a:lnTo>
                    <a:pt x="0" y="0"/>
                  </a:lnTo>
                  <a:lnTo>
                    <a:pt x="0" y="12700"/>
                  </a:lnTo>
                </a:path>
              </a:pathLst>
            </a:custGeom>
            <a:ln w="12700">
              <a:solidFill>
                <a:srgbClr val="001D18"/>
              </a:solidFill>
            </a:ln>
          </p:spPr>
          <p:txBody>
            <a:bodyPr wrap="square" lIns="0" tIns="0" rIns="0" bIns="0" rtlCol="0"/>
            <a:lstStyle/>
            <a:p>
              <a:endParaRPr/>
            </a:p>
          </p:txBody>
        </p:sp>
        <p:sp>
          <p:nvSpPr>
            <p:cNvPr id="14" name="object 14"/>
            <p:cNvSpPr/>
            <p:nvPr/>
          </p:nvSpPr>
          <p:spPr>
            <a:xfrm>
              <a:off x="0" y="0"/>
              <a:ext cx="1943100" cy="1793239"/>
            </a:xfrm>
            <a:custGeom>
              <a:avLst/>
              <a:gdLst/>
              <a:ahLst/>
              <a:cxnLst/>
              <a:rect l="l" t="t" r="r" b="b"/>
              <a:pathLst>
                <a:path w="1943100" h="1793239">
                  <a:moveTo>
                    <a:pt x="1943100" y="0"/>
                  </a:moveTo>
                  <a:lnTo>
                    <a:pt x="25196" y="0"/>
                  </a:lnTo>
                  <a:lnTo>
                    <a:pt x="0" y="0"/>
                  </a:lnTo>
                  <a:lnTo>
                    <a:pt x="0" y="25196"/>
                  </a:lnTo>
                  <a:lnTo>
                    <a:pt x="0" y="1792795"/>
                  </a:lnTo>
                  <a:lnTo>
                    <a:pt x="25196" y="1792795"/>
                  </a:lnTo>
                  <a:lnTo>
                    <a:pt x="25196" y="25196"/>
                  </a:lnTo>
                  <a:lnTo>
                    <a:pt x="1943100" y="25196"/>
                  </a:lnTo>
                  <a:lnTo>
                    <a:pt x="1943100" y="0"/>
                  </a:lnTo>
                  <a:close/>
                </a:path>
              </a:pathLst>
            </a:custGeom>
            <a:solidFill>
              <a:srgbClr val="001D18"/>
            </a:solidFill>
          </p:spPr>
          <p:txBody>
            <a:bodyPr wrap="square" lIns="0" tIns="0" rIns="0" bIns="0" rtlCol="0"/>
            <a:lstStyle/>
            <a:p>
              <a:endParaRPr/>
            </a:p>
          </p:txBody>
        </p:sp>
        <p:sp>
          <p:nvSpPr>
            <p:cNvPr id="15" name="object 15"/>
            <p:cNvSpPr/>
            <p:nvPr/>
          </p:nvSpPr>
          <p:spPr>
            <a:xfrm>
              <a:off x="5443194" y="1791893"/>
              <a:ext cx="316865" cy="243204"/>
            </a:xfrm>
            <a:custGeom>
              <a:avLst/>
              <a:gdLst/>
              <a:ahLst/>
              <a:cxnLst/>
              <a:rect l="l" t="t" r="r" b="b"/>
              <a:pathLst>
                <a:path w="316864" h="243205">
                  <a:moveTo>
                    <a:pt x="0" y="243001"/>
                  </a:moveTo>
                  <a:lnTo>
                    <a:pt x="316801" y="243001"/>
                  </a:lnTo>
                  <a:lnTo>
                    <a:pt x="316801" y="0"/>
                  </a:lnTo>
                  <a:lnTo>
                    <a:pt x="0" y="0"/>
                  </a:lnTo>
                  <a:lnTo>
                    <a:pt x="0" y="243001"/>
                  </a:lnTo>
                  <a:close/>
                </a:path>
              </a:pathLst>
            </a:custGeom>
            <a:solidFill>
              <a:srgbClr val="FFFFFF">
                <a:alpha val="59999"/>
              </a:srgbClr>
            </a:solidFill>
          </p:spPr>
          <p:txBody>
            <a:bodyPr wrap="square" lIns="0" tIns="0" rIns="0" bIns="0" rtlCol="0"/>
            <a:lstStyle/>
            <a:p>
              <a:endParaRPr/>
            </a:p>
          </p:txBody>
        </p:sp>
        <p:sp>
          <p:nvSpPr>
            <p:cNvPr id="16" name="object 16"/>
            <p:cNvSpPr/>
            <p:nvPr/>
          </p:nvSpPr>
          <p:spPr>
            <a:xfrm>
              <a:off x="2823330" y="1787400"/>
              <a:ext cx="113664" cy="57150"/>
            </a:xfrm>
            <a:custGeom>
              <a:avLst/>
              <a:gdLst/>
              <a:ahLst/>
              <a:cxnLst/>
              <a:rect l="l" t="t" r="r" b="b"/>
              <a:pathLst>
                <a:path w="113664" h="57150">
                  <a:moveTo>
                    <a:pt x="113334" y="0"/>
                  </a:moveTo>
                  <a:lnTo>
                    <a:pt x="0" y="0"/>
                  </a:lnTo>
                  <a:lnTo>
                    <a:pt x="56667" y="56667"/>
                  </a:lnTo>
                  <a:lnTo>
                    <a:pt x="113334" y="0"/>
                  </a:lnTo>
                  <a:close/>
                </a:path>
              </a:pathLst>
            </a:custGeom>
            <a:solidFill>
              <a:srgbClr val="001D18"/>
            </a:solidFill>
          </p:spPr>
          <p:txBody>
            <a:bodyPr wrap="square" lIns="0" tIns="0" rIns="0" bIns="0" rtlCol="0"/>
            <a:lstStyle/>
            <a:p>
              <a:endParaRPr/>
            </a:p>
          </p:txBody>
        </p:sp>
        <p:pic>
          <p:nvPicPr>
            <p:cNvPr id="17" name="object 17"/>
            <p:cNvPicPr/>
            <p:nvPr/>
          </p:nvPicPr>
          <p:blipFill>
            <a:blip r:embed="rId2" cstate="print"/>
            <a:stretch>
              <a:fillRect/>
            </a:stretch>
          </p:blipFill>
          <p:spPr>
            <a:xfrm>
              <a:off x="477194" y="1554646"/>
              <a:ext cx="403335" cy="123559"/>
            </a:xfrm>
            <a:prstGeom prst="rect">
              <a:avLst/>
            </a:prstGeom>
          </p:spPr>
        </p:pic>
      </p:grpSp>
      <p:sp>
        <p:nvSpPr>
          <p:cNvPr id="18" name="object 18"/>
          <p:cNvSpPr txBox="1"/>
          <p:nvPr/>
        </p:nvSpPr>
        <p:spPr>
          <a:xfrm>
            <a:off x="920362" y="1490708"/>
            <a:ext cx="436880" cy="208279"/>
          </a:xfrm>
          <a:prstGeom prst="rect">
            <a:avLst/>
          </a:prstGeom>
        </p:spPr>
        <p:txBody>
          <a:bodyPr vert="horz" wrap="square" lIns="0" tIns="12700" rIns="0" bIns="0" rtlCol="0">
            <a:spAutoFit/>
          </a:bodyPr>
          <a:lstStyle/>
          <a:p>
            <a:pPr marL="12700">
              <a:lnSpc>
                <a:spcPct val="100000"/>
              </a:lnSpc>
              <a:spcBef>
                <a:spcPts val="100"/>
              </a:spcBef>
            </a:pPr>
            <a:r>
              <a:rPr sz="1200" spc="-120" dirty="0">
                <a:solidFill>
                  <a:srgbClr val="1F376B"/>
                </a:solidFill>
                <a:latin typeface="Times New Roman"/>
                <a:cs typeface="Times New Roman"/>
              </a:rPr>
              <a:t>member</a:t>
            </a:r>
            <a:endParaRPr sz="1200">
              <a:latin typeface="Times New Roman"/>
              <a:cs typeface="Times New Roman"/>
            </a:endParaRPr>
          </a:p>
        </p:txBody>
      </p:sp>
      <p:sp>
        <p:nvSpPr>
          <p:cNvPr id="19" name="object 19"/>
          <p:cNvSpPr txBox="1"/>
          <p:nvPr/>
        </p:nvSpPr>
        <p:spPr>
          <a:xfrm>
            <a:off x="4163300" y="1495313"/>
            <a:ext cx="1162050" cy="132080"/>
          </a:xfrm>
          <a:prstGeom prst="rect">
            <a:avLst/>
          </a:prstGeom>
        </p:spPr>
        <p:txBody>
          <a:bodyPr vert="horz" wrap="square" lIns="0" tIns="12700" rIns="0" bIns="0" rtlCol="0">
            <a:spAutoFit/>
          </a:bodyPr>
          <a:lstStyle/>
          <a:p>
            <a:pPr marL="12700">
              <a:lnSpc>
                <a:spcPct val="100000"/>
              </a:lnSpc>
              <a:spcBef>
                <a:spcPts val="100"/>
              </a:spcBef>
            </a:pPr>
            <a:r>
              <a:rPr sz="700" b="1" u="sng" dirty="0">
                <a:solidFill>
                  <a:srgbClr val="FFFFFF"/>
                </a:solidFill>
                <a:uFill>
                  <a:solidFill>
                    <a:srgbClr val="FFFFFF"/>
                  </a:solidFill>
                </a:uFill>
                <a:latin typeface="Century Gothic"/>
                <a:cs typeface="Century Gothic"/>
                <a:hlinkClick r:id="rId3"/>
              </a:rPr>
              <a:t>www.tractebel-engie.com</a:t>
            </a:r>
            <a:endParaRPr sz="700">
              <a:latin typeface="Century Gothic"/>
              <a:cs typeface="Century Gothic"/>
            </a:endParaRPr>
          </a:p>
        </p:txBody>
      </p:sp>
      <p:sp>
        <p:nvSpPr>
          <p:cNvPr id="20" name="object 20"/>
          <p:cNvSpPr txBox="1"/>
          <p:nvPr/>
        </p:nvSpPr>
        <p:spPr>
          <a:xfrm>
            <a:off x="563299" y="2301900"/>
            <a:ext cx="666115" cy="253916"/>
          </a:xfrm>
          <a:prstGeom prst="rect">
            <a:avLst/>
          </a:prstGeom>
        </p:spPr>
        <p:txBody>
          <a:bodyPr vert="horz" wrap="square" lIns="0" tIns="22860" rIns="0" bIns="0" rtlCol="0">
            <a:spAutoFit/>
          </a:bodyPr>
          <a:lstStyle/>
          <a:p>
            <a:pPr marL="12700" marR="5080">
              <a:lnSpc>
                <a:spcPts val="900"/>
              </a:lnSpc>
              <a:spcBef>
                <a:spcPts val="180"/>
              </a:spcBef>
            </a:pPr>
            <a:r>
              <a:rPr sz="800" b="1" dirty="0">
                <a:solidFill>
                  <a:srgbClr val="498B80"/>
                </a:solidFill>
                <a:latin typeface="Century Gothic"/>
                <a:cs typeface="Century Gothic"/>
              </a:rPr>
              <a:t>TRACTEBEL IN  </a:t>
            </a:r>
            <a:r>
              <a:rPr lang="fr-FR" sz="800" b="1" dirty="0">
                <a:solidFill>
                  <a:srgbClr val="498B80"/>
                </a:solidFill>
                <a:latin typeface="Century Gothic"/>
                <a:cs typeface="Century Gothic"/>
              </a:rPr>
              <a:t>THE UK</a:t>
            </a:r>
            <a:endParaRPr sz="800" dirty="0">
              <a:latin typeface="Century Gothic"/>
              <a:cs typeface="Century Gothic"/>
            </a:endParaRPr>
          </a:p>
        </p:txBody>
      </p:sp>
      <p:sp>
        <p:nvSpPr>
          <p:cNvPr id="22" name="object 22"/>
          <p:cNvSpPr txBox="1"/>
          <p:nvPr/>
        </p:nvSpPr>
        <p:spPr>
          <a:xfrm>
            <a:off x="532554" y="4094017"/>
            <a:ext cx="666115" cy="261620"/>
          </a:xfrm>
          <a:prstGeom prst="rect">
            <a:avLst/>
          </a:prstGeom>
        </p:spPr>
        <p:txBody>
          <a:bodyPr vert="horz" wrap="square" lIns="0" tIns="22860" rIns="0" bIns="0" rtlCol="0">
            <a:spAutoFit/>
          </a:bodyPr>
          <a:lstStyle/>
          <a:p>
            <a:pPr marL="12700" marR="5080">
              <a:lnSpc>
                <a:spcPts val="900"/>
              </a:lnSpc>
              <a:spcBef>
                <a:spcPts val="180"/>
              </a:spcBef>
            </a:pPr>
            <a:r>
              <a:rPr sz="800" b="1" dirty="0">
                <a:solidFill>
                  <a:srgbClr val="498B80"/>
                </a:solidFill>
                <a:latin typeface="Century Gothic"/>
                <a:cs typeface="Century Gothic"/>
              </a:rPr>
              <a:t>TRACTEBEL IN  EUROPE</a:t>
            </a:r>
            <a:endParaRPr sz="800" dirty="0">
              <a:latin typeface="Century Gothic"/>
              <a:cs typeface="Century Gothic"/>
            </a:endParaRPr>
          </a:p>
        </p:txBody>
      </p:sp>
      <p:sp>
        <p:nvSpPr>
          <p:cNvPr id="23" name="object 23"/>
          <p:cNvSpPr txBox="1"/>
          <p:nvPr/>
        </p:nvSpPr>
        <p:spPr>
          <a:xfrm>
            <a:off x="136517" y="4430618"/>
            <a:ext cx="1704975" cy="147320"/>
          </a:xfrm>
          <a:prstGeom prst="rect">
            <a:avLst/>
          </a:prstGeom>
        </p:spPr>
        <p:txBody>
          <a:bodyPr vert="horz" wrap="square" lIns="0" tIns="12700" rIns="0" bIns="0" rtlCol="0">
            <a:spAutoFit/>
          </a:bodyPr>
          <a:lstStyle/>
          <a:p>
            <a:pPr marL="12700">
              <a:lnSpc>
                <a:spcPct val="100000"/>
              </a:lnSpc>
              <a:spcBef>
                <a:spcPts val="100"/>
              </a:spcBef>
            </a:pPr>
            <a:r>
              <a:rPr sz="800" spc="-5" dirty="0">
                <a:latin typeface="Century Gothic"/>
                <a:cs typeface="Century Gothic"/>
              </a:rPr>
              <a:t>Ou</a:t>
            </a:r>
            <a:r>
              <a:rPr sz="800" dirty="0">
                <a:latin typeface="Century Gothic"/>
                <a:cs typeface="Century Gothic"/>
              </a:rPr>
              <a:t>r</a:t>
            </a:r>
            <a:r>
              <a:rPr sz="800" spc="-55" dirty="0">
                <a:latin typeface="Century Gothic"/>
                <a:cs typeface="Century Gothic"/>
              </a:rPr>
              <a:t> </a:t>
            </a:r>
            <a:r>
              <a:rPr sz="800" dirty="0">
                <a:latin typeface="Century Gothic"/>
                <a:cs typeface="Century Gothic"/>
              </a:rPr>
              <a:t>companies </a:t>
            </a:r>
            <a:r>
              <a:rPr sz="800" spc="-110" dirty="0">
                <a:latin typeface="Century Gothic"/>
                <a:cs typeface="Century Gothic"/>
              </a:rPr>
              <a:t> </a:t>
            </a:r>
            <a:r>
              <a:rPr sz="800" spc="-5" dirty="0">
                <a:latin typeface="Century Gothic"/>
                <a:cs typeface="Century Gothic"/>
              </a:rPr>
              <a:t>i</a:t>
            </a:r>
            <a:r>
              <a:rPr sz="800" dirty="0">
                <a:latin typeface="Century Gothic"/>
                <a:cs typeface="Century Gothic"/>
              </a:rPr>
              <a:t>n</a:t>
            </a:r>
            <a:r>
              <a:rPr sz="800" spc="-55" dirty="0">
                <a:latin typeface="Century Gothic"/>
                <a:cs typeface="Century Gothic"/>
              </a:rPr>
              <a:t> </a:t>
            </a:r>
            <a:r>
              <a:rPr sz="800" spc="-5" dirty="0">
                <a:latin typeface="Century Gothic"/>
                <a:cs typeface="Century Gothic"/>
              </a:rPr>
              <a:t>Europ</a:t>
            </a:r>
            <a:r>
              <a:rPr sz="800" dirty="0">
                <a:latin typeface="Century Gothic"/>
                <a:cs typeface="Century Gothic"/>
              </a:rPr>
              <a:t>e</a:t>
            </a:r>
            <a:r>
              <a:rPr sz="800" spc="-55" dirty="0">
                <a:latin typeface="Century Gothic"/>
                <a:cs typeface="Century Gothic"/>
              </a:rPr>
              <a:t> </a:t>
            </a:r>
            <a:r>
              <a:rPr sz="800" spc="-5" dirty="0">
                <a:latin typeface="Century Gothic"/>
                <a:cs typeface="Century Gothic"/>
              </a:rPr>
              <a:t>propose</a:t>
            </a:r>
            <a:endParaRPr sz="800" dirty="0">
              <a:latin typeface="Century Gothic"/>
              <a:cs typeface="Century Gothic"/>
            </a:endParaRPr>
          </a:p>
        </p:txBody>
      </p:sp>
      <p:sp>
        <p:nvSpPr>
          <p:cNvPr id="24" name="object 24"/>
          <p:cNvSpPr txBox="1"/>
          <p:nvPr/>
        </p:nvSpPr>
        <p:spPr>
          <a:xfrm>
            <a:off x="135881" y="4494812"/>
            <a:ext cx="1706245" cy="739305"/>
          </a:xfrm>
          <a:prstGeom prst="rect">
            <a:avLst/>
          </a:prstGeom>
        </p:spPr>
        <p:txBody>
          <a:bodyPr vert="horz" wrap="square" lIns="0" tIns="76835" rIns="0" bIns="0" rtlCol="0">
            <a:spAutoFit/>
          </a:bodyPr>
          <a:lstStyle/>
          <a:p>
            <a:pPr marL="12700">
              <a:lnSpc>
                <a:spcPct val="100000"/>
              </a:lnSpc>
              <a:spcBef>
                <a:spcPts val="605"/>
              </a:spcBef>
            </a:pPr>
            <a:r>
              <a:rPr sz="800" dirty="0">
                <a:latin typeface="Century Gothic"/>
                <a:cs typeface="Century Gothic"/>
              </a:rPr>
              <a:t>a</a:t>
            </a:r>
            <a:r>
              <a:rPr sz="800" spc="-25" dirty="0">
                <a:latin typeface="Century Gothic"/>
                <a:cs typeface="Century Gothic"/>
              </a:rPr>
              <a:t> </a:t>
            </a:r>
            <a:r>
              <a:rPr sz="800" spc="-5" dirty="0">
                <a:latin typeface="Century Gothic"/>
                <a:cs typeface="Century Gothic"/>
              </a:rPr>
              <a:t>large</a:t>
            </a:r>
            <a:r>
              <a:rPr sz="800" spc="-20" dirty="0">
                <a:latin typeface="Century Gothic"/>
                <a:cs typeface="Century Gothic"/>
              </a:rPr>
              <a:t> </a:t>
            </a:r>
            <a:r>
              <a:rPr sz="800" spc="-5" dirty="0">
                <a:latin typeface="Century Gothic"/>
                <a:cs typeface="Century Gothic"/>
              </a:rPr>
              <a:t>scope</a:t>
            </a:r>
            <a:r>
              <a:rPr sz="800" spc="-25" dirty="0">
                <a:latin typeface="Century Gothic"/>
                <a:cs typeface="Century Gothic"/>
              </a:rPr>
              <a:t> </a:t>
            </a:r>
            <a:r>
              <a:rPr sz="800" dirty="0">
                <a:latin typeface="Century Gothic"/>
                <a:cs typeface="Century Gothic"/>
              </a:rPr>
              <a:t>of</a:t>
            </a:r>
            <a:r>
              <a:rPr sz="800" spc="-15" dirty="0">
                <a:latin typeface="Century Gothic"/>
                <a:cs typeface="Century Gothic"/>
              </a:rPr>
              <a:t> </a:t>
            </a:r>
            <a:r>
              <a:rPr sz="800" spc="-5" dirty="0">
                <a:latin typeface="Century Gothic"/>
                <a:cs typeface="Century Gothic"/>
              </a:rPr>
              <a:t>services:</a:t>
            </a:r>
            <a:endParaRPr sz="800" dirty="0">
              <a:latin typeface="Century Gothic"/>
              <a:cs typeface="Century Gothic"/>
            </a:endParaRPr>
          </a:p>
          <a:p>
            <a:pPr marL="120650" marR="5080" indent="-108585" algn="just">
              <a:lnSpc>
                <a:spcPts val="900"/>
              </a:lnSpc>
              <a:spcBef>
                <a:spcPts val="590"/>
              </a:spcBef>
              <a:buClr>
                <a:srgbClr val="6C92A8"/>
              </a:buClr>
              <a:buFont typeface="Century Gothic"/>
              <a:buChar char="•"/>
              <a:tabLst>
                <a:tab pos="121285" algn="l"/>
              </a:tabLst>
            </a:pPr>
            <a:r>
              <a:rPr sz="800" b="1" dirty="0">
                <a:latin typeface="Century Gothic"/>
                <a:cs typeface="Century Gothic"/>
              </a:rPr>
              <a:t>Nuclear</a:t>
            </a:r>
            <a:r>
              <a:rPr sz="800" b="1" spc="5" dirty="0">
                <a:latin typeface="Century Gothic"/>
                <a:cs typeface="Century Gothic"/>
              </a:rPr>
              <a:t> </a:t>
            </a:r>
            <a:r>
              <a:rPr sz="800" b="1" spc="-5" dirty="0">
                <a:latin typeface="Century Gothic"/>
                <a:cs typeface="Century Gothic"/>
              </a:rPr>
              <a:t>domain:</a:t>
            </a:r>
            <a:r>
              <a:rPr sz="800" b="1" dirty="0">
                <a:latin typeface="Century Gothic"/>
                <a:cs typeface="Century Gothic"/>
              </a:rPr>
              <a:t> </a:t>
            </a:r>
            <a:r>
              <a:rPr sz="800" dirty="0">
                <a:latin typeface="Century Gothic"/>
                <a:cs typeface="Century Gothic"/>
              </a:rPr>
              <a:t>France, </a:t>
            </a:r>
            <a:r>
              <a:rPr sz="800" spc="5" dirty="0">
                <a:latin typeface="Century Gothic"/>
                <a:cs typeface="Century Gothic"/>
              </a:rPr>
              <a:t> </a:t>
            </a:r>
            <a:r>
              <a:rPr sz="800" spc="-5" dirty="0">
                <a:latin typeface="Century Gothic"/>
                <a:cs typeface="Century Gothic"/>
              </a:rPr>
              <a:t>Belgium,</a:t>
            </a:r>
            <a:r>
              <a:rPr lang="fr-FR" sz="800" spc="-5" dirty="0">
                <a:latin typeface="Century Gothic"/>
                <a:cs typeface="Century Gothic"/>
              </a:rPr>
              <a:t> </a:t>
            </a:r>
            <a:r>
              <a:rPr sz="800" dirty="0">
                <a:latin typeface="Century Gothic"/>
                <a:cs typeface="Century Gothic"/>
              </a:rPr>
              <a:t>Poland,</a:t>
            </a:r>
            <a:r>
              <a:rPr sz="800" spc="5" dirty="0">
                <a:latin typeface="Century Gothic"/>
                <a:cs typeface="Century Gothic"/>
              </a:rPr>
              <a:t> </a:t>
            </a:r>
            <a:r>
              <a:rPr sz="800" spc="-5" dirty="0">
                <a:latin typeface="Century Gothic"/>
                <a:cs typeface="Century Gothic"/>
              </a:rPr>
              <a:t>Germany, </a:t>
            </a:r>
            <a:r>
              <a:rPr sz="800" dirty="0">
                <a:latin typeface="Century Gothic"/>
                <a:cs typeface="Century Gothic"/>
              </a:rPr>
              <a:t> Romania,</a:t>
            </a:r>
            <a:r>
              <a:rPr sz="800" spc="-5" dirty="0">
                <a:latin typeface="Century Gothic"/>
                <a:cs typeface="Century Gothic"/>
              </a:rPr>
              <a:t> </a:t>
            </a:r>
            <a:r>
              <a:rPr lang="fr-FR" sz="800" spc="-5" dirty="0" err="1">
                <a:latin typeface="Century Gothic"/>
                <a:cs typeface="Century Gothic"/>
              </a:rPr>
              <a:t>Czech</a:t>
            </a:r>
            <a:r>
              <a:rPr lang="fr-FR" sz="800" spc="-5" dirty="0">
                <a:latin typeface="Century Gothic"/>
                <a:cs typeface="Century Gothic"/>
              </a:rPr>
              <a:t> Rep, </a:t>
            </a:r>
            <a:r>
              <a:rPr lang="fr-FR" sz="800" spc="-5" dirty="0" err="1">
                <a:latin typeface="Century Gothic"/>
                <a:cs typeface="Century Gothic"/>
              </a:rPr>
              <a:t>Netherlands</a:t>
            </a:r>
            <a:r>
              <a:rPr lang="fr-FR" sz="800" spc="-5" dirty="0">
                <a:latin typeface="Century Gothic"/>
                <a:cs typeface="Century Gothic"/>
              </a:rPr>
              <a:t>, </a:t>
            </a:r>
            <a:r>
              <a:rPr lang="fr-FR" sz="800" spc="-5" dirty="0" err="1">
                <a:latin typeface="Century Gothic"/>
                <a:cs typeface="Century Gothic"/>
              </a:rPr>
              <a:t>Slovakia</a:t>
            </a:r>
            <a:r>
              <a:rPr lang="fr-FR" sz="800" spc="-5" dirty="0">
                <a:latin typeface="Century Gothic"/>
                <a:cs typeface="Century Gothic"/>
              </a:rPr>
              <a:t>, </a:t>
            </a:r>
            <a:r>
              <a:rPr sz="800" dirty="0">
                <a:latin typeface="Century Gothic"/>
                <a:cs typeface="Century Gothic"/>
              </a:rPr>
              <a:t>Turkey</a:t>
            </a:r>
          </a:p>
        </p:txBody>
      </p:sp>
      <p:sp>
        <p:nvSpPr>
          <p:cNvPr id="25" name="object 25"/>
          <p:cNvSpPr txBox="1"/>
          <p:nvPr/>
        </p:nvSpPr>
        <p:spPr>
          <a:xfrm>
            <a:off x="139103" y="5227267"/>
            <a:ext cx="1705610" cy="261620"/>
          </a:xfrm>
          <a:prstGeom prst="rect">
            <a:avLst/>
          </a:prstGeom>
        </p:spPr>
        <p:txBody>
          <a:bodyPr vert="horz" wrap="square" lIns="0" tIns="12700" rIns="0" bIns="0" rtlCol="0">
            <a:spAutoFit/>
          </a:bodyPr>
          <a:lstStyle/>
          <a:p>
            <a:pPr marL="120650" indent="-108585">
              <a:lnSpc>
                <a:spcPts val="930"/>
              </a:lnSpc>
              <a:spcBef>
                <a:spcPts val="100"/>
              </a:spcBef>
              <a:buClr>
                <a:srgbClr val="6C92A8"/>
              </a:buClr>
              <a:buFont typeface="Century Gothic"/>
              <a:buChar char="•"/>
              <a:tabLst>
                <a:tab pos="121285" algn="l"/>
                <a:tab pos="501015" algn="l"/>
                <a:tab pos="1056640" algn="l"/>
              </a:tabLst>
            </a:pPr>
            <a:r>
              <a:rPr sz="800" b="1" dirty="0">
                <a:latin typeface="Century Gothic"/>
                <a:cs typeface="Century Gothic"/>
              </a:rPr>
              <a:t>Non	</a:t>
            </a:r>
            <a:r>
              <a:rPr sz="800" b="1" spc="-5" dirty="0">
                <a:latin typeface="Century Gothic"/>
                <a:cs typeface="Century Gothic"/>
              </a:rPr>
              <a:t>nuclear	applications:</a:t>
            </a:r>
            <a:endParaRPr sz="800" dirty="0">
              <a:latin typeface="Century Gothic"/>
              <a:cs typeface="Century Gothic"/>
            </a:endParaRPr>
          </a:p>
          <a:p>
            <a:pPr marL="120650">
              <a:lnSpc>
                <a:spcPts val="930"/>
              </a:lnSpc>
            </a:pPr>
            <a:r>
              <a:rPr sz="800" spc="-5" dirty="0">
                <a:latin typeface="Century Gothic"/>
                <a:cs typeface="Century Gothic"/>
              </a:rPr>
              <a:t>Greece,</a:t>
            </a:r>
            <a:r>
              <a:rPr sz="800" spc="-30" dirty="0">
                <a:latin typeface="Century Gothic"/>
                <a:cs typeface="Century Gothic"/>
              </a:rPr>
              <a:t> </a:t>
            </a:r>
            <a:r>
              <a:rPr sz="800" spc="-5" dirty="0">
                <a:latin typeface="Century Gothic"/>
                <a:cs typeface="Century Gothic"/>
              </a:rPr>
              <a:t>Italy,</a:t>
            </a:r>
            <a:r>
              <a:rPr sz="800" spc="-30" dirty="0">
                <a:latin typeface="Century Gothic"/>
                <a:cs typeface="Century Gothic"/>
              </a:rPr>
              <a:t> </a:t>
            </a:r>
            <a:r>
              <a:rPr sz="800" dirty="0">
                <a:latin typeface="Century Gothic"/>
                <a:cs typeface="Century Gothic"/>
              </a:rPr>
              <a:t>Monaco</a:t>
            </a:r>
          </a:p>
        </p:txBody>
      </p:sp>
      <p:sp>
        <p:nvSpPr>
          <p:cNvPr id="26" name="object 26"/>
          <p:cNvSpPr txBox="1"/>
          <p:nvPr/>
        </p:nvSpPr>
        <p:spPr>
          <a:xfrm>
            <a:off x="545712" y="5550769"/>
            <a:ext cx="749300" cy="261620"/>
          </a:xfrm>
          <a:prstGeom prst="rect">
            <a:avLst/>
          </a:prstGeom>
        </p:spPr>
        <p:txBody>
          <a:bodyPr vert="horz" wrap="square" lIns="0" tIns="22860" rIns="0" bIns="0" rtlCol="0">
            <a:spAutoFit/>
          </a:bodyPr>
          <a:lstStyle/>
          <a:p>
            <a:pPr marL="12700" marR="5080">
              <a:lnSpc>
                <a:spcPts val="900"/>
              </a:lnSpc>
              <a:spcBef>
                <a:spcPts val="180"/>
              </a:spcBef>
            </a:pPr>
            <a:r>
              <a:rPr sz="800" b="1" dirty="0">
                <a:solidFill>
                  <a:srgbClr val="498B80"/>
                </a:solidFill>
                <a:latin typeface="Century Gothic"/>
                <a:cs typeface="Century Gothic"/>
              </a:rPr>
              <a:t>STRATEGY AND  EXPECTATION</a:t>
            </a:r>
            <a:endParaRPr sz="800" dirty="0">
              <a:latin typeface="Century Gothic"/>
              <a:cs typeface="Century Gothic"/>
            </a:endParaRPr>
          </a:p>
        </p:txBody>
      </p:sp>
      <p:sp>
        <p:nvSpPr>
          <p:cNvPr id="27" name="object 27"/>
          <p:cNvSpPr txBox="1"/>
          <p:nvPr/>
        </p:nvSpPr>
        <p:spPr>
          <a:xfrm>
            <a:off x="174192" y="5882763"/>
            <a:ext cx="1572638" cy="2516073"/>
          </a:xfrm>
          <a:prstGeom prst="rect">
            <a:avLst/>
          </a:prstGeom>
        </p:spPr>
        <p:txBody>
          <a:bodyPr vert="horz" wrap="square" lIns="0" tIns="12700" rIns="0" bIns="0" rtlCol="0">
            <a:spAutoFit/>
          </a:bodyPr>
          <a:lstStyle/>
          <a:p>
            <a:pPr marL="12700">
              <a:lnSpc>
                <a:spcPct val="100000"/>
              </a:lnSpc>
              <a:spcBef>
                <a:spcPts val="100"/>
              </a:spcBef>
            </a:pPr>
            <a:r>
              <a:rPr lang="en-US" sz="700" dirty="0">
                <a:latin typeface="Century Gothic"/>
                <a:cs typeface="Century Gothic"/>
              </a:rPr>
              <a:t>TRACTEBEL embraces advanced technology projects worldwide (research reactors/fusion reactors/SMRs…).</a:t>
            </a:r>
          </a:p>
          <a:p>
            <a:pPr marL="12700">
              <a:lnSpc>
                <a:spcPct val="100000"/>
              </a:lnSpc>
              <a:spcBef>
                <a:spcPts val="100"/>
              </a:spcBef>
            </a:pPr>
            <a:r>
              <a:rPr lang="en-US" sz="700" dirty="0">
                <a:latin typeface="Century Gothic"/>
                <a:cs typeface="Century Gothic"/>
              </a:rPr>
              <a:t>Notably TRACTEBEL has assisted ITER for more than 20 years firstly in the conception design of the Tokamak cooling water system and of civil engineering, then since Jan 2014 by providing support in the supervision of design, construction, tests and commissioning of handling equipment, HVAC, electrical systems and civil for all ITER buildings.</a:t>
            </a:r>
          </a:p>
          <a:p>
            <a:pPr marL="12700">
              <a:lnSpc>
                <a:spcPct val="100000"/>
              </a:lnSpc>
              <a:spcBef>
                <a:spcPts val="100"/>
              </a:spcBef>
            </a:pPr>
            <a:r>
              <a:rPr lang="en-US" sz="700" dirty="0">
                <a:latin typeface="Century Gothic"/>
                <a:cs typeface="Century Gothic"/>
              </a:rPr>
              <a:t>TRACTEBEL wants to support the fusion program in the UK by providing its expertise in the field of system engineering, civil engineering, and buildings services (HVAC, electrical) from our French and Belgium offices and from our UK local office.</a:t>
            </a:r>
          </a:p>
        </p:txBody>
      </p:sp>
      <p:sp>
        <p:nvSpPr>
          <p:cNvPr id="30" name="object 30"/>
          <p:cNvSpPr txBox="1"/>
          <p:nvPr/>
        </p:nvSpPr>
        <p:spPr>
          <a:xfrm>
            <a:off x="2309295" y="1453439"/>
            <a:ext cx="1329690" cy="238527"/>
          </a:xfrm>
          <a:prstGeom prst="rect">
            <a:avLst/>
          </a:prstGeom>
        </p:spPr>
        <p:txBody>
          <a:bodyPr vert="horz" wrap="square" lIns="0" tIns="33020" rIns="0" bIns="0" rtlCol="0">
            <a:spAutoFit/>
          </a:bodyPr>
          <a:lstStyle/>
          <a:p>
            <a:pPr marL="12700" marR="5080">
              <a:lnSpc>
                <a:spcPts val="800"/>
              </a:lnSpc>
              <a:spcBef>
                <a:spcPts val="260"/>
              </a:spcBef>
            </a:pPr>
            <a:r>
              <a:rPr sz="800" b="1" dirty="0">
                <a:solidFill>
                  <a:srgbClr val="FFFFFF"/>
                </a:solidFill>
                <a:latin typeface="Century Gothic"/>
                <a:cs typeface="Century Gothic"/>
              </a:rPr>
              <a:t>Export</a:t>
            </a:r>
            <a:r>
              <a:rPr sz="800" b="1" spc="-30" dirty="0">
                <a:solidFill>
                  <a:srgbClr val="FFFFFF"/>
                </a:solidFill>
                <a:latin typeface="Century Gothic"/>
                <a:cs typeface="Century Gothic"/>
              </a:rPr>
              <a:t> </a:t>
            </a:r>
            <a:r>
              <a:rPr sz="800" b="1" spc="-5" dirty="0">
                <a:solidFill>
                  <a:srgbClr val="FFFFFF"/>
                </a:solidFill>
                <a:latin typeface="Century Gothic"/>
                <a:cs typeface="Century Gothic"/>
              </a:rPr>
              <a:t>areas:</a:t>
            </a:r>
            <a:r>
              <a:rPr sz="800" b="1" spc="-30" dirty="0">
                <a:solidFill>
                  <a:srgbClr val="FFFFFF"/>
                </a:solidFill>
                <a:latin typeface="Century Gothic"/>
                <a:cs typeface="Century Gothic"/>
              </a:rPr>
              <a:t> </a:t>
            </a:r>
            <a:r>
              <a:rPr sz="800" spc="-5" dirty="0">
                <a:solidFill>
                  <a:srgbClr val="FFFFFF"/>
                </a:solidFill>
                <a:latin typeface="Century Gothic"/>
                <a:cs typeface="Century Gothic"/>
              </a:rPr>
              <a:t>Europe,</a:t>
            </a:r>
            <a:r>
              <a:rPr sz="800" spc="-35" dirty="0">
                <a:solidFill>
                  <a:srgbClr val="FFFFFF"/>
                </a:solidFill>
                <a:latin typeface="Century Gothic"/>
                <a:cs typeface="Century Gothic"/>
              </a:rPr>
              <a:t> </a:t>
            </a:r>
            <a:r>
              <a:rPr sz="800" dirty="0">
                <a:solidFill>
                  <a:srgbClr val="FFFFFF"/>
                </a:solidFill>
                <a:latin typeface="Century Gothic"/>
                <a:cs typeface="Century Gothic"/>
              </a:rPr>
              <a:t>Asia, </a:t>
            </a:r>
            <a:r>
              <a:rPr sz="800" spc="-204" dirty="0">
                <a:solidFill>
                  <a:srgbClr val="FFFFFF"/>
                </a:solidFill>
                <a:latin typeface="Century Gothic"/>
                <a:cs typeface="Century Gothic"/>
              </a:rPr>
              <a:t> </a:t>
            </a:r>
            <a:r>
              <a:rPr sz="800" dirty="0">
                <a:solidFill>
                  <a:srgbClr val="FFFFFF"/>
                </a:solidFill>
                <a:latin typeface="Century Gothic"/>
                <a:cs typeface="Century Gothic"/>
              </a:rPr>
              <a:t>Africa,</a:t>
            </a:r>
            <a:r>
              <a:rPr sz="800" spc="-10" dirty="0">
                <a:solidFill>
                  <a:srgbClr val="FFFFFF"/>
                </a:solidFill>
                <a:latin typeface="Century Gothic"/>
                <a:cs typeface="Century Gothic"/>
              </a:rPr>
              <a:t> </a:t>
            </a:r>
            <a:r>
              <a:rPr sz="800" dirty="0">
                <a:solidFill>
                  <a:srgbClr val="FFFFFF"/>
                </a:solidFill>
                <a:latin typeface="Century Gothic"/>
                <a:cs typeface="Century Gothic"/>
              </a:rPr>
              <a:t>America</a:t>
            </a:r>
            <a:endParaRPr sz="800" dirty="0">
              <a:latin typeface="Century Gothic"/>
              <a:cs typeface="Century Gothic"/>
            </a:endParaRPr>
          </a:p>
        </p:txBody>
      </p:sp>
      <p:grpSp>
        <p:nvGrpSpPr>
          <p:cNvPr id="31" name="object 31"/>
          <p:cNvGrpSpPr/>
          <p:nvPr/>
        </p:nvGrpSpPr>
        <p:grpSpPr>
          <a:xfrm>
            <a:off x="2148000" y="4230250"/>
            <a:ext cx="120014" cy="12700"/>
            <a:chOff x="2148000" y="4230250"/>
            <a:chExt cx="120014" cy="12700"/>
          </a:xfrm>
        </p:grpSpPr>
        <p:sp>
          <p:nvSpPr>
            <p:cNvPr id="32" name="object 32"/>
            <p:cNvSpPr/>
            <p:nvPr/>
          </p:nvSpPr>
          <p:spPr>
            <a:xfrm>
              <a:off x="2190116" y="4236600"/>
              <a:ext cx="53975" cy="0"/>
            </a:xfrm>
            <a:custGeom>
              <a:avLst/>
              <a:gdLst/>
              <a:ahLst/>
              <a:cxnLst/>
              <a:rect l="l" t="t" r="r" b="b"/>
              <a:pathLst>
                <a:path w="53975">
                  <a:moveTo>
                    <a:pt x="0" y="0"/>
                  </a:moveTo>
                  <a:lnTo>
                    <a:pt x="53644" y="0"/>
                  </a:lnTo>
                </a:path>
              </a:pathLst>
            </a:custGeom>
            <a:ln w="12700">
              <a:solidFill>
                <a:srgbClr val="EF3A47"/>
              </a:solidFill>
              <a:prstDash val="dot"/>
            </a:ln>
          </p:spPr>
          <p:txBody>
            <a:bodyPr wrap="square" lIns="0" tIns="0" rIns="0" bIns="0" rtlCol="0"/>
            <a:lstStyle/>
            <a:p>
              <a:endParaRPr/>
            </a:p>
          </p:txBody>
        </p:sp>
        <p:sp>
          <p:nvSpPr>
            <p:cNvPr id="33" name="object 33"/>
            <p:cNvSpPr/>
            <p:nvPr/>
          </p:nvSpPr>
          <p:spPr>
            <a:xfrm>
              <a:off x="2147989" y="4230255"/>
              <a:ext cx="120014" cy="12700"/>
            </a:xfrm>
            <a:custGeom>
              <a:avLst/>
              <a:gdLst/>
              <a:ahLst/>
              <a:cxnLst/>
              <a:rect l="l" t="t" r="r" b="b"/>
              <a:pathLst>
                <a:path w="120014" h="12700">
                  <a:moveTo>
                    <a:pt x="12700" y="6350"/>
                  </a:moveTo>
                  <a:lnTo>
                    <a:pt x="10845" y="1866"/>
                  </a:lnTo>
                  <a:lnTo>
                    <a:pt x="6350" y="0"/>
                  </a:lnTo>
                  <a:lnTo>
                    <a:pt x="1866" y="1866"/>
                  </a:lnTo>
                  <a:lnTo>
                    <a:pt x="0" y="6350"/>
                  </a:lnTo>
                  <a:lnTo>
                    <a:pt x="1866" y="10845"/>
                  </a:lnTo>
                  <a:lnTo>
                    <a:pt x="6350" y="12700"/>
                  </a:lnTo>
                  <a:lnTo>
                    <a:pt x="10845" y="10845"/>
                  </a:lnTo>
                  <a:lnTo>
                    <a:pt x="12700" y="6350"/>
                  </a:lnTo>
                  <a:close/>
                </a:path>
                <a:path w="120014" h="12700">
                  <a:moveTo>
                    <a:pt x="120002" y="6350"/>
                  </a:moveTo>
                  <a:lnTo>
                    <a:pt x="118148" y="1866"/>
                  </a:lnTo>
                  <a:lnTo>
                    <a:pt x="113652" y="0"/>
                  </a:lnTo>
                  <a:lnTo>
                    <a:pt x="109169" y="1866"/>
                  </a:lnTo>
                  <a:lnTo>
                    <a:pt x="107302" y="6350"/>
                  </a:lnTo>
                  <a:lnTo>
                    <a:pt x="109169" y="10845"/>
                  </a:lnTo>
                  <a:lnTo>
                    <a:pt x="113652" y="12700"/>
                  </a:lnTo>
                  <a:lnTo>
                    <a:pt x="118148" y="10845"/>
                  </a:lnTo>
                  <a:lnTo>
                    <a:pt x="120002" y="6350"/>
                  </a:lnTo>
                  <a:close/>
                </a:path>
              </a:pathLst>
            </a:custGeom>
            <a:solidFill>
              <a:srgbClr val="EF3A47"/>
            </a:solidFill>
          </p:spPr>
          <p:txBody>
            <a:bodyPr wrap="square" lIns="0" tIns="0" rIns="0" bIns="0" rtlCol="0"/>
            <a:lstStyle/>
            <a:p>
              <a:endParaRPr/>
            </a:p>
          </p:txBody>
        </p:sp>
      </p:grpSp>
      <p:grpSp>
        <p:nvGrpSpPr>
          <p:cNvPr id="34" name="object 34"/>
          <p:cNvGrpSpPr/>
          <p:nvPr/>
        </p:nvGrpSpPr>
        <p:grpSpPr>
          <a:xfrm>
            <a:off x="2148000" y="4994450"/>
            <a:ext cx="120014" cy="12700"/>
            <a:chOff x="2148000" y="4994450"/>
            <a:chExt cx="120014" cy="12700"/>
          </a:xfrm>
        </p:grpSpPr>
        <p:sp>
          <p:nvSpPr>
            <p:cNvPr id="35" name="object 35"/>
            <p:cNvSpPr/>
            <p:nvPr/>
          </p:nvSpPr>
          <p:spPr>
            <a:xfrm>
              <a:off x="2190116" y="5000800"/>
              <a:ext cx="53975" cy="0"/>
            </a:xfrm>
            <a:custGeom>
              <a:avLst/>
              <a:gdLst/>
              <a:ahLst/>
              <a:cxnLst/>
              <a:rect l="l" t="t" r="r" b="b"/>
              <a:pathLst>
                <a:path w="53975">
                  <a:moveTo>
                    <a:pt x="0" y="0"/>
                  </a:moveTo>
                  <a:lnTo>
                    <a:pt x="53644" y="0"/>
                  </a:lnTo>
                </a:path>
              </a:pathLst>
            </a:custGeom>
            <a:ln w="12700">
              <a:solidFill>
                <a:srgbClr val="EF3A47"/>
              </a:solidFill>
              <a:prstDash val="dot"/>
            </a:ln>
          </p:spPr>
          <p:txBody>
            <a:bodyPr wrap="square" lIns="0" tIns="0" rIns="0" bIns="0" rtlCol="0"/>
            <a:lstStyle/>
            <a:p>
              <a:endParaRPr/>
            </a:p>
          </p:txBody>
        </p:sp>
        <p:sp>
          <p:nvSpPr>
            <p:cNvPr id="36" name="object 36"/>
            <p:cNvSpPr/>
            <p:nvPr/>
          </p:nvSpPr>
          <p:spPr>
            <a:xfrm>
              <a:off x="2147989" y="4994452"/>
              <a:ext cx="120014" cy="12700"/>
            </a:xfrm>
            <a:custGeom>
              <a:avLst/>
              <a:gdLst/>
              <a:ahLst/>
              <a:cxnLst/>
              <a:rect l="l" t="t" r="r" b="b"/>
              <a:pathLst>
                <a:path w="120014" h="12700">
                  <a:moveTo>
                    <a:pt x="12700" y="6350"/>
                  </a:moveTo>
                  <a:lnTo>
                    <a:pt x="10845" y="1866"/>
                  </a:lnTo>
                  <a:lnTo>
                    <a:pt x="6350" y="0"/>
                  </a:lnTo>
                  <a:lnTo>
                    <a:pt x="1866" y="1866"/>
                  </a:lnTo>
                  <a:lnTo>
                    <a:pt x="0" y="6350"/>
                  </a:lnTo>
                  <a:lnTo>
                    <a:pt x="1866" y="10845"/>
                  </a:lnTo>
                  <a:lnTo>
                    <a:pt x="6350" y="12700"/>
                  </a:lnTo>
                  <a:lnTo>
                    <a:pt x="10845" y="10845"/>
                  </a:lnTo>
                  <a:lnTo>
                    <a:pt x="12700" y="6350"/>
                  </a:lnTo>
                  <a:close/>
                </a:path>
                <a:path w="120014" h="12700">
                  <a:moveTo>
                    <a:pt x="120002" y="6350"/>
                  </a:moveTo>
                  <a:lnTo>
                    <a:pt x="118148" y="1866"/>
                  </a:lnTo>
                  <a:lnTo>
                    <a:pt x="113652" y="0"/>
                  </a:lnTo>
                  <a:lnTo>
                    <a:pt x="109169" y="1866"/>
                  </a:lnTo>
                  <a:lnTo>
                    <a:pt x="107302" y="6350"/>
                  </a:lnTo>
                  <a:lnTo>
                    <a:pt x="109169" y="10845"/>
                  </a:lnTo>
                  <a:lnTo>
                    <a:pt x="113652" y="12700"/>
                  </a:lnTo>
                  <a:lnTo>
                    <a:pt x="118148" y="10845"/>
                  </a:lnTo>
                  <a:lnTo>
                    <a:pt x="120002" y="6350"/>
                  </a:lnTo>
                  <a:close/>
                </a:path>
              </a:pathLst>
            </a:custGeom>
            <a:solidFill>
              <a:srgbClr val="EF3A47"/>
            </a:solidFill>
          </p:spPr>
          <p:txBody>
            <a:bodyPr wrap="square" lIns="0" tIns="0" rIns="0" bIns="0" rtlCol="0"/>
            <a:lstStyle/>
            <a:p>
              <a:endParaRPr/>
            </a:p>
          </p:txBody>
        </p:sp>
      </p:grpSp>
      <p:sp>
        <p:nvSpPr>
          <p:cNvPr id="37" name="object 37"/>
          <p:cNvSpPr txBox="1"/>
          <p:nvPr/>
        </p:nvSpPr>
        <p:spPr>
          <a:xfrm>
            <a:off x="2351872" y="2427074"/>
            <a:ext cx="3296285" cy="1874871"/>
          </a:xfrm>
          <a:prstGeom prst="rect">
            <a:avLst/>
          </a:prstGeom>
        </p:spPr>
        <p:txBody>
          <a:bodyPr vert="horz" wrap="square" lIns="0" tIns="27939" rIns="0" bIns="0" rtlCol="0">
            <a:spAutoFit/>
          </a:bodyPr>
          <a:lstStyle/>
          <a:p>
            <a:pPr marL="12700" marR="5715" algn="just">
              <a:lnSpc>
                <a:spcPts val="850"/>
              </a:lnSpc>
              <a:spcBef>
                <a:spcPts val="219"/>
              </a:spcBef>
            </a:pPr>
            <a:r>
              <a:rPr sz="800" dirty="0">
                <a:solidFill>
                  <a:srgbClr val="231F20"/>
                </a:solidFill>
                <a:latin typeface="Century Gothic"/>
                <a:cs typeface="Century Gothic"/>
              </a:rPr>
              <a:t>TRACTEBEL </a:t>
            </a:r>
            <a:r>
              <a:rPr sz="800" spc="-5" dirty="0">
                <a:solidFill>
                  <a:srgbClr val="231F20"/>
                </a:solidFill>
                <a:latin typeface="Century Gothic"/>
                <a:cs typeface="Century Gothic"/>
              </a:rPr>
              <a:t>is an international </a:t>
            </a:r>
            <a:r>
              <a:rPr sz="800" dirty="0">
                <a:solidFill>
                  <a:srgbClr val="231F20"/>
                </a:solidFill>
                <a:latin typeface="Century Gothic"/>
                <a:cs typeface="Century Gothic"/>
              </a:rPr>
              <a:t>company </a:t>
            </a:r>
            <a:r>
              <a:rPr sz="800" spc="-5" dirty="0">
                <a:solidFill>
                  <a:srgbClr val="231F20"/>
                </a:solidFill>
                <a:latin typeface="Century Gothic"/>
                <a:cs typeface="Century Gothic"/>
              </a:rPr>
              <a:t>providing </a:t>
            </a:r>
            <a:r>
              <a:rPr sz="800" dirty="0">
                <a:solidFill>
                  <a:srgbClr val="231F20"/>
                </a:solidFill>
                <a:latin typeface="Century Gothic"/>
                <a:cs typeface="Century Gothic"/>
              </a:rPr>
              <a:t>consultancy </a:t>
            </a:r>
            <a:r>
              <a:rPr sz="800" spc="-5" dirty="0">
                <a:solidFill>
                  <a:srgbClr val="231F20"/>
                </a:solidFill>
                <a:latin typeface="Century Gothic"/>
                <a:cs typeface="Century Gothic"/>
              </a:rPr>
              <a:t>and </a:t>
            </a:r>
            <a:r>
              <a:rPr sz="800" spc="-210" dirty="0">
                <a:solidFill>
                  <a:srgbClr val="231F20"/>
                </a:solidFill>
                <a:latin typeface="Century Gothic"/>
                <a:cs typeface="Century Gothic"/>
              </a:rPr>
              <a:t> </a:t>
            </a:r>
            <a:r>
              <a:rPr sz="800" dirty="0">
                <a:solidFill>
                  <a:srgbClr val="231F20"/>
                </a:solidFill>
                <a:latin typeface="Century Gothic"/>
                <a:cs typeface="Century Gothic"/>
              </a:rPr>
              <a:t>engineering</a:t>
            </a:r>
            <a:r>
              <a:rPr sz="800" spc="-5" dirty="0">
                <a:solidFill>
                  <a:srgbClr val="231F20"/>
                </a:solidFill>
                <a:latin typeface="Century Gothic"/>
                <a:cs typeface="Century Gothic"/>
              </a:rPr>
              <a:t> </a:t>
            </a:r>
            <a:r>
              <a:rPr sz="800" dirty="0">
                <a:solidFill>
                  <a:srgbClr val="231F20"/>
                </a:solidFill>
                <a:latin typeface="Century Gothic"/>
                <a:cs typeface="Century Gothic"/>
              </a:rPr>
              <a:t>expertise.</a:t>
            </a:r>
            <a:endParaRPr sz="800" dirty="0">
              <a:latin typeface="Century Gothic"/>
              <a:cs typeface="Century Gothic"/>
            </a:endParaRPr>
          </a:p>
          <a:p>
            <a:pPr marL="12700" marR="5715" algn="just">
              <a:lnSpc>
                <a:spcPts val="850"/>
              </a:lnSpc>
              <a:spcBef>
                <a:spcPts val="565"/>
              </a:spcBef>
            </a:pPr>
            <a:r>
              <a:rPr sz="800" spc="-5" dirty="0">
                <a:solidFill>
                  <a:srgbClr val="231F20"/>
                </a:solidFill>
                <a:latin typeface="Century Gothic"/>
                <a:cs typeface="Century Gothic"/>
              </a:rPr>
              <a:t>Our project portfolio </a:t>
            </a:r>
            <a:r>
              <a:rPr sz="800" dirty="0">
                <a:solidFill>
                  <a:srgbClr val="231F20"/>
                </a:solidFill>
                <a:latin typeface="Century Gothic"/>
                <a:cs typeface="Century Gothic"/>
              </a:rPr>
              <a:t>covers </a:t>
            </a:r>
            <a:r>
              <a:rPr sz="800" spc="-5" dirty="0">
                <a:solidFill>
                  <a:srgbClr val="231F20"/>
                </a:solidFill>
                <a:latin typeface="Century Gothic"/>
                <a:cs typeface="Century Gothic"/>
              </a:rPr>
              <a:t>different fields</a:t>
            </a:r>
            <a:r>
              <a:rPr sz="800" dirty="0">
                <a:solidFill>
                  <a:srgbClr val="231F20"/>
                </a:solidFill>
                <a:latin typeface="Century Gothic"/>
                <a:cs typeface="Century Gothic"/>
              </a:rPr>
              <a:t> </a:t>
            </a:r>
            <a:r>
              <a:rPr sz="800" spc="-5" dirty="0">
                <a:solidFill>
                  <a:srgbClr val="231F20"/>
                </a:solidFill>
                <a:latin typeface="Century Gothic"/>
                <a:cs typeface="Century Gothic"/>
              </a:rPr>
              <a:t>such as buildings and </a:t>
            </a:r>
            <a:r>
              <a:rPr sz="800" dirty="0">
                <a:solidFill>
                  <a:srgbClr val="231F20"/>
                </a:solidFill>
                <a:latin typeface="Century Gothic"/>
                <a:cs typeface="Century Gothic"/>
              </a:rPr>
              <a:t> transport </a:t>
            </a:r>
            <a:r>
              <a:rPr sz="800" spc="-5" dirty="0">
                <a:solidFill>
                  <a:srgbClr val="231F20"/>
                </a:solidFill>
                <a:latin typeface="Century Gothic"/>
                <a:cs typeface="Century Gothic"/>
              </a:rPr>
              <a:t>infrastructures, </a:t>
            </a:r>
            <a:r>
              <a:rPr sz="800" dirty="0">
                <a:solidFill>
                  <a:srgbClr val="231F20"/>
                </a:solidFill>
                <a:latin typeface="Century Gothic"/>
                <a:cs typeface="Century Gothic"/>
              </a:rPr>
              <a:t>renewable energies, </a:t>
            </a:r>
            <a:r>
              <a:rPr sz="800" spc="-5" dirty="0">
                <a:solidFill>
                  <a:srgbClr val="231F20"/>
                </a:solidFill>
                <a:latin typeface="Century Gothic"/>
                <a:cs typeface="Century Gothic"/>
              </a:rPr>
              <a:t>water infrastructures </a:t>
            </a:r>
            <a:r>
              <a:rPr sz="800" dirty="0">
                <a:solidFill>
                  <a:srgbClr val="231F20"/>
                </a:solidFill>
                <a:latin typeface="Century Gothic"/>
                <a:cs typeface="Century Gothic"/>
              </a:rPr>
              <a:t> </a:t>
            </a:r>
            <a:r>
              <a:rPr sz="800" spc="-5" dirty="0">
                <a:solidFill>
                  <a:srgbClr val="231F20"/>
                </a:solidFill>
                <a:latin typeface="Century Gothic"/>
                <a:cs typeface="Century Gothic"/>
              </a:rPr>
              <a:t>(dam,</a:t>
            </a:r>
            <a:r>
              <a:rPr sz="800" spc="-10" dirty="0">
                <a:solidFill>
                  <a:srgbClr val="231F20"/>
                </a:solidFill>
                <a:latin typeface="Century Gothic"/>
                <a:cs typeface="Century Gothic"/>
              </a:rPr>
              <a:t> </a:t>
            </a:r>
            <a:r>
              <a:rPr sz="800" spc="-5" dirty="0">
                <a:solidFill>
                  <a:srgbClr val="231F20"/>
                </a:solidFill>
                <a:latin typeface="Century Gothic"/>
                <a:cs typeface="Century Gothic"/>
              </a:rPr>
              <a:t>pipeline…) and</a:t>
            </a:r>
            <a:r>
              <a:rPr sz="800" spc="-10" dirty="0">
                <a:solidFill>
                  <a:srgbClr val="231F20"/>
                </a:solidFill>
                <a:latin typeface="Century Gothic"/>
                <a:cs typeface="Century Gothic"/>
              </a:rPr>
              <a:t> </a:t>
            </a:r>
            <a:r>
              <a:rPr sz="800" dirty="0">
                <a:solidFill>
                  <a:srgbClr val="231F20"/>
                </a:solidFill>
                <a:latin typeface="Century Gothic"/>
                <a:cs typeface="Century Gothic"/>
              </a:rPr>
              <a:t>nuclear </a:t>
            </a:r>
            <a:r>
              <a:rPr sz="800" spc="-5" dirty="0">
                <a:solidFill>
                  <a:srgbClr val="231F20"/>
                </a:solidFill>
                <a:latin typeface="Century Gothic"/>
                <a:cs typeface="Century Gothic"/>
              </a:rPr>
              <a:t>power plants.</a:t>
            </a:r>
            <a:endParaRPr sz="800" dirty="0">
              <a:latin typeface="Century Gothic"/>
              <a:cs typeface="Century Gothic"/>
            </a:endParaRPr>
          </a:p>
          <a:p>
            <a:pPr marL="12700" marR="5080" algn="just">
              <a:lnSpc>
                <a:spcPts val="850"/>
              </a:lnSpc>
              <a:spcBef>
                <a:spcPts val="565"/>
              </a:spcBef>
            </a:pPr>
            <a:r>
              <a:rPr sz="800" dirty="0">
                <a:solidFill>
                  <a:srgbClr val="231F20"/>
                </a:solidFill>
                <a:latin typeface="Century Gothic"/>
                <a:cs typeface="Century Gothic"/>
              </a:rPr>
              <a:t>TRACTEBEL cumulates </a:t>
            </a:r>
            <a:r>
              <a:rPr sz="800" spc="-5" dirty="0">
                <a:solidFill>
                  <a:srgbClr val="231F20"/>
                </a:solidFill>
                <a:latin typeface="Century Gothic"/>
                <a:cs typeface="Century Gothic"/>
              </a:rPr>
              <a:t>60 years’ </a:t>
            </a:r>
            <a:r>
              <a:rPr sz="800" dirty="0">
                <a:solidFill>
                  <a:srgbClr val="231F20"/>
                </a:solidFill>
                <a:latin typeface="Century Gothic"/>
                <a:cs typeface="Century Gothic"/>
              </a:rPr>
              <a:t>experience </a:t>
            </a:r>
            <a:r>
              <a:rPr sz="800" spc="-5" dirty="0">
                <a:solidFill>
                  <a:srgbClr val="231F20"/>
                </a:solidFill>
                <a:latin typeface="Century Gothic"/>
                <a:cs typeface="Century Gothic"/>
              </a:rPr>
              <a:t>in </a:t>
            </a:r>
            <a:r>
              <a:rPr sz="800" dirty="0">
                <a:solidFill>
                  <a:srgbClr val="231F20"/>
                </a:solidFill>
                <a:latin typeface="Century Gothic"/>
                <a:cs typeface="Century Gothic"/>
              </a:rPr>
              <a:t>nuclear </a:t>
            </a:r>
            <a:r>
              <a:rPr sz="800" spc="-5" dirty="0">
                <a:solidFill>
                  <a:srgbClr val="231F20"/>
                </a:solidFill>
                <a:latin typeface="Century Gothic"/>
                <a:cs typeface="Century Gothic"/>
              </a:rPr>
              <a:t>industry with </a:t>
            </a:r>
            <a:r>
              <a:rPr sz="800" spc="-210" dirty="0">
                <a:solidFill>
                  <a:srgbClr val="231F20"/>
                </a:solidFill>
                <a:latin typeface="Century Gothic"/>
                <a:cs typeface="Century Gothic"/>
              </a:rPr>
              <a:t> </a:t>
            </a:r>
            <a:r>
              <a:rPr sz="800" dirty="0">
                <a:solidFill>
                  <a:srgbClr val="231F20"/>
                </a:solidFill>
                <a:latin typeface="Century Gothic"/>
                <a:cs typeface="Century Gothic"/>
              </a:rPr>
              <a:t>high </a:t>
            </a:r>
            <a:r>
              <a:rPr sz="800" spc="-5" dirty="0">
                <a:solidFill>
                  <a:srgbClr val="231F20"/>
                </a:solidFill>
                <a:latin typeface="Century Gothic"/>
                <a:cs typeface="Century Gothic"/>
              </a:rPr>
              <a:t>involvement in first </a:t>
            </a:r>
            <a:r>
              <a:rPr sz="800" dirty="0">
                <a:solidFill>
                  <a:srgbClr val="231F20"/>
                </a:solidFill>
                <a:latin typeface="Century Gothic"/>
                <a:cs typeface="Century Gothic"/>
              </a:rPr>
              <a:t>French reactors </a:t>
            </a:r>
            <a:r>
              <a:rPr sz="800" spc="-5" dirty="0">
                <a:solidFill>
                  <a:srgbClr val="231F20"/>
                </a:solidFill>
                <a:latin typeface="Century Gothic"/>
                <a:cs typeface="Century Gothic"/>
              </a:rPr>
              <a:t>and EPRs design in </a:t>
            </a:r>
            <a:r>
              <a:rPr sz="800" dirty="0">
                <a:solidFill>
                  <a:srgbClr val="231F20"/>
                </a:solidFill>
                <a:latin typeface="Century Gothic"/>
                <a:cs typeface="Century Gothic"/>
              </a:rPr>
              <a:t>the </a:t>
            </a:r>
            <a:r>
              <a:rPr sz="800" spc="5" dirty="0">
                <a:solidFill>
                  <a:srgbClr val="231F20"/>
                </a:solidFill>
                <a:latin typeface="Century Gothic"/>
                <a:cs typeface="Century Gothic"/>
              </a:rPr>
              <a:t> </a:t>
            </a:r>
            <a:r>
              <a:rPr sz="800" spc="-5" dirty="0">
                <a:solidFill>
                  <a:srgbClr val="231F20"/>
                </a:solidFill>
                <a:latin typeface="Century Gothic"/>
                <a:cs typeface="Century Gothic"/>
              </a:rPr>
              <a:t>world,</a:t>
            </a:r>
            <a:r>
              <a:rPr sz="800" dirty="0">
                <a:solidFill>
                  <a:srgbClr val="231F20"/>
                </a:solidFill>
                <a:latin typeface="Century Gothic"/>
                <a:cs typeface="Century Gothic"/>
              </a:rPr>
              <a:t> the</a:t>
            </a:r>
            <a:r>
              <a:rPr sz="800" spc="5" dirty="0">
                <a:solidFill>
                  <a:srgbClr val="231F20"/>
                </a:solidFill>
                <a:latin typeface="Century Gothic"/>
                <a:cs typeface="Century Gothic"/>
              </a:rPr>
              <a:t> </a:t>
            </a:r>
            <a:r>
              <a:rPr sz="800" dirty="0">
                <a:solidFill>
                  <a:srgbClr val="231F20"/>
                </a:solidFill>
                <a:latin typeface="Century Gothic"/>
                <a:cs typeface="Century Gothic"/>
              </a:rPr>
              <a:t>operation,</a:t>
            </a:r>
            <a:r>
              <a:rPr sz="800" spc="5" dirty="0">
                <a:solidFill>
                  <a:srgbClr val="231F20"/>
                </a:solidFill>
                <a:latin typeface="Century Gothic"/>
                <a:cs typeface="Century Gothic"/>
              </a:rPr>
              <a:t> </a:t>
            </a:r>
            <a:r>
              <a:rPr sz="800" dirty="0">
                <a:solidFill>
                  <a:srgbClr val="231F20"/>
                </a:solidFill>
                <a:latin typeface="Century Gothic"/>
                <a:cs typeface="Century Gothic"/>
              </a:rPr>
              <a:t>maintenance</a:t>
            </a:r>
            <a:r>
              <a:rPr sz="800" spc="5" dirty="0">
                <a:solidFill>
                  <a:srgbClr val="231F20"/>
                </a:solidFill>
                <a:latin typeface="Century Gothic"/>
                <a:cs typeface="Century Gothic"/>
              </a:rPr>
              <a:t> </a:t>
            </a:r>
            <a:r>
              <a:rPr sz="800" spc="-5" dirty="0">
                <a:solidFill>
                  <a:srgbClr val="231F20"/>
                </a:solidFill>
                <a:latin typeface="Century Gothic"/>
                <a:cs typeface="Century Gothic"/>
              </a:rPr>
              <a:t>and</a:t>
            </a:r>
            <a:r>
              <a:rPr sz="800" dirty="0">
                <a:solidFill>
                  <a:srgbClr val="231F20"/>
                </a:solidFill>
                <a:latin typeface="Century Gothic"/>
                <a:cs typeface="Century Gothic"/>
              </a:rPr>
              <a:t> </a:t>
            </a:r>
            <a:r>
              <a:rPr sz="800" spc="-5" dirty="0">
                <a:solidFill>
                  <a:srgbClr val="231F20"/>
                </a:solidFill>
                <a:latin typeface="Century Gothic"/>
                <a:cs typeface="Century Gothic"/>
              </a:rPr>
              <a:t>dismantling</a:t>
            </a:r>
            <a:r>
              <a:rPr sz="800" dirty="0">
                <a:solidFill>
                  <a:srgbClr val="231F20"/>
                </a:solidFill>
                <a:latin typeface="Century Gothic"/>
                <a:cs typeface="Century Gothic"/>
              </a:rPr>
              <a:t> of</a:t>
            </a:r>
            <a:r>
              <a:rPr sz="800" spc="5" dirty="0">
                <a:solidFill>
                  <a:srgbClr val="231F20"/>
                </a:solidFill>
                <a:latin typeface="Century Gothic"/>
                <a:cs typeface="Century Gothic"/>
              </a:rPr>
              <a:t> </a:t>
            </a:r>
            <a:r>
              <a:rPr sz="800" spc="-5" dirty="0">
                <a:solidFill>
                  <a:srgbClr val="231F20"/>
                </a:solidFill>
                <a:latin typeface="Century Gothic"/>
                <a:cs typeface="Century Gothic"/>
              </a:rPr>
              <a:t>Belgian </a:t>
            </a:r>
            <a:r>
              <a:rPr sz="800" spc="-210" dirty="0">
                <a:solidFill>
                  <a:srgbClr val="231F20"/>
                </a:solidFill>
                <a:latin typeface="Century Gothic"/>
                <a:cs typeface="Century Gothic"/>
              </a:rPr>
              <a:t> </a:t>
            </a:r>
            <a:r>
              <a:rPr sz="800" dirty="0">
                <a:solidFill>
                  <a:srgbClr val="231F20"/>
                </a:solidFill>
                <a:latin typeface="Century Gothic"/>
                <a:cs typeface="Century Gothic"/>
              </a:rPr>
              <a:t>nuclear</a:t>
            </a:r>
            <a:r>
              <a:rPr sz="800" spc="-5" dirty="0">
                <a:solidFill>
                  <a:srgbClr val="231F20"/>
                </a:solidFill>
                <a:latin typeface="Century Gothic"/>
                <a:cs typeface="Century Gothic"/>
              </a:rPr>
              <a:t> power</a:t>
            </a:r>
            <a:r>
              <a:rPr sz="800" spc="-10" dirty="0">
                <a:solidFill>
                  <a:srgbClr val="231F20"/>
                </a:solidFill>
                <a:latin typeface="Century Gothic"/>
                <a:cs typeface="Century Gothic"/>
              </a:rPr>
              <a:t> </a:t>
            </a:r>
            <a:r>
              <a:rPr sz="800" spc="-5" dirty="0">
                <a:solidFill>
                  <a:srgbClr val="231F20"/>
                </a:solidFill>
                <a:latin typeface="Century Gothic"/>
                <a:cs typeface="Century Gothic"/>
              </a:rPr>
              <a:t>plants</a:t>
            </a:r>
            <a:r>
              <a:rPr sz="800" spc="-10" dirty="0">
                <a:solidFill>
                  <a:srgbClr val="231F20"/>
                </a:solidFill>
                <a:latin typeface="Century Gothic"/>
                <a:cs typeface="Century Gothic"/>
              </a:rPr>
              <a:t> </a:t>
            </a:r>
            <a:r>
              <a:rPr sz="800" spc="-5" dirty="0">
                <a:solidFill>
                  <a:srgbClr val="231F20"/>
                </a:solidFill>
                <a:latin typeface="Century Gothic"/>
                <a:cs typeface="Century Gothic"/>
              </a:rPr>
              <a:t>and</a:t>
            </a:r>
            <a:r>
              <a:rPr sz="800" spc="-10" dirty="0">
                <a:solidFill>
                  <a:srgbClr val="231F20"/>
                </a:solidFill>
                <a:latin typeface="Century Gothic"/>
                <a:cs typeface="Century Gothic"/>
              </a:rPr>
              <a:t> </a:t>
            </a:r>
            <a:r>
              <a:rPr sz="800" dirty="0">
                <a:solidFill>
                  <a:srgbClr val="231F20"/>
                </a:solidFill>
                <a:latin typeface="Century Gothic"/>
                <a:cs typeface="Century Gothic"/>
              </a:rPr>
              <a:t>nuclear</a:t>
            </a:r>
            <a:r>
              <a:rPr sz="800" spc="-5" dirty="0">
                <a:solidFill>
                  <a:srgbClr val="231F20"/>
                </a:solidFill>
                <a:latin typeface="Century Gothic"/>
                <a:cs typeface="Century Gothic"/>
              </a:rPr>
              <a:t> infrastructures</a:t>
            </a:r>
            <a:r>
              <a:rPr sz="800" spc="-10" dirty="0">
                <a:solidFill>
                  <a:srgbClr val="231F20"/>
                </a:solidFill>
                <a:latin typeface="Century Gothic"/>
                <a:cs typeface="Century Gothic"/>
              </a:rPr>
              <a:t> </a:t>
            </a:r>
            <a:r>
              <a:rPr sz="800" spc="-5" dirty="0">
                <a:solidFill>
                  <a:srgbClr val="231F20"/>
                </a:solidFill>
                <a:latin typeface="Century Gothic"/>
                <a:cs typeface="Century Gothic"/>
              </a:rPr>
              <a:t>and</a:t>
            </a:r>
            <a:r>
              <a:rPr sz="800" spc="-10" dirty="0">
                <a:solidFill>
                  <a:srgbClr val="231F20"/>
                </a:solidFill>
                <a:latin typeface="Century Gothic"/>
                <a:cs typeface="Century Gothic"/>
              </a:rPr>
              <a:t> </a:t>
            </a:r>
            <a:r>
              <a:rPr sz="800" dirty="0">
                <a:solidFill>
                  <a:srgbClr val="231F20"/>
                </a:solidFill>
                <a:latin typeface="Century Gothic"/>
                <a:cs typeface="Century Gothic"/>
              </a:rPr>
              <a:t>facilities.</a:t>
            </a:r>
            <a:endParaRPr sz="800" dirty="0">
              <a:latin typeface="Century Gothic"/>
              <a:cs typeface="Century Gothic"/>
            </a:endParaRPr>
          </a:p>
          <a:p>
            <a:pPr marL="12700" marR="5080" algn="just">
              <a:lnSpc>
                <a:spcPts val="850"/>
              </a:lnSpc>
              <a:spcBef>
                <a:spcPts val="565"/>
              </a:spcBef>
            </a:pPr>
            <a:r>
              <a:rPr sz="800" spc="-5" dirty="0">
                <a:solidFill>
                  <a:srgbClr val="231F20"/>
                </a:solidFill>
                <a:latin typeface="Century Gothic"/>
                <a:cs typeface="Century Gothic"/>
              </a:rPr>
              <a:t>Our</a:t>
            </a:r>
            <a:r>
              <a:rPr sz="800" spc="114" dirty="0">
                <a:solidFill>
                  <a:srgbClr val="231F20"/>
                </a:solidFill>
                <a:latin typeface="Century Gothic"/>
                <a:cs typeface="Century Gothic"/>
              </a:rPr>
              <a:t> </a:t>
            </a:r>
            <a:r>
              <a:rPr lang="fr-FR" sz="800" spc="114" dirty="0">
                <a:solidFill>
                  <a:srgbClr val="231F20"/>
                </a:solidFill>
                <a:latin typeface="Century Gothic"/>
                <a:cs typeface="Century Gothic"/>
              </a:rPr>
              <a:t>global </a:t>
            </a:r>
            <a:r>
              <a:rPr lang="fr-FR" sz="800" spc="-5" dirty="0">
                <a:solidFill>
                  <a:srgbClr val="231F20"/>
                </a:solidFill>
                <a:latin typeface="Century Gothic"/>
                <a:cs typeface="Century Gothic"/>
              </a:rPr>
              <a:t>Business Area </a:t>
            </a:r>
            <a:r>
              <a:rPr sz="800" dirty="0">
                <a:solidFill>
                  <a:srgbClr val="231F20"/>
                </a:solidFill>
                <a:latin typeface="Century Gothic"/>
                <a:cs typeface="Century Gothic"/>
              </a:rPr>
              <a:t>nuclear</a:t>
            </a:r>
            <a:r>
              <a:rPr sz="800" spc="120" dirty="0">
                <a:solidFill>
                  <a:srgbClr val="231F20"/>
                </a:solidFill>
                <a:latin typeface="Century Gothic"/>
                <a:cs typeface="Century Gothic"/>
              </a:rPr>
              <a:t> </a:t>
            </a:r>
            <a:r>
              <a:rPr sz="800" spc="-5" dirty="0">
                <a:solidFill>
                  <a:srgbClr val="231F20"/>
                </a:solidFill>
                <a:latin typeface="Century Gothic"/>
                <a:cs typeface="Century Gothic"/>
              </a:rPr>
              <a:t>is</a:t>
            </a:r>
            <a:r>
              <a:rPr sz="800" spc="120" dirty="0">
                <a:solidFill>
                  <a:srgbClr val="231F20"/>
                </a:solidFill>
                <a:latin typeface="Century Gothic"/>
                <a:cs typeface="Century Gothic"/>
              </a:rPr>
              <a:t> </a:t>
            </a:r>
            <a:r>
              <a:rPr sz="800" dirty="0">
                <a:solidFill>
                  <a:srgbClr val="231F20"/>
                </a:solidFill>
                <a:latin typeface="Century Gothic"/>
                <a:cs typeface="Century Gothic"/>
              </a:rPr>
              <a:t>made</a:t>
            </a:r>
            <a:r>
              <a:rPr sz="800" spc="120" dirty="0">
                <a:solidFill>
                  <a:srgbClr val="231F20"/>
                </a:solidFill>
                <a:latin typeface="Century Gothic"/>
                <a:cs typeface="Century Gothic"/>
              </a:rPr>
              <a:t> </a:t>
            </a:r>
            <a:r>
              <a:rPr sz="800" dirty="0">
                <a:solidFill>
                  <a:srgbClr val="231F20"/>
                </a:solidFill>
                <a:latin typeface="Century Gothic"/>
                <a:cs typeface="Century Gothic"/>
              </a:rPr>
              <a:t>up</a:t>
            </a:r>
            <a:r>
              <a:rPr sz="800" spc="120" dirty="0">
                <a:solidFill>
                  <a:srgbClr val="231F20"/>
                </a:solidFill>
                <a:latin typeface="Century Gothic"/>
                <a:cs typeface="Century Gothic"/>
              </a:rPr>
              <a:t> </a:t>
            </a:r>
            <a:r>
              <a:rPr sz="800" dirty="0">
                <a:solidFill>
                  <a:srgbClr val="231F20"/>
                </a:solidFill>
                <a:latin typeface="Century Gothic"/>
                <a:cs typeface="Century Gothic"/>
              </a:rPr>
              <a:t>of</a:t>
            </a:r>
            <a:r>
              <a:rPr sz="800" spc="114" dirty="0">
                <a:solidFill>
                  <a:srgbClr val="231F20"/>
                </a:solidFill>
                <a:latin typeface="Century Gothic"/>
                <a:cs typeface="Century Gothic"/>
              </a:rPr>
              <a:t> </a:t>
            </a:r>
            <a:r>
              <a:rPr sz="800" dirty="0">
                <a:solidFill>
                  <a:srgbClr val="231F20"/>
                </a:solidFill>
                <a:latin typeface="Century Gothic"/>
                <a:cs typeface="Century Gothic"/>
              </a:rPr>
              <a:t>nearly</a:t>
            </a:r>
            <a:r>
              <a:rPr sz="800" spc="120" dirty="0">
                <a:solidFill>
                  <a:srgbClr val="231F20"/>
                </a:solidFill>
                <a:latin typeface="Century Gothic"/>
                <a:cs typeface="Century Gothic"/>
              </a:rPr>
              <a:t> </a:t>
            </a:r>
            <a:r>
              <a:rPr sz="800" spc="-5" dirty="0">
                <a:solidFill>
                  <a:srgbClr val="231F20"/>
                </a:solidFill>
                <a:latin typeface="Century Gothic"/>
                <a:cs typeface="Century Gothic"/>
              </a:rPr>
              <a:t>1,000</a:t>
            </a:r>
            <a:r>
              <a:rPr sz="800" spc="120" dirty="0">
                <a:solidFill>
                  <a:srgbClr val="231F20"/>
                </a:solidFill>
                <a:latin typeface="Century Gothic"/>
                <a:cs typeface="Century Gothic"/>
              </a:rPr>
              <a:t> </a:t>
            </a:r>
            <a:r>
              <a:rPr sz="800" dirty="0">
                <a:solidFill>
                  <a:srgbClr val="231F20"/>
                </a:solidFill>
                <a:latin typeface="Century Gothic"/>
                <a:cs typeface="Century Gothic"/>
              </a:rPr>
              <a:t>employees </a:t>
            </a:r>
            <a:r>
              <a:rPr sz="800" spc="-210" dirty="0">
                <a:solidFill>
                  <a:srgbClr val="231F20"/>
                </a:solidFill>
                <a:latin typeface="Century Gothic"/>
                <a:cs typeface="Century Gothic"/>
              </a:rPr>
              <a:t> </a:t>
            </a:r>
            <a:r>
              <a:rPr sz="800" spc="-5" dirty="0">
                <a:solidFill>
                  <a:srgbClr val="231F20"/>
                </a:solidFill>
                <a:latin typeface="Century Gothic"/>
                <a:cs typeface="Century Gothic"/>
              </a:rPr>
              <a:t>in </a:t>
            </a:r>
            <a:r>
              <a:rPr sz="800" dirty="0">
                <a:solidFill>
                  <a:srgbClr val="231F20"/>
                </a:solidFill>
                <a:latin typeface="Century Gothic"/>
                <a:cs typeface="Century Gothic"/>
              </a:rPr>
              <a:t>France, </a:t>
            </a:r>
            <a:r>
              <a:rPr sz="800" spc="-5" dirty="0">
                <a:solidFill>
                  <a:srgbClr val="231F20"/>
                </a:solidFill>
                <a:latin typeface="Century Gothic"/>
                <a:cs typeface="Century Gothic"/>
              </a:rPr>
              <a:t>Belgium</a:t>
            </a:r>
            <a:r>
              <a:rPr lang="fr-FR" sz="800" spc="-5" dirty="0">
                <a:solidFill>
                  <a:srgbClr val="231F20"/>
                </a:solidFill>
                <a:latin typeface="Century Gothic"/>
                <a:cs typeface="Century Gothic"/>
              </a:rPr>
              <a:t> and in the</a:t>
            </a:r>
            <a:r>
              <a:rPr sz="800" spc="-5" dirty="0">
                <a:solidFill>
                  <a:srgbClr val="231F20"/>
                </a:solidFill>
                <a:latin typeface="Century Gothic"/>
                <a:cs typeface="Century Gothic"/>
              </a:rPr>
              <a:t> </a:t>
            </a:r>
            <a:r>
              <a:rPr lang="fr-FR" sz="800" spc="-5" dirty="0">
                <a:solidFill>
                  <a:srgbClr val="231F20"/>
                </a:solidFill>
                <a:latin typeface="Century Gothic"/>
                <a:cs typeface="Century Gothic"/>
              </a:rPr>
              <a:t>UK </a:t>
            </a:r>
            <a:r>
              <a:rPr sz="800" spc="-5" dirty="0">
                <a:solidFill>
                  <a:srgbClr val="231F20"/>
                </a:solidFill>
                <a:latin typeface="Century Gothic"/>
                <a:cs typeface="Century Gothic"/>
              </a:rPr>
              <a:t>working in </a:t>
            </a:r>
            <a:r>
              <a:rPr sz="800" dirty="0">
                <a:solidFill>
                  <a:srgbClr val="231F20"/>
                </a:solidFill>
                <a:latin typeface="Century Gothic"/>
                <a:cs typeface="Century Gothic"/>
              </a:rPr>
              <a:t>the </a:t>
            </a:r>
            <a:r>
              <a:rPr sz="800" spc="5" dirty="0">
                <a:solidFill>
                  <a:srgbClr val="231F20"/>
                </a:solidFill>
                <a:latin typeface="Century Gothic"/>
                <a:cs typeface="Century Gothic"/>
              </a:rPr>
              <a:t> </a:t>
            </a:r>
            <a:r>
              <a:rPr sz="800" dirty="0">
                <a:solidFill>
                  <a:srgbClr val="231F20"/>
                </a:solidFill>
                <a:latin typeface="Century Gothic"/>
                <a:cs typeface="Century Gothic"/>
              </a:rPr>
              <a:t>nuclear</a:t>
            </a:r>
            <a:r>
              <a:rPr sz="800" spc="5" dirty="0">
                <a:solidFill>
                  <a:srgbClr val="231F20"/>
                </a:solidFill>
                <a:latin typeface="Century Gothic"/>
                <a:cs typeface="Century Gothic"/>
              </a:rPr>
              <a:t> </a:t>
            </a:r>
            <a:r>
              <a:rPr sz="800" spc="-5" dirty="0">
                <a:solidFill>
                  <a:srgbClr val="231F20"/>
                </a:solidFill>
                <a:latin typeface="Century Gothic"/>
                <a:cs typeface="Century Gothic"/>
              </a:rPr>
              <a:t>sector,</a:t>
            </a:r>
            <a:r>
              <a:rPr sz="800" dirty="0">
                <a:solidFill>
                  <a:srgbClr val="231F20"/>
                </a:solidFill>
                <a:latin typeface="Century Gothic"/>
                <a:cs typeface="Century Gothic"/>
              </a:rPr>
              <a:t> has</a:t>
            </a:r>
            <a:r>
              <a:rPr sz="800" spc="5" dirty="0">
                <a:solidFill>
                  <a:srgbClr val="231F20"/>
                </a:solidFill>
                <a:latin typeface="Century Gothic"/>
                <a:cs typeface="Century Gothic"/>
              </a:rPr>
              <a:t> </a:t>
            </a:r>
            <a:r>
              <a:rPr sz="800" dirty="0">
                <a:solidFill>
                  <a:srgbClr val="231F20"/>
                </a:solidFill>
                <a:latin typeface="Century Gothic"/>
                <a:cs typeface="Century Gothic"/>
              </a:rPr>
              <a:t>multi-skilled</a:t>
            </a:r>
            <a:r>
              <a:rPr sz="800" spc="5" dirty="0">
                <a:solidFill>
                  <a:srgbClr val="231F20"/>
                </a:solidFill>
                <a:latin typeface="Century Gothic"/>
                <a:cs typeface="Century Gothic"/>
              </a:rPr>
              <a:t> </a:t>
            </a:r>
            <a:r>
              <a:rPr sz="800" dirty="0">
                <a:solidFill>
                  <a:srgbClr val="231F20"/>
                </a:solidFill>
                <a:latin typeface="Century Gothic"/>
                <a:cs typeface="Century Gothic"/>
              </a:rPr>
              <a:t>know-how</a:t>
            </a:r>
            <a:r>
              <a:rPr sz="800" spc="5" dirty="0">
                <a:solidFill>
                  <a:srgbClr val="231F20"/>
                </a:solidFill>
                <a:latin typeface="Century Gothic"/>
                <a:cs typeface="Century Gothic"/>
              </a:rPr>
              <a:t> </a:t>
            </a:r>
            <a:r>
              <a:rPr sz="800" spc="-5" dirty="0">
                <a:solidFill>
                  <a:srgbClr val="231F20"/>
                </a:solidFill>
                <a:latin typeface="Century Gothic"/>
                <a:cs typeface="Century Gothic"/>
              </a:rPr>
              <a:t>(civil</a:t>
            </a:r>
            <a:r>
              <a:rPr sz="800" dirty="0">
                <a:solidFill>
                  <a:srgbClr val="231F20"/>
                </a:solidFill>
                <a:latin typeface="Century Gothic"/>
                <a:cs typeface="Century Gothic"/>
              </a:rPr>
              <a:t> engineering, </a:t>
            </a:r>
            <a:r>
              <a:rPr sz="800" spc="5" dirty="0">
                <a:solidFill>
                  <a:srgbClr val="231F20"/>
                </a:solidFill>
                <a:latin typeface="Century Gothic"/>
                <a:cs typeface="Century Gothic"/>
              </a:rPr>
              <a:t> </a:t>
            </a:r>
            <a:r>
              <a:rPr sz="800" dirty="0">
                <a:solidFill>
                  <a:srgbClr val="231F20"/>
                </a:solidFill>
                <a:latin typeface="Century Gothic"/>
                <a:cs typeface="Century Gothic"/>
              </a:rPr>
              <a:t>mechanical,</a:t>
            </a:r>
            <a:r>
              <a:rPr sz="800" spc="5" dirty="0">
                <a:solidFill>
                  <a:srgbClr val="231F20"/>
                </a:solidFill>
                <a:latin typeface="Century Gothic"/>
                <a:cs typeface="Century Gothic"/>
              </a:rPr>
              <a:t> </a:t>
            </a:r>
            <a:r>
              <a:rPr sz="800" dirty="0">
                <a:solidFill>
                  <a:srgbClr val="231F20"/>
                </a:solidFill>
                <a:latin typeface="Century Gothic"/>
                <a:cs typeface="Century Gothic"/>
              </a:rPr>
              <a:t>electrical,</a:t>
            </a:r>
            <a:r>
              <a:rPr sz="800" spc="5" dirty="0">
                <a:solidFill>
                  <a:srgbClr val="231F20"/>
                </a:solidFill>
                <a:latin typeface="Century Gothic"/>
                <a:cs typeface="Century Gothic"/>
              </a:rPr>
              <a:t> </a:t>
            </a:r>
            <a:r>
              <a:rPr sz="800" dirty="0">
                <a:solidFill>
                  <a:srgbClr val="231F20"/>
                </a:solidFill>
                <a:latin typeface="Century Gothic"/>
                <a:cs typeface="Century Gothic"/>
              </a:rPr>
              <a:t>nuclear</a:t>
            </a:r>
            <a:r>
              <a:rPr sz="800" spc="5" dirty="0">
                <a:solidFill>
                  <a:srgbClr val="231F20"/>
                </a:solidFill>
                <a:latin typeface="Century Gothic"/>
                <a:cs typeface="Century Gothic"/>
              </a:rPr>
              <a:t> </a:t>
            </a:r>
            <a:r>
              <a:rPr sz="800" spc="-5" dirty="0">
                <a:solidFill>
                  <a:srgbClr val="231F20"/>
                </a:solidFill>
                <a:latin typeface="Century Gothic"/>
                <a:cs typeface="Century Gothic"/>
              </a:rPr>
              <a:t>and</a:t>
            </a:r>
            <a:r>
              <a:rPr sz="800" dirty="0">
                <a:solidFill>
                  <a:srgbClr val="231F20"/>
                </a:solidFill>
                <a:latin typeface="Century Gothic"/>
                <a:cs typeface="Century Gothic"/>
              </a:rPr>
              <a:t> </a:t>
            </a:r>
            <a:r>
              <a:rPr sz="800" spc="-5" dirty="0">
                <a:solidFill>
                  <a:srgbClr val="231F20"/>
                </a:solidFill>
                <a:latin typeface="Century Gothic"/>
                <a:cs typeface="Century Gothic"/>
              </a:rPr>
              <a:t>fluid</a:t>
            </a:r>
            <a:r>
              <a:rPr sz="800" dirty="0">
                <a:solidFill>
                  <a:srgbClr val="231F20"/>
                </a:solidFill>
                <a:latin typeface="Century Gothic"/>
                <a:cs typeface="Century Gothic"/>
              </a:rPr>
              <a:t> </a:t>
            </a:r>
            <a:r>
              <a:rPr sz="800" spc="-5" dirty="0">
                <a:solidFill>
                  <a:srgbClr val="231F20"/>
                </a:solidFill>
                <a:latin typeface="Century Gothic"/>
                <a:cs typeface="Century Gothic"/>
              </a:rPr>
              <a:t>ventilation,</a:t>
            </a:r>
            <a:r>
              <a:rPr sz="800" dirty="0">
                <a:solidFill>
                  <a:srgbClr val="231F20"/>
                </a:solidFill>
                <a:latin typeface="Century Gothic"/>
                <a:cs typeface="Century Gothic"/>
              </a:rPr>
              <a:t> nuclear </a:t>
            </a:r>
            <a:r>
              <a:rPr sz="800" spc="5" dirty="0">
                <a:solidFill>
                  <a:srgbClr val="231F20"/>
                </a:solidFill>
                <a:latin typeface="Century Gothic"/>
                <a:cs typeface="Century Gothic"/>
              </a:rPr>
              <a:t> </a:t>
            </a:r>
            <a:r>
              <a:rPr sz="800" spc="-5" dirty="0">
                <a:solidFill>
                  <a:srgbClr val="231F20"/>
                </a:solidFill>
                <a:latin typeface="Century Gothic"/>
                <a:cs typeface="Century Gothic"/>
              </a:rPr>
              <a:t>safety,</a:t>
            </a:r>
            <a:r>
              <a:rPr sz="800" spc="-10" dirty="0">
                <a:solidFill>
                  <a:srgbClr val="231F20"/>
                </a:solidFill>
                <a:latin typeface="Century Gothic"/>
                <a:cs typeface="Century Gothic"/>
              </a:rPr>
              <a:t> </a:t>
            </a:r>
            <a:r>
              <a:rPr sz="800" spc="-5" dirty="0">
                <a:solidFill>
                  <a:srgbClr val="231F20"/>
                </a:solidFill>
                <a:latin typeface="Century Gothic"/>
                <a:cs typeface="Century Gothic"/>
              </a:rPr>
              <a:t>process, systems</a:t>
            </a:r>
            <a:r>
              <a:rPr sz="800" spc="-10" dirty="0">
                <a:solidFill>
                  <a:srgbClr val="231F20"/>
                </a:solidFill>
                <a:latin typeface="Century Gothic"/>
                <a:cs typeface="Century Gothic"/>
              </a:rPr>
              <a:t> </a:t>
            </a:r>
            <a:r>
              <a:rPr sz="800" dirty="0">
                <a:solidFill>
                  <a:srgbClr val="231F20"/>
                </a:solidFill>
                <a:latin typeface="Century Gothic"/>
                <a:cs typeface="Century Gothic"/>
              </a:rPr>
              <a:t>engineering, etc.).</a:t>
            </a:r>
            <a:endParaRPr sz="800" dirty="0">
              <a:latin typeface="Century Gothic"/>
              <a:cs typeface="Century Gothic"/>
            </a:endParaRPr>
          </a:p>
        </p:txBody>
      </p:sp>
      <p:sp>
        <p:nvSpPr>
          <p:cNvPr id="38" name="object 38"/>
          <p:cNvSpPr txBox="1"/>
          <p:nvPr/>
        </p:nvSpPr>
        <p:spPr>
          <a:xfrm>
            <a:off x="1970762" y="4320616"/>
            <a:ext cx="3654425" cy="3480440"/>
          </a:xfrm>
          <a:prstGeom prst="rect">
            <a:avLst/>
          </a:prstGeom>
        </p:spPr>
        <p:txBody>
          <a:bodyPr vert="horz" wrap="square" lIns="0" tIns="0" rIns="0" bIns="0" rtlCol="0">
            <a:spAutoFit/>
          </a:bodyPr>
          <a:lstStyle/>
          <a:p>
            <a:pPr marL="374650" indent="-130810">
              <a:lnSpc>
                <a:spcPts val="1565"/>
              </a:lnSpc>
              <a:buSzPct val="150000"/>
              <a:buFont typeface="Century Gothic"/>
              <a:buChar char="•"/>
              <a:tabLst>
                <a:tab pos="375285" algn="l"/>
              </a:tabLst>
            </a:pPr>
            <a:r>
              <a:rPr sz="1000" dirty="0">
                <a:solidFill>
                  <a:srgbClr val="EF3A47"/>
                </a:solidFill>
                <a:latin typeface="Rafale BG"/>
                <a:cs typeface="Rafale BG"/>
              </a:rPr>
              <a:t>Our</a:t>
            </a:r>
            <a:r>
              <a:rPr sz="1000" spc="-25" dirty="0">
                <a:solidFill>
                  <a:srgbClr val="EF3A47"/>
                </a:solidFill>
                <a:latin typeface="Rafale BG"/>
                <a:cs typeface="Rafale BG"/>
              </a:rPr>
              <a:t> </a:t>
            </a:r>
            <a:r>
              <a:rPr sz="1000" dirty="0">
                <a:solidFill>
                  <a:srgbClr val="EF3A47"/>
                </a:solidFill>
                <a:latin typeface="Rafale BG"/>
                <a:cs typeface="Rafale BG"/>
              </a:rPr>
              <a:t>products</a:t>
            </a:r>
            <a:r>
              <a:rPr sz="1000" spc="-25" dirty="0">
                <a:solidFill>
                  <a:srgbClr val="EF3A47"/>
                </a:solidFill>
                <a:latin typeface="Rafale BG"/>
                <a:cs typeface="Rafale BG"/>
              </a:rPr>
              <a:t> </a:t>
            </a:r>
            <a:r>
              <a:rPr sz="1000" dirty="0">
                <a:solidFill>
                  <a:srgbClr val="EF3A47"/>
                </a:solidFill>
                <a:latin typeface="Rafale BG"/>
                <a:cs typeface="Rafale BG"/>
              </a:rPr>
              <a:t>&amp;</a:t>
            </a:r>
            <a:r>
              <a:rPr sz="1000" spc="-20" dirty="0">
                <a:solidFill>
                  <a:srgbClr val="EF3A47"/>
                </a:solidFill>
                <a:latin typeface="Rafale BG"/>
                <a:cs typeface="Rafale BG"/>
              </a:rPr>
              <a:t> </a:t>
            </a:r>
            <a:r>
              <a:rPr sz="1000" dirty="0">
                <a:solidFill>
                  <a:srgbClr val="EF3A47"/>
                </a:solidFill>
                <a:latin typeface="Rafale BG"/>
                <a:cs typeface="Rafale BG"/>
              </a:rPr>
              <a:t>Services</a:t>
            </a:r>
            <a:endParaRPr sz="1000" dirty="0">
              <a:latin typeface="Rafale BG"/>
              <a:cs typeface="Rafale BG"/>
            </a:endParaRPr>
          </a:p>
          <a:p>
            <a:pPr marL="392430" marR="55880" algn="just">
              <a:lnSpc>
                <a:spcPts val="850"/>
              </a:lnSpc>
              <a:spcBef>
                <a:spcPts val="150"/>
              </a:spcBef>
            </a:pPr>
            <a:r>
              <a:rPr sz="800" spc="-5" dirty="0">
                <a:solidFill>
                  <a:srgbClr val="231F20"/>
                </a:solidFill>
                <a:latin typeface="Century Gothic"/>
                <a:cs typeface="Century Gothic"/>
              </a:rPr>
              <a:t>Engineering services in: </a:t>
            </a:r>
            <a:r>
              <a:rPr sz="800" dirty="0">
                <a:solidFill>
                  <a:srgbClr val="231F20"/>
                </a:solidFill>
                <a:latin typeface="Century Gothic"/>
                <a:cs typeface="Century Gothic"/>
              </a:rPr>
              <a:t>civil </a:t>
            </a:r>
            <a:r>
              <a:rPr sz="800" spc="-5" dirty="0">
                <a:solidFill>
                  <a:srgbClr val="231F20"/>
                </a:solidFill>
                <a:latin typeface="Century Gothic"/>
                <a:cs typeface="Century Gothic"/>
              </a:rPr>
              <a:t>work</a:t>
            </a:r>
            <a:r>
              <a:rPr lang="fr-FR" sz="800" spc="-5" dirty="0">
                <a:solidFill>
                  <a:srgbClr val="231F20"/>
                </a:solidFill>
                <a:latin typeface="Century Gothic"/>
                <a:cs typeface="Century Gothic"/>
              </a:rPr>
              <a:t>s</a:t>
            </a:r>
            <a:r>
              <a:rPr sz="800" spc="-5" dirty="0">
                <a:solidFill>
                  <a:srgbClr val="231F20"/>
                </a:solidFill>
                <a:latin typeface="Century Gothic"/>
                <a:cs typeface="Century Gothic"/>
              </a:rPr>
              <a:t> </a:t>
            </a:r>
            <a:r>
              <a:rPr sz="800" dirty="0">
                <a:solidFill>
                  <a:srgbClr val="6C92A8"/>
                </a:solidFill>
                <a:latin typeface="Century Gothic"/>
                <a:cs typeface="Century Gothic"/>
              </a:rPr>
              <a:t>• </a:t>
            </a:r>
            <a:r>
              <a:rPr sz="800" dirty="0">
                <a:solidFill>
                  <a:srgbClr val="231F20"/>
                </a:solidFill>
                <a:latin typeface="Century Gothic"/>
                <a:cs typeface="Century Gothic"/>
              </a:rPr>
              <a:t>geotechnics </a:t>
            </a:r>
            <a:r>
              <a:rPr sz="800" dirty="0">
                <a:solidFill>
                  <a:srgbClr val="6C92A8"/>
                </a:solidFill>
                <a:latin typeface="Century Gothic"/>
                <a:cs typeface="Century Gothic"/>
              </a:rPr>
              <a:t>• </a:t>
            </a:r>
            <a:r>
              <a:rPr sz="800" dirty="0">
                <a:solidFill>
                  <a:srgbClr val="231F20"/>
                </a:solidFill>
                <a:latin typeface="Century Gothic"/>
                <a:cs typeface="Century Gothic"/>
              </a:rPr>
              <a:t>mechanics, </a:t>
            </a:r>
            <a:r>
              <a:rPr sz="800" spc="5" dirty="0">
                <a:solidFill>
                  <a:srgbClr val="231F20"/>
                </a:solidFill>
                <a:latin typeface="Century Gothic"/>
                <a:cs typeface="Century Gothic"/>
              </a:rPr>
              <a:t> </a:t>
            </a:r>
            <a:r>
              <a:rPr sz="800" spc="-5" dirty="0">
                <a:solidFill>
                  <a:srgbClr val="231F20"/>
                </a:solidFill>
                <a:latin typeface="Century Gothic"/>
                <a:cs typeface="Century Gothic"/>
              </a:rPr>
              <a:t>HVAC</a:t>
            </a:r>
            <a:r>
              <a:rPr sz="800" spc="-10" dirty="0">
                <a:solidFill>
                  <a:srgbClr val="231F20"/>
                </a:solidFill>
                <a:latin typeface="Century Gothic"/>
                <a:cs typeface="Century Gothic"/>
              </a:rPr>
              <a:t> </a:t>
            </a:r>
            <a:r>
              <a:rPr sz="800" dirty="0">
                <a:solidFill>
                  <a:srgbClr val="231F20"/>
                </a:solidFill>
                <a:latin typeface="Century Gothic"/>
                <a:cs typeface="Century Gothic"/>
              </a:rPr>
              <a:t>/ </a:t>
            </a:r>
            <a:r>
              <a:rPr sz="800" spc="-5" dirty="0">
                <a:solidFill>
                  <a:srgbClr val="231F20"/>
                </a:solidFill>
                <a:latin typeface="Century Gothic"/>
                <a:cs typeface="Century Gothic"/>
              </a:rPr>
              <a:t>fluids </a:t>
            </a:r>
            <a:r>
              <a:rPr sz="800" dirty="0">
                <a:solidFill>
                  <a:srgbClr val="6C92A8"/>
                </a:solidFill>
                <a:latin typeface="Century Gothic"/>
                <a:cs typeface="Century Gothic"/>
              </a:rPr>
              <a:t>• </a:t>
            </a:r>
            <a:r>
              <a:rPr sz="800" dirty="0">
                <a:solidFill>
                  <a:srgbClr val="231F20"/>
                </a:solidFill>
                <a:latin typeface="Century Gothic"/>
                <a:cs typeface="Century Gothic"/>
              </a:rPr>
              <a:t>electrical </a:t>
            </a:r>
            <a:r>
              <a:rPr sz="800" spc="-5" dirty="0">
                <a:solidFill>
                  <a:srgbClr val="231F20"/>
                </a:solidFill>
                <a:latin typeface="Century Gothic"/>
                <a:cs typeface="Century Gothic"/>
              </a:rPr>
              <a:t>systems</a:t>
            </a:r>
            <a:r>
              <a:rPr sz="800" spc="-10" dirty="0">
                <a:solidFill>
                  <a:srgbClr val="231F20"/>
                </a:solidFill>
                <a:latin typeface="Century Gothic"/>
                <a:cs typeface="Century Gothic"/>
              </a:rPr>
              <a:t> </a:t>
            </a:r>
            <a:r>
              <a:rPr sz="800" dirty="0">
                <a:solidFill>
                  <a:srgbClr val="6C92A8"/>
                </a:solidFill>
                <a:latin typeface="Century Gothic"/>
                <a:cs typeface="Century Gothic"/>
              </a:rPr>
              <a:t>• </a:t>
            </a:r>
            <a:r>
              <a:rPr sz="800" spc="-5" dirty="0">
                <a:solidFill>
                  <a:srgbClr val="231F20"/>
                </a:solidFill>
                <a:latin typeface="Century Gothic"/>
                <a:cs typeface="Century Gothic"/>
              </a:rPr>
              <a:t>I&amp;C </a:t>
            </a:r>
            <a:r>
              <a:rPr sz="800" dirty="0">
                <a:solidFill>
                  <a:srgbClr val="6C92A8"/>
                </a:solidFill>
                <a:latin typeface="Century Gothic"/>
                <a:cs typeface="Century Gothic"/>
              </a:rPr>
              <a:t>• </a:t>
            </a:r>
            <a:r>
              <a:rPr sz="800" spc="-5" dirty="0">
                <a:solidFill>
                  <a:srgbClr val="231F20"/>
                </a:solidFill>
                <a:latin typeface="Century Gothic"/>
                <a:cs typeface="Century Gothic"/>
              </a:rPr>
              <a:t>safety </a:t>
            </a:r>
            <a:r>
              <a:rPr sz="800" dirty="0">
                <a:solidFill>
                  <a:srgbClr val="6C92A8"/>
                </a:solidFill>
                <a:latin typeface="Century Gothic"/>
                <a:cs typeface="Century Gothic"/>
              </a:rPr>
              <a:t>•</a:t>
            </a:r>
            <a:endParaRPr sz="800" dirty="0">
              <a:latin typeface="Century Gothic"/>
              <a:cs typeface="Century Gothic"/>
            </a:endParaRPr>
          </a:p>
          <a:p>
            <a:pPr marL="392430" marR="55880" algn="just">
              <a:lnSpc>
                <a:spcPts val="850"/>
              </a:lnSpc>
              <a:spcBef>
                <a:spcPts val="570"/>
              </a:spcBef>
            </a:pPr>
            <a:r>
              <a:rPr sz="800" dirty="0">
                <a:solidFill>
                  <a:srgbClr val="231F20"/>
                </a:solidFill>
                <a:latin typeface="Century Gothic"/>
                <a:cs typeface="Century Gothic"/>
              </a:rPr>
              <a:t>Project</a:t>
            </a:r>
            <a:r>
              <a:rPr sz="800" spc="-45" dirty="0">
                <a:solidFill>
                  <a:srgbClr val="231F20"/>
                </a:solidFill>
                <a:latin typeface="Century Gothic"/>
                <a:cs typeface="Century Gothic"/>
              </a:rPr>
              <a:t> </a:t>
            </a:r>
            <a:r>
              <a:rPr sz="800" dirty="0">
                <a:solidFill>
                  <a:srgbClr val="231F20"/>
                </a:solidFill>
                <a:latin typeface="Century Gothic"/>
                <a:cs typeface="Century Gothic"/>
              </a:rPr>
              <a:t>management</a:t>
            </a:r>
            <a:r>
              <a:rPr sz="800" spc="-40" dirty="0">
                <a:solidFill>
                  <a:srgbClr val="231F20"/>
                </a:solidFill>
                <a:latin typeface="Century Gothic"/>
                <a:cs typeface="Century Gothic"/>
              </a:rPr>
              <a:t> </a:t>
            </a:r>
            <a:r>
              <a:rPr sz="800" dirty="0">
                <a:solidFill>
                  <a:srgbClr val="6C92A8"/>
                </a:solidFill>
                <a:latin typeface="Century Gothic"/>
                <a:cs typeface="Century Gothic"/>
              </a:rPr>
              <a:t>•</a:t>
            </a:r>
            <a:r>
              <a:rPr sz="800" spc="-40" dirty="0">
                <a:solidFill>
                  <a:srgbClr val="6C92A8"/>
                </a:solidFill>
                <a:latin typeface="Century Gothic"/>
                <a:cs typeface="Century Gothic"/>
              </a:rPr>
              <a:t> </a:t>
            </a:r>
            <a:r>
              <a:rPr sz="800" dirty="0">
                <a:solidFill>
                  <a:srgbClr val="231F20"/>
                </a:solidFill>
                <a:latin typeface="Century Gothic"/>
                <a:cs typeface="Century Gothic"/>
              </a:rPr>
              <a:t>equipment</a:t>
            </a:r>
            <a:r>
              <a:rPr sz="800" spc="-40" dirty="0">
                <a:solidFill>
                  <a:srgbClr val="231F20"/>
                </a:solidFill>
                <a:latin typeface="Century Gothic"/>
                <a:cs typeface="Century Gothic"/>
              </a:rPr>
              <a:t> </a:t>
            </a:r>
            <a:r>
              <a:rPr sz="800" spc="-10" dirty="0">
                <a:solidFill>
                  <a:srgbClr val="231F20"/>
                </a:solidFill>
                <a:latin typeface="Century Gothic"/>
                <a:cs typeface="Century Gothic"/>
              </a:rPr>
              <a:t>qualification</a:t>
            </a:r>
            <a:r>
              <a:rPr sz="800" spc="-40" dirty="0">
                <a:solidFill>
                  <a:srgbClr val="231F20"/>
                </a:solidFill>
                <a:latin typeface="Century Gothic"/>
                <a:cs typeface="Century Gothic"/>
              </a:rPr>
              <a:t> </a:t>
            </a:r>
            <a:r>
              <a:rPr sz="800" dirty="0">
                <a:solidFill>
                  <a:srgbClr val="6C92A8"/>
                </a:solidFill>
                <a:latin typeface="Century Gothic"/>
                <a:cs typeface="Century Gothic"/>
              </a:rPr>
              <a:t>•</a:t>
            </a:r>
            <a:r>
              <a:rPr sz="800" spc="-45" dirty="0">
                <a:solidFill>
                  <a:srgbClr val="6C92A8"/>
                </a:solidFill>
                <a:latin typeface="Century Gothic"/>
                <a:cs typeface="Century Gothic"/>
              </a:rPr>
              <a:t> </a:t>
            </a:r>
            <a:r>
              <a:rPr sz="800" spc="-5" dirty="0">
                <a:solidFill>
                  <a:srgbClr val="231F20"/>
                </a:solidFill>
                <a:latin typeface="Century Gothic"/>
                <a:cs typeface="Century Gothic"/>
              </a:rPr>
              <a:t>Digital</a:t>
            </a:r>
            <a:r>
              <a:rPr sz="800" spc="-40" dirty="0">
                <a:solidFill>
                  <a:srgbClr val="231F20"/>
                </a:solidFill>
                <a:latin typeface="Century Gothic"/>
                <a:cs typeface="Century Gothic"/>
              </a:rPr>
              <a:t> </a:t>
            </a:r>
            <a:r>
              <a:rPr sz="800" spc="-5" dirty="0">
                <a:solidFill>
                  <a:srgbClr val="231F20"/>
                </a:solidFill>
                <a:latin typeface="Century Gothic"/>
                <a:cs typeface="Century Gothic"/>
              </a:rPr>
              <a:t>services: </a:t>
            </a:r>
            <a:r>
              <a:rPr sz="800" spc="-210" dirty="0">
                <a:solidFill>
                  <a:srgbClr val="231F20"/>
                </a:solidFill>
                <a:latin typeface="Century Gothic"/>
                <a:cs typeface="Century Gothic"/>
              </a:rPr>
              <a:t> </a:t>
            </a:r>
            <a:r>
              <a:rPr sz="800" spc="-5" dirty="0">
                <a:solidFill>
                  <a:srgbClr val="231F20"/>
                </a:solidFill>
                <a:latin typeface="Century Gothic"/>
                <a:cs typeface="Century Gothic"/>
              </a:rPr>
              <a:t>BIM,</a:t>
            </a:r>
            <a:r>
              <a:rPr sz="800" spc="-10" dirty="0">
                <a:solidFill>
                  <a:srgbClr val="231F20"/>
                </a:solidFill>
                <a:latin typeface="Century Gothic"/>
                <a:cs typeface="Century Gothic"/>
              </a:rPr>
              <a:t> </a:t>
            </a:r>
            <a:r>
              <a:rPr sz="800" spc="-5" dirty="0">
                <a:solidFill>
                  <a:srgbClr val="231F20"/>
                </a:solidFill>
                <a:latin typeface="Century Gothic"/>
                <a:cs typeface="Century Gothic"/>
              </a:rPr>
              <a:t>Virtual </a:t>
            </a:r>
            <a:r>
              <a:rPr lang="fr-FR" sz="800" spc="-5" dirty="0">
                <a:solidFill>
                  <a:srgbClr val="231F20"/>
                </a:solidFill>
                <a:latin typeface="Century Gothic"/>
                <a:cs typeface="Century Gothic"/>
              </a:rPr>
              <a:t>&amp; </a:t>
            </a:r>
            <a:r>
              <a:rPr lang="fr-FR" sz="800" spc="-5" dirty="0" err="1">
                <a:solidFill>
                  <a:srgbClr val="231F20"/>
                </a:solidFill>
                <a:latin typeface="Century Gothic"/>
                <a:cs typeface="Century Gothic"/>
              </a:rPr>
              <a:t>augmented</a:t>
            </a:r>
            <a:r>
              <a:rPr lang="fr-FR" sz="800" spc="-5" dirty="0">
                <a:solidFill>
                  <a:srgbClr val="231F20"/>
                </a:solidFill>
                <a:latin typeface="Century Gothic"/>
                <a:cs typeface="Century Gothic"/>
              </a:rPr>
              <a:t> </a:t>
            </a:r>
            <a:r>
              <a:rPr sz="800" dirty="0">
                <a:solidFill>
                  <a:srgbClr val="231F20"/>
                </a:solidFill>
                <a:latin typeface="Century Gothic"/>
                <a:cs typeface="Century Gothic"/>
              </a:rPr>
              <a:t>reality </a:t>
            </a:r>
            <a:r>
              <a:rPr sz="800" dirty="0">
                <a:solidFill>
                  <a:srgbClr val="6C92A8"/>
                </a:solidFill>
                <a:latin typeface="Century Gothic"/>
                <a:cs typeface="Century Gothic"/>
              </a:rPr>
              <a:t>•</a:t>
            </a:r>
            <a:endParaRPr sz="800" dirty="0">
              <a:latin typeface="Century Gothic"/>
              <a:cs typeface="Century Gothic"/>
            </a:endParaRPr>
          </a:p>
          <a:p>
            <a:pPr marL="374650" indent="-130810">
              <a:lnSpc>
                <a:spcPct val="100000"/>
              </a:lnSpc>
              <a:spcBef>
                <a:spcPts val="95"/>
              </a:spcBef>
              <a:buSzPct val="150000"/>
              <a:buFont typeface="Century Gothic"/>
              <a:buChar char="•"/>
              <a:tabLst>
                <a:tab pos="375285" algn="l"/>
              </a:tabLst>
            </a:pPr>
            <a:r>
              <a:rPr sz="1000" spc="-5" dirty="0">
                <a:solidFill>
                  <a:srgbClr val="EF3A47"/>
                </a:solidFill>
                <a:latin typeface="Rafale BG"/>
                <a:cs typeface="Rafale BG"/>
              </a:rPr>
              <a:t>Market</a:t>
            </a:r>
            <a:r>
              <a:rPr sz="1000" spc="-35" dirty="0">
                <a:solidFill>
                  <a:srgbClr val="EF3A47"/>
                </a:solidFill>
                <a:latin typeface="Rafale BG"/>
                <a:cs typeface="Rafale BG"/>
              </a:rPr>
              <a:t> </a:t>
            </a:r>
            <a:r>
              <a:rPr sz="1000" dirty="0">
                <a:solidFill>
                  <a:srgbClr val="EF3A47"/>
                </a:solidFill>
                <a:latin typeface="Rafale BG"/>
                <a:cs typeface="Rafale BG"/>
              </a:rPr>
              <a:t>segment</a:t>
            </a:r>
            <a:endParaRPr sz="1000" dirty="0">
              <a:latin typeface="Rafale BG"/>
              <a:cs typeface="Rafale BG"/>
            </a:endParaRPr>
          </a:p>
          <a:p>
            <a:pPr marL="392430" marR="54610" algn="just">
              <a:lnSpc>
                <a:spcPts val="850"/>
              </a:lnSpc>
              <a:spcBef>
                <a:spcPts val="155"/>
              </a:spcBef>
            </a:pPr>
            <a:r>
              <a:rPr sz="800" dirty="0">
                <a:solidFill>
                  <a:srgbClr val="231F20"/>
                </a:solidFill>
                <a:latin typeface="Century Gothic"/>
                <a:cs typeface="Century Gothic"/>
              </a:rPr>
              <a:t>Nuclear</a:t>
            </a:r>
            <a:r>
              <a:rPr sz="800" spc="220" dirty="0">
                <a:solidFill>
                  <a:srgbClr val="231F20"/>
                </a:solidFill>
                <a:latin typeface="Century Gothic"/>
                <a:cs typeface="Century Gothic"/>
              </a:rPr>
              <a:t> </a:t>
            </a:r>
            <a:r>
              <a:rPr lang="fr-FR" sz="800" dirty="0">
                <a:solidFill>
                  <a:srgbClr val="231F20"/>
                </a:solidFill>
                <a:latin typeface="Century Gothic"/>
                <a:cs typeface="Century Gothic"/>
              </a:rPr>
              <a:t>New </a:t>
            </a:r>
            <a:r>
              <a:rPr lang="fr-FR" sz="800" dirty="0" err="1">
                <a:solidFill>
                  <a:srgbClr val="231F20"/>
                </a:solidFill>
                <a:latin typeface="Century Gothic"/>
                <a:cs typeface="Century Gothic"/>
              </a:rPr>
              <a:t>Build</a:t>
            </a:r>
            <a:r>
              <a:rPr sz="800" dirty="0">
                <a:solidFill>
                  <a:srgbClr val="6C92A8"/>
                </a:solidFill>
                <a:latin typeface="Century Gothic"/>
                <a:cs typeface="Century Gothic"/>
              </a:rPr>
              <a:t>•</a:t>
            </a:r>
            <a:r>
              <a:rPr sz="800" spc="220" dirty="0">
                <a:solidFill>
                  <a:srgbClr val="6C92A8"/>
                </a:solidFill>
                <a:latin typeface="Century Gothic"/>
                <a:cs typeface="Century Gothic"/>
              </a:rPr>
              <a:t> </a:t>
            </a:r>
            <a:r>
              <a:rPr sz="800" dirty="0">
                <a:solidFill>
                  <a:srgbClr val="231F20"/>
                </a:solidFill>
                <a:latin typeface="Century Gothic"/>
                <a:cs typeface="Century Gothic"/>
              </a:rPr>
              <a:t>Nuclear</a:t>
            </a:r>
            <a:r>
              <a:rPr sz="800" spc="220" dirty="0">
                <a:solidFill>
                  <a:srgbClr val="231F20"/>
                </a:solidFill>
                <a:latin typeface="Century Gothic"/>
                <a:cs typeface="Century Gothic"/>
              </a:rPr>
              <a:t> </a:t>
            </a:r>
            <a:r>
              <a:rPr sz="800" dirty="0">
                <a:solidFill>
                  <a:srgbClr val="231F20"/>
                </a:solidFill>
                <a:latin typeface="Century Gothic"/>
                <a:cs typeface="Century Gothic"/>
              </a:rPr>
              <a:t>Plant</a:t>
            </a:r>
            <a:r>
              <a:rPr sz="800" spc="225" dirty="0">
                <a:solidFill>
                  <a:srgbClr val="231F20"/>
                </a:solidFill>
                <a:latin typeface="Century Gothic"/>
                <a:cs typeface="Century Gothic"/>
              </a:rPr>
              <a:t> </a:t>
            </a:r>
            <a:r>
              <a:rPr sz="800" dirty="0">
                <a:solidFill>
                  <a:srgbClr val="231F20"/>
                </a:solidFill>
                <a:latin typeface="Century Gothic"/>
                <a:cs typeface="Century Gothic"/>
              </a:rPr>
              <a:t>operation </a:t>
            </a:r>
            <a:r>
              <a:rPr sz="800" spc="5" dirty="0">
                <a:solidFill>
                  <a:srgbClr val="231F20"/>
                </a:solidFill>
                <a:latin typeface="Century Gothic"/>
                <a:cs typeface="Century Gothic"/>
              </a:rPr>
              <a:t> </a:t>
            </a:r>
            <a:r>
              <a:rPr sz="800" dirty="0">
                <a:solidFill>
                  <a:srgbClr val="231F20"/>
                </a:solidFill>
                <a:latin typeface="Century Gothic"/>
                <a:cs typeface="Century Gothic"/>
              </a:rPr>
              <a:t>&amp;</a:t>
            </a:r>
            <a:r>
              <a:rPr sz="800" spc="5" dirty="0">
                <a:solidFill>
                  <a:srgbClr val="231F20"/>
                </a:solidFill>
                <a:latin typeface="Century Gothic"/>
                <a:cs typeface="Century Gothic"/>
              </a:rPr>
              <a:t> </a:t>
            </a:r>
            <a:r>
              <a:rPr sz="800" dirty="0">
                <a:solidFill>
                  <a:srgbClr val="231F20"/>
                </a:solidFill>
                <a:latin typeface="Century Gothic"/>
                <a:cs typeface="Century Gothic"/>
              </a:rPr>
              <a:t>maintenance</a:t>
            </a:r>
            <a:r>
              <a:rPr sz="800" spc="5" dirty="0">
                <a:solidFill>
                  <a:srgbClr val="231F20"/>
                </a:solidFill>
                <a:latin typeface="Century Gothic"/>
                <a:cs typeface="Century Gothic"/>
              </a:rPr>
              <a:t> </a:t>
            </a:r>
            <a:r>
              <a:rPr sz="800" dirty="0">
                <a:solidFill>
                  <a:srgbClr val="6C92A8"/>
                </a:solidFill>
                <a:latin typeface="Century Gothic"/>
                <a:cs typeface="Century Gothic"/>
              </a:rPr>
              <a:t>•</a:t>
            </a:r>
            <a:r>
              <a:rPr sz="800" spc="5" dirty="0">
                <a:solidFill>
                  <a:srgbClr val="6C92A8"/>
                </a:solidFill>
                <a:latin typeface="Century Gothic"/>
                <a:cs typeface="Century Gothic"/>
              </a:rPr>
              <a:t> </a:t>
            </a:r>
            <a:r>
              <a:rPr sz="800" spc="-5" dirty="0">
                <a:solidFill>
                  <a:srgbClr val="231F20"/>
                </a:solidFill>
                <a:latin typeface="Century Gothic"/>
                <a:cs typeface="Century Gothic"/>
              </a:rPr>
              <a:t>Decommissioning</a:t>
            </a:r>
            <a:r>
              <a:rPr sz="800" dirty="0">
                <a:solidFill>
                  <a:srgbClr val="231F20"/>
                </a:solidFill>
                <a:latin typeface="Century Gothic"/>
                <a:cs typeface="Century Gothic"/>
              </a:rPr>
              <a:t> &amp;</a:t>
            </a:r>
            <a:r>
              <a:rPr sz="800" spc="5" dirty="0">
                <a:solidFill>
                  <a:srgbClr val="231F20"/>
                </a:solidFill>
                <a:latin typeface="Century Gothic"/>
                <a:cs typeface="Century Gothic"/>
              </a:rPr>
              <a:t> </a:t>
            </a:r>
            <a:r>
              <a:rPr sz="800" spc="-5" dirty="0">
                <a:solidFill>
                  <a:srgbClr val="231F20"/>
                </a:solidFill>
                <a:latin typeface="Century Gothic"/>
                <a:cs typeface="Century Gothic"/>
              </a:rPr>
              <a:t>dismantling</a:t>
            </a:r>
            <a:r>
              <a:rPr lang="fr-FR" sz="800" spc="-5" dirty="0">
                <a:solidFill>
                  <a:srgbClr val="231F20"/>
                </a:solidFill>
                <a:latin typeface="Century Gothic"/>
                <a:cs typeface="Century Gothic"/>
              </a:rPr>
              <a:t> .</a:t>
            </a:r>
            <a:r>
              <a:rPr sz="800" dirty="0">
                <a:solidFill>
                  <a:srgbClr val="231F20"/>
                </a:solidFill>
                <a:latin typeface="Century Gothic"/>
                <a:cs typeface="Century Gothic"/>
              </a:rPr>
              <a:t> </a:t>
            </a:r>
            <a:r>
              <a:rPr lang="fr-FR" sz="800" dirty="0">
                <a:solidFill>
                  <a:srgbClr val="231F20"/>
                </a:solidFill>
                <a:latin typeface="Century Gothic"/>
                <a:cs typeface="Century Gothic"/>
              </a:rPr>
              <a:t>Radioactive </a:t>
            </a:r>
            <a:r>
              <a:rPr sz="800" spc="-5" dirty="0">
                <a:solidFill>
                  <a:srgbClr val="231F20"/>
                </a:solidFill>
                <a:latin typeface="Century Gothic"/>
                <a:cs typeface="Century Gothic"/>
              </a:rPr>
              <a:t>waste </a:t>
            </a:r>
            <a:r>
              <a:rPr sz="800" dirty="0">
                <a:solidFill>
                  <a:srgbClr val="231F20"/>
                </a:solidFill>
                <a:latin typeface="Century Gothic"/>
                <a:cs typeface="Century Gothic"/>
              </a:rPr>
              <a:t> management</a:t>
            </a:r>
            <a:r>
              <a:rPr sz="800" spc="-10" dirty="0">
                <a:solidFill>
                  <a:srgbClr val="231F20"/>
                </a:solidFill>
                <a:latin typeface="Century Gothic"/>
                <a:cs typeface="Century Gothic"/>
              </a:rPr>
              <a:t> </a:t>
            </a:r>
            <a:r>
              <a:rPr sz="800" i="1" spc="-5" dirty="0">
                <a:solidFill>
                  <a:srgbClr val="231F20"/>
                </a:solidFill>
                <a:latin typeface="Century Gothic"/>
              </a:rPr>
              <a:t>•</a:t>
            </a:r>
            <a:r>
              <a:rPr lang="fr-FR" sz="800" i="1" spc="-5" dirty="0">
                <a:solidFill>
                  <a:srgbClr val="231F20"/>
                </a:solidFill>
                <a:latin typeface="Century Gothic"/>
              </a:rPr>
              <a:t> Advanced </a:t>
            </a:r>
            <a:r>
              <a:rPr lang="fr-FR" sz="800" i="1" spc="-5" dirty="0" err="1">
                <a:solidFill>
                  <a:srgbClr val="231F20"/>
                </a:solidFill>
                <a:latin typeface="Century Gothic"/>
              </a:rPr>
              <a:t>Technology</a:t>
            </a:r>
            <a:r>
              <a:rPr lang="fr-FR" sz="800" i="1" spc="-5" dirty="0">
                <a:solidFill>
                  <a:srgbClr val="231F20"/>
                </a:solidFill>
                <a:latin typeface="Century Gothic"/>
              </a:rPr>
              <a:t> (Fusion </a:t>
            </a:r>
            <a:r>
              <a:rPr lang="fr-FR" sz="800" dirty="0" err="1">
                <a:solidFill>
                  <a:srgbClr val="231F20"/>
                </a:solidFill>
                <a:latin typeface="Century Gothic"/>
              </a:rPr>
              <a:t>projects</a:t>
            </a:r>
            <a:r>
              <a:rPr lang="fr-FR" sz="800" dirty="0">
                <a:solidFill>
                  <a:srgbClr val="231F20"/>
                </a:solidFill>
                <a:latin typeface="Century Gothic"/>
              </a:rPr>
              <a:t>)</a:t>
            </a:r>
            <a:r>
              <a:rPr lang="fr-FR" sz="800" i="1" spc="-5" dirty="0">
                <a:solidFill>
                  <a:srgbClr val="231F20"/>
                </a:solidFill>
                <a:latin typeface="Century Gothic"/>
              </a:rPr>
              <a:t> &amp; </a:t>
            </a:r>
            <a:r>
              <a:rPr lang="fr-FR" sz="800" i="1" spc="-5" dirty="0" err="1">
                <a:solidFill>
                  <a:srgbClr val="231F20"/>
                </a:solidFill>
                <a:latin typeface="Century Gothic"/>
              </a:rPr>
              <a:t>SMRs</a:t>
            </a:r>
            <a:endParaRPr sz="800" dirty="0">
              <a:solidFill>
                <a:srgbClr val="231F20"/>
              </a:solidFill>
              <a:latin typeface="Century Gothic"/>
            </a:endParaRPr>
          </a:p>
          <a:p>
            <a:pPr marL="302260" indent="-252095">
              <a:lnSpc>
                <a:spcPts val="3045"/>
              </a:lnSpc>
              <a:buSzPct val="300000"/>
              <a:buFont typeface="Century Gothic"/>
              <a:buChar char="•"/>
              <a:tabLst>
                <a:tab pos="302895" algn="l"/>
              </a:tabLst>
            </a:pPr>
            <a:r>
              <a:rPr sz="1000" b="1" spc="-5" dirty="0">
                <a:solidFill>
                  <a:srgbClr val="EF3A47"/>
                </a:solidFill>
                <a:latin typeface="Century Gothic"/>
                <a:cs typeface="Century Gothic"/>
              </a:rPr>
              <a:t>REFERENCES</a:t>
            </a:r>
            <a:endParaRPr sz="1000" dirty="0">
              <a:latin typeface="Century Gothic"/>
              <a:cs typeface="Century Gothic"/>
            </a:endParaRPr>
          </a:p>
          <a:p>
            <a:pPr marL="464184" lvl="1" indent="-144145">
              <a:lnSpc>
                <a:spcPct val="100000"/>
              </a:lnSpc>
              <a:spcBef>
                <a:spcPts val="15"/>
              </a:spcBef>
              <a:buClr>
                <a:srgbClr val="001D18"/>
              </a:buClr>
              <a:buSzPct val="125000"/>
              <a:buFont typeface="Century Gothic"/>
              <a:buChar char="•"/>
              <a:tabLst>
                <a:tab pos="464820" algn="l"/>
              </a:tabLst>
            </a:pPr>
            <a:r>
              <a:rPr sz="800" b="1" dirty="0">
                <a:solidFill>
                  <a:srgbClr val="231F20"/>
                </a:solidFill>
                <a:latin typeface="Century Gothic"/>
                <a:cs typeface="Century Gothic"/>
              </a:rPr>
              <a:t>Nuclear</a:t>
            </a:r>
            <a:r>
              <a:rPr sz="800" b="1" spc="-20" dirty="0">
                <a:solidFill>
                  <a:srgbClr val="231F20"/>
                </a:solidFill>
                <a:latin typeface="Century Gothic"/>
                <a:cs typeface="Century Gothic"/>
              </a:rPr>
              <a:t> </a:t>
            </a:r>
            <a:r>
              <a:rPr sz="800" b="1" spc="-5" dirty="0">
                <a:solidFill>
                  <a:srgbClr val="231F20"/>
                </a:solidFill>
                <a:latin typeface="Century Gothic"/>
                <a:cs typeface="Century Gothic"/>
              </a:rPr>
              <a:t>certifications</a:t>
            </a:r>
            <a:r>
              <a:rPr sz="800" b="1" spc="-20" dirty="0">
                <a:solidFill>
                  <a:srgbClr val="231F20"/>
                </a:solidFill>
                <a:latin typeface="Century Gothic"/>
                <a:cs typeface="Century Gothic"/>
              </a:rPr>
              <a:t> </a:t>
            </a:r>
            <a:r>
              <a:rPr sz="800" dirty="0">
                <a:solidFill>
                  <a:srgbClr val="231F20"/>
                </a:solidFill>
                <a:latin typeface="Century Gothic"/>
                <a:cs typeface="Century Gothic"/>
              </a:rPr>
              <a:t>–</a:t>
            </a:r>
            <a:r>
              <a:rPr sz="800" spc="-15" dirty="0">
                <a:solidFill>
                  <a:srgbClr val="231F20"/>
                </a:solidFill>
                <a:latin typeface="Century Gothic"/>
                <a:cs typeface="Century Gothic"/>
              </a:rPr>
              <a:t> </a:t>
            </a:r>
            <a:r>
              <a:rPr lang="fr-FR" sz="800" dirty="0">
                <a:solidFill>
                  <a:srgbClr val="231F20"/>
                </a:solidFill>
                <a:latin typeface="Century Gothic"/>
                <a:cs typeface="Century Gothic"/>
              </a:rPr>
              <a:t>ISO 9001 : 2015, ISO 45001 : 2018, CEFRI E, ISO 14001 : 2015</a:t>
            </a:r>
            <a:endParaRPr sz="800" dirty="0">
              <a:latin typeface="Century Gothic"/>
              <a:cs typeface="Century Gothic"/>
            </a:endParaRPr>
          </a:p>
          <a:p>
            <a:pPr marL="464184" lvl="1" indent="-144145">
              <a:lnSpc>
                <a:spcPct val="100000"/>
              </a:lnSpc>
              <a:spcBef>
                <a:spcPts val="680"/>
              </a:spcBef>
              <a:buClr>
                <a:srgbClr val="001D18"/>
              </a:buClr>
              <a:buSzPct val="125000"/>
              <a:buFont typeface="Century Gothic"/>
              <a:buChar char="•"/>
              <a:tabLst>
                <a:tab pos="464820" algn="l"/>
              </a:tabLst>
            </a:pPr>
            <a:r>
              <a:rPr sz="800" b="1" dirty="0">
                <a:solidFill>
                  <a:srgbClr val="231F20"/>
                </a:solidFill>
                <a:latin typeface="Century Gothic"/>
                <a:cs typeface="Century Gothic"/>
              </a:rPr>
              <a:t>Nuclear</a:t>
            </a:r>
            <a:r>
              <a:rPr sz="800" b="1" spc="-30" dirty="0">
                <a:solidFill>
                  <a:srgbClr val="231F20"/>
                </a:solidFill>
                <a:latin typeface="Century Gothic"/>
                <a:cs typeface="Century Gothic"/>
              </a:rPr>
              <a:t> </a:t>
            </a:r>
            <a:r>
              <a:rPr sz="800" b="1" spc="-5" dirty="0">
                <a:solidFill>
                  <a:srgbClr val="231F20"/>
                </a:solidFill>
                <a:latin typeface="Century Gothic"/>
                <a:cs typeface="Century Gothic"/>
              </a:rPr>
              <a:t>customer</a:t>
            </a:r>
            <a:r>
              <a:rPr sz="800" b="1" spc="-30" dirty="0">
                <a:solidFill>
                  <a:srgbClr val="231F20"/>
                </a:solidFill>
                <a:latin typeface="Century Gothic"/>
                <a:cs typeface="Century Gothic"/>
              </a:rPr>
              <a:t> </a:t>
            </a:r>
            <a:r>
              <a:rPr sz="800" b="1" dirty="0">
                <a:solidFill>
                  <a:srgbClr val="231F20"/>
                </a:solidFill>
                <a:latin typeface="Century Gothic"/>
                <a:cs typeface="Century Gothic"/>
              </a:rPr>
              <a:t>references:</a:t>
            </a:r>
            <a:endParaRPr sz="800" dirty="0">
              <a:latin typeface="Century Gothic"/>
              <a:cs typeface="Century Gothic"/>
            </a:endParaRPr>
          </a:p>
          <a:p>
            <a:pPr marL="464184" marR="55880" algn="just">
              <a:lnSpc>
                <a:spcPts val="850"/>
              </a:lnSpc>
              <a:spcBef>
                <a:spcPts val="295"/>
              </a:spcBef>
            </a:pPr>
            <a:r>
              <a:rPr sz="800" spc="-5" dirty="0">
                <a:solidFill>
                  <a:srgbClr val="231F20"/>
                </a:solidFill>
                <a:latin typeface="Century Gothic"/>
                <a:cs typeface="Century Gothic"/>
              </a:rPr>
              <a:t>EDF, </a:t>
            </a:r>
            <a:r>
              <a:rPr sz="800" dirty="0">
                <a:solidFill>
                  <a:srgbClr val="231F20"/>
                </a:solidFill>
                <a:latin typeface="Century Gothic"/>
                <a:cs typeface="Century Gothic"/>
              </a:rPr>
              <a:t>ANDRA, CEA, </a:t>
            </a:r>
            <a:r>
              <a:rPr sz="800" spc="-5" dirty="0">
                <a:solidFill>
                  <a:srgbClr val="231F20"/>
                </a:solidFill>
                <a:latin typeface="Century Gothic"/>
                <a:cs typeface="Century Gothic"/>
              </a:rPr>
              <a:t>ITER Organization, </a:t>
            </a:r>
            <a:r>
              <a:rPr sz="800" dirty="0">
                <a:solidFill>
                  <a:srgbClr val="231F20"/>
                </a:solidFill>
                <a:latin typeface="Century Gothic"/>
                <a:cs typeface="Century Gothic"/>
              </a:rPr>
              <a:t>CERN, </a:t>
            </a:r>
            <a:r>
              <a:rPr sz="800" spc="-5" dirty="0">
                <a:solidFill>
                  <a:srgbClr val="231F20"/>
                </a:solidFill>
                <a:latin typeface="Century Gothic"/>
                <a:cs typeface="Century Gothic"/>
              </a:rPr>
              <a:t>IRSN, </a:t>
            </a:r>
            <a:r>
              <a:rPr sz="800" dirty="0">
                <a:solidFill>
                  <a:srgbClr val="231F20"/>
                </a:solidFill>
                <a:latin typeface="Century Gothic"/>
                <a:cs typeface="Century Gothic"/>
              </a:rPr>
              <a:t>Naval </a:t>
            </a:r>
            <a:r>
              <a:rPr sz="800" spc="-5" dirty="0">
                <a:solidFill>
                  <a:srgbClr val="231F20"/>
                </a:solidFill>
                <a:latin typeface="Century Gothic"/>
                <a:cs typeface="Century Gothic"/>
              </a:rPr>
              <a:t>Group, </a:t>
            </a:r>
            <a:r>
              <a:rPr sz="800" dirty="0">
                <a:solidFill>
                  <a:srgbClr val="231F20"/>
                </a:solidFill>
                <a:latin typeface="Century Gothic"/>
                <a:cs typeface="Century Gothic"/>
              </a:rPr>
              <a:t> Ministère</a:t>
            </a:r>
            <a:r>
              <a:rPr sz="800" spc="5" dirty="0">
                <a:solidFill>
                  <a:srgbClr val="231F20"/>
                </a:solidFill>
                <a:latin typeface="Century Gothic"/>
                <a:cs typeface="Century Gothic"/>
              </a:rPr>
              <a:t> </a:t>
            </a:r>
            <a:r>
              <a:rPr sz="800" spc="-5" dirty="0">
                <a:solidFill>
                  <a:srgbClr val="231F20"/>
                </a:solidFill>
                <a:latin typeface="Century Gothic"/>
                <a:cs typeface="Century Gothic"/>
              </a:rPr>
              <a:t>des</a:t>
            </a:r>
            <a:r>
              <a:rPr sz="800" dirty="0">
                <a:solidFill>
                  <a:srgbClr val="231F20"/>
                </a:solidFill>
                <a:latin typeface="Century Gothic"/>
                <a:cs typeface="Century Gothic"/>
              </a:rPr>
              <a:t> Armées,</a:t>
            </a:r>
            <a:r>
              <a:rPr sz="800" spc="5" dirty="0">
                <a:solidFill>
                  <a:srgbClr val="231F20"/>
                </a:solidFill>
                <a:latin typeface="Century Gothic"/>
                <a:cs typeface="Century Gothic"/>
              </a:rPr>
              <a:t> </a:t>
            </a:r>
            <a:r>
              <a:rPr sz="800" dirty="0">
                <a:solidFill>
                  <a:srgbClr val="231F20"/>
                </a:solidFill>
                <a:latin typeface="Century Gothic"/>
                <a:cs typeface="Century Gothic"/>
              </a:rPr>
              <a:t>Fusion</a:t>
            </a:r>
            <a:r>
              <a:rPr sz="800" spc="5" dirty="0">
                <a:solidFill>
                  <a:srgbClr val="231F20"/>
                </a:solidFill>
                <a:latin typeface="Century Gothic"/>
                <a:cs typeface="Century Gothic"/>
              </a:rPr>
              <a:t> </a:t>
            </a:r>
            <a:r>
              <a:rPr sz="800" dirty="0">
                <a:solidFill>
                  <a:srgbClr val="231F20"/>
                </a:solidFill>
                <a:latin typeface="Century Gothic"/>
                <a:cs typeface="Century Gothic"/>
              </a:rPr>
              <a:t>4</a:t>
            </a:r>
            <a:r>
              <a:rPr sz="800" spc="5" dirty="0">
                <a:solidFill>
                  <a:srgbClr val="231F20"/>
                </a:solidFill>
                <a:latin typeface="Century Gothic"/>
                <a:cs typeface="Century Gothic"/>
              </a:rPr>
              <a:t> </a:t>
            </a:r>
            <a:r>
              <a:rPr sz="800" spc="-5" dirty="0">
                <a:solidFill>
                  <a:srgbClr val="231F20"/>
                </a:solidFill>
                <a:latin typeface="Century Gothic"/>
                <a:cs typeface="Century Gothic"/>
              </a:rPr>
              <a:t>Energy,</a:t>
            </a:r>
            <a:r>
              <a:rPr sz="800" dirty="0">
                <a:solidFill>
                  <a:srgbClr val="231F20"/>
                </a:solidFill>
                <a:latin typeface="Century Gothic"/>
                <a:cs typeface="Century Gothic"/>
              </a:rPr>
              <a:t> CGN,</a:t>
            </a:r>
            <a:r>
              <a:rPr sz="800" spc="5" dirty="0">
                <a:solidFill>
                  <a:srgbClr val="231F20"/>
                </a:solidFill>
                <a:latin typeface="Century Gothic"/>
                <a:cs typeface="Century Gothic"/>
              </a:rPr>
              <a:t> </a:t>
            </a:r>
            <a:r>
              <a:rPr sz="800" dirty="0">
                <a:solidFill>
                  <a:srgbClr val="231F20"/>
                </a:solidFill>
                <a:latin typeface="Century Gothic"/>
                <a:cs typeface="Century Gothic"/>
              </a:rPr>
              <a:t>CNNC,</a:t>
            </a:r>
            <a:r>
              <a:rPr sz="800" spc="5" dirty="0">
                <a:solidFill>
                  <a:srgbClr val="231F20"/>
                </a:solidFill>
                <a:latin typeface="Century Gothic"/>
                <a:cs typeface="Century Gothic"/>
              </a:rPr>
              <a:t> </a:t>
            </a:r>
            <a:r>
              <a:rPr sz="800" spc="-5" dirty="0">
                <a:solidFill>
                  <a:srgbClr val="231F20"/>
                </a:solidFill>
                <a:latin typeface="Century Gothic"/>
                <a:cs typeface="Century Gothic"/>
              </a:rPr>
              <a:t>SPIC, </a:t>
            </a:r>
            <a:r>
              <a:rPr sz="800" dirty="0">
                <a:solidFill>
                  <a:srgbClr val="231F20"/>
                </a:solidFill>
                <a:latin typeface="Century Gothic"/>
                <a:cs typeface="Century Gothic"/>
              </a:rPr>
              <a:t> </a:t>
            </a:r>
            <a:r>
              <a:rPr sz="800" spc="-5" dirty="0">
                <a:solidFill>
                  <a:srgbClr val="231F20"/>
                </a:solidFill>
                <a:latin typeface="Century Gothic"/>
                <a:cs typeface="Century Gothic"/>
              </a:rPr>
              <a:t>ESKOM,</a:t>
            </a:r>
            <a:r>
              <a:rPr sz="800" spc="-10" dirty="0">
                <a:solidFill>
                  <a:srgbClr val="231F20"/>
                </a:solidFill>
                <a:latin typeface="Century Gothic"/>
                <a:cs typeface="Century Gothic"/>
              </a:rPr>
              <a:t> </a:t>
            </a:r>
            <a:r>
              <a:rPr sz="800" spc="-5" dirty="0">
                <a:solidFill>
                  <a:srgbClr val="231F20"/>
                </a:solidFill>
                <a:latin typeface="Century Gothic"/>
                <a:cs typeface="Century Gothic"/>
              </a:rPr>
              <a:t>Electrabel,</a:t>
            </a:r>
            <a:r>
              <a:rPr sz="800" spc="-10" dirty="0">
                <a:solidFill>
                  <a:srgbClr val="231F20"/>
                </a:solidFill>
                <a:latin typeface="Century Gothic"/>
                <a:cs typeface="Century Gothic"/>
              </a:rPr>
              <a:t> </a:t>
            </a:r>
            <a:r>
              <a:rPr sz="800" spc="-5" dirty="0">
                <a:solidFill>
                  <a:srgbClr val="231F20"/>
                </a:solidFill>
                <a:latin typeface="Century Gothic"/>
                <a:cs typeface="Century Gothic"/>
              </a:rPr>
              <a:t>SCK </a:t>
            </a:r>
            <a:r>
              <a:rPr sz="800" dirty="0">
                <a:solidFill>
                  <a:srgbClr val="231F20"/>
                </a:solidFill>
                <a:latin typeface="Century Gothic"/>
                <a:cs typeface="Century Gothic"/>
              </a:rPr>
              <a:t>CEN,</a:t>
            </a:r>
            <a:r>
              <a:rPr sz="800" spc="-5" dirty="0">
                <a:solidFill>
                  <a:srgbClr val="231F20"/>
                </a:solidFill>
                <a:latin typeface="Century Gothic"/>
                <a:cs typeface="Century Gothic"/>
              </a:rPr>
              <a:t> ONDRAF/NIRAS, </a:t>
            </a:r>
            <a:r>
              <a:rPr sz="800" dirty="0">
                <a:solidFill>
                  <a:srgbClr val="231F20"/>
                </a:solidFill>
                <a:latin typeface="Century Gothic"/>
                <a:cs typeface="Century Gothic"/>
              </a:rPr>
              <a:t>KEPCO</a:t>
            </a:r>
            <a:r>
              <a:rPr lang="fr-FR" sz="800" dirty="0">
                <a:solidFill>
                  <a:srgbClr val="231F20"/>
                </a:solidFill>
                <a:latin typeface="Century Gothic"/>
                <a:cs typeface="Century Gothic"/>
              </a:rPr>
              <a:t>, Pallas</a:t>
            </a:r>
            <a:r>
              <a:rPr sz="800" dirty="0">
                <a:solidFill>
                  <a:srgbClr val="231F20"/>
                </a:solidFill>
                <a:latin typeface="Century Gothic"/>
                <a:cs typeface="Century Gothic"/>
              </a:rPr>
              <a:t>…</a:t>
            </a:r>
            <a:endParaRPr sz="800" dirty="0">
              <a:latin typeface="Century Gothic"/>
              <a:cs typeface="Century Gothic"/>
            </a:endParaRPr>
          </a:p>
          <a:p>
            <a:pPr marL="464184" lvl="1" indent="-144145">
              <a:lnSpc>
                <a:spcPct val="100000"/>
              </a:lnSpc>
              <a:spcBef>
                <a:spcPts val="680"/>
              </a:spcBef>
              <a:buClr>
                <a:srgbClr val="001D18"/>
              </a:buClr>
              <a:buSzPct val="125000"/>
              <a:buFont typeface="Century Gothic"/>
              <a:buChar char="•"/>
              <a:tabLst>
                <a:tab pos="464820" algn="l"/>
              </a:tabLst>
            </a:pPr>
            <a:r>
              <a:rPr sz="800" b="1" dirty="0">
                <a:solidFill>
                  <a:srgbClr val="231F20"/>
                </a:solidFill>
                <a:latin typeface="Century Gothic"/>
                <a:cs typeface="Century Gothic"/>
              </a:rPr>
              <a:t>Nuclear</a:t>
            </a:r>
            <a:r>
              <a:rPr sz="800" b="1" spc="-30" dirty="0">
                <a:solidFill>
                  <a:srgbClr val="231F20"/>
                </a:solidFill>
                <a:latin typeface="Century Gothic"/>
                <a:cs typeface="Century Gothic"/>
              </a:rPr>
              <a:t> </a:t>
            </a:r>
            <a:r>
              <a:rPr sz="800" b="1" spc="-5" dirty="0">
                <a:solidFill>
                  <a:srgbClr val="231F20"/>
                </a:solidFill>
                <a:latin typeface="Century Gothic"/>
                <a:cs typeface="Century Gothic"/>
              </a:rPr>
              <a:t>project</a:t>
            </a:r>
            <a:r>
              <a:rPr sz="800" b="1" spc="-35" dirty="0">
                <a:solidFill>
                  <a:srgbClr val="231F20"/>
                </a:solidFill>
                <a:latin typeface="Century Gothic"/>
                <a:cs typeface="Century Gothic"/>
              </a:rPr>
              <a:t> </a:t>
            </a:r>
            <a:r>
              <a:rPr sz="800" b="1" dirty="0">
                <a:solidFill>
                  <a:srgbClr val="231F20"/>
                </a:solidFill>
                <a:latin typeface="Century Gothic"/>
                <a:cs typeface="Century Gothic"/>
              </a:rPr>
              <a:t>references:</a:t>
            </a:r>
            <a:endParaRPr sz="800" dirty="0">
              <a:latin typeface="Century Gothic"/>
              <a:cs typeface="Century Gothic"/>
            </a:endParaRPr>
          </a:p>
          <a:p>
            <a:pPr marL="464184" marR="55880" algn="just">
              <a:lnSpc>
                <a:spcPts val="850"/>
              </a:lnSpc>
              <a:spcBef>
                <a:spcPts val="295"/>
              </a:spcBef>
            </a:pPr>
            <a:r>
              <a:rPr sz="800" spc="-5" dirty="0">
                <a:solidFill>
                  <a:srgbClr val="231F20"/>
                </a:solidFill>
                <a:latin typeface="Century Gothic"/>
                <a:cs typeface="Century Gothic"/>
              </a:rPr>
              <a:t>EPR</a:t>
            </a:r>
            <a:r>
              <a:rPr sz="800" dirty="0">
                <a:solidFill>
                  <a:srgbClr val="231F20"/>
                </a:solidFill>
                <a:latin typeface="Century Gothic"/>
                <a:cs typeface="Century Gothic"/>
              </a:rPr>
              <a:t> </a:t>
            </a:r>
            <a:r>
              <a:rPr sz="800" spc="-5" dirty="0">
                <a:solidFill>
                  <a:srgbClr val="231F20"/>
                </a:solidFill>
                <a:latin typeface="Century Gothic"/>
                <a:cs typeface="Century Gothic"/>
              </a:rPr>
              <a:t>Hinkley</a:t>
            </a:r>
            <a:r>
              <a:rPr sz="800" dirty="0">
                <a:solidFill>
                  <a:srgbClr val="231F20"/>
                </a:solidFill>
                <a:latin typeface="Century Gothic"/>
                <a:cs typeface="Century Gothic"/>
              </a:rPr>
              <a:t> Point</a:t>
            </a:r>
            <a:r>
              <a:rPr lang="fr-FR" sz="800" dirty="0">
                <a:solidFill>
                  <a:srgbClr val="231F20"/>
                </a:solidFill>
                <a:latin typeface="Century Gothic"/>
                <a:cs typeface="Century Gothic"/>
              </a:rPr>
              <a:t> C</a:t>
            </a:r>
            <a:r>
              <a:rPr sz="800" spc="5" dirty="0">
                <a:solidFill>
                  <a:srgbClr val="231F20"/>
                </a:solidFill>
                <a:latin typeface="Century Gothic"/>
                <a:cs typeface="Century Gothic"/>
              </a:rPr>
              <a:t> </a:t>
            </a:r>
            <a:r>
              <a:rPr lang="fr-FR" sz="800" spc="5" dirty="0">
                <a:solidFill>
                  <a:srgbClr val="231F20"/>
                </a:solidFill>
                <a:latin typeface="Century Gothic"/>
                <a:cs typeface="Century Gothic"/>
              </a:rPr>
              <a:t>and </a:t>
            </a:r>
            <a:r>
              <a:rPr lang="fr-FR" sz="800" spc="5" dirty="0" err="1">
                <a:solidFill>
                  <a:srgbClr val="231F20"/>
                </a:solidFill>
                <a:latin typeface="Century Gothic"/>
                <a:cs typeface="Century Gothic"/>
              </a:rPr>
              <a:t>Sizewell</a:t>
            </a:r>
            <a:r>
              <a:rPr lang="fr-FR" sz="800" spc="5" dirty="0">
                <a:solidFill>
                  <a:srgbClr val="231F20"/>
                </a:solidFill>
                <a:latin typeface="Century Gothic"/>
                <a:cs typeface="Century Gothic"/>
              </a:rPr>
              <a:t> C </a:t>
            </a:r>
            <a:r>
              <a:rPr sz="800" spc="-5" dirty="0">
                <a:solidFill>
                  <a:srgbClr val="231F20"/>
                </a:solidFill>
                <a:latin typeface="Century Gothic"/>
                <a:cs typeface="Century Gothic"/>
              </a:rPr>
              <a:t>(UK),</a:t>
            </a:r>
            <a:r>
              <a:rPr sz="800" dirty="0">
                <a:solidFill>
                  <a:srgbClr val="231F20"/>
                </a:solidFill>
                <a:latin typeface="Century Gothic"/>
                <a:cs typeface="Century Gothic"/>
              </a:rPr>
              <a:t> </a:t>
            </a:r>
            <a:r>
              <a:rPr sz="800" spc="-5" dirty="0">
                <a:solidFill>
                  <a:srgbClr val="231F20"/>
                </a:solidFill>
                <a:latin typeface="Century Gothic"/>
                <a:cs typeface="Century Gothic"/>
              </a:rPr>
              <a:t>EPR</a:t>
            </a:r>
            <a:r>
              <a:rPr sz="800" dirty="0">
                <a:solidFill>
                  <a:srgbClr val="231F20"/>
                </a:solidFill>
                <a:latin typeface="Century Gothic"/>
                <a:cs typeface="Century Gothic"/>
              </a:rPr>
              <a:t> Taishan </a:t>
            </a:r>
            <a:r>
              <a:rPr sz="800" spc="5" dirty="0">
                <a:solidFill>
                  <a:srgbClr val="231F20"/>
                </a:solidFill>
                <a:latin typeface="Century Gothic"/>
                <a:cs typeface="Century Gothic"/>
              </a:rPr>
              <a:t> </a:t>
            </a:r>
            <a:r>
              <a:rPr sz="800" spc="-5" dirty="0">
                <a:solidFill>
                  <a:srgbClr val="231F20"/>
                </a:solidFill>
                <a:latin typeface="Century Gothic"/>
                <a:cs typeface="Century Gothic"/>
              </a:rPr>
              <a:t>(China),</a:t>
            </a:r>
            <a:r>
              <a:rPr sz="800" dirty="0">
                <a:solidFill>
                  <a:srgbClr val="231F20"/>
                </a:solidFill>
                <a:latin typeface="Century Gothic"/>
                <a:cs typeface="Century Gothic"/>
              </a:rPr>
              <a:t> </a:t>
            </a:r>
            <a:r>
              <a:rPr lang="en-US" sz="800" dirty="0">
                <a:solidFill>
                  <a:srgbClr val="231F20"/>
                </a:solidFill>
                <a:latin typeface="Century Gothic"/>
                <a:cs typeface="Century Gothic"/>
              </a:rPr>
              <a:t>Office of Nuclear Regulation - Fuel &amp; Core and Fault studies in UK, </a:t>
            </a:r>
            <a:r>
              <a:rPr sz="800" spc="-5" dirty="0">
                <a:solidFill>
                  <a:srgbClr val="231F20"/>
                </a:solidFill>
                <a:latin typeface="Century Gothic"/>
                <a:cs typeface="Century Gothic"/>
              </a:rPr>
              <a:t>EPR</a:t>
            </a:r>
            <a:r>
              <a:rPr sz="800" dirty="0">
                <a:solidFill>
                  <a:srgbClr val="231F20"/>
                </a:solidFill>
                <a:latin typeface="Century Gothic"/>
                <a:cs typeface="Century Gothic"/>
              </a:rPr>
              <a:t> Flamanville</a:t>
            </a:r>
            <a:r>
              <a:rPr sz="800" spc="5" dirty="0">
                <a:solidFill>
                  <a:srgbClr val="231F20"/>
                </a:solidFill>
                <a:latin typeface="Century Gothic"/>
                <a:cs typeface="Century Gothic"/>
              </a:rPr>
              <a:t> </a:t>
            </a:r>
            <a:r>
              <a:rPr sz="800" spc="-5" dirty="0">
                <a:solidFill>
                  <a:srgbClr val="231F20"/>
                </a:solidFill>
                <a:latin typeface="Century Gothic"/>
                <a:cs typeface="Century Gothic"/>
              </a:rPr>
              <a:t>(France),</a:t>
            </a:r>
            <a:r>
              <a:rPr sz="800" dirty="0">
                <a:solidFill>
                  <a:srgbClr val="231F20"/>
                </a:solidFill>
                <a:latin typeface="Century Gothic"/>
                <a:cs typeface="Century Gothic"/>
              </a:rPr>
              <a:t> </a:t>
            </a:r>
            <a:r>
              <a:rPr lang="fr-FR" sz="800" dirty="0">
                <a:solidFill>
                  <a:srgbClr val="231F20"/>
                </a:solidFill>
                <a:latin typeface="Century Gothic"/>
                <a:cs typeface="Century Gothic"/>
              </a:rPr>
              <a:t>ANDRA</a:t>
            </a:r>
            <a:r>
              <a:rPr lang="fr-FR" sz="800" spc="5" dirty="0">
                <a:solidFill>
                  <a:srgbClr val="231F20"/>
                </a:solidFill>
                <a:latin typeface="Century Gothic"/>
                <a:cs typeface="Century Gothic"/>
              </a:rPr>
              <a:t> </a:t>
            </a:r>
            <a:r>
              <a:rPr lang="fr-FR" sz="800" dirty="0" err="1">
                <a:solidFill>
                  <a:srgbClr val="231F20"/>
                </a:solidFill>
                <a:latin typeface="Century Gothic"/>
                <a:cs typeface="Century Gothic"/>
              </a:rPr>
              <a:t>Cigéo</a:t>
            </a:r>
            <a:r>
              <a:rPr lang="fr-FR" sz="800" spc="5" dirty="0">
                <a:solidFill>
                  <a:srgbClr val="231F20"/>
                </a:solidFill>
                <a:latin typeface="Century Gothic"/>
                <a:cs typeface="Century Gothic"/>
              </a:rPr>
              <a:t> </a:t>
            </a:r>
            <a:r>
              <a:rPr lang="fr-FR" sz="800" spc="-5" dirty="0">
                <a:solidFill>
                  <a:srgbClr val="231F20"/>
                </a:solidFill>
                <a:latin typeface="Century Gothic"/>
                <a:cs typeface="Century Gothic"/>
              </a:rPr>
              <a:t>(France), </a:t>
            </a:r>
            <a:r>
              <a:rPr sz="800" dirty="0" err="1">
                <a:solidFill>
                  <a:srgbClr val="231F20"/>
                </a:solidFill>
                <a:latin typeface="Century Gothic"/>
                <a:cs typeface="Century Gothic"/>
              </a:rPr>
              <a:t>Krsko</a:t>
            </a:r>
            <a:r>
              <a:rPr sz="800" spc="5" dirty="0">
                <a:solidFill>
                  <a:srgbClr val="231F20"/>
                </a:solidFill>
                <a:latin typeface="Century Gothic"/>
                <a:cs typeface="Century Gothic"/>
              </a:rPr>
              <a:t> </a:t>
            </a:r>
            <a:r>
              <a:rPr sz="800" dirty="0">
                <a:solidFill>
                  <a:srgbClr val="231F20"/>
                </a:solidFill>
                <a:latin typeface="Century Gothic"/>
                <a:cs typeface="Century Gothic"/>
              </a:rPr>
              <a:t>NPP</a:t>
            </a:r>
            <a:r>
              <a:rPr sz="800" spc="5" dirty="0">
                <a:solidFill>
                  <a:srgbClr val="231F20"/>
                </a:solidFill>
                <a:latin typeface="Century Gothic"/>
                <a:cs typeface="Century Gothic"/>
              </a:rPr>
              <a:t> </a:t>
            </a:r>
            <a:r>
              <a:rPr sz="800" spc="-5" dirty="0">
                <a:solidFill>
                  <a:srgbClr val="231F20"/>
                </a:solidFill>
                <a:latin typeface="Century Gothic"/>
                <a:cs typeface="Century Gothic"/>
              </a:rPr>
              <a:t>(Slovenia),</a:t>
            </a:r>
            <a:r>
              <a:rPr sz="800" spc="210" dirty="0">
                <a:solidFill>
                  <a:srgbClr val="231F20"/>
                </a:solidFill>
                <a:latin typeface="Century Gothic"/>
                <a:cs typeface="Century Gothic"/>
              </a:rPr>
              <a:t> </a:t>
            </a:r>
            <a:r>
              <a:rPr sz="800" spc="-5" dirty="0">
                <a:solidFill>
                  <a:srgbClr val="231F20"/>
                </a:solidFill>
                <a:latin typeface="Century Gothic"/>
                <a:cs typeface="Century Gothic"/>
              </a:rPr>
              <a:t>ITER </a:t>
            </a:r>
            <a:r>
              <a:rPr sz="800" dirty="0">
                <a:solidFill>
                  <a:srgbClr val="231F20"/>
                </a:solidFill>
                <a:latin typeface="Century Gothic"/>
                <a:cs typeface="Century Gothic"/>
              </a:rPr>
              <a:t> TAPB</a:t>
            </a:r>
            <a:r>
              <a:rPr sz="800" spc="-5" dirty="0">
                <a:solidFill>
                  <a:srgbClr val="231F20"/>
                </a:solidFill>
                <a:latin typeface="Century Gothic"/>
                <a:cs typeface="Century Gothic"/>
              </a:rPr>
              <a:t> (France),</a:t>
            </a:r>
            <a:r>
              <a:rPr sz="800" spc="-10" dirty="0">
                <a:solidFill>
                  <a:srgbClr val="231F20"/>
                </a:solidFill>
                <a:latin typeface="Century Gothic"/>
                <a:cs typeface="Century Gothic"/>
              </a:rPr>
              <a:t> </a:t>
            </a:r>
            <a:r>
              <a:rPr sz="800" spc="-5" dirty="0">
                <a:solidFill>
                  <a:srgbClr val="231F20"/>
                </a:solidFill>
                <a:latin typeface="Century Gothic"/>
                <a:cs typeface="Century Gothic"/>
              </a:rPr>
              <a:t>ITER</a:t>
            </a:r>
            <a:r>
              <a:rPr sz="800" dirty="0">
                <a:solidFill>
                  <a:srgbClr val="231F20"/>
                </a:solidFill>
                <a:latin typeface="Century Gothic"/>
                <a:cs typeface="Century Gothic"/>
              </a:rPr>
              <a:t> </a:t>
            </a:r>
            <a:r>
              <a:rPr sz="800" spc="-5" dirty="0">
                <a:solidFill>
                  <a:srgbClr val="231F20"/>
                </a:solidFill>
                <a:latin typeface="Century Gothic"/>
                <a:cs typeface="Century Gothic"/>
              </a:rPr>
              <a:t>HCC</a:t>
            </a:r>
            <a:r>
              <a:rPr sz="800" spc="-10" dirty="0">
                <a:solidFill>
                  <a:srgbClr val="231F20"/>
                </a:solidFill>
                <a:latin typeface="Century Gothic"/>
                <a:cs typeface="Century Gothic"/>
              </a:rPr>
              <a:t> </a:t>
            </a:r>
            <a:r>
              <a:rPr sz="800" spc="-5" dirty="0">
                <a:solidFill>
                  <a:srgbClr val="231F20"/>
                </a:solidFill>
                <a:latin typeface="Century Gothic"/>
                <a:cs typeface="Century Gothic"/>
              </a:rPr>
              <a:t>(France), </a:t>
            </a:r>
            <a:r>
              <a:rPr lang="en-US" sz="800" spc="-5" dirty="0">
                <a:solidFill>
                  <a:srgbClr val="231F20"/>
                </a:solidFill>
                <a:latin typeface="Century Gothic"/>
                <a:cs typeface="Century Gothic"/>
              </a:rPr>
              <a:t>“Support to ITER Buildings Team (ITER CMO-BCW) since 2014”.</a:t>
            </a:r>
            <a:endParaRPr sz="800" dirty="0">
              <a:latin typeface="Century Gothic"/>
              <a:cs typeface="Century Gothic"/>
            </a:endParaRPr>
          </a:p>
        </p:txBody>
      </p:sp>
      <p:sp>
        <p:nvSpPr>
          <p:cNvPr id="39" name="object 39"/>
          <p:cNvSpPr txBox="1"/>
          <p:nvPr/>
        </p:nvSpPr>
        <p:spPr>
          <a:xfrm>
            <a:off x="2309300" y="355104"/>
            <a:ext cx="985519" cy="669414"/>
          </a:xfrm>
          <a:prstGeom prst="rect">
            <a:avLst/>
          </a:prstGeom>
        </p:spPr>
        <p:txBody>
          <a:bodyPr vert="horz" wrap="square" lIns="0" tIns="17780" rIns="0" bIns="0" rtlCol="0">
            <a:spAutoFit/>
          </a:bodyPr>
          <a:lstStyle/>
          <a:p>
            <a:pPr marL="12700">
              <a:lnSpc>
                <a:spcPct val="100000"/>
              </a:lnSpc>
              <a:spcBef>
                <a:spcPts val="140"/>
              </a:spcBef>
            </a:pPr>
            <a:r>
              <a:rPr sz="700" dirty="0">
                <a:solidFill>
                  <a:srgbClr val="FFFFFF"/>
                </a:solidFill>
                <a:latin typeface="Century Gothic"/>
                <a:cs typeface="Century Gothic"/>
              </a:rPr>
              <a:t>Annual</a:t>
            </a:r>
            <a:r>
              <a:rPr sz="700" spc="-50" dirty="0">
                <a:solidFill>
                  <a:srgbClr val="FFFFFF"/>
                </a:solidFill>
                <a:latin typeface="Century Gothic"/>
                <a:cs typeface="Century Gothic"/>
              </a:rPr>
              <a:t> </a:t>
            </a:r>
            <a:r>
              <a:rPr sz="700" dirty="0">
                <a:solidFill>
                  <a:srgbClr val="FFFFFF"/>
                </a:solidFill>
                <a:latin typeface="Century Gothic"/>
                <a:cs typeface="Century Gothic"/>
              </a:rPr>
              <a:t>turnover</a:t>
            </a:r>
            <a:endParaRPr sz="700" dirty="0">
              <a:latin typeface="Century Gothic"/>
              <a:cs typeface="Century Gothic"/>
            </a:endParaRPr>
          </a:p>
          <a:p>
            <a:pPr marL="12700">
              <a:lnSpc>
                <a:spcPct val="100000"/>
              </a:lnSpc>
              <a:spcBef>
                <a:spcPts val="60"/>
              </a:spcBef>
            </a:pPr>
            <a:r>
              <a:rPr sz="1000" b="1" spc="-5" dirty="0">
                <a:solidFill>
                  <a:srgbClr val="FFFFFF"/>
                </a:solidFill>
                <a:latin typeface="Century Gothic"/>
                <a:cs typeface="Century Gothic"/>
              </a:rPr>
              <a:t>5</a:t>
            </a:r>
            <a:r>
              <a:rPr lang="fr-FR" sz="1000" b="1" spc="-5" dirty="0">
                <a:solidFill>
                  <a:srgbClr val="FFFFFF"/>
                </a:solidFill>
                <a:latin typeface="Century Gothic"/>
                <a:cs typeface="Century Gothic"/>
              </a:rPr>
              <a:t>79</a:t>
            </a:r>
            <a:r>
              <a:rPr sz="1000" b="1" spc="-45" dirty="0">
                <a:solidFill>
                  <a:srgbClr val="FFFFFF"/>
                </a:solidFill>
                <a:latin typeface="Century Gothic"/>
                <a:cs typeface="Century Gothic"/>
              </a:rPr>
              <a:t> </a:t>
            </a:r>
            <a:r>
              <a:rPr sz="1000" b="1" dirty="0">
                <a:solidFill>
                  <a:srgbClr val="FFFFFF"/>
                </a:solidFill>
                <a:latin typeface="Century Gothic"/>
                <a:cs typeface="Century Gothic"/>
              </a:rPr>
              <a:t>M€</a:t>
            </a:r>
            <a:endParaRPr sz="1000" dirty="0">
              <a:latin typeface="Century Gothic"/>
              <a:cs typeface="Century Gothic"/>
            </a:endParaRPr>
          </a:p>
          <a:p>
            <a:pPr marL="12700">
              <a:lnSpc>
                <a:spcPct val="100000"/>
              </a:lnSpc>
              <a:spcBef>
                <a:spcPts val="755"/>
              </a:spcBef>
            </a:pPr>
            <a:r>
              <a:rPr sz="700" dirty="0">
                <a:solidFill>
                  <a:srgbClr val="FFFFFF"/>
                </a:solidFill>
                <a:latin typeface="Century Gothic"/>
                <a:cs typeface="Century Gothic"/>
              </a:rPr>
              <a:t>Number</a:t>
            </a:r>
            <a:r>
              <a:rPr sz="700" spc="-40" dirty="0">
                <a:solidFill>
                  <a:srgbClr val="FFFFFF"/>
                </a:solidFill>
                <a:latin typeface="Century Gothic"/>
                <a:cs typeface="Century Gothic"/>
              </a:rPr>
              <a:t> </a:t>
            </a:r>
            <a:r>
              <a:rPr sz="700" dirty="0">
                <a:solidFill>
                  <a:srgbClr val="FFFFFF"/>
                </a:solidFill>
                <a:latin typeface="Century Gothic"/>
                <a:cs typeface="Century Gothic"/>
              </a:rPr>
              <a:t>of</a:t>
            </a:r>
            <a:r>
              <a:rPr sz="700" spc="-40" dirty="0">
                <a:solidFill>
                  <a:srgbClr val="FFFFFF"/>
                </a:solidFill>
                <a:latin typeface="Century Gothic"/>
                <a:cs typeface="Century Gothic"/>
              </a:rPr>
              <a:t> </a:t>
            </a:r>
            <a:r>
              <a:rPr sz="700" dirty="0">
                <a:solidFill>
                  <a:srgbClr val="FFFFFF"/>
                </a:solidFill>
                <a:latin typeface="Century Gothic"/>
                <a:cs typeface="Century Gothic"/>
              </a:rPr>
              <a:t>employees</a:t>
            </a:r>
            <a:endParaRPr sz="700" dirty="0">
              <a:latin typeface="Century Gothic"/>
              <a:cs typeface="Century Gothic"/>
            </a:endParaRPr>
          </a:p>
          <a:p>
            <a:pPr marL="12700">
              <a:lnSpc>
                <a:spcPct val="100000"/>
              </a:lnSpc>
              <a:spcBef>
                <a:spcPts val="60"/>
              </a:spcBef>
            </a:pPr>
            <a:r>
              <a:rPr lang="fr-FR" sz="1000" b="1" spc="-5" dirty="0">
                <a:solidFill>
                  <a:srgbClr val="FFFFFF"/>
                </a:solidFill>
                <a:latin typeface="Century Gothic"/>
                <a:cs typeface="Century Gothic"/>
              </a:rPr>
              <a:t>4 8</a:t>
            </a:r>
            <a:r>
              <a:rPr sz="1000" b="1" spc="-5" dirty="0">
                <a:solidFill>
                  <a:srgbClr val="FFFFFF"/>
                </a:solidFill>
                <a:latin typeface="Century Gothic"/>
                <a:cs typeface="Century Gothic"/>
              </a:rPr>
              <a:t>00</a:t>
            </a:r>
            <a:endParaRPr sz="1000" dirty="0">
              <a:latin typeface="Century Gothic"/>
              <a:cs typeface="Century Gothic"/>
            </a:endParaRPr>
          </a:p>
        </p:txBody>
      </p:sp>
      <p:sp>
        <p:nvSpPr>
          <p:cNvPr id="40" name="object 40"/>
          <p:cNvSpPr txBox="1"/>
          <p:nvPr/>
        </p:nvSpPr>
        <p:spPr>
          <a:xfrm>
            <a:off x="2309300" y="1160400"/>
            <a:ext cx="985518" cy="135935"/>
          </a:xfrm>
          <a:prstGeom prst="rect">
            <a:avLst/>
          </a:prstGeom>
        </p:spPr>
        <p:txBody>
          <a:bodyPr vert="horz" wrap="square" lIns="0" tIns="12700" rIns="0" bIns="0" rtlCol="0">
            <a:spAutoFit/>
          </a:bodyPr>
          <a:lstStyle/>
          <a:p>
            <a:pPr marL="12700">
              <a:lnSpc>
                <a:spcPct val="100000"/>
              </a:lnSpc>
              <a:spcBef>
                <a:spcPts val="100"/>
              </a:spcBef>
            </a:pPr>
            <a:r>
              <a:rPr lang="fr-FR" sz="800" b="1" dirty="0">
                <a:solidFill>
                  <a:srgbClr val="FFFFFF"/>
                </a:solidFill>
                <a:latin typeface="Century Gothic"/>
                <a:cs typeface="Century Gothic"/>
              </a:rPr>
              <a:t>Large </a:t>
            </a:r>
            <a:r>
              <a:rPr lang="fr-FR" sz="800" b="1" dirty="0" err="1">
                <a:solidFill>
                  <a:srgbClr val="FFFFFF"/>
                </a:solidFill>
                <a:latin typeface="Century Gothic"/>
                <a:cs typeface="Century Gothic"/>
              </a:rPr>
              <a:t>Company</a:t>
            </a:r>
            <a:endParaRPr sz="800" dirty="0">
              <a:latin typeface="Century Gothic"/>
              <a:cs typeface="Century Gothic"/>
            </a:endParaRPr>
          </a:p>
        </p:txBody>
      </p:sp>
      <p:sp>
        <p:nvSpPr>
          <p:cNvPr id="41" name="object 41"/>
          <p:cNvSpPr txBox="1"/>
          <p:nvPr/>
        </p:nvSpPr>
        <p:spPr>
          <a:xfrm>
            <a:off x="4167767" y="391593"/>
            <a:ext cx="1496695" cy="346249"/>
          </a:xfrm>
          <a:prstGeom prst="rect">
            <a:avLst/>
          </a:prstGeom>
        </p:spPr>
        <p:txBody>
          <a:bodyPr vert="horz" wrap="square" lIns="0" tIns="12700" rIns="0" bIns="0" rtlCol="0">
            <a:spAutoFit/>
          </a:bodyPr>
          <a:lstStyle/>
          <a:p>
            <a:pPr marL="12700">
              <a:lnSpc>
                <a:spcPts val="950"/>
              </a:lnSpc>
              <a:spcBef>
                <a:spcPts val="100"/>
              </a:spcBef>
            </a:pPr>
            <a:r>
              <a:rPr lang="fr-FR" sz="800" b="1" dirty="0">
                <a:solidFill>
                  <a:srgbClr val="FFFFFF"/>
                </a:solidFill>
                <a:latin typeface="Century Gothic"/>
                <a:cs typeface="Century Gothic"/>
              </a:rPr>
              <a:t>Ronan MOULLEC</a:t>
            </a:r>
            <a:endParaRPr sz="800" dirty="0">
              <a:latin typeface="Century Gothic"/>
              <a:cs typeface="Century Gothic"/>
            </a:endParaRPr>
          </a:p>
          <a:p>
            <a:pPr marL="12700">
              <a:lnSpc>
                <a:spcPts val="830"/>
              </a:lnSpc>
            </a:pPr>
            <a:r>
              <a:rPr lang="fr-FR" sz="700" b="1" spc="-5" dirty="0">
                <a:solidFill>
                  <a:srgbClr val="FFFFFF"/>
                </a:solidFill>
                <a:latin typeface="Century Gothic"/>
                <a:cs typeface="Century Gothic"/>
              </a:rPr>
              <a:t>Andrea CARLETTO</a:t>
            </a:r>
          </a:p>
          <a:p>
            <a:pPr marL="12700">
              <a:lnSpc>
                <a:spcPts val="830"/>
              </a:lnSpc>
            </a:pPr>
            <a:r>
              <a:rPr lang="fr-FR" sz="700" b="1" spc="-5" dirty="0">
                <a:solidFill>
                  <a:srgbClr val="FFFFFF"/>
                </a:solidFill>
                <a:latin typeface="Century Gothic"/>
                <a:cs typeface="Century Gothic"/>
              </a:rPr>
              <a:t>Sébastian COEURVOLAN</a:t>
            </a:r>
            <a:endParaRPr sz="700" b="1" dirty="0">
              <a:latin typeface="Century Gothic"/>
              <a:cs typeface="Century Gothic"/>
            </a:endParaRPr>
          </a:p>
        </p:txBody>
      </p:sp>
      <p:sp>
        <p:nvSpPr>
          <p:cNvPr id="42" name="object 42"/>
          <p:cNvSpPr txBox="1"/>
          <p:nvPr/>
        </p:nvSpPr>
        <p:spPr>
          <a:xfrm>
            <a:off x="174192" y="1927781"/>
            <a:ext cx="5443855" cy="521970"/>
          </a:xfrm>
          <a:prstGeom prst="rect">
            <a:avLst/>
          </a:prstGeom>
        </p:spPr>
        <p:txBody>
          <a:bodyPr vert="horz" wrap="square" lIns="0" tIns="12700" rIns="0" bIns="0" rtlCol="0">
            <a:spAutoFit/>
          </a:bodyPr>
          <a:lstStyle/>
          <a:p>
            <a:pPr marL="38100">
              <a:lnSpc>
                <a:spcPts val="755"/>
              </a:lnSpc>
              <a:spcBef>
                <a:spcPts val="100"/>
              </a:spcBef>
            </a:pPr>
            <a:r>
              <a:rPr sz="1000" b="1" spc="-50" dirty="0">
                <a:solidFill>
                  <a:srgbClr val="FFFFFF"/>
                </a:solidFill>
                <a:latin typeface="Century Gothic"/>
                <a:cs typeface="Century Gothic"/>
              </a:rPr>
              <a:t>ENGINEERING</a:t>
            </a:r>
            <a:r>
              <a:rPr sz="1000" b="1" spc="-100" dirty="0">
                <a:solidFill>
                  <a:srgbClr val="FFFFFF"/>
                </a:solidFill>
                <a:latin typeface="Century Gothic"/>
                <a:cs typeface="Century Gothic"/>
              </a:rPr>
              <a:t> </a:t>
            </a:r>
            <a:r>
              <a:rPr sz="1000" b="1" spc="-45" dirty="0">
                <a:solidFill>
                  <a:srgbClr val="FFFFFF"/>
                </a:solidFill>
                <a:latin typeface="Century Gothic"/>
                <a:cs typeface="Century Gothic"/>
              </a:rPr>
              <a:t>SERVICES:</a:t>
            </a:r>
            <a:r>
              <a:rPr sz="1000" b="1" spc="-100" dirty="0">
                <a:solidFill>
                  <a:srgbClr val="FFFFFF"/>
                </a:solidFill>
                <a:latin typeface="Century Gothic"/>
                <a:cs typeface="Century Gothic"/>
              </a:rPr>
              <a:t> </a:t>
            </a:r>
            <a:r>
              <a:rPr sz="1000" b="1" spc="-40" dirty="0">
                <a:solidFill>
                  <a:srgbClr val="FFFFFF"/>
                </a:solidFill>
                <a:latin typeface="Century Gothic"/>
                <a:cs typeface="Century Gothic"/>
              </a:rPr>
              <a:t>CIVIL</a:t>
            </a:r>
            <a:r>
              <a:rPr sz="1000" b="1" spc="-100" dirty="0">
                <a:solidFill>
                  <a:srgbClr val="FFFFFF"/>
                </a:solidFill>
                <a:latin typeface="Century Gothic"/>
                <a:cs typeface="Century Gothic"/>
              </a:rPr>
              <a:t> </a:t>
            </a:r>
            <a:r>
              <a:rPr sz="1000" b="1" spc="-40" dirty="0">
                <a:solidFill>
                  <a:srgbClr val="FFFFFF"/>
                </a:solidFill>
                <a:latin typeface="Century Gothic"/>
                <a:cs typeface="Century Gothic"/>
              </a:rPr>
              <a:t>WORK</a:t>
            </a:r>
            <a:r>
              <a:rPr sz="1000" b="1" spc="-100" dirty="0">
                <a:solidFill>
                  <a:srgbClr val="FFFFFF"/>
                </a:solidFill>
                <a:latin typeface="Century Gothic"/>
                <a:cs typeface="Century Gothic"/>
              </a:rPr>
              <a:t> </a:t>
            </a:r>
            <a:r>
              <a:rPr sz="1000" b="1" dirty="0">
                <a:solidFill>
                  <a:srgbClr val="FFFFFF"/>
                </a:solidFill>
                <a:latin typeface="Century Gothic"/>
                <a:cs typeface="Century Gothic"/>
              </a:rPr>
              <a:t>-</a:t>
            </a:r>
            <a:r>
              <a:rPr sz="1000" b="1" spc="-100" dirty="0">
                <a:solidFill>
                  <a:srgbClr val="FFFFFF"/>
                </a:solidFill>
                <a:latin typeface="Century Gothic"/>
                <a:cs typeface="Century Gothic"/>
              </a:rPr>
              <a:t> </a:t>
            </a:r>
            <a:r>
              <a:rPr sz="1000" b="1" spc="-50" dirty="0">
                <a:solidFill>
                  <a:srgbClr val="FFFFFF"/>
                </a:solidFill>
                <a:latin typeface="Century Gothic"/>
                <a:cs typeface="Century Gothic"/>
              </a:rPr>
              <a:t>HVAC/FLUID</a:t>
            </a:r>
            <a:r>
              <a:rPr sz="1000" b="1" spc="-105" dirty="0">
                <a:solidFill>
                  <a:srgbClr val="FFFFFF"/>
                </a:solidFill>
                <a:latin typeface="Century Gothic"/>
                <a:cs typeface="Century Gothic"/>
              </a:rPr>
              <a:t> </a:t>
            </a:r>
            <a:r>
              <a:rPr sz="1000" b="1" dirty="0">
                <a:solidFill>
                  <a:srgbClr val="FFFFFF"/>
                </a:solidFill>
                <a:latin typeface="Century Gothic"/>
                <a:cs typeface="Century Gothic"/>
              </a:rPr>
              <a:t>-</a:t>
            </a:r>
            <a:r>
              <a:rPr sz="1000" b="1" spc="-100" dirty="0">
                <a:solidFill>
                  <a:srgbClr val="FFFFFF"/>
                </a:solidFill>
                <a:latin typeface="Century Gothic"/>
                <a:cs typeface="Century Gothic"/>
              </a:rPr>
              <a:t> </a:t>
            </a:r>
            <a:r>
              <a:rPr sz="1000" b="1" spc="-45" dirty="0">
                <a:solidFill>
                  <a:srgbClr val="FFFFFF"/>
                </a:solidFill>
                <a:latin typeface="Century Gothic"/>
                <a:cs typeface="Century Gothic"/>
              </a:rPr>
              <a:t>ELECTRICAL</a:t>
            </a:r>
            <a:r>
              <a:rPr sz="1000" b="1" spc="-95" dirty="0">
                <a:solidFill>
                  <a:srgbClr val="FFFFFF"/>
                </a:solidFill>
                <a:latin typeface="Century Gothic"/>
                <a:cs typeface="Century Gothic"/>
              </a:rPr>
              <a:t> </a:t>
            </a:r>
            <a:r>
              <a:rPr sz="1000" b="1" spc="-45" dirty="0">
                <a:solidFill>
                  <a:srgbClr val="FFFFFF"/>
                </a:solidFill>
                <a:latin typeface="Century Gothic"/>
                <a:cs typeface="Century Gothic"/>
              </a:rPr>
              <a:t>SYSTEM</a:t>
            </a:r>
            <a:r>
              <a:rPr sz="1000" b="1" spc="-100" dirty="0">
                <a:solidFill>
                  <a:srgbClr val="FFFFFF"/>
                </a:solidFill>
                <a:latin typeface="Century Gothic"/>
                <a:cs typeface="Century Gothic"/>
              </a:rPr>
              <a:t> </a:t>
            </a:r>
            <a:r>
              <a:rPr sz="1000" b="1" dirty="0">
                <a:solidFill>
                  <a:srgbClr val="FFFFFF"/>
                </a:solidFill>
                <a:latin typeface="Century Gothic"/>
                <a:cs typeface="Century Gothic"/>
              </a:rPr>
              <a:t>-</a:t>
            </a:r>
            <a:r>
              <a:rPr sz="1000" b="1" spc="-100" dirty="0">
                <a:solidFill>
                  <a:srgbClr val="FFFFFF"/>
                </a:solidFill>
                <a:latin typeface="Century Gothic"/>
                <a:cs typeface="Century Gothic"/>
              </a:rPr>
              <a:t> </a:t>
            </a:r>
            <a:r>
              <a:rPr sz="1000" b="1" spc="-35" dirty="0">
                <a:solidFill>
                  <a:srgbClr val="FFFFFF"/>
                </a:solidFill>
                <a:latin typeface="Century Gothic"/>
                <a:cs typeface="Century Gothic"/>
              </a:rPr>
              <a:t>I&amp;C</a:t>
            </a:r>
            <a:r>
              <a:rPr sz="1000" b="1" spc="-100" dirty="0">
                <a:solidFill>
                  <a:srgbClr val="FFFFFF"/>
                </a:solidFill>
                <a:latin typeface="Century Gothic"/>
                <a:cs typeface="Century Gothic"/>
              </a:rPr>
              <a:t> </a:t>
            </a:r>
            <a:r>
              <a:rPr sz="1000" b="1" dirty="0">
                <a:solidFill>
                  <a:srgbClr val="FFFFFF"/>
                </a:solidFill>
                <a:latin typeface="Century Gothic"/>
                <a:cs typeface="Century Gothic"/>
              </a:rPr>
              <a:t>-</a:t>
            </a:r>
            <a:r>
              <a:rPr sz="1000" b="1" spc="-100" dirty="0">
                <a:solidFill>
                  <a:srgbClr val="FFFFFF"/>
                </a:solidFill>
                <a:latin typeface="Century Gothic"/>
                <a:cs typeface="Century Gothic"/>
              </a:rPr>
              <a:t> </a:t>
            </a:r>
            <a:r>
              <a:rPr sz="1000" b="1" spc="-50" dirty="0">
                <a:solidFill>
                  <a:srgbClr val="FFFFFF"/>
                </a:solidFill>
                <a:latin typeface="Century Gothic"/>
                <a:cs typeface="Century Gothic"/>
              </a:rPr>
              <a:t>PROCESS-</a:t>
            </a:r>
            <a:r>
              <a:rPr sz="1000" b="1" spc="-100" dirty="0">
                <a:solidFill>
                  <a:srgbClr val="FFFFFF"/>
                </a:solidFill>
                <a:latin typeface="Century Gothic"/>
                <a:cs typeface="Century Gothic"/>
              </a:rPr>
              <a:t> </a:t>
            </a:r>
            <a:r>
              <a:rPr sz="1000" b="1" spc="-50" dirty="0">
                <a:solidFill>
                  <a:srgbClr val="FFFFFF"/>
                </a:solidFill>
                <a:latin typeface="Century Gothic"/>
                <a:cs typeface="Century Gothic"/>
              </a:rPr>
              <a:t>SAFETY</a:t>
            </a:r>
            <a:endParaRPr sz="1000" dirty="0">
              <a:latin typeface="Century Gothic"/>
              <a:cs typeface="Century Gothic"/>
            </a:endParaRPr>
          </a:p>
          <a:p>
            <a:pPr marL="2136775" indent="-252729">
              <a:lnSpc>
                <a:spcPts val="3155"/>
              </a:lnSpc>
              <a:buSzPct val="300000"/>
              <a:buFont typeface="Century Gothic"/>
              <a:buChar char="•"/>
              <a:tabLst>
                <a:tab pos="2137410" algn="l"/>
              </a:tabLst>
            </a:pPr>
            <a:r>
              <a:rPr sz="1000" b="1" dirty="0">
                <a:solidFill>
                  <a:srgbClr val="EF3A47"/>
                </a:solidFill>
                <a:latin typeface="Century Gothic"/>
                <a:cs typeface="Century Gothic"/>
              </a:rPr>
              <a:t>SHORT</a:t>
            </a:r>
            <a:r>
              <a:rPr sz="1000" b="1" spc="-50" dirty="0">
                <a:solidFill>
                  <a:srgbClr val="EF3A47"/>
                </a:solidFill>
                <a:latin typeface="Century Gothic"/>
                <a:cs typeface="Century Gothic"/>
              </a:rPr>
              <a:t> </a:t>
            </a:r>
            <a:r>
              <a:rPr sz="1000" b="1" spc="-5" dirty="0">
                <a:solidFill>
                  <a:srgbClr val="EF3A47"/>
                </a:solidFill>
                <a:latin typeface="Century Gothic"/>
                <a:cs typeface="Century Gothic"/>
              </a:rPr>
              <a:t>PROFILE</a:t>
            </a:r>
            <a:endParaRPr sz="1000" dirty="0">
              <a:latin typeface="Century Gothic"/>
              <a:cs typeface="Century Gothic"/>
            </a:endParaRPr>
          </a:p>
        </p:txBody>
      </p:sp>
      <p:grpSp>
        <p:nvGrpSpPr>
          <p:cNvPr id="43" name="object 43"/>
          <p:cNvGrpSpPr/>
          <p:nvPr/>
        </p:nvGrpSpPr>
        <p:grpSpPr>
          <a:xfrm>
            <a:off x="277" y="5516425"/>
            <a:ext cx="483234" cy="289560"/>
            <a:chOff x="0" y="4527000"/>
            <a:chExt cx="483234" cy="289560"/>
          </a:xfrm>
        </p:grpSpPr>
        <p:sp>
          <p:nvSpPr>
            <p:cNvPr id="45" name="object 45"/>
            <p:cNvSpPr/>
            <p:nvPr/>
          </p:nvSpPr>
          <p:spPr>
            <a:xfrm>
              <a:off x="0" y="4527000"/>
              <a:ext cx="483234" cy="289560"/>
            </a:xfrm>
            <a:custGeom>
              <a:avLst/>
              <a:gdLst/>
              <a:ahLst/>
              <a:cxnLst/>
              <a:rect l="l" t="t" r="r" b="b"/>
              <a:pathLst>
                <a:path w="483234" h="289560">
                  <a:moveTo>
                    <a:pt x="446996" y="0"/>
                  </a:moveTo>
                  <a:lnTo>
                    <a:pt x="0" y="0"/>
                  </a:lnTo>
                  <a:lnTo>
                    <a:pt x="0" y="289140"/>
                  </a:lnTo>
                  <a:lnTo>
                    <a:pt x="446996" y="289140"/>
                  </a:lnTo>
                  <a:lnTo>
                    <a:pt x="461012" y="286312"/>
                  </a:lnTo>
                  <a:lnTo>
                    <a:pt x="472457" y="278598"/>
                  </a:lnTo>
                  <a:lnTo>
                    <a:pt x="480172" y="267157"/>
                  </a:lnTo>
                  <a:lnTo>
                    <a:pt x="483001" y="253149"/>
                  </a:lnTo>
                  <a:lnTo>
                    <a:pt x="483001" y="36004"/>
                  </a:lnTo>
                  <a:lnTo>
                    <a:pt x="480172" y="21988"/>
                  </a:lnTo>
                  <a:lnTo>
                    <a:pt x="472457" y="10544"/>
                  </a:lnTo>
                  <a:lnTo>
                    <a:pt x="461012" y="2828"/>
                  </a:lnTo>
                  <a:lnTo>
                    <a:pt x="446996" y="0"/>
                  </a:lnTo>
                  <a:close/>
                </a:path>
              </a:pathLst>
            </a:custGeom>
            <a:solidFill>
              <a:srgbClr val="488C81"/>
            </a:solidFill>
          </p:spPr>
          <p:txBody>
            <a:bodyPr wrap="square" lIns="0" tIns="0" rIns="0" bIns="0" rtlCol="0"/>
            <a:lstStyle/>
            <a:p>
              <a:endParaRPr/>
            </a:p>
          </p:txBody>
        </p:sp>
        <p:pic>
          <p:nvPicPr>
            <p:cNvPr id="46" name="object 46"/>
            <p:cNvPicPr/>
            <p:nvPr/>
          </p:nvPicPr>
          <p:blipFill>
            <a:blip r:embed="rId4" cstate="print"/>
            <a:stretch>
              <a:fillRect/>
            </a:stretch>
          </p:blipFill>
          <p:spPr>
            <a:xfrm>
              <a:off x="254274" y="4582076"/>
              <a:ext cx="181444" cy="181444"/>
            </a:xfrm>
            <a:prstGeom prst="rect">
              <a:avLst/>
            </a:prstGeom>
          </p:spPr>
        </p:pic>
      </p:grpSp>
      <p:sp>
        <p:nvSpPr>
          <p:cNvPr id="52" name="object 52"/>
          <p:cNvSpPr txBox="1"/>
          <p:nvPr/>
        </p:nvSpPr>
        <p:spPr>
          <a:xfrm>
            <a:off x="4175416" y="814623"/>
            <a:ext cx="1426210" cy="684803"/>
          </a:xfrm>
          <a:prstGeom prst="rect">
            <a:avLst/>
          </a:prstGeom>
        </p:spPr>
        <p:txBody>
          <a:bodyPr vert="horz" wrap="square" lIns="0" tIns="12700" rIns="0" bIns="0" rtlCol="0">
            <a:spAutoFit/>
          </a:bodyPr>
          <a:lstStyle/>
          <a:p>
            <a:pPr marL="12700">
              <a:lnSpc>
                <a:spcPct val="100000"/>
              </a:lnSpc>
              <a:spcBef>
                <a:spcPts val="100"/>
              </a:spcBef>
            </a:pPr>
            <a:r>
              <a:rPr lang="fr-FR" sz="700" b="1" u="sng" spc="-5" dirty="0" err="1">
                <a:solidFill>
                  <a:srgbClr val="FFFFFF"/>
                </a:solidFill>
                <a:uFill>
                  <a:solidFill>
                    <a:srgbClr val="FFFFFF"/>
                  </a:solidFill>
                </a:uFill>
                <a:latin typeface="Century Gothic"/>
                <a:cs typeface="Century Gothic"/>
                <a:hlinkClick r:id="rId5"/>
              </a:rPr>
              <a:t>Ronan.moullec</a:t>
            </a:r>
            <a:r>
              <a:rPr sz="700" b="1" u="sng" spc="-5" dirty="0">
                <a:solidFill>
                  <a:srgbClr val="FFFFFF"/>
                </a:solidFill>
                <a:uFill>
                  <a:solidFill>
                    <a:srgbClr val="FFFFFF"/>
                  </a:solidFill>
                </a:uFill>
                <a:latin typeface="Century Gothic"/>
                <a:cs typeface="Century Gothic"/>
                <a:hlinkClick r:id="rId5"/>
              </a:rPr>
              <a:t>@tractebel.engie.com</a:t>
            </a:r>
            <a:endParaRPr lang="fr-FR" sz="700" b="1" u="sng" spc="-5" dirty="0">
              <a:solidFill>
                <a:srgbClr val="FFFFFF"/>
              </a:solidFill>
              <a:uFill>
                <a:solidFill>
                  <a:srgbClr val="FFFFFF"/>
                </a:solidFill>
              </a:uFill>
              <a:latin typeface="Century Gothic"/>
              <a:cs typeface="Century Gothic"/>
            </a:endParaRPr>
          </a:p>
          <a:p>
            <a:pPr marL="12700">
              <a:lnSpc>
                <a:spcPct val="100000"/>
              </a:lnSpc>
              <a:spcBef>
                <a:spcPts val="100"/>
              </a:spcBef>
            </a:pPr>
            <a:r>
              <a:rPr lang="fr-FR" sz="700" b="1" u="sng" spc="-5" dirty="0">
                <a:solidFill>
                  <a:srgbClr val="FFFFFF"/>
                </a:solidFill>
                <a:uFill>
                  <a:solidFill>
                    <a:srgbClr val="FFFFFF"/>
                  </a:solidFill>
                </a:uFill>
                <a:latin typeface="Century Gothic"/>
                <a:cs typeface="Century Gothic"/>
                <a:hlinkClick r:id="rId6"/>
              </a:rPr>
              <a:t>Andrea.carletto@tractebel-engie.com</a:t>
            </a:r>
            <a:endParaRPr lang="fr-FR" sz="700" b="1" u="sng" spc="-5" dirty="0">
              <a:solidFill>
                <a:srgbClr val="FFFFFF"/>
              </a:solidFill>
              <a:uFill>
                <a:solidFill>
                  <a:srgbClr val="FFFFFF"/>
                </a:solidFill>
              </a:uFill>
              <a:latin typeface="Century Gothic"/>
              <a:cs typeface="Century Gothic"/>
            </a:endParaRPr>
          </a:p>
          <a:p>
            <a:pPr marL="12700">
              <a:lnSpc>
                <a:spcPct val="100000"/>
              </a:lnSpc>
              <a:spcBef>
                <a:spcPts val="100"/>
              </a:spcBef>
            </a:pPr>
            <a:r>
              <a:rPr lang="fr-FR" sz="700" b="1" u="sng" spc="-5" dirty="0">
                <a:solidFill>
                  <a:srgbClr val="FFFFFF"/>
                </a:solidFill>
                <a:uFill>
                  <a:solidFill>
                    <a:srgbClr val="FFFFFF"/>
                  </a:solidFill>
                </a:uFill>
                <a:latin typeface="Century Gothic"/>
                <a:cs typeface="Century Gothic"/>
              </a:rPr>
              <a:t>Sebastien.coeurvolan@tractebel.engie.com</a:t>
            </a:r>
            <a:endParaRPr sz="700" dirty="0">
              <a:latin typeface="Century Gothic"/>
              <a:cs typeface="Century Gothic"/>
            </a:endParaRPr>
          </a:p>
        </p:txBody>
      </p:sp>
      <p:pic>
        <p:nvPicPr>
          <p:cNvPr id="53" name="object 53"/>
          <p:cNvPicPr/>
          <p:nvPr/>
        </p:nvPicPr>
        <p:blipFill>
          <a:blip r:embed="rId7" cstate="print"/>
          <a:stretch>
            <a:fillRect/>
          </a:stretch>
        </p:blipFill>
        <p:spPr>
          <a:xfrm>
            <a:off x="233200" y="704272"/>
            <a:ext cx="1484798" cy="418456"/>
          </a:xfrm>
          <a:prstGeom prst="rect">
            <a:avLst/>
          </a:prstGeom>
        </p:spPr>
      </p:pic>
      <p:sp>
        <p:nvSpPr>
          <p:cNvPr id="56" name="object 56"/>
          <p:cNvSpPr txBox="1">
            <a:spLocks noGrp="1"/>
          </p:cNvSpPr>
          <p:nvPr>
            <p:ph type="sldNum" sz="quarter" idx="7"/>
          </p:nvPr>
        </p:nvSpPr>
        <p:spPr>
          <a:prstGeom prst="rect">
            <a:avLst/>
          </a:prstGeom>
        </p:spPr>
        <p:txBody>
          <a:bodyPr vert="horz" wrap="square" lIns="0" tIns="13335" rIns="0" bIns="0" rtlCol="0">
            <a:spAutoFit/>
          </a:bodyPr>
          <a:lstStyle/>
          <a:p>
            <a:pPr marL="12700">
              <a:lnSpc>
                <a:spcPct val="100000"/>
              </a:lnSpc>
              <a:spcBef>
                <a:spcPts val="105"/>
              </a:spcBef>
            </a:pPr>
            <a:r>
              <a:rPr dirty="0">
                <a:latin typeface="Century Gothic"/>
                <a:cs typeface="Century Gothic"/>
              </a:rPr>
              <a:t>I</a:t>
            </a:r>
            <a:r>
              <a:rPr spc="395" dirty="0">
                <a:latin typeface="Century Gothic"/>
                <a:cs typeface="Century Gothic"/>
              </a:rPr>
              <a:t> </a:t>
            </a:r>
            <a:fld id="{81D60167-4931-47E6-BA6A-407CBD079E47}" type="slidenum">
              <a:rPr b="1" dirty="0"/>
              <a:t>9</a:t>
            </a:fld>
            <a:r>
              <a:rPr b="1" spc="395" dirty="0"/>
              <a:t> </a:t>
            </a:r>
            <a:r>
              <a:rPr dirty="0">
                <a:latin typeface="Century Gothic"/>
                <a:cs typeface="Century Gothic"/>
              </a:rPr>
              <a:t>I</a:t>
            </a:r>
          </a:p>
        </p:txBody>
      </p:sp>
      <p:sp>
        <p:nvSpPr>
          <p:cNvPr id="57" name="object 57"/>
          <p:cNvSpPr txBox="1">
            <a:spLocks noGrp="1"/>
          </p:cNvSpPr>
          <p:nvPr>
            <p:ph type="dt" sz="half" idx="6"/>
          </p:nvPr>
        </p:nvSpPr>
        <p:spPr>
          <a:prstGeom prst="rect">
            <a:avLst/>
          </a:prstGeom>
        </p:spPr>
        <p:txBody>
          <a:bodyPr vert="horz" wrap="square" lIns="0" tIns="12700" rIns="0" bIns="0" rtlCol="0">
            <a:spAutoFit/>
          </a:bodyPr>
          <a:lstStyle/>
          <a:p>
            <a:pPr marL="12700">
              <a:lnSpc>
                <a:spcPct val="100000"/>
              </a:lnSpc>
              <a:spcBef>
                <a:spcPts val="100"/>
              </a:spcBef>
            </a:pPr>
            <a:r>
              <a:rPr dirty="0"/>
              <a:t>THE</a:t>
            </a:r>
            <a:r>
              <a:rPr spc="-30" dirty="0"/>
              <a:t> </a:t>
            </a:r>
            <a:r>
              <a:rPr dirty="0"/>
              <a:t>FRENCH</a:t>
            </a:r>
            <a:r>
              <a:rPr spc="-25" dirty="0"/>
              <a:t> </a:t>
            </a:r>
            <a:r>
              <a:rPr dirty="0"/>
              <a:t>NUCLEAR</a:t>
            </a:r>
            <a:r>
              <a:rPr spc="-30" dirty="0"/>
              <a:t> </a:t>
            </a:r>
            <a:r>
              <a:rPr dirty="0"/>
              <a:t>INDUSTRY</a:t>
            </a:r>
          </a:p>
        </p:txBody>
      </p:sp>
      <p:sp>
        <p:nvSpPr>
          <p:cNvPr id="58" name="object 58"/>
          <p:cNvSpPr txBox="1">
            <a:spLocks noGrp="1"/>
          </p:cNvSpPr>
          <p:nvPr>
            <p:ph type="ftr" sz="quarter" idx="5"/>
          </p:nvPr>
        </p:nvSpPr>
        <p:spPr>
          <a:prstGeom prst="rect">
            <a:avLst/>
          </a:prstGeom>
        </p:spPr>
        <p:txBody>
          <a:bodyPr vert="horz" wrap="square" lIns="0" tIns="12700" rIns="0" bIns="0" rtlCol="0">
            <a:spAutoFit/>
          </a:bodyPr>
          <a:lstStyle/>
          <a:p>
            <a:pPr marL="12700">
              <a:lnSpc>
                <a:spcPct val="100000"/>
              </a:lnSpc>
              <a:spcBef>
                <a:spcPts val="100"/>
              </a:spcBef>
            </a:pPr>
            <a:r>
              <a:rPr dirty="0"/>
              <a:t>Focus</a:t>
            </a:r>
            <a:r>
              <a:rPr spc="-20" dirty="0"/>
              <a:t> </a:t>
            </a:r>
            <a:r>
              <a:rPr dirty="0"/>
              <a:t>on</a:t>
            </a:r>
            <a:r>
              <a:rPr spc="-15" dirty="0"/>
              <a:t> </a:t>
            </a:r>
            <a:r>
              <a:rPr spc="-5" dirty="0"/>
              <a:t>EPR</a:t>
            </a:r>
            <a:r>
              <a:rPr spc="-20" dirty="0"/>
              <a:t> </a:t>
            </a:r>
            <a:r>
              <a:rPr dirty="0"/>
              <a:t>technology</a:t>
            </a:r>
            <a:r>
              <a:rPr spc="-15" dirty="0"/>
              <a:t> </a:t>
            </a:r>
            <a:r>
              <a:rPr dirty="0"/>
              <a:t>for</a:t>
            </a:r>
            <a:r>
              <a:rPr spc="-20" dirty="0"/>
              <a:t> </a:t>
            </a:r>
            <a:r>
              <a:rPr dirty="0"/>
              <a:t>Poland</a:t>
            </a:r>
          </a:p>
        </p:txBody>
      </p:sp>
      <p:sp>
        <p:nvSpPr>
          <p:cNvPr id="55" name="object 55"/>
          <p:cNvSpPr txBox="1"/>
          <p:nvPr/>
        </p:nvSpPr>
        <p:spPr>
          <a:xfrm>
            <a:off x="167299" y="145075"/>
            <a:ext cx="481330" cy="132080"/>
          </a:xfrm>
          <a:prstGeom prst="rect">
            <a:avLst/>
          </a:prstGeom>
        </p:spPr>
        <p:txBody>
          <a:bodyPr vert="horz" wrap="square" lIns="0" tIns="12700" rIns="0" bIns="0" rtlCol="0">
            <a:spAutoFit/>
          </a:bodyPr>
          <a:lstStyle/>
          <a:p>
            <a:pPr marL="12700">
              <a:lnSpc>
                <a:spcPct val="100000"/>
              </a:lnSpc>
              <a:spcBef>
                <a:spcPts val="100"/>
              </a:spcBef>
            </a:pPr>
            <a:r>
              <a:rPr sz="700" dirty="0">
                <a:solidFill>
                  <a:srgbClr val="6C92A8"/>
                </a:solidFill>
                <a:latin typeface="Century Gothic"/>
                <a:cs typeface="Century Gothic"/>
              </a:rPr>
              <a:t>TRACTEBEL</a:t>
            </a:r>
            <a:endParaRPr sz="700">
              <a:latin typeface="Century Gothic"/>
              <a:cs typeface="Century Gothic"/>
            </a:endParaRPr>
          </a:p>
        </p:txBody>
      </p:sp>
      <p:sp>
        <p:nvSpPr>
          <p:cNvPr id="59" name="object 6">
            <a:extLst>
              <a:ext uri="{FF2B5EF4-FFF2-40B4-BE49-F238E27FC236}">
                <a16:creationId xmlns:a16="http://schemas.microsoft.com/office/drawing/2014/main" id="{AF492189-F322-410F-3442-85FA5DCB4272}"/>
              </a:ext>
            </a:extLst>
          </p:cNvPr>
          <p:cNvSpPr/>
          <p:nvPr/>
        </p:nvSpPr>
        <p:spPr>
          <a:xfrm>
            <a:off x="26835" y="2316922"/>
            <a:ext cx="483234" cy="289560"/>
          </a:xfrm>
          <a:custGeom>
            <a:avLst/>
            <a:gdLst/>
            <a:ahLst/>
            <a:cxnLst/>
            <a:rect l="l" t="t" r="r" b="b"/>
            <a:pathLst>
              <a:path w="483234" h="289560">
                <a:moveTo>
                  <a:pt x="446998" y="0"/>
                </a:moveTo>
                <a:lnTo>
                  <a:pt x="0" y="0"/>
                </a:lnTo>
                <a:lnTo>
                  <a:pt x="0" y="289140"/>
                </a:lnTo>
                <a:lnTo>
                  <a:pt x="446998" y="289140"/>
                </a:lnTo>
                <a:lnTo>
                  <a:pt x="461014" y="286312"/>
                </a:lnTo>
                <a:lnTo>
                  <a:pt x="472458" y="278598"/>
                </a:lnTo>
                <a:lnTo>
                  <a:pt x="480173" y="267157"/>
                </a:lnTo>
                <a:lnTo>
                  <a:pt x="483002" y="253149"/>
                </a:lnTo>
                <a:lnTo>
                  <a:pt x="483002" y="36004"/>
                </a:lnTo>
                <a:lnTo>
                  <a:pt x="480173" y="21988"/>
                </a:lnTo>
                <a:lnTo>
                  <a:pt x="472458" y="10544"/>
                </a:lnTo>
                <a:lnTo>
                  <a:pt x="461014" y="2828"/>
                </a:lnTo>
                <a:lnTo>
                  <a:pt x="446998" y="0"/>
                </a:lnTo>
                <a:close/>
              </a:path>
            </a:pathLst>
          </a:custGeom>
          <a:solidFill>
            <a:srgbClr val="488C81"/>
          </a:solidFill>
        </p:spPr>
        <p:txBody>
          <a:bodyPr wrap="square" lIns="0" tIns="0" rIns="0" bIns="0" rtlCol="0"/>
          <a:lstStyle/>
          <a:p>
            <a:endParaRPr/>
          </a:p>
        </p:txBody>
      </p:sp>
      <p:grpSp>
        <p:nvGrpSpPr>
          <p:cNvPr id="60" name="object 44">
            <a:extLst>
              <a:ext uri="{FF2B5EF4-FFF2-40B4-BE49-F238E27FC236}">
                <a16:creationId xmlns:a16="http://schemas.microsoft.com/office/drawing/2014/main" id="{699DFAF9-6582-CA53-FB5E-9763EB57F3C0}"/>
              </a:ext>
            </a:extLst>
          </p:cNvPr>
          <p:cNvGrpSpPr/>
          <p:nvPr/>
        </p:nvGrpSpPr>
        <p:grpSpPr>
          <a:xfrm>
            <a:off x="-15022" y="4081038"/>
            <a:ext cx="483234" cy="289560"/>
            <a:chOff x="194101" y="5028030"/>
            <a:chExt cx="483234" cy="289560"/>
          </a:xfrm>
        </p:grpSpPr>
        <p:sp>
          <p:nvSpPr>
            <p:cNvPr id="61" name="object 46">
              <a:extLst>
                <a:ext uri="{FF2B5EF4-FFF2-40B4-BE49-F238E27FC236}">
                  <a16:creationId xmlns:a16="http://schemas.microsoft.com/office/drawing/2014/main" id="{CC207C17-8A5E-5601-E883-988920187FB3}"/>
                </a:ext>
              </a:extLst>
            </p:cNvPr>
            <p:cNvSpPr/>
            <p:nvPr/>
          </p:nvSpPr>
          <p:spPr>
            <a:xfrm>
              <a:off x="194101" y="5028030"/>
              <a:ext cx="483234" cy="289560"/>
            </a:xfrm>
            <a:custGeom>
              <a:avLst/>
              <a:gdLst/>
              <a:ahLst/>
              <a:cxnLst/>
              <a:rect l="l" t="t" r="r" b="b"/>
              <a:pathLst>
                <a:path w="483234" h="289560">
                  <a:moveTo>
                    <a:pt x="446996" y="0"/>
                  </a:moveTo>
                  <a:lnTo>
                    <a:pt x="0" y="0"/>
                  </a:lnTo>
                  <a:lnTo>
                    <a:pt x="0" y="289140"/>
                  </a:lnTo>
                  <a:lnTo>
                    <a:pt x="446996" y="289140"/>
                  </a:lnTo>
                  <a:lnTo>
                    <a:pt x="461012" y="286312"/>
                  </a:lnTo>
                  <a:lnTo>
                    <a:pt x="472457" y="278598"/>
                  </a:lnTo>
                  <a:lnTo>
                    <a:pt x="480172" y="267157"/>
                  </a:lnTo>
                  <a:lnTo>
                    <a:pt x="483001" y="253149"/>
                  </a:lnTo>
                  <a:lnTo>
                    <a:pt x="483001" y="36004"/>
                  </a:lnTo>
                  <a:lnTo>
                    <a:pt x="480172" y="21988"/>
                  </a:lnTo>
                  <a:lnTo>
                    <a:pt x="472457" y="10544"/>
                  </a:lnTo>
                  <a:lnTo>
                    <a:pt x="461012" y="2828"/>
                  </a:lnTo>
                  <a:lnTo>
                    <a:pt x="446996" y="0"/>
                  </a:lnTo>
                  <a:close/>
                </a:path>
              </a:pathLst>
            </a:custGeom>
            <a:solidFill>
              <a:srgbClr val="498B80"/>
            </a:solidFill>
          </p:spPr>
          <p:txBody>
            <a:bodyPr wrap="square" lIns="0" tIns="0" rIns="0" bIns="0" rtlCol="0"/>
            <a:lstStyle/>
            <a:p>
              <a:endParaRPr/>
            </a:p>
          </p:txBody>
        </p:sp>
        <p:pic>
          <p:nvPicPr>
            <p:cNvPr id="62" name="object 47">
              <a:extLst>
                <a:ext uri="{FF2B5EF4-FFF2-40B4-BE49-F238E27FC236}">
                  <a16:creationId xmlns:a16="http://schemas.microsoft.com/office/drawing/2014/main" id="{CD2BCD58-412E-20C3-C555-3F290A8F07E3}"/>
                </a:ext>
              </a:extLst>
            </p:cNvPr>
            <p:cNvPicPr/>
            <p:nvPr/>
          </p:nvPicPr>
          <p:blipFill>
            <a:blip r:embed="rId8" cstate="print"/>
            <a:stretch>
              <a:fillRect/>
            </a:stretch>
          </p:blipFill>
          <p:spPr>
            <a:xfrm>
              <a:off x="320566" y="5064429"/>
              <a:ext cx="252528" cy="168286"/>
            </a:xfrm>
            <a:prstGeom prst="rect">
              <a:avLst/>
            </a:prstGeom>
          </p:spPr>
        </p:pic>
      </p:grpSp>
      <p:pic>
        <p:nvPicPr>
          <p:cNvPr id="48" name="Picture 4" descr="Flag of the United Kingdom - Wikipedia">
            <a:extLst>
              <a:ext uri="{FF2B5EF4-FFF2-40B4-BE49-F238E27FC236}">
                <a16:creationId xmlns:a16="http://schemas.microsoft.com/office/drawing/2014/main" id="{EDB2BD21-F986-66B1-F63E-1A366B8E4D60}"/>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1400" r="14246"/>
          <a:stretch/>
        </p:blipFill>
        <p:spPr bwMode="auto">
          <a:xfrm>
            <a:off x="168140" y="2381575"/>
            <a:ext cx="252000" cy="169458"/>
          </a:xfrm>
          <a:prstGeom prst="rect">
            <a:avLst/>
          </a:prstGeom>
          <a:noFill/>
          <a:extLst>
            <a:ext uri="{909E8E84-426E-40DD-AFC4-6F175D3DCCD1}">
              <a14:hiddenFill xmlns:a14="http://schemas.microsoft.com/office/drawing/2010/main">
                <a:solidFill>
                  <a:srgbClr val="FFFFFF"/>
                </a:solidFill>
              </a14:hiddenFill>
            </a:ext>
          </a:extLst>
        </p:spPr>
      </p:pic>
      <p:sp>
        <p:nvSpPr>
          <p:cNvPr id="49" name="object 25">
            <a:extLst>
              <a:ext uri="{FF2B5EF4-FFF2-40B4-BE49-F238E27FC236}">
                <a16:creationId xmlns:a16="http://schemas.microsoft.com/office/drawing/2014/main" id="{959EA8AF-2E30-C037-0F06-7FED1A4A1C2B}"/>
              </a:ext>
            </a:extLst>
          </p:cNvPr>
          <p:cNvSpPr txBox="1"/>
          <p:nvPr/>
        </p:nvSpPr>
        <p:spPr>
          <a:xfrm>
            <a:off x="176069" y="2661824"/>
            <a:ext cx="1705610" cy="1166986"/>
          </a:xfrm>
          <a:prstGeom prst="rect">
            <a:avLst/>
          </a:prstGeom>
        </p:spPr>
        <p:txBody>
          <a:bodyPr vert="horz" wrap="square" lIns="0" tIns="12700" rIns="0" bIns="0" rtlCol="0">
            <a:spAutoFit/>
          </a:bodyPr>
          <a:lstStyle/>
          <a:p>
            <a:pPr marL="12065">
              <a:lnSpc>
                <a:spcPts val="930"/>
              </a:lnSpc>
              <a:spcBef>
                <a:spcPts val="100"/>
              </a:spcBef>
              <a:buClr>
                <a:srgbClr val="6C92A8"/>
              </a:buClr>
              <a:tabLst>
                <a:tab pos="121285" algn="l"/>
                <a:tab pos="501015" algn="l"/>
                <a:tab pos="1056640" algn="l"/>
              </a:tabLst>
            </a:pPr>
            <a:r>
              <a:rPr lang="en-US" sz="800" dirty="0">
                <a:latin typeface="Century Gothic"/>
                <a:cs typeface="Century Gothic"/>
              </a:rPr>
              <a:t>Tractebel opened its UK office in Bristol in 2020. Large numbers of experts in France are also supporting the nuclear new build projects in the UK. With a presence of 17 employees in the UK, our team is also developing local expertise in plant operation support, radioactive waste management and D&amp;D.</a:t>
            </a:r>
            <a:endParaRPr sz="800" dirty="0">
              <a:latin typeface="Century Gothic"/>
              <a:cs typeface="Century Gothic"/>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FF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4049</Words>
  <Application>Microsoft Office PowerPoint</Application>
  <PresentationFormat>Personnalisé</PresentationFormat>
  <Paragraphs>343</Paragraphs>
  <Slides>10</Slides>
  <Notes>0</Notes>
  <HiddenSlides>0</HiddenSlides>
  <MMClips>0</MMClips>
  <ScaleCrop>false</ScaleCrop>
  <HeadingPairs>
    <vt:vector size="8" baseType="variant">
      <vt:variant>
        <vt:lpstr>Polices utilisées</vt:lpstr>
      </vt:variant>
      <vt:variant>
        <vt:i4>7</vt:i4>
      </vt:variant>
      <vt:variant>
        <vt:lpstr>Thème</vt:lpstr>
      </vt:variant>
      <vt:variant>
        <vt:i4>1</vt:i4>
      </vt:variant>
      <vt:variant>
        <vt:lpstr>Serveurs OLE incorporés</vt:lpstr>
      </vt:variant>
      <vt:variant>
        <vt:i4>1</vt:i4>
      </vt:variant>
      <vt:variant>
        <vt:lpstr>Titres des diapositives</vt:lpstr>
      </vt:variant>
      <vt:variant>
        <vt:i4>10</vt:i4>
      </vt:variant>
    </vt:vector>
  </HeadingPairs>
  <TitlesOfParts>
    <vt:vector size="19" baseType="lpstr">
      <vt:lpstr>Arial</vt:lpstr>
      <vt:lpstr>Calibri</vt:lpstr>
      <vt:lpstr>Century Gothic</vt:lpstr>
      <vt:lpstr>Dancing Script</vt:lpstr>
      <vt:lpstr>Rafale BG</vt:lpstr>
      <vt:lpstr>Segoe UI</vt:lpstr>
      <vt:lpstr>Times New Roman</vt:lpstr>
      <vt:lpstr>Office Theme</vt:lpstr>
      <vt:lpstr>Diapositive think-cell</vt:lpstr>
      <vt:lpstr>THE FRENCH  NUCLEAR INDUSTRY</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FRENCH  NUCLEAR INDUSTRY</dc:title>
  <dc:creator>CHARLES Marylise</dc:creator>
  <cp:lastModifiedBy>MOULLEC Ronan (TRACTEBEL - FRANCE)</cp:lastModifiedBy>
  <cp:revision>21</cp:revision>
  <dcterms:created xsi:type="dcterms:W3CDTF">2021-10-19T14:08:25Z</dcterms:created>
  <dcterms:modified xsi:type="dcterms:W3CDTF">2022-09-30T13:36: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1-09-27T00:00:00Z</vt:filetime>
  </property>
  <property fmtid="{D5CDD505-2E9C-101B-9397-08002B2CF9AE}" pid="3" name="Creator">
    <vt:lpwstr>Adobe InDesign 16.4 (Macintosh)</vt:lpwstr>
  </property>
  <property fmtid="{D5CDD505-2E9C-101B-9397-08002B2CF9AE}" pid="4" name="LastSaved">
    <vt:filetime>2021-10-19T00:00:00Z</vt:filetime>
  </property>
  <property fmtid="{D5CDD505-2E9C-101B-9397-08002B2CF9AE}" pid="5" name="MSIP_Label_c135c4ba-2280-41f8-be7d-6f21d368baa3_Enabled">
    <vt:lpwstr>true</vt:lpwstr>
  </property>
  <property fmtid="{D5CDD505-2E9C-101B-9397-08002B2CF9AE}" pid="6" name="MSIP_Label_c135c4ba-2280-41f8-be7d-6f21d368baa3_SetDate">
    <vt:lpwstr>2022-09-23T08:25:08Z</vt:lpwstr>
  </property>
  <property fmtid="{D5CDD505-2E9C-101B-9397-08002B2CF9AE}" pid="7" name="MSIP_Label_c135c4ba-2280-41f8-be7d-6f21d368baa3_Method">
    <vt:lpwstr>Standard</vt:lpwstr>
  </property>
  <property fmtid="{D5CDD505-2E9C-101B-9397-08002B2CF9AE}" pid="8" name="MSIP_Label_c135c4ba-2280-41f8-be7d-6f21d368baa3_Name">
    <vt:lpwstr>c135c4ba-2280-41f8-be7d-6f21d368baa3</vt:lpwstr>
  </property>
  <property fmtid="{D5CDD505-2E9C-101B-9397-08002B2CF9AE}" pid="9" name="MSIP_Label_c135c4ba-2280-41f8-be7d-6f21d368baa3_SiteId">
    <vt:lpwstr>24139d14-c62c-4c47-8bdd-ce71ea1d50cf</vt:lpwstr>
  </property>
  <property fmtid="{D5CDD505-2E9C-101B-9397-08002B2CF9AE}" pid="10" name="MSIP_Label_c135c4ba-2280-41f8-be7d-6f21d368baa3_ActionId">
    <vt:lpwstr>7b652494-c560-4574-b2e6-03e16356692d</vt:lpwstr>
  </property>
  <property fmtid="{D5CDD505-2E9C-101B-9397-08002B2CF9AE}" pid="11" name="MSIP_Label_c135c4ba-2280-41f8-be7d-6f21d368baa3_ContentBits">
    <vt:lpwstr>0</vt:lpwstr>
  </property>
</Properties>
</file>